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1.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2.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3.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notesSlides/notesSlide4.xml" ContentType="application/vnd.openxmlformats-officedocument.presentationml.notesSlid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notesSlides/notesSlide5.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notesSlides/notesSlide6.xml" ContentType="application/vnd.openxmlformats-officedocument.presentationml.notesSlide+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notesSlides/notesSlide7.xml" ContentType="application/vnd.openxmlformats-officedocument.presentationml.notesSlide+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notesSlides/notesSlide8.xml" ContentType="application/vnd.openxmlformats-officedocument.presentationml.notesSlide+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notesSlides/notesSlide9.xml" ContentType="application/vnd.openxmlformats-officedocument.presentationml.notesSlide+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5"/>
    <p:sldMasterId id="2147483666" r:id="rId6"/>
  </p:sldMasterIdLst>
  <p:notesMasterIdLst>
    <p:notesMasterId r:id="rId30"/>
  </p:notesMasterIdLst>
  <p:sldIdLst>
    <p:sldId id="2147483372" r:id="rId7"/>
    <p:sldId id="2147483390" r:id="rId8"/>
    <p:sldId id="292" r:id="rId9"/>
    <p:sldId id="2147483391" r:id="rId10"/>
    <p:sldId id="2147483394" r:id="rId11"/>
    <p:sldId id="2147483398" r:id="rId12"/>
    <p:sldId id="2147483388" r:id="rId13"/>
    <p:sldId id="298" r:id="rId14"/>
    <p:sldId id="278" r:id="rId15"/>
    <p:sldId id="369" r:id="rId16"/>
    <p:sldId id="375" r:id="rId17"/>
    <p:sldId id="366" r:id="rId18"/>
    <p:sldId id="370" r:id="rId19"/>
    <p:sldId id="372" r:id="rId20"/>
    <p:sldId id="373" r:id="rId21"/>
    <p:sldId id="371" r:id="rId22"/>
    <p:sldId id="347" r:id="rId23"/>
    <p:sldId id="348" r:id="rId24"/>
    <p:sldId id="280" r:id="rId25"/>
    <p:sldId id="281" r:id="rId26"/>
    <p:sldId id="282" r:id="rId27"/>
    <p:sldId id="335" r:id="rId28"/>
    <p:sldId id="329" r:id="rId29"/>
  </p:sldIdLst>
  <p:sldSz cx="12192000" cy="6858000"/>
  <p:notesSz cx="6811963" cy="9942513"/>
  <p:custDataLst>
    <p:tags r:id="rId31"/>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31" userDrawn="1">
          <p15:clr>
            <a:srgbClr val="A4A3A4"/>
          </p15:clr>
        </p15:guide>
        <p15:guide id="2" pos="2146"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467A64-DCCC-4F25-A4B4-061525CA2454}" v="1" dt="2023-12-20T05:46:20.445"/>
  </p1510:revLst>
</p1510:revInfo>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677" autoAdjust="0"/>
    <p:restoredTop sz="96688" autoAdjust="0"/>
  </p:normalViewPr>
  <p:slideViewPr>
    <p:cSldViewPr snapToGrid="0">
      <p:cViewPr varScale="1">
        <p:scale>
          <a:sx n="77" d="100"/>
          <a:sy n="77" d="100"/>
        </p:scale>
        <p:origin x="208" y="904"/>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69" d="100"/>
          <a:sy n="69" d="100"/>
        </p:scale>
        <p:origin x="3091" y="58"/>
      </p:cViewPr>
      <p:guideLst>
        <p:guide orient="horz" pos="3131"/>
        <p:guide pos="2146"/>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heme" Target="../theme/theme3.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custDataLst>
              <p:tags r:id="rId2"/>
            </p:custDataLst>
          </p:nvPr>
        </p:nvSpPr>
        <p:spPr>
          <a:xfrm>
            <a:off x="0" y="0"/>
            <a:ext cx="2952593" cy="497683"/>
          </a:xfrm>
          <a:prstGeom prst="rect">
            <a:avLst/>
          </a:prstGeom>
        </p:spPr>
        <p:txBody>
          <a:bodyPr vert="horz" lIns="91605" tIns="45802" rIns="91605" bIns="45802" rtlCol="0"/>
          <a:lstStyle>
            <a:lvl1pPr algn="l">
              <a:defRPr sz="1200"/>
            </a:lvl1pPr>
          </a:lstStyle>
          <a:p>
            <a:endParaRPr lang="en-AU"/>
          </a:p>
        </p:txBody>
      </p:sp>
      <p:sp>
        <p:nvSpPr>
          <p:cNvPr id="3" name="Date Placeholder 2"/>
          <p:cNvSpPr>
            <a:spLocks noGrp="1"/>
          </p:cNvSpPr>
          <p:nvPr>
            <p:ph type="dt" idx="1"/>
            <p:custDataLst>
              <p:tags r:id="rId3"/>
            </p:custDataLst>
          </p:nvPr>
        </p:nvSpPr>
        <p:spPr>
          <a:xfrm>
            <a:off x="3857780" y="0"/>
            <a:ext cx="2952593" cy="497683"/>
          </a:xfrm>
          <a:prstGeom prst="rect">
            <a:avLst/>
          </a:prstGeom>
        </p:spPr>
        <p:txBody>
          <a:bodyPr vert="horz" lIns="91605" tIns="45802" rIns="91605" bIns="45802" rtlCol="0"/>
          <a:lstStyle>
            <a:lvl1pPr algn="r">
              <a:defRPr sz="1200"/>
            </a:lvl1pPr>
          </a:lstStyle>
          <a:p>
            <a:fld id="{30B4AC88-FE49-41CE-9274-C0F847D52617}" type="datetimeFigureOut">
              <a:rPr lang="en-AU" smtClean="0"/>
              <a:t>7/3/2024</a:t>
            </a:fld>
            <a:endParaRPr lang="en-AU"/>
          </a:p>
        </p:txBody>
      </p:sp>
      <p:sp>
        <p:nvSpPr>
          <p:cNvPr id="4" name="Slide Image Placeholder 3"/>
          <p:cNvSpPr>
            <a:spLocks noGrp="1" noRot="1" noChangeAspect="1"/>
          </p:cNvSpPr>
          <p:nvPr>
            <p:ph type="sldImg" idx="2"/>
            <p:custDataLst>
              <p:tags r:id="rId4"/>
            </p:custDataLst>
          </p:nvPr>
        </p:nvSpPr>
        <p:spPr>
          <a:xfrm>
            <a:off x="423863" y="1243013"/>
            <a:ext cx="5964237" cy="3355975"/>
          </a:xfrm>
          <a:prstGeom prst="rect">
            <a:avLst/>
          </a:prstGeom>
          <a:noFill/>
          <a:ln w="12700">
            <a:solidFill>
              <a:prstClr val="black"/>
            </a:solidFill>
          </a:ln>
        </p:spPr>
      </p:sp>
      <p:sp>
        <p:nvSpPr>
          <p:cNvPr id="5" name="Notes Placeholder 4"/>
          <p:cNvSpPr>
            <a:spLocks noGrp="1"/>
          </p:cNvSpPr>
          <p:nvPr>
            <p:ph type="body" sz="quarter" idx="3"/>
            <p:custDataLst>
              <p:tags r:id="rId5"/>
            </p:custDataLst>
          </p:nvPr>
        </p:nvSpPr>
        <p:spPr>
          <a:xfrm>
            <a:off x="680879" y="4784428"/>
            <a:ext cx="5450207" cy="3914675"/>
          </a:xfrm>
          <a:prstGeom prst="rect">
            <a:avLst/>
          </a:prstGeom>
        </p:spPr>
        <p:txBody>
          <a:bodyPr vert="horz" lIns="91605" tIns="45802" rIns="91605" bIns="458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custDataLst>
              <p:tags r:id="rId6"/>
            </p:custDataLst>
          </p:nvPr>
        </p:nvSpPr>
        <p:spPr>
          <a:xfrm>
            <a:off x="0" y="9444830"/>
            <a:ext cx="2952593" cy="497683"/>
          </a:xfrm>
          <a:prstGeom prst="rect">
            <a:avLst/>
          </a:prstGeom>
        </p:spPr>
        <p:txBody>
          <a:bodyPr vert="horz" lIns="91605" tIns="45802" rIns="91605" bIns="45802" rtlCol="0" anchor="b"/>
          <a:lstStyle>
            <a:lvl1pPr algn="l">
              <a:defRPr sz="1200"/>
            </a:lvl1pPr>
          </a:lstStyle>
          <a:p>
            <a:endParaRPr lang="en-AU"/>
          </a:p>
        </p:txBody>
      </p:sp>
      <p:sp>
        <p:nvSpPr>
          <p:cNvPr id="7" name="Slide Number Placeholder 6"/>
          <p:cNvSpPr>
            <a:spLocks noGrp="1"/>
          </p:cNvSpPr>
          <p:nvPr>
            <p:ph type="sldNum" sz="quarter" idx="5"/>
            <p:custDataLst>
              <p:tags r:id="rId7"/>
            </p:custDataLst>
          </p:nvPr>
        </p:nvSpPr>
        <p:spPr>
          <a:xfrm>
            <a:off x="3857780" y="9444830"/>
            <a:ext cx="2952593" cy="497683"/>
          </a:xfrm>
          <a:prstGeom prst="rect">
            <a:avLst/>
          </a:prstGeom>
        </p:spPr>
        <p:txBody>
          <a:bodyPr vert="horz" lIns="91605" tIns="45802" rIns="91605" bIns="45802" rtlCol="0" anchor="b"/>
          <a:lstStyle>
            <a:lvl1pPr algn="r">
              <a:defRPr sz="1200"/>
            </a:lvl1pPr>
          </a:lstStyle>
          <a:p>
            <a:fld id="{CDD705DF-7CA7-4A47-BADC-63E68090C842}" type="slidenum">
              <a:rPr lang="en-AU" smtClean="0"/>
              <a:t>‹#›</a:t>
            </a:fld>
            <a:endParaRPr lang="en-AU"/>
          </a:p>
        </p:txBody>
      </p:sp>
    </p:spTree>
    <p:extLst>
      <p:ext uri="{BB962C8B-B14F-4D97-AF65-F5344CB8AC3E}">
        <p14:creationId xmlns:p14="http://schemas.microsoft.com/office/powerpoint/2010/main" val="31805837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slide" Target="../slides/slide1.xml"/><Relationship Id="rId4"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slide" Target="../slides/slide2.xml"/><Relationship Id="rId4"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tags" Target="../tags/tag191.xml"/><Relationship Id="rId2" Type="http://schemas.openxmlformats.org/officeDocument/2006/relationships/tags" Target="../tags/tag190.xml"/><Relationship Id="rId1" Type="http://schemas.openxmlformats.org/officeDocument/2006/relationships/tags" Target="../tags/tag189.xml"/><Relationship Id="rId5" Type="http://schemas.openxmlformats.org/officeDocument/2006/relationships/slide" Target="../slides/slide3.xml"/><Relationship Id="rId4"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tags" Target="../tags/tag232.xml"/><Relationship Id="rId2" Type="http://schemas.openxmlformats.org/officeDocument/2006/relationships/tags" Target="../tags/tag231.xml"/><Relationship Id="rId1" Type="http://schemas.openxmlformats.org/officeDocument/2006/relationships/tags" Target="../tags/tag230.xml"/><Relationship Id="rId5" Type="http://schemas.openxmlformats.org/officeDocument/2006/relationships/slide" Target="../slides/slide4.xml"/><Relationship Id="rId4"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tags" Target="../tags/tag260.xml"/><Relationship Id="rId2" Type="http://schemas.openxmlformats.org/officeDocument/2006/relationships/tags" Target="../tags/tag259.xml"/><Relationship Id="rId1" Type="http://schemas.openxmlformats.org/officeDocument/2006/relationships/tags" Target="../tags/tag258.xml"/><Relationship Id="rId5" Type="http://schemas.openxmlformats.org/officeDocument/2006/relationships/slide" Target="../slides/slide5.xml"/><Relationship Id="rId4"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 Target="../slides/slide6.xml"/><Relationship Id="rId4"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tags" Target="../tags/tag366.xml"/><Relationship Id="rId2" Type="http://schemas.openxmlformats.org/officeDocument/2006/relationships/tags" Target="../tags/tag365.xml"/><Relationship Id="rId1" Type="http://schemas.openxmlformats.org/officeDocument/2006/relationships/tags" Target="../tags/tag364.xml"/><Relationship Id="rId5" Type="http://schemas.openxmlformats.org/officeDocument/2006/relationships/slide" Target="../slides/slide7.xml"/><Relationship Id="rId4"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tags" Target="../tags/tag707.xml"/><Relationship Id="rId2" Type="http://schemas.openxmlformats.org/officeDocument/2006/relationships/tags" Target="../tags/tag706.xml"/><Relationship Id="rId1" Type="http://schemas.openxmlformats.org/officeDocument/2006/relationships/tags" Target="../tags/tag705.xml"/><Relationship Id="rId5" Type="http://schemas.openxmlformats.org/officeDocument/2006/relationships/slide" Target="../slides/slide8.xml"/><Relationship Id="rId4"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tags" Target="../tags/tag770.xml"/><Relationship Id="rId2" Type="http://schemas.openxmlformats.org/officeDocument/2006/relationships/tags" Target="../tags/tag769.xml"/><Relationship Id="rId1" Type="http://schemas.openxmlformats.org/officeDocument/2006/relationships/tags" Target="../tags/tag768.xml"/><Relationship Id="rId5" Type="http://schemas.openxmlformats.org/officeDocument/2006/relationships/slide" Target="../slides/slide9.xml"/><Relationship Id="rId4"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4" name="Slide Number Placeholder 3"/>
          <p:cNvSpPr>
            <a:spLocks noGrp="1"/>
          </p:cNvSpPr>
          <p:nvPr>
            <p:ph type="sldNum" sz="quarter" idx="5"/>
            <p:custDataLst>
              <p:tags r:id="rId2"/>
            </p:custDataLst>
          </p:nvPr>
        </p:nvSpPr>
        <p:spPr/>
        <p:txBody>
          <a:bodyPr/>
          <a:lstStyle/>
          <a:p>
            <a:fld id="{DBEC2AFD-0D9F-4A00-BC74-290FE09A536B}" type="slidenum">
              <a:rPr lang="de-DE" smtClean="0"/>
              <a:t>1</a:t>
            </a:fld>
            <a:endParaRPr lang="de-DE"/>
          </a:p>
        </p:txBody>
      </p:sp>
      <p:sp>
        <p:nvSpPr>
          <p:cNvPr id="6" name="Notes Placeholder 5">
            <a:extLst>
              <a:ext uri="{FF2B5EF4-FFF2-40B4-BE49-F238E27FC236}">
                <a16:creationId xmlns:a16="http://schemas.microsoft.com/office/drawing/2014/main" id="{27DCFD4A-92C1-1331-6F79-861F187A3B47}"/>
              </a:ext>
            </a:extLst>
          </p:cNvPr>
          <p:cNvSpPr>
            <a:spLocks noGrp="1"/>
          </p:cNvSpPr>
          <p:nvPr>
            <p:ph type="body" sz="quarter" idx="3"/>
            <p:custDataLst>
              <p:tags r:id="rId3"/>
            </p:custDataLst>
          </p:nvPr>
        </p:nvSpPr>
        <p:spPr/>
        <p:txBody>
          <a:bodyPr/>
          <a:lstStyle/>
          <a:p>
            <a:endParaRPr lang="en-US"/>
          </a:p>
        </p:txBody>
      </p:sp>
    </p:spTree>
    <p:extLst>
      <p:ext uri="{BB962C8B-B14F-4D97-AF65-F5344CB8AC3E}">
        <p14:creationId xmlns:p14="http://schemas.microsoft.com/office/powerpoint/2010/main" val="9614010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DA7ED3-4024-487D-9944-49241AE17B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51223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AD073-AE9D-4B27-82BE-4B0E5F3CCC7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9800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AD073-AE9D-4B27-82BE-4B0E5F3CCC7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46398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AD073-AE9D-4B27-82BE-4B0E5F3CCC7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29821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AD073-AE9D-4B27-82BE-4B0E5F3CCC7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41084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AD073-AE9D-4B27-82BE-4B0E5F3CCC7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38357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DA7ED3-4024-487D-9944-49241AE17B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8549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r>
              <a:rPr lang="en-US" b="1"/>
              <a:t>Slide:</a:t>
            </a:r>
          </a:p>
          <a:p>
            <a:pPr marL="171759" indent="-171759">
              <a:buFontTx/>
              <a:buChar char="-"/>
            </a:pPr>
            <a:r>
              <a:rPr lang="en-US"/>
              <a:t>In this forum, everyone probably already agrees that AI has the potential for tremendous good.</a:t>
            </a:r>
          </a:p>
          <a:p>
            <a:pPr marL="171759" indent="-171759">
              <a:buFontTx/>
              <a:buChar char="-"/>
            </a:pPr>
            <a:r>
              <a:rPr lang="en-US"/>
              <a:t>However, before we dive into what’s happening to regulate and secure AI, worth reminding why we are doing this</a:t>
            </a:r>
          </a:p>
          <a:p>
            <a:pPr marL="171759" indent="-171759">
              <a:buFontTx/>
              <a:buChar char="-"/>
            </a:pPr>
            <a:r>
              <a:rPr lang="en-US"/>
              <a:t>Tremendous benefit, huge range of applications, etc.</a:t>
            </a:r>
          </a:p>
          <a:p>
            <a:endParaRPr lang="en-US"/>
          </a:p>
          <a:p>
            <a:r>
              <a:rPr lang="en-US" b="1"/>
              <a:t>Transition:</a:t>
            </a:r>
          </a:p>
          <a:p>
            <a:r>
              <a:rPr lang="en-US" b="0"/>
              <a:t>- However, with the benefits comes a range of new downsides as well</a:t>
            </a:r>
            <a:endParaRPr lang="en-AU" b="0"/>
          </a:p>
        </p:txBody>
      </p:sp>
      <p:sp>
        <p:nvSpPr>
          <p:cNvPr id="4" name="Slide Number Placeholder 3"/>
          <p:cNvSpPr>
            <a:spLocks noGrp="1"/>
          </p:cNvSpPr>
          <p:nvPr>
            <p:ph type="sldNum" sz="quarter" idx="5"/>
            <p:custDataLst>
              <p:tags r:id="rId3"/>
            </p:custDataLst>
          </p:nvPr>
        </p:nvSpPr>
        <p:spPr/>
        <p:txBody>
          <a:bodyPr/>
          <a:lstStyle/>
          <a:p>
            <a:fld id="{CDD705DF-7CA7-4A47-BADC-63E68090C842}" type="slidenum">
              <a:rPr lang="en-AU" smtClean="0"/>
              <a:t>2</a:t>
            </a:fld>
            <a:endParaRPr lang="en-AU"/>
          </a:p>
        </p:txBody>
      </p:sp>
    </p:spTree>
    <p:extLst>
      <p:ext uri="{BB962C8B-B14F-4D97-AF65-F5344CB8AC3E}">
        <p14:creationId xmlns:p14="http://schemas.microsoft.com/office/powerpoint/2010/main" val="819685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r>
              <a:rPr lang="en-GB" b="1"/>
              <a:t>Slide:</a:t>
            </a:r>
          </a:p>
          <a:p>
            <a:pPr marL="171759" indent="-171759">
              <a:buFontTx/>
              <a:buChar char="-"/>
            </a:pPr>
            <a:r>
              <a:rPr lang="en-GB"/>
              <a:t>AI also carries risks – some old types, like discrimination and bias, and some new that we’ve never had to deal with before.</a:t>
            </a:r>
          </a:p>
          <a:p>
            <a:pPr marL="171759" indent="-171759">
              <a:buFontTx/>
              <a:buChar char="-"/>
            </a:pPr>
            <a:r>
              <a:rPr lang="en-GB"/>
              <a:t>We’ve seen many of these play out already… examples…</a:t>
            </a:r>
          </a:p>
          <a:p>
            <a:pPr marL="171759" indent="-171759">
              <a:buFontTx/>
              <a:buChar char="-"/>
            </a:pPr>
            <a:r>
              <a:rPr lang="en-GB"/>
              <a:t>And there are other, more serious risks that haven’t hit the headlines (and hopefully they never do)</a:t>
            </a:r>
          </a:p>
          <a:p>
            <a:pPr marL="171759" indent="-171759">
              <a:buFontTx/>
              <a:buChar char="-"/>
            </a:pPr>
            <a:endParaRPr lang="en-GB"/>
          </a:p>
          <a:p>
            <a:r>
              <a:rPr lang="en-GB" b="1"/>
              <a:t>Transition:</a:t>
            </a:r>
          </a:p>
          <a:p>
            <a:r>
              <a:rPr lang="en-GB" b="0"/>
              <a:t>- Over the last 3 months or so, there has been a lot of public discussion about the risks of AI.</a:t>
            </a:r>
          </a:p>
        </p:txBody>
      </p:sp>
      <p:sp>
        <p:nvSpPr>
          <p:cNvPr id="4" name="Slide Number Placeholder 3"/>
          <p:cNvSpPr>
            <a:spLocks noGrp="1"/>
          </p:cNvSpPr>
          <p:nvPr>
            <p:ph type="sldNum" sz="quarter" idx="5"/>
            <p:custDataLst>
              <p:tags r:id="rId3"/>
            </p:custDataLst>
          </p:nvPr>
        </p:nvSpPr>
        <p:spPr/>
        <p:txBody>
          <a:bodyPr/>
          <a:lstStyle/>
          <a:p>
            <a:fld id="{1CE4D39C-C3EF-4F51-844C-D0B5898F53A3}" type="slidenum">
              <a:rPr lang="en-GB" smtClean="0"/>
              <a:t>3</a:t>
            </a:fld>
            <a:endParaRPr lang="en-GB"/>
          </a:p>
        </p:txBody>
      </p:sp>
    </p:spTree>
    <p:extLst>
      <p:ext uri="{BB962C8B-B14F-4D97-AF65-F5344CB8AC3E}">
        <p14:creationId xmlns:p14="http://schemas.microsoft.com/office/powerpoint/2010/main" val="3033079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r>
              <a:rPr lang="en-US" b="1"/>
              <a:t>Slide:</a:t>
            </a:r>
          </a:p>
          <a:p>
            <a:pPr marL="171759" indent="-171759">
              <a:buFontTx/>
              <a:buChar char="-"/>
            </a:pPr>
            <a:r>
              <a:rPr lang="en-US"/>
              <a:t>There’s been a lot of discussion recently about how to regulate AI over the last 3-4 months. Spurred by AI Act, Bletchley AI Safety Summit, Biden Executive Order</a:t>
            </a:r>
          </a:p>
          <a:p>
            <a:endParaRPr lang="en-US"/>
          </a:p>
          <a:p>
            <a:pPr marL="171759" indent="-171759">
              <a:buFontTx/>
              <a:buChar char="-"/>
            </a:pPr>
            <a:r>
              <a:rPr lang="en-US"/>
              <a:t>There are still many unknowns, and policy makers are grappling with how to manage this new topic. They’re engaging with AI leaders globally, including through a wide range of public and private summits just like this one.</a:t>
            </a:r>
          </a:p>
          <a:p>
            <a:endParaRPr lang="en-US"/>
          </a:p>
          <a:p>
            <a:pPr marL="171759" indent="-171759">
              <a:buFontTx/>
              <a:buChar char="-"/>
            </a:pPr>
            <a:r>
              <a:rPr lang="en-US"/>
              <a:t>Despite ongoing uncertainty perhaps around </a:t>
            </a:r>
            <a:r>
              <a:rPr lang="en-US" i="1"/>
              <a:t>how</a:t>
            </a:r>
            <a:r>
              <a:rPr lang="en-US" i="0"/>
              <a:t> AI will be regulated, when we look across the global leaders in this space there’s actually a lot that everyone agrees on.</a:t>
            </a:r>
          </a:p>
          <a:p>
            <a:pPr marL="629782" lvl="1" indent="-171759">
              <a:buFontTx/>
              <a:buChar char="-"/>
            </a:pPr>
            <a:r>
              <a:rPr lang="en-US" i="0"/>
              <a:t>There are known issues with AI that should be regulated, including Bias, discrimination etc.</a:t>
            </a:r>
          </a:p>
          <a:p>
            <a:pPr marL="629782" lvl="1" indent="-171759">
              <a:buFontTx/>
              <a:buChar char="-"/>
            </a:pPr>
            <a:r>
              <a:rPr lang="en-AU"/>
              <a:t>2,3,4,5…</a:t>
            </a:r>
          </a:p>
          <a:p>
            <a:pPr marL="171759" indent="-171759">
              <a:buFontTx/>
              <a:buChar char="-"/>
            </a:pPr>
            <a:endParaRPr lang="en-AU"/>
          </a:p>
          <a:p>
            <a:pPr marL="171759" indent="-171759">
              <a:buFontTx/>
              <a:buChar char="-"/>
            </a:pPr>
            <a:r>
              <a:rPr lang="en-AU"/>
              <a:t>And there are, also, some areas of disagreement.</a:t>
            </a:r>
          </a:p>
          <a:p>
            <a:pPr marL="629782" lvl="1" indent="-171759">
              <a:buFontTx/>
              <a:buChar char="-"/>
            </a:pPr>
            <a:r>
              <a:rPr lang="en-AU"/>
              <a:t>The possibility of AI posing an existential threat </a:t>
            </a:r>
            <a:r>
              <a:rPr lang="en-AU" i="1"/>
              <a:t>at some point in the future </a:t>
            </a:r>
            <a:r>
              <a:rPr lang="en-AU"/>
              <a:t>is being taken seriously. There is still disagreement over how imminent that threat is, and how regulatory measures to address it should be prioritized vs other issues.</a:t>
            </a:r>
          </a:p>
          <a:p>
            <a:pPr marL="629782" lvl="1" indent="-171759">
              <a:buFontTx/>
              <a:buChar char="-"/>
            </a:pPr>
            <a:r>
              <a:rPr lang="en-AU"/>
              <a:t>There is disagreement over where accountability lies for AI, and how much responsibility developers of foundation models in particular should take.</a:t>
            </a:r>
          </a:p>
          <a:p>
            <a:pPr marL="629782" lvl="1" indent="-171759">
              <a:buFontTx/>
              <a:buChar char="-"/>
            </a:pPr>
            <a:r>
              <a:rPr lang="en-AU"/>
              <a:t>And then, across all of the things on this page, there will be different regulatory approaches taken (and we’ll talk about that shortly)</a:t>
            </a:r>
          </a:p>
          <a:p>
            <a:pPr marL="629782" lvl="1" indent="-171759">
              <a:buFontTx/>
              <a:buChar char="-"/>
            </a:pPr>
            <a:endParaRPr lang="en-AU"/>
          </a:p>
          <a:p>
            <a:r>
              <a:rPr lang="en-AU" b="1"/>
              <a:t>Transition:</a:t>
            </a:r>
          </a:p>
          <a:p>
            <a:r>
              <a:rPr lang="en-AU" b="0"/>
              <a:t>- So how should we think about risk associated with AI?</a:t>
            </a:r>
          </a:p>
        </p:txBody>
      </p:sp>
      <p:sp>
        <p:nvSpPr>
          <p:cNvPr id="4" name="Slide Number Placeholder 3"/>
          <p:cNvSpPr>
            <a:spLocks noGrp="1"/>
          </p:cNvSpPr>
          <p:nvPr>
            <p:ph type="sldNum" sz="quarter" idx="5"/>
            <p:custDataLst>
              <p:tags r:id="rId3"/>
            </p:custDataLst>
          </p:nvPr>
        </p:nvSpPr>
        <p:spPr/>
        <p:txBody>
          <a:bodyPr/>
          <a:lstStyle/>
          <a:p>
            <a:fld id="{CDD705DF-7CA7-4A47-BADC-63E68090C842}" type="slidenum">
              <a:rPr lang="en-AU" smtClean="0"/>
              <a:t>4</a:t>
            </a:fld>
            <a:endParaRPr lang="en-AU"/>
          </a:p>
        </p:txBody>
      </p:sp>
    </p:spTree>
    <p:extLst>
      <p:ext uri="{BB962C8B-B14F-4D97-AF65-F5344CB8AC3E}">
        <p14:creationId xmlns:p14="http://schemas.microsoft.com/office/powerpoint/2010/main" val="10433542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pPr marL="171759" indent="-171759">
              <a:buFontTx/>
              <a:buChar char="-"/>
            </a:pPr>
            <a:r>
              <a:rPr lang="en-US"/>
              <a:t>***Not fully sure how this slide and the next fits into the flow now, but it’s framework-y. I think it just needs the right segway from the previous slides. </a:t>
            </a:r>
          </a:p>
          <a:p>
            <a:pPr marL="171759" indent="-171759">
              <a:buFontTx/>
              <a:buChar char="-"/>
            </a:pPr>
            <a:endParaRPr lang="en-US"/>
          </a:p>
          <a:p>
            <a:r>
              <a:rPr lang="en-US" b="1"/>
              <a:t>Slide:</a:t>
            </a:r>
          </a:p>
          <a:p>
            <a:pPr marL="171759" indent="-171759">
              <a:buFontTx/>
              <a:buChar char="-"/>
            </a:pPr>
            <a:endParaRPr lang="en-US"/>
          </a:p>
          <a:p>
            <a:pPr marL="171759" indent="-171759">
              <a:buFontTx/>
              <a:buChar char="-"/>
            </a:pPr>
            <a:r>
              <a:rPr lang="en-US"/>
              <a:t>We don’t have a widely agreed-upon framework for AI safety. </a:t>
            </a:r>
          </a:p>
          <a:p>
            <a:pPr marL="171759" indent="-171759">
              <a:buFontTx/>
              <a:buChar char="-"/>
            </a:pPr>
            <a:r>
              <a:rPr lang="en-US"/>
              <a:t>One way of thinking about this, beyond just raw processing power, is in terms of embodiment and autonomy. </a:t>
            </a:r>
          </a:p>
          <a:p>
            <a:pPr marL="171759" indent="-171759">
              <a:buFontTx/>
              <a:buChar char="-"/>
            </a:pPr>
            <a:r>
              <a:rPr lang="en-US"/>
              <a:t>Embodiment is x…</a:t>
            </a:r>
          </a:p>
          <a:p>
            <a:pPr marL="171759" indent="-171759">
              <a:buFontTx/>
              <a:buChar char="-"/>
            </a:pPr>
            <a:r>
              <a:rPr lang="en-US"/>
              <a:t>Autonomy is y….</a:t>
            </a:r>
          </a:p>
          <a:p>
            <a:pPr marL="171759" indent="-171759">
              <a:buFontTx/>
              <a:buChar char="-"/>
            </a:pPr>
            <a:r>
              <a:rPr lang="en-AU"/>
              <a:t>Importantly, once an AI is released to the world, both of these can increase independently of any changes in the underlying model. AI that exists </a:t>
            </a:r>
            <a:r>
              <a:rPr lang="en-AU" i="1"/>
              <a:t>today</a:t>
            </a:r>
            <a:r>
              <a:rPr lang="en-AU" i="0"/>
              <a:t>, can be allowed to interact directly with the world, and it can – to at least some degree – be made fully autonomous.</a:t>
            </a:r>
          </a:p>
          <a:p>
            <a:pPr marL="171759" indent="-171759">
              <a:buFontTx/>
              <a:buChar char="-"/>
            </a:pPr>
            <a:endParaRPr lang="en-AU" i="0"/>
          </a:p>
          <a:p>
            <a:r>
              <a:rPr lang="en-AU" b="1" i="0"/>
              <a:t>Transition:</a:t>
            </a:r>
          </a:p>
          <a:p>
            <a:r>
              <a:rPr lang="en-AU" b="0" i="0"/>
              <a:t>- Putting that together…</a:t>
            </a:r>
            <a:endParaRPr lang="en-AU" b="0"/>
          </a:p>
        </p:txBody>
      </p:sp>
      <p:sp>
        <p:nvSpPr>
          <p:cNvPr id="4" name="Slide Number Placeholder 3"/>
          <p:cNvSpPr>
            <a:spLocks noGrp="1"/>
          </p:cNvSpPr>
          <p:nvPr>
            <p:ph type="sldNum" sz="quarter" idx="5"/>
            <p:custDataLst>
              <p:tags r:id="rId3"/>
            </p:custDataLst>
          </p:nvPr>
        </p:nvSpPr>
        <p:spPr/>
        <p:txBody>
          <a:bodyPr/>
          <a:lstStyle/>
          <a:p>
            <a:fld id="{CDD705DF-7CA7-4A47-BADC-63E68090C842}" type="slidenum">
              <a:rPr lang="en-AU" smtClean="0"/>
              <a:t>5</a:t>
            </a:fld>
            <a:endParaRPr lang="en-AU"/>
          </a:p>
        </p:txBody>
      </p:sp>
    </p:spTree>
    <p:extLst>
      <p:ext uri="{BB962C8B-B14F-4D97-AF65-F5344CB8AC3E}">
        <p14:creationId xmlns:p14="http://schemas.microsoft.com/office/powerpoint/2010/main" val="41067573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r>
              <a:rPr lang="en-US" b="1"/>
              <a:t>Slide:</a:t>
            </a:r>
          </a:p>
          <a:p>
            <a:pPr marL="171759" indent="-171759">
              <a:buFontTx/>
              <a:buChar char="-"/>
            </a:pPr>
            <a:r>
              <a:rPr lang="en-US"/>
              <a:t>When we put them on a 2x2 you can start to plot some types of AI that you are familiar with.</a:t>
            </a:r>
          </a:p>
          <a:p>
            <a:pPr marL="171759" indent="-171759">
              <a:buFontTx/>
              <a:buChar char="-"/>
            </a:pPr>
            <a:r>
              <a:rPr lang="en-US"/>
              <a:t>Interestingly, a single model can appear in multiple places</a:t>
            </a:r>
          </a:p>
          <a:p>
            <a:pPr marL="629782" lvl="1" indent="-171759">
              <a:buFontTx/>
              <a:buChar char="-"/>
            </a:pPr>
            <a:r>
              <a:rPr lang="en-US" err="1"/>
              <a:t>ChatGPT, on its own, with someone interacting through the web interface, would sit in the bottom left-hand corner</a:t>
            </a:r>
          </a:p>
          <a:p>
            <a:pPr marL="629782" lvl="1" indent="-171759">
              <a:buFontTx/>
              <a:buChar char="-"/>
            </a:pPr>
            <a:r>
              <a:rPr lang="en-US"/>
              <a:t>More advanced prompting techniques, together with API access, allows it to interact with itself and start creating more complex plans. Chain of thought pushes it to the right. Agent-based techniques push it further to the right.</a:t>
            </a:r>
          </a:p>
          <a:p>
            <a:pPr marL="629782" lvl="1" indent="-171759">
              <a:buFontTx/>
              <a:buChar char="-"/>
            </a:pPr>
            <a:r>
              <a:rPr lang="en-US"/>
              <a:t>And then, with plugins, GPT can start to interact with the world. It can control robots if you let it. It can send emails. It can browse the web. Make social media posts. Etc.</a:t>
            </a:r>
          </a:p>
          <a:p>
            <a:pPr marL="629782" lvl="1" indent="-171759">
              <a:buFontTx/>
              <a:buChar char="-"/>
            </a:pPr>
            <a:endParaRPr lang="en-US"/>
          </a:p>
          <a:p>
            <a:r>
              <a:rPr lang="en-US" b="1"/>
              <a:t>Transition: </a:t>
            </a:r>
          </a:p>
          <a:p>
            <a:pPr marL="171759" indent="-171759">
              <a:buFontTx/>
              <a:buChar char="-"/>
            </a:pPr>
            <a:r>
              <a:rPr lang="en-US"/>
              <a:t>And so, 12 months ago , we saw foundation models come into the public conscious in the lower left, and in less than a year they’ve moved from there up to the top right. And policy makers are taking notice now. We’re not starting at zero on AI policy, most countries have released AI strategies over the last 4-5 years, and many have released some ethical principles. However, it’s really been the last 6-12 months of developments that have seen a step-change in the amount of focus AI is receiving.</a:t>
            </a:r>
          </a:p>
          <a:p>
            <a:pPr marL="171759" indent="-171759">
              <a:buFontTx/>
              <a:buChar char="-"/>
            </a:pPr>
            <a:endParaRPr lang="en-AU"/>
          </a:p>
          <a:p>
            <a:endParaRPr lang="en-US" b="1"/>
          </a:p>
        </p:txBody>
      </p:sp>
      <p:sp>
        <p:nvSpPr>
          <p:cNvPr id="4" name="Slide Number Placeholder 3"/>
          <p:cNvSpPr>
            <a:spLocks noGrp="1"/>
          </p:cNvSpPr>
          <p:nvPr>
            <p:ph type="sldNum" sz="quarter" idx="5"/>
            <p:custDataLst>
              <p:tags r:id="rId3"/>
            </p:custDataLst>
          </p:nvPr>
        </p:nvSpPr>
        <p:spPr/>
        <p:txBody>
          <a:bodyPr/>
          <a:lstStyle/>
          <a:p>
            <a:fld id="{CDD705DF-7CA7-4A47-BADC-63E68090C842}" type="slidenum">
              <a:rPr lang="en-AU" smtClean="0"/>
              <a:t>6</a:t>
            </a:fld>
            <a:endParaRPr lang="en-AU"/>
          </a:p>
        </p:txBody>
      </p:sp>
    </p:spTree>
    <p:extLst>
      <p:ext uri="{BB962C8B-B14F-4D97-AF65-F5344CB8AC3E}">
        <p14:creationId xmlns:p14="http://schemas.microsoft.com/office/powerpoint/2010/main" val="21571893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endParaRPr lang="en-US"/>
          </a:p>
        </p:txBody>
      </p:sp>
      <p:sp>
        <p:nvSpPr>
          <p:cNvPr id="4" name="Slide Number Placeholder 3"/>
          <p:cNvSpPr>
            <a:spLocks noGrp="1"/>
          </p:cNvSpPr>
          <p:nvPr>
            <p:ph type="sldNum" sz="quarter" idx="10"/>
            <p:custDataLst>
              <p:tags r:id="rId3"/>
            </p:custDataLst>
          </p:nvPr>
        </p:nvSpPr>
        <p:spPr/>
        <p:txBody>
          <a:bodyPr/>
          <a:lstStyle/>
          <a:p>
            <a:pPr marL="178120" indent="-178120" defTabSz="712480">
              <a:spcBef>
                <a:spcPts val="1202"/>
              </a:spcBef>
              <a:defRPr/>
            </a:pPr>
            <a:fld id="{0D629B10-B782-4F0D-A9D3-484404719262}" type="slidenum">
              <a:rPr lang="en-US">
                <a:solidFill>
                  <a:prstClr val="black"/>
                </a:solidFill>
                <a:latin typeface="Calibri" panose="020F0502020204030204"/>
              </a:rPr>
              <a:pPr marL="178120" indent="-178120" defTabSz="712480">
                <a:spcBef>
                  <a:spcPts val="1202"/>
                </a:spcBef>
                <a:defRPr/>
              </a:pPr>
              <a:t>7</a:t>
            </a:fld>
            <a:endParaRPr lang="en-US">
              <a:solidFill>
                <a:prstClr val="black"/>
              </a:solidFill>
              <a:latin typeface="Calibri" panose="020F0502020204030204"/>
            </a:endParaRPr>
          </a:p>
        </p:txBody>
      </p:sp>
    </p:spTree>
    <p:extLst>
      <p:ext uri="{BB962C8B-B14F-4D97-AF65-F5344CB8AC3E}">
        <p14:creationId xmlns:p14="http://schemas.microsoft.com/office/powerpoint/2010/main" val="31912446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r>
              <a:rPr lang="en-US" b="1"/>
              <a:t>Slide:</a:t>
            </a:r>
          </a:p>
          <a:p>
            <a:r>
              <a:rPr lang="en-US"/>
              <a:t>- Today, the approach differs by region and country….</a:t>
            </a:r>
          </a:p>
          <a:p>
            <a:pPr marL="171759" indent="-171759">
              <a:buFontTx/>
              <a:buChar char="-"/>
            </a:pPr>
            <a:r>
              <a:rPr lang="en-US"/>
              <a:t>In the US….</a:t>
            </a:r>
          </a:p>
          <a:p>
            <a:pPr marL="171759" indent="-171759">
              <a:buFontTx/>
              <a:buChar char="-"/>
            </a:pPr>
            <a:r>
              <a:rPr lang="en-US"/>
              <a:t>In EU…</a:t>
            </a:r>
          </a:p>
          <a:p>
            <a:pPr marL="171759" indent="-171759">
              <a:buFontTx/>
              <a:buChar char="-"/>
            </a:pPr>
            <a:r>
              <a:rPr lang="en-AU"/>
              <a:t>Etc.</a:t>
            </a:r>
          </a:p>
          <a:p>
            <a:pPr marL="171759" indent="-171759">
              <a:buFontTx/>
              <a:buChar char="-"/>
            </a:pPr>
            <a:r>
              <a:rPr lang="en-AU"/>
              <a:t>Globally, we are seeing indications that the US, UK and EU will seek some sort of regulatory harmonization. However, at this stage that’s a long way away, though the intentions are there.</a:t>
            </a:r>
          </a:p>
          <a:p>
            <a:pPr marL="171759" indent="-171759">
              <a:buFontTx/>
              <a:buChar char="-"/>
            </a:pPr>
            <a:endParaRPr lang="en-AU"/>
          </a:p>
          <a:p>
            <a:r>
              <a:rPr lang="en-AU" b="1"/>
              <a:t>Transition:</a:t>
            </a:r>
          </a:p>
          <a:p>
            <a:r>
              <a:rPr lang="en-AU" b="0"/>
              <a:t>- To make sense of this…</a:t>
            </a:r>
          </a:p>
        </p:txBody>
      </p:sp>
      <p:sp>
        <p:nvSpPr>
          <p:cNvPr id="4" name="Slide Number Placeholder 3"/>
          <p:cNvSpPr>
            <a:spLocks noGrp="1"/>
          </p:cNvSpPr>
          <p:nvPr>
            <p:ph type="sldNum" sz="quarter" idx="5"/>
            <p:custDataLst>
              <p:tags r:id="rId3"/>
            </p:custDataLst>
          </p:nvPr>
        </p:nvSpPr>
        <p:spPr/>
        <p:txBody>
          <a:bodyPr/>
          <a:lstStyle/>
          <a:p>
            <a:fld id="{CDD705DF-7CA7-4A47-BADC-63E68090C842}" type="slidenum">
              <a:rPr lang="en-AU" smtClean="0"/>
              <a:t>8</a:t>
            </a:fld>
            <a:endParaRPr lang="en-AU"/>
          </a:p>
        </p:txBody>
      </p:sp>
    </p:spTree>
    <p:extLst>
      <p:ext uri="{BB962C8B-B14F-4D97-AF65-F5344CB8AC3E}">
        <p14:creationId xmlns:p14="http://schemas.microsoft.com/office/powerpoint/2010/main" val="12019524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r>
              <a:rPr lang="en-US" b="1"/>
              <a:t>Transition:</a:t>
            </a:r>
          </a:p>
          <a:p>
            <a:r>
              <a:rPr lang="en-US"/>
              <a:t>We can start to get a sense of what that might look like. Looking across policy documents like the original version of the EU AI Act, the UK Pro-Innovation Approach to AI Regulation, the Saudi AI Ethics Framework or the US AI Bill of Human Rights, and there are a pretty consistent set of themes that start to emerge. </a:t>
            </a:r>
          </a:p>
          <a:p>
            <a:pPr marL="171759" indent="-171759">
              <a:buFontTx/>
              <a:buChar char="-"/>
            </a:pPr>
            <a:r>
              <a:rPr lang="en-US"/>
              <a:t>Social equity…</a:t>
            </a:r>
          </a:p>
          <a:p>
            <a:pPr marL="171759" indent="-171759">
              <a:buFontTx/>
              <a:buChar char="-"/>
            </a:pPr>
            <a:r>
              <a:rPr lang="en-US"/>
              <a:t>Etc.</a:t>
            </a:r>
          </a:p>
          <a:p>
            <a:r>
              <a:rPr lang="en-US"/>
              <a:t>These are the things that regulation seeks to address when it comes to use cases. The specifics of </a:t>
            </a:r>
            <a:r>
              <a:rPr lang="en-US" i="1"/>
              <a:t>how </a:t>
            </a:r>
            <a:r>
              <a:rPr lang="en-US" i="0"/>
              <a:t>it does that are still unknown. </a:t>
            </a:r>
            <a:endParaRPr lang="en-US"/>
          </a:p>
        </p:txBody>
      </p:sp>
      <p:sp>
        <p:nvSpPr>
          <p:cNvPr id="4" name="Slide Number Placeholder 3"/>
          <p:cNvSpPr>
            <a:spLocks noGrp="1"/>
          </p:cNvSpPr>
          <p:nvPr>
            <p:ph type="sldNum" sz="quarter" idx="5"/>
            <p:custDataLst>
              <p:tags r:id="rId3"/>
            </p:custDataLst>
          </p:nvPr>
        </p:nvSpPr>
        <p:spPr/>
        <p:txBody>
          <a:bodyPr/>
          <a:lstStyle/>
          <a:p>
            <a:fld id="{F5958EC0-256B-48B3-9609-E18FC184BE7E}" type="slidenum">
              <a:rPr lang="en-US" smtClean="0"/>
              <a:t>9</a:t>
            </a:fld>
            <a:endParaRPr lang="en-US"/>
          </a:p>
        </p:txBody>
      </p:sp>
    </p:spTree>
    <p:extLst>
      <p:ext uri="{BB962C8B-B14F-4D97-AF65-F5344CB8AC3E}">
        <p14:creationId xmlns:p14="http://schemas.microsoft.com/office/powerpoint/2010/main" val="18267599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5.xml"/><Relationship Id="rId7" Type="http://schemas.openxmlformats.org/officeDocument/2006/relationships/tags" Target="../tags/tag19.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10" Type="http://schemas.openxmlformats.org/officeDocument/2006/relationships/image" Target="../media/image4.png"/><Relationship Id="rId4" Type="http://schemas.openxmlformats.org/officeDocument/2006/relationships/tags" Target="../tags/tag16.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BainLogo"/>
          <p:cNvPicPr>
            <a:picLocks noChangeAspect="1"/>
          </p:cNvPicPr>
          <p:nvPr userDrawn="1">
            <p:custDataLst>
              <p:tags r:id="rId1"/>
            </p:custDataLst>
          </p:nvPr>
        </p:nvPicPr>
        <p:blipFill>
          <a:blip r:embed="rId9">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sp>
        <p:nvSpPr>
          <p:cNvPr id="13" name="TextBox 12"/>
          <p:cNvSpPr txBox="1"/>
          <p:nvPr userDrawn="1">
            <p:custDataLst>
              <p:tags r:id="rId2"/>
            </p:custDataLst>
          </p:nvPr>
        </p:nvSpPr>
        <p:spPr>
          <a:xfrm>
            <a:off x="334963" y="5077602"/>
            <a:ext cx="884858" cy="246221"/>
          </a:xfrm>
          <a:prstGeom prst="rect">
            <a:avLst/>
          </a:prstGeom>
          <a:noFill/>
        </p:spPr>
        <p:txBody>
          <a:bodyPr wrap="none" lIns="0" tIns="0" rIns="0" bIns="0" rtlCol="0">
            <a:spAutoFit/>
          </a:bodyPr>
          <a:lstStyle/>
          <a:p>
            <a:pPr marL="0" indent="0">
              <a:buNone/>
            </a:pPr>
            <a:r>
              <a:rPr lang="en-US" sz="1600" b="1" cap="all" spc="300" baseline="0">
                <a:solidFill>
                  <a:schemeClr val="tx1"/>
                </a:solidFill>
              </a:rPr>
              <a:t>Draft</a:t>
            </a:r>
          </a:p>
        </p:txBody>
      </p:sp>
      <p:cxnSp>
        <p:nvCxnSpPr>
          <p:cNvPr id="5" name="SeparatorLine"/>
          <p:cNvCxnSpPr/>
          <p:nvPr userDrawn="1">
            <p:custDataLst>
              <p:tags r:id="rId3"/>
            </p:custDataLst>
          </p:nvPr>
        </p:nvCxnSpPr>
        <p:spPr>
          <a:xfrm>
            <a:off x="0" y="4873803"/>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ClientLogo"/>
          <p:cNvSpPr>
            <a:spLocks noGrp="1"/>
          </p:cNvSpPr>
          <p:nvPr>
            <p:ph type="pic" sz="quarter" idx="10"/>
            <p:custDataLst>
              <p:tags r:id="rId4"/>
            </p:custDataLst>
          </p:nvPr>
        </p:nvSpPr>
        <p:spPr>
          <a:xfrm>
            <a:off x="8617039" y="3364443"/>
            <a:ext cx="3239999" cy="1399647"/>
          </a:xfrm>
        </p:spPr>
        <p:txBody>
          <a:bodyPr/>
          <a:lstStyle>
            <a:lvl1pPr marL="0" indent="0">
              <a:buNone/>
              <a:defRPr/>
            </a:lvl1pPr>
          </a:lstStyle>
          <a:p>
            <a:r>
              <a:rPr lang="en-US"/>
              <a:t>Click icon to add picture</a:t>
            </a:r>
          </a:p>
        </p:txBody>
      </p:sp>
      <p:pic>
        <p:nvPicPr>
          <p:cNvPr id="8" name="Disclaimer"/>
          <p:cNvPicPr>
            <a:picLocks noChangeAspect="1"/>
          </p:cNvPicPr>
          <p:nvPr userDrawn="1">
            <p:custDataLst>
              <p:tags r:id="rId5"/>
            </p:custDataLst>
          </p:nvPr>
        </p:nvPicPr>
        <p:blipFill>
          <a:blip r:embed="rId10"/>
          <a:stretch>
            <a:fillRect/>
          </a:stretch>
        </p:blipFill>
        <p:spPr>
          <a:xfrm>
            <a:off x="315468" y="6547288"/>
            <a:ext cx="6407451" cy="274344"/>
          </a:xfrm>
          <a:prstGeom prst="rect">
            <a:avLst/>
          </a:prstGeom>
        </p:spPr>
      </p:pic>
      <p:sp>
        <p:nvSpPr>
          <p:cNvPr id="3" name="Subtitle"/>
          <p:cNvSpPr>
            <a:spLocks noGrp="1"/>
          </p:cNvSpPr>
          <p:nvPr>
            <p:ph type="subTitle" idx="1" hasCustomPrompt="1"/>
            <p:custDataLst>
              <p:tags r:id="rId6"/>
            </p:custDataLst>
          </p:nvPr>
        </p:nvSpPr>
        <p:spPr>
          <a:xfrm>
            <a:off x="334965" y="2420938"/>
            <a:ext cx="11522075" cy="900000"/>
          </a:xfrm>
        </p:spPr>
        <p:txBody>
          <a:bodyPr/>
          <a:lstStyle>
            <a:lvl1pPr marL="0" indent="0" algn="l">
              <a:lnSpc>
                <a:spcPct val="100000"/>
              </a:lnSpc>
              <a:spcBef>
                <a:spcPct val="0"/>
              </a:spcBef>
              <a:buNone/>
              <a:defRPr sz="22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contacts/date</a:t>
            </a:r>
          </a:p>
        </p:txBody>
      </p:sp>
      <p:sp>
        <p:nvSpPr>
          <p:cNvPr id="2" name="Title"/>
          <p:cNvSpPr>
            <a:spLocks noGrp="1"/>
          </p:cNvSpPr>
          <p:nvPr>
            <p:ph type="ctrTitle" hasCustomPrompt="1"/>
            <p:custDataLst>
              <p:tags r:id="rId7"/>
            </p:custDataLst>
          </p:nvPr>
        </p:nvSpPr>
        <p:spPr>
          <a:xfrm>
            <a:off x="334964" y="1268413"/>
            <a:ext cx="11522075" cy="900112"/>
          </a:xfrm>
        </p:spPr>
        <p:txBody>
          <a:bodyPr anchor="b"/>
          <a:lstStyle>
            <a:lvl1pPr algn="l">
              <a:spcBef>
                <a:spcPct val="0"/>
              </a:spcBef>
              <a:defRPr sz="2600" b="1">
                <a:solidFill>
                  <a:schemeClr val="tx1"/>
                </a:solidFill>
              </a:defRPr>
            </a:lvl1pPr>
          </a:lstStyle>
          <a:p>
            <a:r>
              <a:rPr lang="en-US"/>
              <a:t>Click to add title</a:t>
            </a:r>
          </a:p>
        </p:txBody>
      </p:sp>
    </p:spTree>
    <p:extLst>
      <p:ext uri="{BB962C8B-B14F-4D97-AF65-F5344CB8AC3E}">
        <p14:creationId xmlns:p14="http://schemas.microsoft.com/office/powerpoint/2010/main" val="4012046067"/>
      </p:ext>
    </p:extLst>
  </p:cSld>
  <p:clrMapOvr>
    <a:masterClrMapping/>
  </p:clrMapOvr>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3EE6C3F-72C6-42F5-BE3C-DD5C72D78564}" type="datetimeFigureOut">
              <a:rPr lang="en-SG" smtClean="0"/>
              <a:t>7/3/24</a:t>
            </a:fld>
            <a:endParaRPr lang="en-SG"/>
          </a:p>
        </p:txBody>
      </p:sp>
      <p:sp>
        <p:nvSpPr>
          <p:cNvPr id="6" name="Footer Placeholder 5"/>
          <p:cNvSpPr>
            <a:spLocks noGrp="1"/>
          </p:cNvSpPr>
          <p:nvPr>
            <p:ph type="ftr" sz="quarter" idx="11"/>
          </p:nvPr>
        </p:nvSpPr>
        <p:spPr/>
        <p:txBody>
          <a:bodyPr/>
          <a:lstStyle/>
          <a:p>
            <a:endParaRPr lang="en-SG"/>
          </a:p>
        </p:txBody>
      </p:sp>
      <p:sp>
        <p:nvSpPr>
          <p:cNvPr id="7" name="Slide Number Placeholder 6"/>
          <p:cNvSpPr>
            <a:spLocks noGrp="1"/>
          </p:cNvSpPr>
          <p:nvPr>
            <p:ph type="sldNum" sz="quarter" idx="12"/>
          </p:nvPr>
        </p:nvSpPr>
        <p:spPr/>
        <p:txBody>
          <a:bodyPr/>
          <a:lstStyle/>
          <a:p>
            <a:fld id="{36B268A1-A3D2-4589-86B1-8679836BCECD}" type="slidenum">
              <a:rPr lang="en-SG" smtClean="0"/>
              <a:t>‹#›</a:t>
            </a:fld>
            <a:endParaRPr lang="en-SG"/>
          </a:p>
        </p:txBody>
      </p:sp>
    </p:spTree>
    <p:extLst>
      <p:ext uri="{BB962C8B-B14F-4D97-AF65-F5344CB8AC3E}">
        <p14:creationId xmlns:p14="http://schemas.microsoft.com/office/powerpoint/2010/main" val="15687600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3EE6C3F-72C6-42F5-BE3C-DD5C72D78564}" type="datetimeFigureOut">
              <a:rPr lang="en-SG" smtClean="0"/>
              <a:t>7/3/24</a:t>
            </a:fld>
            <a:endParaRPr lang="en-SG"/>
          </a:p>
        </p:txBody>
      </p:sp>
      <p:sp>
        <p:nvSpPr>
          <p:cNvPr id="8" name="Footer Placeholder 7"/>
          <p:cNvSpPr>
            <a:spLocks noGrp="1"/>
          </p:cNvSpPr>
          <p:nvPr>
            <p:ph type="ftr" sz="quarter" idx="11"/>
          </p:nvPr>
        </p:nvSpPr>
        <p:spPr/>
        <p:txBody>
          <a:bodyPr/>
          <a:lstStyle/>
          <a:p>
            <a:endParaRPr lang="en-SG"/>
          </a:p>
        </p:txBody>
      </p:sp>
      <p:sp>
        <p:nvSpPr>
          <p:cNvPr id="9" name="Slide Number Placeholder 8"/>
          <p:cNvSpPr>
            <a:spLocks noGrp="1"/>
          </p:cNvSpPr>
          <p:nvPr>
            <p:ph type="sldNum" sz="quarter" idx="12"/>
          </p:nvPr>
        </p:nvSpPr>
        <p:spPr/>
        <p:txBody>
          <a:bodyPr/>
          <a:lstStyle/>
          <a:p>
            <a:fld id="{36B268A1-A3D2-4589-86B1-8679836BCECD}" type="slidenum">
              <a:rPr lang="en-SG" smtClean="0"/>
              <a:t>‹#›</a:t>
            </a:fld>
            <a:endParaRPr lang="en-SG"/>
          </a:p>
        </p:txBody>
      </p:sp>
    </p:spTree>
    <p:extLst>
      <p:ext uri="{BB962C8B-B14F-4D97-AF65-F5344CB8AC3E}">
        <p14:creationId xmlns:p14="http://schemas.microsoft.com/office/powerpoint/2010/main" val="2626366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3EE6C3F-72C6-42F5-BE3C-DD5C72D78564}" type="datetimeFigureOut">
              <a:rPr lang="en-SG" smtClean="0"/>
              <a:t>7/3/24</a:t>
            </a:fld>
            <a:endParaRPr lang="en-SG"/>
          </a:p>
        </p:txBody>
      </p:sp>
      <p:sp>
        <p:nvSpPr>
          <p:cNvPr id="4" name="Footer Placeholder 3"/>
          <p:cNvSpPr>
            <a:spLocks noGrp="1"/>
          </p:cNvSpPr>
          <p:nvPr>
            <p:ph type="ftr" sz="quarter" idx="11"/>
          </p:nvPr>
        </p:nvSpPr>
        <p:spPr/>
        <p:txBody>
          <a:bodyPr/>
          <a:lstStyle/>
          <a:p>
            <a:endParaRPr lang="en-SG"/>
          </a:p>
        </p:txBody>
      </p:sp>
      <p:sp>
        <p:nvSpPr>
          <p:cNvPr id="5" name="Slide Number Placeholder 4"/>
          <p:cNvSpPr>
            <a:spLocks noGrp="1"/>
          </p:cNvSpPr>
          <p:nvPr>
            <p:ph type="sldNum" sz="quarter" idx="12"/>
          </p:nvPr>
        </p:nvSpPr>
        <p:spPr/>
        <p:txBody>
          <a:bodyPr/>
          <a:lstStyle/>
          <a:p>
            <a:fld id="{36B268A1-A3D2-4589-86B1-8679836BCECD}" type="slidenum">
              <a:rPr lang="en-SG" smtClean="0"/>
              <a:t>‹#›</a:t>
            </a:fld>
            <a:endParaRPr lang="en-SG"/>
          </a:p>
        </p:txBody>
      </p:sp>
    </p:spTree>
    <p:extLst>
      <p:ext uri="{BB962C8B-B14F-4D97-AF65-F5344CB8AC3E}">
        <p14:creationId xmlns:p14="http://schemas.microsoft.com/office/powerpoint/2010/main" val="40119157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3EE6C3F-72C6-42F5-BE3C-DD5C72D78564}" type="datetimeFigureOut">
              <a:rPr lang="en-SG" smtClean="0"/>
              <a:t>7/3/24</a:t>
            </a:fld>
            <a:endParaRPr lang="en-SG"/>
          </a:p>
        </p:txBody>
      </p:sp>
      <p:sp>
        <p:nvSpPr>
          <p:cNvPr id="3" name="Footer Placeholder 2"/>
          <p:cNvSpPr>
            <a:spLocks noGrp="1"/>
          </p:cNvSpPr>
          <p:nvPr>
            <p:ph type="ftr" sz="quarter" idx="11"/>
          </p:nvPr>
        </p:nvSpPr>
        <p:spPr/>
        <p:txBody>
          <a:bodyPr/>
          <a:lstStyle/>
          <a:p>
            <a:endParaRPr lang="en-SG"/>
          </a:p>
        </p:txBody>
      </p:sp>
      <p:sp>
        <p:nvSpPr>
          <p:cNvPr id="4" name="Slide Number Placeholder 3"/>
          <p:cNvSpPr>
            <a:spLocks noGrp="1"/>
          </p:cNvSpPr>
          <p:nvPr>
            <p:ph type="sldNum" sz="quarter" idx="12"/>
          </p:nvPr>
        </p:nvSpPr>
        <p:spPr/>
        <p:txBody>
          <a:bodyPr/>
          <a:lstStyle/>
          <a:p>
            <a:fld id="{36B268A1-A3D2-4589-86B1-8679836BCECD}" type="slidenum">
              <a:rPr lang="en-SG" smtClean="0"/>
              <a:t>‹#›</a:t>
            </a:fld>
            <a:endParaRPr lang="en-SG"/>
          </a:p>
        </p:txBody>
      </p:sp>
    </p:spTree>
    <p:extLst>
      <p:ext uri="{BB962C8B-B14F-4D97-AF65-F5344CB8AC3E}">
        <p14:creationId xmlns:p14="http://schemas.microsoft.com/office/powerpoint/2010/main" val="35849338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B3EE6C3F-72C6-42F5-BE3C-DD5C72D78564}" type="datetimeFigureOut">
              <a:rPr lang="en-SG" smtClean="0"/>
              <a:t>7/3/24</a:t>
            </a:fld>
            <a:endParaRPr lang="en-SG"/>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SG"/>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36B268A1-A3D2-4589-86B1-8679836BCECD}" type="slidenum">
              <a:rPr lang="en-SG" smtClean="0"/>
              <a:t>‹#›</a:t>
            </a:fld>
            <a:endParaRPr lang="en-SG"/>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9044134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aseline="0"/>
            </a:lvl1pPr>
          </a:lstStyle>
          <a:p>
            <a:r>
              <a:rPr lang="en-US"/>
              <a:t>Click to edit Master title style</a:t>
            </a:r>
            <a:endParaRPr lang="en-US" dirty="0"/>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B3EE6C3F-72C6-42F5-BE3C-DD5C72D78564}" type="datetimeFigureOut">
              <a:rPr lang="en-SG" smtClean="0"/>
              <a:t>7/3/24</a:t>
            </a:fld>
            <a:endParaRPr lang="en-SG"/>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SG"/>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36B268A1-A3D2-4589-86B1-8679836BCECD}" type="slidenum">
              <a:rPr lang="en-SG" smtClean="0"/>
              <a:t>‹#›</a:t>
            </a:fld>
            <a:endParaRPr lang="en-SG"/>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33766294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3EE6C3F-72C6-42F5-BE3C-DD5C72D78564}" type="datetimeFigureOut">
              <a:rPr lang="en-SG" smtClean="0"/>
              <a:t>7/3/24</a:t>
            </a:fld>
            <a:endParaRPr lang="en-SG"/>
          </a:p>
        </p:txBody>
      </p:sp>
      <p:sp>
        <p:nvSpPr>
          <p:cNvPr id="5" name="Footer Placeholder 4"/>
          <p:cNvSpPr>
            <a:spLocks noGrp="1"/>
          </p:cNvSpPr>
          <p:nvPr>
            <p:ph type="ftr" sz="quarter" idx="11"/>
          </p:nvPr>
        </p:nvSpPr>
        <p:spPr/>
        <p:txBody>
          <a:bodyPr/>
          <a:lstStyle/>
          <a:p>
            <a:endParaRPr lang="en-SG"/>
          </a:p>
        </p:txBody>
      </p:sp>
      <p:sp>
        <p:nvSpPr>
          <p:cNvPr id="6" name="Slide Number Placeholder 5"/>
          <p:cNvSpPr>
            <a:spLocks noGrp="1"/>
          </p:cNvSpPr>
          <p:nvPr>
            <p:ph type="sldNum" sz="quarter" idx="12"/>
          </p:nvPr>
        </p:nvSpPr>
        <p:spPr/>
        <p:txBody>
          <a:bodyPr/>
          <a:lstStyle/>
          <a:p>
            <a:fld id="{36B268A1-A3D2-4589-86B1-8679836BCECD}" type="slidenum">
              <a:rPr lang="en-SG" smtClean="0"/>
              <a:t>‹#›</a:t>
            </a:fld>
            <a:endParaRPr lang="en-SG"/>
          </a:p>
        </p:txBody>
      </p:sp>
    </p:spTree>
    <p:extLst>
      <p:ext uri="{BB962C8B-B14F-4D97-AF65-F5344CB8AC3E}">
        <p14:creationId xmlns:p14="http://schemas.microsoft.com/office/powerpoint/2010/main" val="36475994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3EE6C3F-72C6-42F5-BE3C-DD5C72D78564}" type="datetimeFigureOut">
              <a:rPr lang="en-SG" smtClean="0"/>
              <a:t>7/3/24</a:t>
            </a:fld>
            <a:endParaRPr lang="en-SG"/>
          </a:p>
        </p:txBody>
      </p:sp>
      <p:sp>
        <p:nvSpPr>
          <p:cNvPr id="5" name="Footer Placeholder 4"/>
          <p:cNvSpPr>
            <a:spLocks noGrp="1"/>
          </p:cNvSpPr>
          <p:nvPr>
            <p:ph type="ftr" sz="quarter" idx="11"/>
          </p:nvPr>
        </p:nvSpPr>
        <p:spPr/>
        <p:txBody>
          <a:bodyPr/>
          <a:lstStyle/>
          <a:p>
            <a:endParaRPr lang="en-SG"/>
          </a:p>
        </p:txBody>
      </p:sp>
      <p:sp>
        <p:nvSpPr>
          <p:cNvPr id="6" name="Slide Number Placeholder 5"/>
          <p:cNvSpPr>
            <a:spLocks noGrp="1"/>
          </p:cNvSpPr>
          <p:nvPr>
            <p:ph type="sldNum" sz="quarter" idx="12"/>
          </p:nvPr>
        </p:nvSpPr>
        <p:spPr/>
        <p:txBody>
          <a:bodyPr/>
          <a:lstStyle/>
          <a:p>
            <a:fld id="{36B268A1-A3D2-4589-86B1-8679836BCECD}" type="slidenum">
              <a:rPr lang="en-SG" smtClean="0"/>
              <a:t>‹#›</a:t>
            </a:fld>
            <a:endParaRPr lang="en-SG"/>
          </a:p>
        </p:txBody>
      </p:sp>
    </p:spTree>
    <p:extLst>
      <p:ext uri="{BB962C8B-B14F-4D97-AF65-F5344CB8AC3E}">
        <p14:creationId xmlns:p14="http://schemas.microsoft.com/office/powerpoint/2010/main" val="29863650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147614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custDataLst>
              <p:tags r:id="rId1"/>
            </p:custDataLst>
          </p:nvPr>
        </p:nvSpPr>
        <p:spPr/>
        <p:txBody>
          <a:bodyPr/>
          <a:lstStyle/>
          <a:p>
            <a:r>
              <a:rPr lang="en-US"/>
              <a:t>Click to edit Master title style</a:t>
            </a:r>
          </a:p>
        </p:txBody>
      </p:sp>
    </p:spTree>
    <p:extLst>
      <p:ext uri="{BB962C8B-B14F-4D97-AF65-F5344CB8AC3E}">
        <p14:creationId xmlns:p14="http://schemas.microsoft.com/office/powerpoint/2010/main" val="604292435"/>
      </p:ext>
    </p:extLst>
  </p:cSld>
  <p:clrMapOvr>
    <a:masterClrMapping/>
  </p:clrMapOvr>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pic>
        <p:nvPicPr>
          <p:cNvPr id="38" name="BainLogo"/>
          <p:cNvPicPr>
            <a:picLocks noChangeAspect="1"/>
          </p:cNvPicPr>
          <p:nvPr userDrawn="1">
            <p:custDataLst>
              <p:tags r:id="rId1"/>
            </p:custDataLst>
          </p:nvPr>
        </p:nvPicPr>
        <p:blipFill>
          <a:blip r:embed="rId4">
            <a:extLst>
              <a:ext uri="{28A0092B-C50C-407E-A947-70E740481C1C}">
                <a14:useLocalDpi xmlns:a14="http://schemas.microsoft.com/office/drawing/2010/main" val="0"/>
              </a:ext>
            </a:extLst>
          </a:blip>
          <a:stretch>
            <a:fillRect/>
          </a:stretch>
        </p:blipFill>
        <p:spPr>
          <a:xfrm>
            <a:off x="8617037" y="4998212"/>
            <a:ext cx="3240000" cy="405000"/>
          </a:xfrm>
          <a:prstGeom prst="rect">
            <a:avLst/>
          </a:prstGeom>
        </p:spPr>
      </p:pic>
      <p:cxnSp>
        <p:nvCxnSpPr>
          <p:cNvPr id="39" name="SeparatorLine"/>
          <p:cNvCxnSpPr/>
          <p:nvPr userDrawn="1">
            <p:custDataLst>
              <p:tags r:id="rId2"/>
            </p:custDataLst>
          </p:nvPr>
        </p:nvCxnSpPr>
        <p:spPr>
          <a:xfrm>
            <a:off x="0" y="5481638"/>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7323518"/>
      </p:ext>
    </p:extLst>
  </p:cSld>
  <p:clrMapOvr>
    <a:masterClrMapping/>
  </p:clrMapOvr>
  <p:transition/>
  <p:extLst>
    <p:ext uri="{DCECCB84-F9BA-43D5-87BE-67443E8EF086}">
      <p15:sldGuideLst xmlns:p15="http://schemas.microsoft.com/office/powerpoint/2012/main">
        <p15:guide id="1" orient="horz" pos="3453" userDrawn="1">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2" name="Disclaimer">
            <a:extLst>
              <a:ext uri="{FF2B5EF4-FFF2-40B4-BE49-F238E27FC236}">
                <a16:creationId xmlns:a16="http://schemas.microsoft.com/office/drawing/2014/main" id="{81AB6904-8892-68AF-D391-28B71C1FBDE7}"/>
              </a:ext>
            </a:extLst>
          </p:cNvPr>
          <p:cNvPicPr>
            <a:picLocks noChangeAspect="1"/>
          </p:cNvPicPr>
          <p:nvPr userDrawn="1">
            <p:custDataLst>
              <p:tags r:id="rId1"/>
            </p:custDataLst>
          </p:nvPr>
        </p:nvPicPr>
        <p:blipFill>
          <a:blip r:embed="rId3"/>
          <a:stretch>
            <a:fillRect/>
          </a:stretch>
        </p:blipFill>
        <p:spPr>
          <a:xfrm>
            <a:off x="316547" y="6641266"/>
            <a:ext cx="6407451" cy="176799"/>
          </a:xfrm>
          <a:prstGeom prst="rect">
            <a:avLst/>
          </a:prstGeom>
        </p:spPr>
      </p:pic>
    </p:spTree>
    <p:extLst>
      <p:ext uri="{BB962C8B-B14F-4D97-AF65-F5344CB8AC3E}">
        <p14:creationId xmlns:p14="http://schemas.microsoft.com/office/powerpoint/2010/main" val="563444238"/>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Plus Bold">
    <p:spTree>
      <p:nvGrpSpPr>
        <p:cNvPr id="1" name=""/>
        <p:cNvGrpSpPr/>
        <p:nvPr/>
      </p:nvGrpSpPr>
      <p:grpSpPr>
        <a:xfrm>
          <a:off x="0" y="0"/>
          <a:ext cx="0" cy="0"/>
          <a:chOff x="0" y="0"/>
          <a:chExt cx="0" cy="0"/>
        </a:xfrm>
      </p:grpSpPr>
      <p:sp>
        <p:nvSpPr>
          <p:cNvPr id="2" name="Title"/>
          <p:cNvSpPr>
            <a:spLocks noGrp="1"/>
          </p:cNvSpPr>
          <p:nvPr>
            <p:ph type="title"/>
            <p:custDataLst>
              <p:tags r:id="rId2"/>
            </p:custDataLst>
          </p:nvPr>
        </p:nvSpPr>
        <p:spPr>
          <a:xfrm>
            <a:off x="347472" y="164591"/>
            <a:ext cx="11521440" cy="1097280"/>
          </a:xfrm>
        </p:spPr>
        <p:txBody>
          <a:bodyPr anchor="ctr" anchorCtr="0"/>
          <a:lstStyle>
            <a:lvl1pPr>
              <a:defRPr sz="2400"/>
            </a:lvl1pPr>
          </a:lstStyle>
          <a:p>
            <a:r>
              <a:rPr lang="en-US"/>
              <a:t>Click to edit Master title style</a:t>
            </a:r>
          </a:p>
        </p:txBody>
      </p:sp>
      <p:pic>
        <p:nvPicPr>
          <p:cNvPr id="3" name="Disclaimer">
            <a:extLst>
              <a:ext uri="{FF2B5EF4-FFF2-40B4-BE49-F238E27FC236}">
                <a16:creationId xmlns:a16="http://schemas.microsoft.com/office/drawing/2014/main" id="{2C0994DF-BB59-433C-4741-9903E081D136}"/>
              </a:ext>
            </a:extLst>
          </p:cNvPr>
          <p:cNvPicPr>
            <a:picLocks noChangeAspect="1"/>
          </p:cNvPicPr>
          <p:nvPr userDrawn="1">
            <p:custDataLst>
              <p:tags r:id="rId3"/>
            </p:custDataLst>
          </p:nvPr>
        </p:nvPicPr>
        <p:blipFill>
          <a:blip r:embed="rId5"/>
          <a:stretch>
            <a:fillRect/>
          </a:stretch>
        </p:blipFill>
        <p:spPr>
          <a:xfrm>
            <a:off x="316547" y="6641266"/>
            <a:ext cx="6407451" cy="176799"/>
          </a:xfrm>
          <a:prstGeom prst="rect">
            <a:avLst/>
          </a:prstGeom>
        </p:spPr>
      </p:pic>
    </p:spTree>
    <p:custDataLst>
      <p:tags r:id="rId1"/>
    </p:custDataLst>
    <p:extLst>
      <p:ext uri="{BB962C8B-B14F-4D97-AF65-F5344CB8AC3E}">
        <p14:creationId xmlns:p14="http://schemas.microsoft.com/office/powerpoint/2010/main" val="1287938616"/>
      </p:ext>
    </p:extLst>
  </p:cSld>
  <p:clrMapOvr>
    <a:masterClrMapping/>
  </p:clrMapOvr>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2_Plus">
    <p:spTree>
      <p:nvGrpSpPr>
        <p:cNvPr id="1" name=""/>
        <p:cNvGrpSpPr/>
        <p:nvPr/>
      </p:nvGrpSpPr>
      <p:grpSpPr>
        <a:xfrm>
          <a:off x="0" y="0"/>
          <a:ext cx="0" cy="0"/>
          <a:chOff x="0" y="0"/>
          <a:chExt cx="0" cy="0"/>
        </a:xfrm>
      </p:grpSpPr>
      <p:sp>
        <p:nvSpPr>
          <p:cNvPr id="2" name="Title"/>
          <p:cNvSpPr>
            <a:spLocks noGrp="1"/>
          </p:cNvSpPr>
          <p:nvPr>
            <p:ph type="title"/>
            <p:custDataLst>
              <p:tags r:id="rId2"/>
            </p:custDataLst>
          </p:nvPr>
        </p:nvSpPr>
        <p:spPr>
          <a:xfrm>
            <a:off x="339725" y="386963"/>
            <a:ext cx="11522075" cy="876687"/>
          </a:xfrm>
        </p:spPr>
        <p:txBody>
          <a:bodyPr anchor="t"/>
          <a:lstStyle>
            <a:lvl1pPr>
              <a:defRPr sz="3200" baseline="0"/>
            </a:lvl1pPr>
          </a:lstStyle>
          <a:p>
            <a:r>
              <a:rPr lang="en-US"/>
              <a:t>Click to edit Master title style</a:t>
            </a:r>
          </a:p>
        </p:txBody>
      </p:sp>
      <p:sp>
        <p:nvSpPr>
          <p:cNvPr id="3" name="btfpLayoutConfig" hidden="1"/>
          <p:cNvSpPr txBox="1"/>
          <p:nvPr userDrawn="1">
            <p:custDataLst>
              <p:tags r:id="rId3"/>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CA" sz="100">
                <a:solidFill>
                  <a:srgbClr val="FFFFFF">
                    <a:alpha val="0"/>
                  </a:srgbClr>
                </a:solidFill>
              </a:rPr>
              <a:t>overall_0_132169379345980627 columns_1_132169379345980627 </a:t>
            </a:r>
          </a:p>
        </p:txBody>
      </p:sp>
      <p:pic>
        <p:nvPicPr>
          <p:cNvPr id="4" name="Disclaimer">
            <a:extLst>
              <a:ext uri="{FF2B5EF4-FFF2-40B4-BE49-F238E27FC236}">
                <a16:creationId xmlns:a16="http://schemas.microsoft.com/office/drawing/2014/main" id="{F5559AD2-A197-A448-F56D-14CF32CC9B3F}"/>
              </a:ext>
            </a:extLst>
          </p:cNvPr>
          <p:cNvPicPr>
            <a:picLocks noChangeAspect="1"/>
          </p:cNvPicPr>
          <p:nvPr userDrawn="1">
            <p:custDataLst>
              <p:tags r:id="rId4"/>
            </p:custDataLst>
          </p:nvPr>
        </p:nvPicPr>
        <p:blipFill>
          <a:blip r:embed="rId6"/>
          <a:stretch>
            <a:fillRect/>
          </a:stretch>
        </p:blipFill>
        <p:spPr>
          <a:xfrm>
            <a:off x="316547" y="6641266"/>
            <a:ext cx="6407451" cy="176799"/>
          </a:xfrm>
          <a:prstGeom prst="rect">
            <a:avLst/>
          </a:prstGeom>
        </p:spPr>
      </p:pic>
    </p:spTree>
    <p:custDataLst>
      <p:tags r:id="rId1"/>
    </p:custDataLst>
    <p:extLst>
      <p:ext uri="{BB962C8B-B14F-4D97-AF65-F5344CB8AC3E}">
        <p14:creationId xmlns:p14="http://schemas.microsoft.com/office/powerpoint/2010/main" val="2541805267"/>
      </p:ext>
    </p:extLst>
  </p:cSld>
  <p:clrMapOvr>
    <a:masterClrMapping/>
  </p:clrMapOvr>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15128" y="1788454"/>
            <a:ext cx="8361229" cy="2098226"/>
          </a:xfrm>
        </p:spPr>
        <p:txBody>
          <a:bodyPr anchor="b">
            <a:noAutofit/>
          </a:bodyPr>
          <a:lstStyle>
            <a:lvl1pPr algn="ctr">
              <a:defRPr sz="7200" cap="all" baseline="0">
                <a:solidFill>
                  <a:schemeClr val="tx2"/>
                </a:solidFill>
              </a:defRPr>
            </a:lvl1pPr>
          </a:lstStyle>
          <a:p>
            <a:r>
              <a:rPr lang="en-US"/>
              <a:t>Click to edit Master title style</a:t>
            </a:r>
            <a:endParaRPr lang="en-US" dirty="0"/>
          </a:p>
        </p:txBody>
      </p:sp>
      <p:sp>
        <p:nvSpPr>
          <p:cNvPr id="3" name="Subtitle 2"/>
          <p:cNvSpPr>
            <a:spLocks noGrp="1"/>
          </p:cNvSpPr>
          <p:nvPr>
            <p:ph type="subTitle" idx="1"/>
          </p:nvPr>
        </p:nvSpPr>
        <p:spPr>
          <a:xfrm>
            <a:off x="2679906" y="3956279"/>
            <a:ext cx="6831673" cy="1086237"/>
          </a:xfrm>
        </p:spPr>
        <p:txBody>
          <a:bodyPr>
            <a:normAutofit/>
          </a:bodyPr>
          <a:lstStyle>
            <a:lvl1pPr marL="0" indent="0" algn="ctr">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B3EE6C3F-72C6-42F5-BE3C-DD5C72D78564}" type="datetimeFigureOut">
              <a:rPr lang="en-SG" smtClean="0"/>
              <a:t>7/3/24</a:t>
            </a:fld>
            <a:endParaRPr lang="en-SG"/>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SG"/>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36B268A1-A3D2-4589-86B1-8679836BCECD}" type="slidenum">
              <a:rPr lang="en-SG" smtClean="0"/>
              <a:t>‹#›</a:t>
            </a:fld>
            <a:endParaRPr lang="en-SG"/>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spTree>
    <p:extLst>
      <p:ext uri="{BB962C8B-B14F-4D97-AF65-F5344CB8AC3E}">
        <p14:creationId xmlns:p14="http://schemas.microsoft.com/office/powerpoint/2010/main" val="190045391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3EE6C3F-72C6-42F5-BE3C-DD5C72D78564}" type="datetimeFigureOut">
              <a:rPr lang="en-SG" smtClean="0"/>
              <a:t>7/3/24</a:t>
            </a:fld>
            <a:endParaRPr lang="en-SG"/>
          </a:p>
        </p:txBody>
      </p:sp>
      <p:sp>
        <p:nvSpPr>
          <p:cNvPr id="5" name="Footer Placeholder 4"/>
          <p:cNvSpPr>
            <a:spLocks noGrp="1"/>
          </p:cNvSpPr>
          <p:nvPr>
            <p:ph type="ftr" sz="quarter" idx="11"/>
          </p:nvPr>
        </p:nvSpPr>
        <p:spPr/>
        <p:txBody>
          <a:bodyPr/>
          <a:lstStyle/>
          <a:p>
            <a:endParaRPr lang="en-SG"/>
          </a:p>
        </p:txBody>
      </p:sp>
      <p:sp>
        <p:nvSpPr>
          <p:cNvPr id="6" name="Slide Number Placeholder 5"/>
          <p:cNvSpPr>
            <a:spLocks noGrp="1"/>
          </p:cNvSpPr>
          <p:nvPr>
            <p:ph type="sldNum" sz="quarter" idx="12"/>
          </p:nvPr>
        </p:nvSpPr>
        <p:spPr/>
        <p:txBody>
          <a:bodyPr/>
          <a:lstStyle/>
          <a:p>
            <a:fld id="{36B268A1-A3D2-4589-86B1-8679836BCECD}" type="slidenum">
              <a:rPr lang="en-SG" smtClean="0"/>
              <a:t>‹#›</a:t>
            </a:fld>
            <a:endParaRPr lang="en-SG"/>
          </a:p>
        </p:txBody>
      </p:sp>
    </p:spTree>
    <p:extLst>
      <p:ext uri="{BB962C8B-B14F-4D97-AF65-F5344CB8AC3E}">
        <p14:creationId xmlns:p14="http://schemas.microsoft.com/office/powerpoint/2010/main" val="6316222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65025" y="1301360"/>
            <a:ext cx="9612971" cy="2852737"/>
          </a:xfrm>
        </p:spPr>
        <p:txBody>
          <a:bodyPr anchor="b">
            <a:normAutofit/>
          </a:bodyPr>
          <a:lstStyle>
            <a:lvl1pPr algn="r">
              <a:defRPr sz="7200" cap="all" baseline="0">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B3EE6C3F-72C6-42F5-BE3C-DD5C72D78564}" type="datetimeFigureOut">
              <a:rPr lang="en-SG" smtClean="0"/>
              <a:t>7/3/24</a:t>
            </a:fld>
            <a:endParaRPr lang="en-SG"/>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SG"/>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36B268A1-A3D2-4589-86B1-8679836BCECD}" type="slidenum">
              <a:rPr lang="en-SG" smtClean="0"/>
              <a:t>‹#›</a:t>
            </a:fld>
            <a:endParaRPr lang="en-SG"/>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chemeClr val="tx2"/>
          </a:solidFill>
          <a:ln w="0">
            <a:noFill/>
            <a:prstDash val="solid"/>
            <a:round/>
            <a:headEnd/>
            <a:tailEnd/>
          </a:ln>
        </p:spPr>
      </p:sp>
    </p:spTree>
    <p:extLst>
      <p:ext uri="{BB962C8B-B14F-4D97-AF65-F5344CB8AC3E}">
        <p14:creationId xmlns:p14="http://schemas.microsoft.com/office/powerpoint/2010/main" val="3414153401"/>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3" Type="http://schemas.openxmlformats.org/officeDocument/2006/relationships/slideLayout" Target="../slideLayouts/slideLayout3.xml"/><Relationship Id="rId21" Type="http://schemas.openxmlformats.org/officeDocument/2006/relationships/image" Target="../media/image2.emf"/><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tags" Target="../tags/tag11.xml"/><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949F73F-40C4-459A-87F2-5B4A916D85AA}"/>
              </a:ext>
            </a:extLst>
          </p:cNvPr>
          <p:cNvGraphicFramePr>
            <a:graphicFrameLocks noChangeAspect="1"/>
          </p:cNvGraphicFramePr>
          <p:nvPr userDrawn="1">
            <p:custDataLst>
              <p:tags r:id="rId8"/>
            </p:custDataLst>
            <p:extLst>
              <p:ext uri="{D42A27DB-BD31-4B8C-83A1-F6EECF244321}">
                <p14:modId xmlns:p14="http://schemas.microsoft.com/office/powerpoint/2010/main" val="243945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606" imgH="608" progId="TCLayout.ActiveDocument.1">
                  <p:embed/>
                </p:oleObj>
              </mc:Choice>
              <mc:Fallback>
                <p:oleObj name="think-cell Slide" r:id="rId19" imgW="606" imgH="608" progId="TCLayout.ActiveDocument.1">
                  <p:embed/>
                  <p:pic>
                    <p:nvPicPr>
                      <p:cNvPr id="0" name="OLE substitute imag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custDataLst>
              <p:tags r:id="rId9"/>
            </p:custDataLst>
          </p:nvPr>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lt;!-- BTFPCONFIGURATION: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gt;&lt;/BTFP&gt;</a:t>
            </a:r>
          </a:p>
        </p:txBody>
      </p:sp>
      <p:sp>
        <p:nvSpPr>
          <p:cNvPr id="19" name="SlideNumber"/>
          <p:cNvSpPr/>
          <p:nvPr userDrawn="1">
            <p:custDataLst>
              <p:tags r:id="rId10"/>
            </p:custDataLst>
          </p:nvPr>
        </p:nvSpPr>
        <p:spPr bwMode="gray">
          <a:xfrm>
            <a:off x="11715975" y="6649694"/>
            <a:ext cx="141064" cy="138499"/>
          </a:xfrm>
          <a:prstGeom prst="round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1200"/>
              </a:spcBef>
              <a:buNone/>
            </a:pPr>
            <a:fld id="{BB69BBE8-4DB2-4642-B003-B220ACD5A2FD}" type="slidenum">
              <a:rPr lang="en-US" sz="900" b="0" baseline="0" smtClean="0">
                <a:solidFill>
                  <a:schemeClr val="bg2"/>
                </a:solidFill>
                <a:latin typeface="+mn-lt"/>
              </a:rPr>
              <a:pPr marL="0" indent="0" algn="r" defTabSz="711200" rtl="0" eaLnBrk="1" latinLnBrk="0" hangingPunct="1">
                <a:spcBef>
                  <a:spcPts val="1200"/>
                </a:spcBef>
                <a:buNone/>
              </a:pPr>
              <a:t>‹#›</a:t>
            </a:fld>
            <a:endParaRPr lang="en-US" sz="900" b="0">
              <a:solidFill>
                <a:schemeClr val="bg2"/>
              </a:solidFill>
              <a:latin typeface="+mn-lt"/>
            </a:endParaRPr>
          </a:p>
        </p:txBody>
      </p:sp>
      <p:pic>
        <p:nvPicPr>
          <p:cNvPr id="12" name="BainLogo"/>
          <p:cNvPicPr>
            <a:picLocks noChangeAspect="1"/>
          </p:cNvPicPr>
          <p:nvPr userDrawn="1">
            <p:custDataLst>
              <p:tags r:id="rId11"/>
            </p:custDataLst>
          </p:nvPr>
        </p:nvPicPr>
        <p:blipFill>
          <a:blip r:embed="rId21">
            <a:extLst>
              <a:ext uri="{28A0092B-C50C-407E-A947-70E740481C1C}">
                <a14:useLocalDpi xmlns:a14="http://schemas.microsoft.com/office/drawing/2010/main" val="0"/>
              </a:ext>
            </a:extLst>
          </a:blip>
          <a:stretch>
            <a:fillRect/>
          </a:stretch>
        </p:blipFill>
        <p:spPr>
          <a:xfrm>
            <a:off x="10260000" y="6654664"/>
            <a:ext cx="1152000" cy="144000"/>
          </a:xfrm>
          <a:prstGeom prst="rect">
            <a:avLst/>
          </a:prstGeom>
        </p:spPr>
      </p:pic>
      <p:sp>
        <p:nvSpPr>
          <p:cNvPr id="8" name="CreatedFooter"/>
          <p:cNvSpPr/>
          <p:nvPr userDrawn="1">
            <p:custDataLst>
              <p:tags r:id="rId12"/>
            </p:custDataLst>
          </p:nvPr>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pl-PL" sz="600">
                <a:solidFill>
                  <a:srgbClr val="FFFFFF"/>
                </a:solidFill>
              </a:rPr>
              <a:t>Global AI Policy - MIT S ... I v1.5</a:t>
            </a:r>
            <a:endParaRPr lang="en-US" sz="600">
              <a:solidFill>
                <a:srgbClr val="FFFFFF"/>
              </a:solidFill>
            </a:endParaRPr>
          </a:p>
        </p:txBody>
      </p:sp>
      <p:sp>
        <p:nvSpPr>
          <p:cNvPr id="7" name="OfficeCode"/>
          <p:cNvSpPr/>
          <p:nvPr userDrawn="1">
            <p:custDataLst>
              <p:tags r:id="rId13"/>
            </p:custDataLst>
          </p:nvPr>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DBS</a:t>
            </a:r>
          </a:p>
        </p:txBody>
      </p:sp>
      <p:pic>
        <p:nvPicPr>
          <p:cNvPr id="14" name="Disclaimer"/>
          <p:cNvPicPr>
            <a:picLocks noChangeAspect="1"/>
          </p:cNvPicPr>
          <p:nvPr userDrawn="1">
            <p:custDataLst>
              <p:tags r:id="rId14"/>
            </p:custDataLst>
          </p:nvPr>
        </p:nvPicPr>
        <p:blipFill>
          <a:blip r:embed="rId22"/>
          <a:stretch>
            <a:fillRect/>
          </a:stretch>
        </p:blipFill>
        <p:spPr>
          <a:xfrm>
            <a:off x="316547" y="6641266"/>
            <a:ext cx="6407451" cy="176799"/>
          </a:xfrm>
          <a:prstGeom prst="rect">
            <a:avLst/>
          </a:prstGeom>
        </p:spPr>
      </p:pic>
      <p:cxnSp>
        <p:nvCxnSpPr>
          <p:cNvPr id="20" name="FooterSeparatorLine"/>
          <p:cNvCxnSpPr/>
          <p:nvPr userDrawn="1">
            <p:custDataLst>
              <p:tags r:id="rId15"/>
            </p:custDataLst>
          </p:nvPr>
        </p:nvCxnSpPr>
        <p:spPr>
          <a:xfrm>
            <a:off x="0" y="6598800"/>
            <a:ext cx="11857037"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ext Placeholder"/>
          <p:cNvSpPr>
            <a:spLocks noGrp="1"/>
          </p:cNvSpPr>
          <p:nvPr>
            <p:ph type="body" idx="1"/>
            <p:custDataLst>
              <p:tags r:id="rId16"/>
            </p:custDataLst>
          </p:nvPr>
        </p:nvSpPr>
        <p:spPr>
          <a:xfrm>
            <a:off x="334435" y="1268413"/>
            <a:ext cx="11522603" cy="5292725"/>
          </a:xfrm>
          <a:prstGeom prst="rect">
            <a:avLst/>
          </a:prstGeom>
        </p:spPr>
        <p:txBody>
          <a:bodyPr vert="horz" lIns="36000" tIns="36000" rIns="36000" bIns="36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3" name="TitleSeparatorLine"/>
          <p:cNvCxnSpPr/>
          <p:nvPr userDrawn="1">
            <p:custDataLst>
              <p:tags r:id="rId17"/>
            </p:custDataLst>
          </p:nvPr>
        </p:nvCxnSpPr>
        <p:spPr>
          <a:xfrm>
            <a:off x="0" y="873125"/>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Slide Title"/>
          <p:cNvSpPr>
            <a:spLocks noGrp="1"/>
          </p:cNvSpPr>
          <p:nvPr>
            <p:ph type="title"/>
            <p:custDataLst>
              <p:tags r:id="rId18"/>
            </p:custDataLst>
          </p:nvPr>
        </p:nvSpPr>
        <p:spPr>
          <a:xfrm>
            <a:off x="334963" y="1"/>
            <a:ext cx="11522075" cy="876687"/>
          </a:xfrm>
          <a:prstGeom prst="rect">
            <a:avLst/>
          </a:prstGeom>
        </p:spPr>
        <p:txBody>
          <a:bodyPr vert="horz" lIns="36000" tIns="36000" rIns="36000" bIns="72000" rtlCol="0" anchor="b">
            <a:noAutofit/>
          </a:bodyPr>
          <a:lstStyle/>
          <a:p>
            <a:r>
              <a:rPr lang="en-US"/>
              <a:t>Click to edit Master title style</a:t>
            </a:r>
          </a:p>
        </p:txBody>
      </p:sp>
    </p:spTree>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3" r:id="rId3"/>
    <p:sldLayoutId id="2147483655" r:id="rId4"/>
    <p:sldLayoutId id="2147483664" r:id="rId5"/>
    <p:sldLayoutId id="2147483665" r:id="rId6"/>
  </p:sldLayoutIdLst>
  <p:transition/>
  <p:txStyles>
    <p:title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userDrawn="1">
          <p15:clr>
            <a:srgbClr val="D1D1D1"/>
          </p15:clr>
        </p15:guide>
        <p15:guide id="4" orient="horz" pos="799" userDrawn="1">
          <p15:clr>
            <a:srgbClr val="D1D1D1"/>
          </p15:clr>
        </p15:guide>
        <p15:guide id="7" orient="horz" pos="4133" userDrawn="1">
          <p15:clr>
            <a:srgbClr val="D1D1D1"/>
          </p15:clr>
        </p15:guide>
        <p15:guide id="8" pos="208" userDrawn="1">
          <p15:clr>
            <a:srgbClr val="CCCCCC"/>
          </p15:clr>
        </p15:guide>
        <p15:guide id="9" pos="7472" userDrawn="1">
          <p15:clr>
            <a:srgbClr val="CCCCCC"/>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B3EE6C3F-72C6-42F5-BE3C-DD5C72D78564}" type="datetimeFigureOut">
              <a:rPr lang="en-SG" smtClean="0"/>
              <a:t>7/3/24</a:t>
            </a:fld>
            <a:endParaRPr lang="en-SG"/>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SG"/>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36B268A1-A3D2-4589-86B1-8679836BCECD}" type="slidenum">
              <a:rPr lang="en-SG" smtClean="0"/>
              <a:t>‹#›</a:t>
            </a:fld>
            <a:endParaRPr lang="en-SG"/>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179557697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Ls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94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s/_rels/slide1.xml.rels><?xml version="1.0" encoding="UTF-8" standalone="yes"?>
<Relationships xmlns="http://schemas.openxmlformats.org/package/2006/relationships"><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3" Type="http://schemas.openxmlformats.org/officeDocument/2006/relationships/tags" Target="../tags/tag39.xml"/><Relationship Id="rId21" Type="http://schemas.openxmlformats.org/officeDocument/2006/relationships/tags" Target="../tags/tag57.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33" Type="http://schemas.openxmlformats.org/officeDocument/2006/relationships/image" Target="../media/image5.jpeg"/><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tags" Target="../tags/tag65.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tags" Target="../tags/tag60.xml"/><Relationship Id="rId32" Type="http://schemas.openxmlformats.org/officeDocument/2006/relationships/notesSlide" Target="../notesSlides/notesSlide1.xml"/><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tags" Target="../tags/tag64.xml"/><Relationship Id="rId10" Type="http://schemas.openxmlformats.org/officeDocument/2006/relationships/tags" Target="../tags/tag46.xml"/><Relationship Id="rId19" Type="http://schemas.openxmlformats.org/officeDocument/2006/relationships/tags" Target="../tags/tag55.xml"/><Relationship Id="rId31" Type="http://schemas.openxmlformats.org/officeDocument/2006/relationships/slideLayout" Target="../slideLayouts/slideLayout4.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tags" Target="../tags/tag63.xml"/><Relationship Id="rId30" Type="http://schemas.openxmlformats.org/officeDocument/2006/relationships/tags" Target="../tags/tag66.xml"/><Relationship Id="rId8" Type="http://schemas.openxmlformats.org/officeDocument/2006/relationships/tags" Target="../tags/tag44.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e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8.xml"/><Relationship Id="rId4" Type="http://schemas.openxmlformats.org/officeDocument/2006/relationships/image" Target="../media/image5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6" Type="http://schemas.openxmlformats.org/officeDocument/2006/relationships/tags" Target="../tags/tag95.xml"/><Relationship Id="rId21" Type="http://schemas.openxmlformats.org/officeDocument/2006/relationships/tags" Target="../tags/tag90.xml"/><Relationship Id="rId42" Type="http://schemas.openxmlformats.org/officeDocument/2006/relationships/tags" Target="../tags/tag111.xml"/><Relationship Id="rId47" Type="http://schemas.openxmlformats.org/officeDocument/2006/relationships/tags" Target="../tags/tag116.xml"/><Relationship Id="rId63" Type="http://schemas.openxmlformats.org/officeDocument/2006/relationships/tags" Target="../tags/tag132.xml"/><Relationship Id="rId68" Type="http://schemas.openxmlformats.org/officeDocument/2006/relationships/tags" Target="../tags/tag137.xml"/><Relationship Id="rId16" Type="http://schemas.openxmlformats.org/officeDocument/2006/relationships/tags" Target="../tags/tag85.xml"/><Relationship Id="rId11" Type="http://schemas.openxmlformats.org/officeDocument/2006/relationships/tags" Target="../tags/tag80.xml"/><Relationship Id="rId32" Type="http://schemas.openxmlformats.org/officeDocument/2006/relationships/tags" Target="../tags/tag101.xml"/><Relationship Id="rId37" Type="http://schemas.openxmlformats.org/officeDocument/2006/relationships/tags" Target="../tags/tag106.xml"/><Relationship Id="rId53" Type="http://schemas.openxmlformats.org/officeDocument/2006/relationships/tags" Target="../tags/tag122.xml"/><Relationship Id="rId58" Type="http://schemas.openxmlformats.org/officeDocument/2006/relationships/tags" Target="../tags/tag127.xml"/><Relationship Id="rId74" Type="http://schemas.microsoft.com/office/2007/relationships/hdphoto" Target="../media/hdphoto2.wdp"/><Relationship Id="rId79" Type="http://schemas.openxmlformats.org/officeDocument/2006/relationships/image" Target="../media/image10.png"/><Relationship Id="rId5" Type="http://schemas.openxmlformats.org/officeDocument/2006/relationships/tags" Target="../tags/tag74.xml"/><Relationship Id="rId61" Type="http://schemas.openxmlformats.org/officeDocument/2006/relationships/tags" Target="../tags/tag130.xml"/><Relationship Id="rId82" Type="http://schemas.microsoft.com/office/2007/relationships/hdphoto" Target="../media/hdphoto6.wdp"/><Relationship Id="rId19" Type="http://schemas.openxmlformats.org/officeDocument/2006/relationships/tags" Target="../tags/tag88.xml"/><Relationship Id="rId14" Type="http://schemas.openxmlformats.org/officeDocument/2006/relationships/tags" Target="../tags/tag83.xml"/><Relationship Id="rId22" Type="http://schemas.openxmlformats.org/officeDocument/2006/relationships/tags" Target="../tags/tag91.xml"/><Relationship Id="rId27" Type="http://schemas.openxmlformats.org/officeDocument/2006/relationships/tags" Target="../tags/tag96.xml"/><Relationship Id="rId30" Type="http://schemas.openxmlformats.org/officeDocument/2006/relationships/tags" Target="../tags/tag99.xml"/><Relationship Id="rId35" Type="http://schemas.openxmlformats.org/officeDocument/2006/relationships/tags" Target="../tags/tag104.xml"/><Relationship Id="rId43" Type="http://schemas.openxmlformats.org/officeDocument/2006/relationships/tags" Target="../tags/tag112.xml"/><Relationship Id="rId48" Type="http://schemas.openxmlformats.org/officeDocument/2006/relationships/tags" Target="../tags/tag117.xml"/><Relationship Id="rId56" Type="http://schemas.openxmlformats.org/officeDocument/2006/relationships/tags" Target="../tags/tag125.xml"/><Relationship Id="rId64" Type="http://schemas.openxmlformats.org/officeDocument/2006/relationships/tags" Target="../tags/tag133.xml"/><Relationship Id="rId69" Type="http://schemas.openxmlformats.org/officeDocument/2006/relationships/slideLayout" Target="../slideLayouts/slideLayout4.xml"/><Relationship Id="rId77" Type="http://schemas.openxmlformats.org/officeDocument/2006/relationships/image" Target="../media/image9.png"/><Relationship Id="rId8" Type="http://schemas.openxmlformats.org/officeDocument/2006/relationships/tags" Target="../tags/tag77.xml"/><Relationship Id="rId51" Type="http://schemas.openxmlformats.org/officeDocument/2006/relationships/tags" Target="../tags/tag120.xml"/><Relationship Id="rId72" Type="http://schemas.microsoft.com/office/2007/relationships/hdphoto" Target="../media/hdphoto1.wdp"/><Relationship Id="rId80" Type="http://schemas.microsoft.com/office/2007/relationships/hdphoto" Target="../media/hdphoto5.wdp"/><Relationship Id="rId3" Type="http://schemas.openxmlformats.org/officeDocument/2006/relationships/tags" Target="../tags/tag72.xml"/><Relationship Id="rId12" Type="http://schemas.openxmlformats.org/officeDocument/2006/relationships/tags" Target="../tags/tag81.xml"/><Relationship Id="rId17" Type="http://schemas.openxmlformats.org/officeDocument/2006/relationships/tags" Target="../tags/tag86.xml"/><Relationship Id="rId25" Type="http://schemas.openxmlformats.org/officeDocument/2006/relationships/tags" Target="../tags/tag94.xml"/><Relationship Id="rId33" Type="http://schemas.openxmlformats.org/officeDocument/2006/relationships/tags" Target="../tags/tag102.xml"/><Relationship Id="rId38" Type="http://schemas.openxmlformats.org/officeDocument/2006/relationships/tags" Target="../tags/tag107.xml"/><Relationship Id="rId46" Type="http://schemas.openxmlformats.org/officeDocument/2006/relationships/tags" Target="../tags/tag115.xml"/><Relationship Id="rId59" Type="http://schemas.openxmlformats.org/officeDocument/2006/relationships/tags" Target="../tags/tag128.xml"/><Relationship Id="rId67" Type="http://schemas.openxmlformats.org/officeDocument/2006/relationships/tags" Target="../tags/tag136.xml"/><Relationship Id="rId20" Type="http://schemas.openxmlformats.org/officeDocument/2006/relationships/tags" Target="../tags/tag89.xml"/><Relationship Id="rId41" Type="http://schemas.openxmlformats.org/officeDocument/2006/relationships/tags" Target="../tags/tag110.xml"/><Relationship Id="rId54" Type="http://schemas.openxmlformats.org/officeDocument/2006/relationships/tags" Target="../tags/tag123.xml"/><Relationship Id="rId62" Type="http://schemas.openxmlformats.org/officeDocument/2006/relationships/tags" Target="../tags/tag131.xml"/><Relationship Id="rId70" Type="http://schemas.openxmlformats.org/officeDocument/2006/relationships/notesSlide" Target="../notesSlides/notesSlide2.xml"/><Relationship Id="rId75" Type="http://schemas.openxmlformats.org/officeDocument/2006/relationships/image" Target="../media/image8.png"/><Relationship Id="rId1" Type="http://schemas.openxmlformats.org/officeDocument/2006/relationships/tags" Target="../tags/tag70.xml"/><Relationship Id="rId6" Type="http://schemas.openxmlformats.org/officeDocument/2006/relationships/tags" Target="../tags/tag75.xml"/><Relationship Id="rId15" Type="http://schemas.openxmlformats.org/officeDocument/2006/relationships/tags" Target="../tags/tag84.xml"/><Relationship Id="rId23" Type="http://schemas.openxmlformats.org/officeDocument/2006/relationships/tags" Target="../tags/tag92.xml"/><Relationship Id="rId28" Type="http://schemas.openxmlformats.org/officeDocument/2006/relationships/tags" Target="../tags/tag97.xml"/><Relationship Id="rId36" Type="http://schemas.openxmlformats.org/officeDocument/2006/relationships/tags" Target="../tags/tag105.xml"/><Relationship Id="rId49" Type="http://schemas.openxmlformats.org/officeDocument/2006/relationships/tags" Target="../tags/tag118.xml"/><Relationship Id="rId57" Type="http://schemas.openxmlformats.org/officeDocument/2006/relationships/tags" Target="../tags/tag126.xml"/><Relationship Id="rId10" Type="http://schemas.openxmlformats.org/officeDocument/2006/relationships/tags" Target="../tags/tag79.xml"/><Relationship Id="rId31" Type="http://schemas.openxmlformats.org/officeDocument/2006/relationships/tags" Target="../tags/tag100.xml"/><Relationship Id="rId44" Type="http://schemas.openxmlformats.org/officeDocument/2006/relationships/tags" Target="../tags/tag113.xml"/><Relationship Id="rId52" Type="http://schemas.openxmlformats.org/officeDocument/2006/relationships/tags" Target="../tags/tag121.xml"/><Relationship Id="rId60" Type="http://schemas.openxmlformats.org/officeDocument/2006/relationships/tags" Target="../tags/tag129.xml"/><Relationship Id="rId65" Type="http://schemas.openxmlformats.org/officeDocument/2006/relationships/tags" Target="../tags/tag134.xml"/><Relationship Id="rId73" Type="http://schemas.openxmlformats.org/officeDocument/2006/relationships/image" Target="../media/image7.png"/><Relationship Id="rId78" Type="http://schemas.microsoft.com/office/2007/relationships/hdphoto" Target="../media/hdphoto4.wdp"/><Relationship Id="rId81" Type="http://schemas.openxmlformats.org/officeDocument/2006/relationships/image" Target="../media/image11.png"/><Relationship Id="rId4" Type="http://schemas.openxmlformats.org/officeDocument/2006/relationships/tags" Target="../tags/tag73.xml"/><Relationship Id="rId9" Type="http://schemas.openxmlformats.org/officeDocument/2006/relationships/tags" Target="../tags/tag78.xml"/><Relationship Id="rId13" Type="http://schemas.openxmlformats.org/officeDocument/2006/relationships/tags" Target="../tags/tag82.xml"/><Relationship Id="rId18" Type="http://schemas.openxmlformats.org/officeDocument/2006/relationships/tags" Target="../tags/tag87.xml"/><Relationship Id="rId39" Type="http://schemas.openxmlformats.org/officeDocument/2006/relationships/tags" Target="../tags/tag108.xml"/><Relationship Id="rId34" Type="http://schemas.openxmlformats.org/officeDocument/2006/relationships/tags" Target="../tags/tag103.xml"/><Relationship Id="rId50" Type="http://schemas.openxmlformats.org/officeDocument/2006/relationships/tags" Target="../tags/tag119.xml"/><Relationship Id="rId55" Type="http://schemas.openxmlformats.org/officeDocument/2006/relationships/tags" Target="../tags/tag124.xml"/><Relationship Id="rId76" Type="http://schemas.microsoft.com/office/2007/relationships/hdphoto" Target="../media/hdphoto3.wdp"/><Relationship Id="rId7" Type="http://schemas.openxmlformats.org/officeDocument/2006/relationships/tags" Target="../tags/tag76.xml"/><Relationship Id="rId71" Type="http://schemas.openxmlformats.org/officeDocument/2006/relationships/image" Target="../media/image6.png"/><Relationship Id="rId2" Type="http://schemas.openxmlformats.org/officeDocument/2006/relationships/tags" Target="../tags/tag71.xml"/><Relationship Id="rId29" Type="http://schemas.openxmlformats.org/officeDocument/2006/relationships/tags" Target="../tags/tag98.xml"/><Relationship Id="rId24" Type="http://schemas.openxmlformats.org/officeDocument/2006/relationships/tags" Target="../tags/tag93.xml"/><Relationship Id="rId40" Type="http://schemas.openxmlformats.org/officeDocument/2006/relationships/tags" Target="../tags/tag109.xml"/><Relationship Id="rId45" Type="http://schemas.openxmlformats.org/officeDocument/2006/relationships/tags" Target="../tags/tag114.xml"/><Relationship Id="rId66" Type="http://schemas.openxmlformats.org/officeDocument/2006/relationships/tags" Target="../tags/tag13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4.xml"/><Relationship Id="rId1" Type="http://schemas.openxmlformats.org/officeDocument/2006/relationships/slideLayout" Target="../slideLayouts/slideLayout8.xml"/><Relationship Id="rId5" Type="http://schemas.openxmlformats.org/officeDocument/2006/relationships/image" Target="../media/image59.jpeg"/><Relationship Id="rId4" Type="http://schemas.openxmlformats.org/officeDocument/2006/relationships/image" Target="../media/image58.jpeg"/></Relationships>
</file>

<file path=ppt/slides/_rels/slide22.xml.rels><?xml version="1.0" encoding="UTF-8" standalone="yes"?>
<Relationships xmlns="http://schemas.openxmlformats.org/package/2006/relationships"><Relationship Id="rId3" Type="http://schemas.openxmlformats.org/officeDocument/2006/relationships/image" Target="../media/image60.gif"/><Relationship Id="rId2" Type="http://schemas.openxmlformats.org/officeDocument/2006/relationships/notesSlide" Target="../notesSlides/notesSlide15.xml"/><Relationship Id="rId1" Type="http://schemas.openxmlformats.org/officeDocument/2006/relationships/slideLayout" Target="../slideLayouts/slideLayout8.xml"/><Relationship Id="rId5" Type="http://schemas.openxmlformats.org/officeDocument/2006/relationships/image" Target="../media/image62.jpeg"/><Relationship Id="rId4" Type="http://schemas.openxmlformats.org/officeDocument/2006/relationships/image" Target="../media/image61.jpeg"/></Relationships>
</file>

<file path=ppt/slides/_rels/slide23.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3.png"/><Relationship Id="rId7" Type="http://schemas.openxmlformats.org/officeDocument/2006/relationships/image" Target="../media/image66.png"/><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image" Target="../media/image65.jpeg"/><Relationship Id="rId5" Type="http://schemas.openxmlformats.org/officeDocument/2006/relationships/image" Target="../media/image64.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13" Type="http://schemas.openxmlformats.org/officeDocument/2006/relationships/tags" Target="../tags/tag153.xml"/><Relationship Id="rId18" Type="http://schemas.openxmlformats.org/officeDocument/2006/relationships/tags" Target="../tags/tag158.xml"/><Relationship Id="rId26" Type="http://schemas.openxmlformats.org/officeDocument/2006/relationships/tags" Target="../tags/tag166.xml"/><Relationship Id="rId39" Type="http://schemas.openxmlformats.org/officeDocument/2006/relationships/tags" Target="../tags/tag179.xml"/><Relationship Id="rId21" Type="http://schemas.openxmlformats.org/officeDocument/2006/relationships/tags" Target="../tags/tag161.xml"/><Relationship Id="rId34" Type="http://schemas.openxmlformats.org/officeDocument/2006/relationships/tags" Target="../tags/tag174.xml"/><Relationship Id="rId42" Type="http://schemas.openxmlformats.org/officeDocument/2006/relationships/tags" Target="../tags/tag182.xml"/><Relationship Id="rId47" Type="http://schemas.openxmlformats.org/officeDocument/2006/relationships/tags" Target="../tags/tag187.xml"/><Relationship Id="rId50" Type="http://schemas.openxmlformats.org/officeDocument/2006/relationships/notesSlide" Target="../notesSlides/notesSlide3.xml"/><Relationship Id="rId55" Type="http://schemas.openxmlformats.org/officeDocument/2006/relationships/image" Target="../media/image16.png"/><Relationship Id="rId63" Type="http://schemas.openxmlformats.org/officeDocument/2006/relationships/image" Target="../media/image24.png"/><Relationship Id="rId7" Type="http://schemas.openxmlformats.org/officeDocument/2006/relationships/tags" Target="../tags/tag147.xml"/><Relationship Id="rId2" Type="http://schemas.openxmlformats.org/officeDocument/2006/relationships/tags" Target="../tags/tag142.xml"/><Relationship Id="rId16" Type="http://schemas.openxmlformats.org/officeDocument/2006/relationships/tags" Target="../tags/tag156.xml"/><Relationship Id="rId29" Type="http://schemas.openxmlformats.org/officeDocument/2006/relationships/tags" Target="../tags/tag169.xml"/><Relationship Id="rId11" Type="http://schemas.openxmlformats.org/officeDocument/2006/relationships/tags" Target="../tags/tag151.xml"/><Relationship Id="rId24" Type="http://schemas.openxmlformats.org/officeDocument/2006/relationships/tags" Target="../tags/tag164.xml"/><Relationship Id="rId32" Type="http://schemas.openxmlformats.org/officeDocument/2006/relationships/tags" Target="../tags/tag172.xml"/><Relationship Id="rId37" Type="http://schemas.openxmlformats.org/officeDocument/2006/relationships/tags" Target="../tags/tag177.xml"/><Relationship Id="rId40" Type="http://schemas.openxmlformats.org/officeDocument/2006/relationships/tags" Target="../tags/tag180.xml"/><Relationship Id="rId45" Type="http://schemas.openxmlformats.org/officeDocument/2006/relationships/tags" Target="../tags/tag185.xml"/><Relationship Id="rId53" Type="http://schemas.openxmlformats.org/officeDocument/2006/relationships/image" Target="../media/image14.png"/><Relationship Id="rId58" Type="http://schemas.openxmlformats.org/officeDocument/2006/relationships/image" Target="../media/image19.png"/><Relationship Id="rId5" Type="http://schemas.openxmlformats.org/officeDocument/2006/relationships/tags" Target="../tags/tag145.xml"/><Relationship Id="rId61" Type="http://schemas.openxmlformats.org/officeDocument/2006/relationships/image" Target="../media/image22.png"/><Relationship Id="rId19" Type="http://schemas.openxmlformats.org/officeDocument/2006/relationships/tags" Target="../tags/tag159.xml"/><Relationship Id="rId14" Type="http://schemas.openxmlformats.org/officeDocument/2006/relationships/tags" Target="../tags/tag154.xml"/><Relationship Id="rId22" Type="http://schemas.openxmlformats.org/officeDocument/2006/relationships/tags" Target="../tags/tag162.xml"/><Relationship Id="rId27" Type="http://schemas.openxmlformats.org/officeDocument/2006/relationships/tags" Target="../tags/tag167.xml"/><Relationship Id="rId30" Type="http://schemas.openxmlformats.org/officeDocument/2006/relationships/tags" Target="../tags/tag170.xml"/><Relationship Id="rId35" Type="http://schemas.openxmlformats.org/officeDocument/2006/relationships/tags" Target="../tags/tag175.xml"/><Relationship Id="rId43" Type="http://schemas.openxmlformats.org/officeDocument/2006/relationships/tags" Target="../tags/tag183.xml"/><Relationship Id="rId48" Type="http://schemas.openxmlformats.org/officeDocument/2006/relationships/tags" Target="../tags/tag188.xml"/><Relationship Id="rId56" Type="http://schemas.openxmlformats.org/officeDocument/2006/relationships/image" Target="../media/image17.png"/><Relationship Id="rId8" Type="http://schemas.openxmlformats.org/officeDocument/2006/relationships/tags" Target="../tags/tag148.xml"/><Relationship Id="rId51" Type="http://schemas.openxmlformats.org/officeDocument/2006/relationships/image" Target="../media/image12.jpeg"/><Relationship Id="rId3" Type="http://schemas.openxmlformats.org/officeDocument/2006/relationships/tags" Target="../tags/tag143.xml"/><Relationship Id="rId12" Type="http://schemas.openxmlformats.org/officeDocument/2006/relationships/tags" Target="../tags/tag152.xml"/><Relationship Id="rId17" Type="http://schemas.openxmlformats.org/officeDocument/2006/relationships/tags" Target="../tags/tag157.xml"/><Relationship Id="rId25" Type="http://schemas.openxmlformats.org/officeDocument/2006/relationships/tags" Target="../tags/tag165.xml"/><Relationship Id="rId33" Type="http://schemas.openxmlformats.org/officeDocument/2006/relationships/tags" Target="../tags/tag173.xml"/><Relationship Id="rId38" Type="http://schemas.openxmlformats.org/officeDocument/2006/relationships/tags" Target="../tags/tag178.xml"/><Relationship Id="rId46" Type="http://schemas.openxmlformats.org/officeDocument/2006/relationships/tags" Target="../tags/tag186.xml"/><Relationship Id="rId59" Type="http://schemas.openxmlformats.org/officeDocument/2006/relationships/image" Target="../media/image20.png"/><Relationship Id="rId20" Type="http://schemas.openxmlformats.org/officeDocument/2006/relationships/tags" Target="../tags/tag160.xml"/><Relationship Id="rId41" Type="http://schemas.openxmlformats.org/officeDocument/2006/relationships/tags" Target="../tags/tag181.xml"/><Relationship Id="rId54" Type="http://schemas.openxmlformats.org/officeDocument/2006/relationships/image" Target="../media/image15.png"/><Relationship Id="rId62" Type="http://schemas.openxmlformats.org/officeDocument/2006/relationships/image" Target="../media/image23.jpeg"/><Relationship Id="rId1" Type="http://schemas.openxmlformats.org/officeDocument/2006/relationships/tags" Target="../tags/tag141.xml"/><Relationship Id="rId6" Type="http://schemas.openxmlformats.org/officeDocument/2006/relationships/tags" Target="../tags/tag146.xml"/><Relationship Id="rId15" Type="http://schemas.openxmlformats.org/officeDocument/2006/relationships/tags" Target="../tags/tag155.xml"/><Relationship Id="rId23" Type="http://schemas.openxmlformats.org/officeDocument/2006/relationships/tags" Target="../tags/tag163.xml"/><Relationship Id="rId28" Type="http://schemas.openxmlformats.org/officeDocument/2006/relationships/tags" Target="../tags/tag168.xml"/><Relationship Id="rId36" Type="http://schemas.openxmlformats.org/officeDocument/2006/relationships/tags" Target="../tags/tag176.xml"/><Relationship Id="rId49" Type="http://schemas.openxmlformats.org/officeDocument/2006/relationships/slideLayout" Target="../slideLayouts/slideLayout2.xml"/><Relationship Id="rId57" Type="http://schemas.openxmlformats.org/officeDocument/2006/relationships/image" Target="../media/image18.png"/><Relationship Id="rId10" Type="http://schemas.openxmlformats.org/officeDocument/2006/relationships/tags" Target="../tags/tag150.xml"/><Relationship Id="rId31" Type="http://schemas.openxmlformats.org/officeDocument/2006/relationships/tags" Target="../tags/tag171.xml"/><Relationship Id="rId44" Type="http://schemas.openxmlformats.org/officeDocument/2006/relationships/tags" Target="../tags/tag184.xml"/><Relationship Id="rId52" Type="http://schemas.openxmlformats.org/officeDocument/2006/relationships/image" Target="../media/image13.png"/><Relationship Id="rId60" Type="http://schemas.openxmlformats.org/officeDocument/2006/relationships/image" Target="../media/image21.png"/><Relationship Id="rId4" Type="http://schemas.openxmlformats.org/officeDocument/2006/relationships/tags" Target="../tags/tag144.xml"/><Relationship Id="rId9" Type="http://schemas.openxmlformats.org/officeDocument/2006/relationships/tags" Target="../tags/tag149.xml"/></Relationships>
</file>

<file path=ppt/slides/_rels/slide4.xml.rels><?xml version="1.0" encoding="UTF-8" standalone="yes"?>
<Relationships xmlns="http://schemas.openxmlformats.org/package/2006/relationships"><Relationship Id="rId13" Type="http://schemas.openxmlformats.org/officeDocument/2006/relationships/tags" Target="../tags/tag204.xml"/><Relationship Id="rId18" Type="http://schemas.openxmlformats.org/officeDocument/2006/relationships/tags" Target="../tags/tag209.xml"/><Relationship Id="rId26" Type="http://schemas.openxmlformats.org/officeDocument/2006/relationships/tags" Target="../tags/tag217.xml"/><Relationship Id="rId39" Type="http://schemas.openxmlformats.org/officeDocument/2006/relationships/slideLayout" Target="../slideLayouts/slideLayout4.xml"/><Relationship Id="rId21" Type="http://schemas.openxmlformats.org/officeDocument/2006/relationships/tags" Target="../tags/tag212.xml"/><Relationship Id="rId34" Type="http://schemas.openxmlformats.org/officeDocument/2006/relationships/tags" Target="../tags/tag225.xml"/><Relationship Id="rId42" Type="http://schemas.openxmlformats.org/officeDocument/2006/relationships/image" Target="../media/image26.emf"/><Relationship Id="rId7" Type="http://schemas.openxmlformats.org/officeDocument/2006/relationships/tags" Target="../tags/tag198.xml"/><Relationship Id="rId2" Type="http://schemas.openxmlformats.org/officeDocument/2006/relationships/tags" Target="../tags/tag193.xml"/><Relationship Id="rId16" Type="http://schemas.openxmlformats.org/officeDocument/2006/relationships/tags" Target="../tags/tag207.xml"/><Relationship Id="rId20" Type="http://schemas.openxmlformats.org/officeDocument/2006/relationships/tags" Target="../tags/tag211.xml"/><Relationship Id="rId29" Type="http://schemas.openxmlformats.org/officeDocument/2006/relationships/tags" Target="../tags/tag220.xml"/><Relationship Id="rId41" Type="http://schemas.openxmlformats.org/officeDocument/2006/relationships/image" Target="../media/image25.jpeg"/><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tags" Target="../tags/tag202.xml"/><Relationship Id="rId24" Type="http://schemas.openxmlformats.org/officeDocument/2006/relationships/tags" Target="../tags/tag215.xml"/><Relationship Id="rId32" Type="http://schemas.openxmlformats.org/officeDocument/2006/relationships/tags" Target="../tags/tag223.xml"/><Relationship Id="rId37" Type="http://schemas.openxmlformats.org/officeDocument/2006/relationships/tags" Target="../tags/tag228.xml"/><Relationship Id="rId40" Type="http://schemas.openxmlformats.org/officeDocument/2006/relationships/notesSlide" Target="../notesSlides/notesSlide4.xml"/><Relationship Id="rId5" Type="http://schemas.openxmlformats.org/officeDocument/2006/relationships/tags" Target="../tags/tag196.xml"/><Relationship Id="rId15" Type="http://schemas.openxmlformats.org/officeDocument/2006/relationships/tags" Target="../tags/tag206.xml"/><Relationship Id="rId23" Type="http://schemas.openxmlformats.org/officeDocument/2006/relationships/tags" Target="../tags/tag214.xml"/><Relationship Id="rId28" Type="http://schemas.openxmlformats.org/officeDocument/2006/relationships/tags" Target="../tags/tag219.xml"/><Relationship Id="rId36" Type="http://schemas.openxmlformats.org/officeDocument/2006/relationships/tags" Target="../tags/tag227.xml"/><Relationship Id="rId10" Type="http://schemas.openxmlformats.org/officeDocument/2006/relationships/tags" Target="../tags/tag201.xml"/><Relationship Id="rId19" Type="http://schemas.openxmlformats.org/officeDocument/2006/relationships/tags" Target="../tags/tag210.xml"/><Relationship Id="rId31" Type="http://schemas.openxmlformats.org/officeDocument/2006/relationships/tags" Target="../tags/tag222.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 Id="rId22" Type="http://schemas.openxmlformats.org/officeDocument/2006/relationships/tags" Target="../tags/tag213.xml"/><Relationship Id="rId27" Type="http://schemas.openxmlformats.org/officeDocument/2006/relationships/tags" Target="../tags/tag218.xml"/><Relationship Id="rId30" Type="http://schemas.openxmlformats.org/officeDocument/2006/relationships/tags" Target="../tags/tag221.xml"/><Relationship Id="rId35" Type="http://schemas.openxmlformats.org/officeDocument/2006/relationships/tags" Target="../tags/tag226.xml"/><Relationship Id="rId43" Type="http://schemas.openxmlformats.org/officeDocument/2006/relationships/image" Target="../media/image27.emf"/><Relationship Id="rId8" Type="http://schemas.openxmlformats.org/officeDocument/2006/relationships/tags" Target="../tags/tag199.xml"/><Relationship Id="rId3" Type="http://schemas.openxmlformats.org/officeDocument/2006/relationships/tags" Target="../tags/tag194.xml"/><Relationship Id="rId12" Type="http://schemas.openxmlformats.org/officeDocument/2006/relationships/tags" Target="../tags/tag203.xml"/><Relationship Id="rId17" Type="http://schemas.openxmlformats.org/officeDocument/2006/relationships/tags" Target="../tags/tag208.xml"/><Relationship Id="rId25" Type="http://schemas.openxmlformats.org/officeDocument/2006/relationships/tags" Target="../tags/tag216.xml"/><Relationship Id="rId33" Type="http://schemas.openxmlformats.org/officeDocument/2006/relationships/tags" Target="../tags/tag224.xml"/><Relationship Id="rId38" Type="http://schemas.openxmlformats.org/officeDocument/2006/relationships/tags" Target="../tags/tag229.xml"/></Relationships>
</file>

<file path=ppt/slides/_rels/slide5.xml.rels><?xml version="1.0" encoding="UTF-8" standalone="yes"?>
<Relationships xmlns="http://schemas.openxmlformats.org/package/2006/relationships"><Relationship Id="rId8" Type="http://schemas.openxmlformats.org/officeDocument/2006/relationships/tags" Target="../tags/tag240.xml"/><Relationship Id="rId13" Type="http://schemas.openxmlformats.org/officeDocument/2006/relationships/tags" Target="../tags/tag245.xml"/><Relationship Id="rId18" Type="http://schemas.openxmlformats.org/officeDocument/2006/relationships/tags" Target="../tags/tag250.xml"/><Relationship Id="rId26" Type="http://schemas.openxmlformats.org/officeDocument/2006/relationships/slideLayout" Target="../slideLayouts/slideLayout4.xml"/><Relationship Id="rId3" Type="http://schemas.openxmlformats.org/officeDocument/2006/relationships/tags" Target="../tags/tag235.xml"/><Relationship Id="rId21" Type="http://schemas.openxmlformats.org/officeDocument/2006/relationships/tags" Target="../tags/tag253.xml"/><Relationship Id="rId7" Type="http://schemas.openxmlformats.org/officeDocument/2006/relationships/tags" Target="../tags/tag239.xml"/><Relationship Id="rId12" Type="http://schemas.openxmlformats.org/officeDocument/2006/relationships/tags" Target="../tags/tag244.xml"/><Relationship Id="rId17" Type="http://schemas.openxmlformats.org/officeDocument/2006/relationships/tags" Target="../tags/tag249.xml"/><Relationship Id="rId25" Type="http://schemas.openxmlformats.org/officeDocument/2006/relationships/tags" Target="../tags/tag257.xml"/><Relationship Id="rId2" Type="http://schemas.openxmlformats.org/officeDocument/2006/relationships/tags" Target="../tags/tag234.xml"/><Relationship Id="rId16" Type="http://schemas.openxmlformats.org/officeDocument/2006/relationships/tags" Target="../tags/tag248.xml"/><Relationship Id="rId20" Type="http://schemas.openxmlformats.org/officeDocument/2006/relationships/tags" Target="../tags/tag252.xml"/><Relationship Id="rId29" Type="http://schemas.openxmlformats.org/officeDocument/2006/relationships/image" Target="../media/image28.png"/><Relationship Id="rId1" Type="http://schemas.openxmlformats.org/officeDocument/2006/relationships/tags" Target="../tags/tag233.xml"/><Relationship Id="rId6" Type="http://schemas.openxmlformats.org/officeDocument/2006/relationships/tags" Target="../tags/tag238.xml"/><Relationship Id="rId11" Type="http://schemas.openxmlformats.org/officeDocument/2006/relationships/tags" Target="../tags/tag243.xml"/><Relationship Id="rId24" Type="http://schemas.openxmlformats.org/officeDocument/2006/relationships/tags" Target="../tags/tag256.xml"/><Relationship Id="rId5" Type="http://schemas.openxmlformats.org/officeDocument/2006/relationships/tags" Target="../tags/tag237.xml"/><Relationship Id="rId15" Type="http://schemas.openxmlformats.org/officeDocument/2006/relationships/tags" Target="../tags/tag247.xml"/><Relationship Id="rId23" Type="http://schemas.openxmlformats.org/officeDocument/2006/relationships/tags" Target="../tags/tag255.xml"/><Relationship Id="rId28" Type="http://schemas.openxmlformats.org/officeDocument/2006/relationships/image" Target="../media/image25.jpeg"/><Relationship Id="rId10" Type="http://schemas.openxmlformats.org/officeDocument/2006/relationships/tags" Target="../tags/tag242.xml"/><Relationship Id="rId19" Type="http://schemas.openxmlformats.org/officeDocument/2006/relationships/tags" Target="../tags/tag251.xml"/><Relationship Id="rId31" Type="http://schemas.openxmlformats.org/officeDocument/2006/relationships/image" Target="../media/image30.png"/><Relationship Id="rId4" Type="http://schemas.openxmlformats.org/officeDocument/2006/relationships/tags" Target="../tags/tag236.xml"/><Relationship Id="rId9" Type="http://schemas.openxmlformats.org/officeDocument/2006/relationships/tags" Target="../tags/tag241.xml"/><Relationship Id="rId14" Type="http://schemas.openxmlformats.org/officeDocument/2006/relationships/tags" Target="../tags/tag246.xml"/><Relationship Id="rId22" Type="http://schemas.openxmlformats.org/officeDocument/2006/relationships/tags" Target="../tags/tag254.xml"/><Relationship Id="rId27" Type="http://schemas.openxmlformats.org/officeDocument/2006/relationships/notesSlide" Target="../notesSlides/notesSlide5.xml"/><Relationship Id="rId30" Type="http://schemas.openxmlformats.org/officeDocument/2006/relationships/image" Target="../media/image29.png"/></Relationships>
</file>

<file path=ppt/slides/_rels/slide6.xml.rels><?xml version="1.0" encoding="UTF-8" standalone="yes"?>
<Relationships xmlns="http://schemas.openxmlformats.org/package/2006/relationships"><Relationship Id="rId13" Type="http://schemas.openxmlformats.org/officeDocument/2006/relationships/tags" Target="../tags/tag273.xml"/><Relationship Id="rId18" Type="http://schemas.openxmlformats.org/officeDocument/2006/relationships/tags" Target="../tags/tag278.xml"/><Relationship Id="rId26" Type="http://schemas.openxmlformats.org/officeDocument/2006/relationships/tags" Target="../tags/tag286.xml"/><Relationship Id="rId39" Type="http://schemas.openxmlformats.org/officeDocument/2006/relationships/tags" Target="../tags/tag299.xml"/><Relationship Id="rId21" Type="http://schemas.openxmlformats.org/officeDocument/2006/relationships/tags" Target="../tags/tag281.xml"/><Relationship Id="rId34" Type="http://schemas.openxmlformats.org/officeDocument/2006/relationships/tags" Target="../tags/tag294.xml"/><Relationship Id="rId42" Type="http://schemas.openxmlformats.org/officeDocument/2006/relationships/tags" Target="../tags/tag302.xml"/><Relationship Id="rId47" Type="http://schemas.openxmlformats.org/officeDocument/2006/relationships/tags" Target="../tags/tag307.xml"/><Relationship Id="rId50" Type="http://schemas.openxmlformats.org/officeDocument/2006/relationships/tags" Target="../tags/tag310.xml"/><Relationship Id="rId55" Type="http://schemas.openxmlformats.org/officeDocument/2006/relationships/image" Target="../media/image32.emf"/><Relationship Id="rId7" Type="http://schemas.openxmlformats.org/officeDocument/2006/relationships/tags" Target="../tags/tag267.xml"/><Relationship Id="rId2" Type="http://schemas.openxmlformats.org/officeDocument/2006/relationships/tags" Target="../tags/tag262.xml"/><Relationship Id="rId16" Type="http://schemas.openxmlformats.org/officeDocument/2006/relationships/tags" Target="../tags/tag276.xml"/><Relationship Id="rId29" Type="http://schemas.openxmlformats.org/officeDocument/2006/relationships/tags" Target="../tags/tag289.xml"/><Relationship Id="rId11" Type="http://schemas.openxmlformats.org/officeDocument/2006/relationships/tags" Target="../tags/tag271.xml"/><Relationship Id="rId24" Type="http://schemas.openxmlformats.org/officeDocument/2006/relationships/tags" Target="../tags/tag284.xml"/><Relationship Id="rId32" Type="http://schemas.openxmlformats.org/officeDocument/2006/relationships/tags" Target="../tags/tag292.xml"/><Relationship Id="rId37" Type="http://schemas.openxmlformats.org/officeDocument/2006/relationships/tags" Target="../tags/tag297.xml"/><Relationship Id="rId40" Type="http://schemas.openxmlformats.org/officeDocument/2006/relationships/tags" Target="../tags/tag300.xml"/><Relationship Id="rId45" Type="http://schemas.openxmlformats.org/officeDocument/2006/relationships/tags" Target="../tags/tag305.xml"/><Relationship Id="rId53" Type="http://schemas.openxmlformats.org/officeDocument/2006/relationships/notesSlide" Target="../notesSlides/notesSlide6.xml"/><Relationship Id="rId5" Type="http://schemas.openxmlformats.org/officeDocument/2006/relationships/tags" Target="../tags/tag265.xml"/><Relationship Id="rId10" Type="http://schemas.openxmlformats.org/officeDocument/2006/relationships/tags" Target="../tags/tag270.xml"/><Relationship Id="rId19" Type="http://schemas.openxmlformats.org/officeDocument/2006/relationships/tags" Target="../tags/tag279.xml"/><Relationship Id="rId31" Type="http://schemas.openxmlformats.org/officeDocument/2006/relationships/tags" Target="../tags/tag291.xml"/><Relationship Id="rId44" Type="http://schemas.openxmlformats.org/officeDocument/2006/relationships/tags" Target="../tags/tag304.xml"/><Relationship Id="rId52" Type="http://schemas.openxmlformats.org/officeDocument/2006/relationships/slideLayout" Target="../slideLayouts/slideLayout4.xml"/><Relationship Id="rId4" Type="http://schemas.openxmlformats.org/officeDocument/2006/relationships/tags" Target="../tags/tag264.xml"/><Relationship Id="rId9" Type="http://schemas.openxmlformats.org/officeDocument/2006/relationships/tags" Target="../tags/tag269.xml"/><Relationship Id="rId14" Type="http://schemas.openxmlformats.org/officeDocument/2006/relationships/tags" Target="../tags/tag274.xml"/><Relationship Id="rId22" Type="http://schemas.openxmlformats.org/officeDocument/2006/relationships/tags" Target="../tags/tag282.xml"/><Relationship Id="rId27" Type="http://schemas.openxmlformats.org/officeDocument/2006/relationships/tags" Target="../tags/tag287.xml"/><Relationship Id="rId30" Type="http://schemas.openxmlformats.org/officeDocument/2006/relationships/tags" Target="../tags/tag290.xml"/><Relationship Id="rId35" Type="http://schemas.openxmlformats.org/officeDocument/2006/relationships/tags" Target="../tags/tag295.xml"/><Relationship Id="rId43" Type="http://schemas.openxmlformats.org/officeDocument/2006/relationships/tags" Target="../tags/tag303.xml"/><Relationship Id="rId48" Type="http://schemas.openxmlformats.org/officeDocument/2006/relationships/tags" Target="../tags/tag308.xml"/><Relationship Id="rId56" Type="http://schemas.openxmlformats.org/officeDocument/2006/relationships/image" Target="../media/image25.jpeg"/><Relationship Id="rId8" Type="http://schemas.openxmlformats.org/officeDocument/2006/relationships/tags" Target="../tags/tag268.xml"/><Relationship Id="rId51" Type="http://schemas.openxmlformats.org/officeDocument/2006/relationships/tags" Target="../tags/tag311.xml"/><Relationship Id="rId3" Type="http://schemas.openxmlformats.org/officeDocument/2006/relationships/tags" Target="../tags/tag263.xml"/><Relationship Id="rId12" Type="http://schemas.openxmlformats.org/officeDocument/2006/relationships/tags" Target="../tags/tag272.xml"/><Relationship Id="rId17" Type="http://schemas.openxmlformats.org/officeDocument/2006/relationships/tags" Target="../tags/tag277.xml"/><Relationship Id="rId25" Type="http://schemas.openxmlformats.org/officeDocument/2006/relationships/tags" Target="../tags/tag285.xml"/><Relationship Id="rId33" Type="http://schemas.openxmlformats.org/officeDocument/2006/relationships/tags" Target="../tags/tag293.xml"/><Relationship Id="rId38" Type="http://schemas.openxmlformats.org/officeDocument/2006/relationships/tags" Target="../tags/tag298.xml"/><Relationship Id="rId46" Type="http://schemas.openxmlformats.org/officeDocument/2006/relationships/tags" Target="../tags/tag306.xml"/><Relationship Id="rId20" Type="http://schemas.openxmlformats.org/officeDocument/2006/relationships/tags" Target="../tags/tag280.xml"/><Relationship Id="rId41" Type="http://schemas.openxmlformats.org/officeDocument/2006/relationships/tags" Target="../tags/tag301.xml"/><Relationship Id="rId54" Type="http://schemas.openxmlformats.org/officeDocument/2006/relationships/image" Target="../media/image31.emf"/><Relationship Id="rId1" Type="http://schemas.openxmlformats.org/officeDocument/2006/relationships/tags" Target="../tags/tag261.xml"/><Relationship Id="rId6" Type="http://schemas.openxmlformats.org/officeDocument/2006/relationships/tags" Target="../tags/tag266.xml"/><Relationship Id="rId15" Type="http://schemas.openxmlformats.org/officeDocument/2006/relationships/tags" Target="../tags/tag275.xml"/><Relationship Id="rId23" Type="http://schemas.openxmlformats.org/officeDocument/2006/relationships/tags" Target="../tags/tag283.xml"/><Relationship Id="rId28" Type="http://schemas.openxmlformats.org/officeDocument/2006/relationships/tags" Target="../tags/tag288.xml"/><Relationship Id="rId36" Type="http://schemas.openxmlformats.org/officeDocument/2006/relationships/tags" Target="../tags/tag296.xml"/><Relationship Id="rId49" Type="http://schemas.openxmlformats.org/officeDocument/2006/relationships/tags" Target="../tags/tag309.xml"/></Relationships>
</file>

<file path=ppt/slides/_rels/slide7.xml.rels><?xml version="1.0" encoding="UTF-8" standalone="yes"?>
<Relationships xmlns="http://schemas.openxmlformats.org/package/2006/relationships"><Relationship Id="rId13" Type="http://schemas.openxmlformats.org/officeDocument/2006/relationships/tags" Target="../tags/tag327.xml"/><Relationship Id="rId18" Type="http://schemas.openxmlformats.org/officeDocument/2006/relationships/tags" Target="../tags/tag332.xml"/><Relationship Id="rId26" Type="http://schemas.openxmlformats.org/officeDocument/2006/relationships/tags" Target="../tags/tag340.xml"/><Relationship Id="rId39" Type="http://schemas.openxmlformats.org/officeDocument/2006/relationships/tags" Target="../tags/tag353.xml"/><Relationship Id="rId21" Type="http://schemas.openxmlformats.org/officeDocument/2006/relationships/tags" Target="../tags/tag335.xml"/><Relationship Id="rId34" Type="http://schemas.openxmlformats.org/officeDocument/2006/relationships/tags" Target="../tags/tag348.xml"/><Relationship Id="rId42" Type="http://schemas.openxmlformats.org/officeDocument/2006/relationships/tags" Target="../tags/tag356.xml"/><Relationship Id="rId47" Type="http://schemas.openxmlformats.org/officeDocument/2006/relationships/tags" Target="../tags/tag361.xml"/><Relationship Id="rId50" Type="http://schemas.openxmlformats.org/officeDocument/2006/relationships/slideLayout" Target="../slideLayouts/slideLayout4.xml"/><Relationship Id="rId7" Type="http://schemas.openxmlformats.org/officeDocument/2006/relationships/tags" Target="../tags/tag321.xml"/><Relationship Id="rId2" Type="http://schemas.openxmlformats.org/officeDocument/2006/relationships/tags" Target="../tags/tag316.xml"/><Relationship Id="rId16" Type="http://schemas.openxmlformats.org/officeDocument/2006/relationships/tags" Target="../tags/tag330.xml"/><Relationship Id="rId29" Type="http://schemas.openxmlformats.org/officeDocument/2006/relationships/tags" Target="../tags/tag343.xml"/><Relationship Id="rId11" Type="http://schemas.openxmlformats.org/officeDocument/2006/relationships/tags" Target="../tags/tag325.xml"/><Relationship Id="rId24" Type="http://schemas.openxmlformats.org/officeDocument/2006/relationships/tags" Target="../tags/tag338.xml"/><Relationship Id="rId32" Type="http://schemas.openxmlformats.org/officeDocument/2006/relationships/tags" Target="../tags/tag346.xml"/><Relationship Id="rId37" Type="http://schemas.openxmlformats.org/officeDocument/2006/relationships/tags" Target="../tags/tag351.xml"/><Relationship Id="rId40" Type="http://schemas.openxmlformats.org/officeDocument/2006/relationships/tags" Target="../tags/tag354.xml"/><Relationship Id="rId45" Type="http://schemas.openxmlformats.org/officeDocument/2006/relationships/tags" Target="../tags/tag359.xml"/><Relationship Id="rId53" Type="http://schemas.openxmlformats.org/officeDocument/2006/relationships/image" Target="../media/image34.emf"/><Relationship Id="rId5" Type="http://schemas.openxmlformats.org/officeDocument/2006/relationships/tags" Target="../tags/tag319.xml"/><Relationship Id="rId10" Type="http://schemas.openxmlformats.org/officeDocument/2006/relationships/tags" Target="../tags/tag324.xml"/><Relationship Id="rId19" Type="http://schemas.openxmlformats.org/officeDocument/2006/relationships/tags" Target="../tags/tag333.xml"/><Relationship Id="rId31" Type="http://schemas.openxmlformats.org/officeDocument/2006/relationships/tags" Target="../tags/tag345.xml"/><Relationship Id="rId44" Type="http://schemas.openxmlformats.org/officeDocument/2006/relationships/tags" Target="../tags/tag358.xml"/><Relationship Id="rId52" Type="http://schemas.openxmlformats.org/officeDocument/2006/relationships/image" Target="../media/image33.jpeg"/><Relationship Id="rId4" Type="http://schemas.openxmlformats.org/officeDocument/2006/relationships/tags" Target="../tags/tag318.xml"/><Relationship Id="rId9" Type="http://schemas.openxmlformats.org/officeDocument/2006/relationships/tags" Target="../tags/tag323.xml"/><Relationship Id="rId14" Type="http://schemas.openxmlformats.org/officeDocument/2006/relationships/tags" Target="../tags/tag328.xml"/><Relationship Id="rId22" Type="http://schemas.openxmlformats.org/officeDocument/2006/relationships/tags" Target="../tags/tag336.xml"/><Relationship Id="rId27" Type="http://schemas.openxmlformats.org/officeDocument/2006/relationships/tags" Target="../tags/tag341.xml"/><Relationship Id="rId30" Type="http://schemas.openxmlformats.org/officeDocument/2006/relationships/tags" Target="../tags/tag344.xml"/><Relationship Id="rId35" Type="http://schemas.openxmlformats.org/officeDocument/2006/relationships/tags" Target="../tags/tag349.xml"/><Relationship Id="rId43" Type="http://schemas.openxmlformats.org/officeDocument/2006/relationships/tags" Target="../tags/tag357.xml"/><Relationship Id="rId48" Type="http://schemas.openxmlformats.org/officeDocument/2006/relationships/tags" Target="../tags/tag362.xml"/><Relationship Id="rId8" Type="http://schemas.openxmlformats.org/officeDocument/2006/relationships/tags" Target="../tags/tag322.xml"/><Relationship Id="rId51" Type="http://schemas.openxmlformats.org/officeDocument/2006/relationships/notesSlide" Target="../notesSlides/notesSlide7.xml"/><Relationship Id="rId3" Type="http://schemas.openxmlformats.org/officeDocument/2006/relationships/tags" Target="../tags/tag317.xml"/><Relationship Id="rId12" Type="http://schemas.openxmlformats.org/officeDocument/2006/relationships/tags" Target="../tags/tag326.xml"/><Relationship Id="rId17" Type="http://schemas.openxmlformats.org/officeDocument/2006/relationships/tags" Target="../tags/tag331.xml"/><Relationship Id="rId25" Type="http://schemas.openxmlformats.org/officeDocument/2006/relationships/tags" Target="../tags/tag339.xml"/><Relationship Id="rId33" Type="http://schemas.openxmlformats.org/officeDocument/2006/relationships/tags" Target="../tags/tag347.xml"/><Relationship Id="rId38" Type="http://schemas.openxmlformats.org/officeDocument/2006/relationships/tags" Target="../tags/tag352.xml"/><Relationship Id="rId46" Type="http://schemas.openxmlformats.org/officeDocument/2006/relationships/tags" Target="../tags/tag360.xml"/><Relationship Id="rId20" Type="http://schemas.openxmlformats.org/officeDocument/2006/relationships/tags" Target="../tags/tag334.xml"/><Relationship Id="rId41" Type="http://schemas.openxmlformats.org/officeDocument/2006/relationships/tags" Target="../tags/tag355.xml"/><Relationship Id="rId54" Type="http://schemas.openxmlformats.org/officeDocument/2006/relationships/image" Target="../media/image35.emf"/><Relationship Id="rId1" Type="http://schemas.openxmlformats.org/officeDocument/2006/relationships/tags" Target="../tags/tag315.xml"/><Relationship Id="rId6" Type="http://schemas.openxmlformats.org/officeDocument/2006/relationships/tags" Target="../tags/tag320.xml"/><Relationship Id="rId15" Type="http://schemas.openxmlformats.org/officeDocument/2006/relationships/tags" Target="../tags/tag329.xml"/><Relationship Id="rId23" Type="http://schemas.openxmlformats.org/officeDocument/2006/relationships/tags" Target="../tags/tag337.xml"/><Relationship Id="rId28" Type="http://schemas.openxmlformats.org/officeDocument/2006/relationships/tags" Target="../tags/tag342.xml"/><Relationship Id="rId36" Type="http://schemas.openxmlformats.org/officeDocument/2006/relationships/tags" Target="../tags/tag350.xml"/><Relationship Id="rId49" Type="http://schemas.openxmlformats.org/officeDocument/2006/relationships/tags" Target="../tags/tag363.xml"/></Relationships>
</file>

<file path=ppt/slides/_rels/slide8.xml.rels><?xml version="1.0" encoding="UTF-8" standalone="yes"?>
<Relationships xmlns="http://schemas.openxmlformats.org/package/2006/relationships"><Relationship Id="rId117" Type="http://schemas.openxmlformats.org/officeDocument/2006/relationships/tags" Target="../tags/tag483.xml"/><Relationship Id="rId299" Type="http://schemas.openxmlformats.org/officeDocument/2006/relationships/tags" Target="../tags/tag665.xml"/><Relationship Id="rId21" Type="http://schemas.openxmlformats.org/officeDocument/2006/relationships/tags" Target="../tags/tag387.xml"/><Relationship Id="rId63" Type="http://schemas.openxmlformats.org/officeDocument/2006/relationships/tags" Target="../tags/tag429.xml"/><Relationship Id="rId159" Type="http://schemas.openxmlformats.org/officeDocument/2006/relationships/tags" Target="../tags/tag525.xml"/><Relationship Id="rId324" Type="http://schemas.openxmlformats.org/officeDocument/2006/relationships/tags" Target="../tags/tag690.xml"/><Relationship Id="rId170" Type="http://schemas.openxmlformats.org/officeDocument/2006/relationships/tags" Target="../tags/tag536.xml"/><Relationship Id="rId226" Type="http://schemas.openxmlformats.org/officeDocument/2006/relationships/tags" Target="../tags/tag592.xml"/><Relationship Id="rId268" Type="http://schemas.openxmlformats.org/officeDocument/2006/relationships/tags" Target="../tags/tag634.xml"/><Relationship Id="rId32" Type="http://schemas.openxmlformats.org/officeDocument/2006/relationships/tags" Target="../tags/tag398.xml"/><Relationship Id="rId74" Type="http://schemas.openxmlformats.org/officeDocument/2006/relationships/tags" Target="../tags/tag440.xml"/><Relationship Id="rId128" Type="http://schemas.openxmlformats.org/officeDocument/2006/relationships/tags" Target="../tags/tag494.xml"/><Relationship Id="rId335" Type="http://schemas.openxmlformats.org/officeDocument/2006/relationships/tags" Target="../tags/tag701.xml"/><Relationship Id="rId5" Type="http://schemas.openxmlformats.org/officeDocument/2006/relationships/tags" Target="../tags/tag371.xml"/><Relationship Id="rId181" Type="http://schemas.openxmlformats.org/officeDocument/2006/relationships/tags" Target="../tags/tag547.xml"/><Relationship Id="rId237" Type="http://schemas.openxmlformats.org/officeDocument/2006/relationships/tags" Target="../tags/tag603.xml"/><Relationship Id="rId279" Type="http://schemas.openxmlformats.org/officeDocument/2006/relationships/tags" Target="../tags/tag645.xml"/><Relationship Id="rId43" Type="http://schemas.openxmlformats.org/officeDocument/2006/relationships/tags" Target="../tags/tag409.xml"/><Relationship Id="rId139" Type="http://schemas.openxmlformats.org/officeDocument/2006/relationships/tags" Target="../tags/tag505.xml"/><Relationship Id="rId290" Type="http://schemas.openxmlformats.org/officeDocument/2006/relationships/tags" Target="../tags/tag656.xml"/><Relationship Id="rId304" Type="http://schemas.openxmlformats.org/officeDocument/2006/relationships/tags" Target="../tags/tag670.xml"/><Relationship Id="rId85" Type="http://schemas.openxmlformats.org/officeDocument/2006/relationships/tags" Target="../tags/tag451.xml"/><Relationship Id="rId150" Type="http://schemas.openxmlformats.org/officeDocument/2006/relationships/tags" Target="../tags/tag516.xml"/><Relationship Id="rId192" Type="http://schemas.openxmlformats.org/officeDocument/2006/relationships/tags" Target="../tags/tag558.xml"/><Relationship Id="rId206" Type="http://schemas.openxmlformats.org/officeDocument/2006/relationships/tags" Target="../tags/tag572.xml"/><Relationship Id="rId248" Type="http://schemas.openxmlformats.org/officeDocument/2006/relationships/tags" Target="../tags/tag614.xml"/><Relationship Id="rId12" Type="http://schemas.openxmlformats.org/officeDocument/2006/relationships/tags" Target="../tags/tag378.xml"/><Relationship Id="rId108" Type="http://schemas.openxmlformats.org/officeDocument/2006/relationships/tags" Target="../tags/tag474.xml"/><Relationship Id="rId315" Type="http://schemas.openxmlformats.org/officeDocument/2006/relationships/tags" Target="../tags/tag681.xml"/><Relationship Id="rId54" Type="http://schemas.openxmlformats.org/officeDocument/2006/relationships/tags" Target="../tags/tag420.xml"/><Relationship Id="rId96" Type="http://schemas.openxmlformats.org/officeDocument/2006/relationships/tags" Target="../tags/tag462.xml"/><Relationship Id="rId161" Type="http://schemas.openxmlformats.org/officeDocument/2006/relationships/tags" Target="../tags/tag527.xml"/><Relationship Id="rId217" Type="http://schemas.openxmlformats.org/officeDocument/2006/relationships/tags" Target="../tags/tag583.xml"/><Relationship Id="rId259" Type="http://schemas.openxmlformats.org/officeDocument/2006/relationships/tags" Target="../tags/tag625.xml"/><Relationship Id="rId23" Type="http://schemas.openxmlformats.org/officeDocument/2006/relationships/tags" Target="../tags/tag389.xml"/><Relationship Id="rId119" Type="http://schemas.openxmlformats.org/officeDocument/2006/relationships/tags" Target="../tags/tag485.xml"/><Relationship Id="rId270" Type="http://schemas.openxmlformats.org/officeDocument/2006/relationships/tags" Target="../tags/tag636.xml"/><Relationship Id="rId326" Type="http://schemas.openxmlformats.org/officeDocument/2006/relationships/tags" Target="../tags/tag692.xml"/><Relationship Id="rId65" Type="http://schemas.openxmlformats.org/officeDocument/2006/relationships/tags" Target="../tags/tag431.xml"/><Relationship Id="rId130" Type="http://schemas.openxmlformats.org/officeDocument/2006/relationships/tags" Target="../tags/tag496.xml"/><Relationship Id="rId172" Type="http://schemas.openxmlformats.org/officeDocument/2006/relationships/tags" Target="../tags/tag538.xml"/><Relationship Id="rId228" Type="http://schemas.openxmlformats.org/officeDocument/2006/relationships/tags" Target="../tags/tag594.xml"/><Relationship Id="rId281" Type="http://schemas.openxmlformats.org/officeDocument/2006/relationships/tags" Target="../tags/tag647.xml"/><Relationship Id="rId337" Type="http://schemas.openxmlformats.org/officeDocument/2006/relationships/tags" Target="../tags/tag703.xml"/><Relationship Id="rId34" Type="http://schemas.openxmlformats.org/officeDocument/2006/relationships/tags" Target="../tags/tag400.xml"/><Relationship Id="rId76" Type="http://schemas.openxmlformats.org/officeDocument/2006/relationships/tags" Target="../tags/tag442.xml"/><Relationship Id="rId141" Type="http://schemas.openxmlformats.org/officeDocument/2006/relationships/tags" Target="../tags/tag507.xml"/><Relationship Id="rId7" Type="http://schemas.openxmlformats.org/officeDocument/2006/relationships/tags" Target="../tags/tag373.xml"/><Relationship Id="rId183" Type="http://schemas.openxmlformats.org/officeDocument/2006/relationships/tags" Target="../tags/tag549.xml"/><Relationship Id="rId239" Type="http://schemas.openxmlformats.org/officeDocument/2006/relationships/tags" Target="../tags/tag605.xml"/><Relationship Id="rId250" Type="http://schemas.openxmlformats.org/officeDocument/2006/relationships/tags" Target="../tags/tag616.xml"/><Relationship Id="rId292" Type="http://schemas.openxmlformats.org/officeDocument/2006/relationships/tags" Target="../tags/tag658.xml"/><Relationship Id="rId306" Type="http://schemas.openxmlformats.org/officeDocument/2006/relationships/tags" Target="../tags/tag672.xml"/><Relationship Id="rId45" Type="http://schemas.openxmlformats.org/officeDocument/2006/relationships/tags" Target="../tags/tag411.xml"/><Relationship Id="rId87" Type="http://schemas.openxmlformats.org/officeDocument/2006/relationships/tags" Target="../tags/tag453.xml"/><Relationship Id="rId110" Type="http://schemas.openxmlformats.org/officeDocument/2006/relationships/tags" Target="../tags/tag476.xml"/><Relationship Id="rId152" Type="http://schemas.openxmlformats.org/officeDocument/2006/relationships/tags" Target="../tags/tag518.xml"/><Relationship Id="rId194" Type="http://schemas.openxmlformats.org/officeDocument/2006/relationships/tags" Target="../tags/tag560.xml"/><Relationship Id="rId208" Type="http://schemas.openxmlformats.org/officeDocument/2006/relationships/tags" Target="../tags/tag574.xml"/><Relationship Id="rId240" Type="http://schemas.openxmlformats.org/officeDocument/2006/relationships/tags" Target="../tags/tag606.xml"/><Relationship Id="rId261" Type="http://schemas.openxmlformats.org/officeDocument/2006/relationships/tags" Target="../tags/tag627.xml"/><Relationship Id="rId14" Type="http://schemas.openxmlformats.org/officeDocument/2006/relationships/tags" Target="../tags/tag380.xml"/><Relationship Id="rId35" Type="http://schemas.openxmlformats.org/officeDocument/2006/relationships/tags" Target="../tags/tag401.xml"/><Relationship Id="rId56" Type="http://schemas.openxmlformats.org/officeDocument/2006/relationships/tags" Target="../tags/tag422.xml"/><Relationship Id="rId77" Type="http://schemas.openxmlformats.org/officeDocument/2006/relationships/tags" Target="../tags/tag443.xml"/><Relationship Id="rId100" Type="http://schemas.openxmlformats.org/officeDocument/2006/relationships/tags" Target="../tags/tag466.xml"/><Relationship Id="rId282" Type="http://schemas.openxmlformats.org/officeDocument/2006/relationships/tags" Target="../tags/tag648.xml"/><Relationship Id="rId317" Type="http://schemas.openxmlformats.org/officeDocument/2006/relationships/tags" Target="../tags/tag683.xml"/><Relationship Id="rId338" Type="http://schemas.openxmlformats.org/officeDocument/2006/relationships/tags" Target="../tags/tag704.xml"/><Relationship Id="rId8" Type="http://schemas.openxmlformats.org/officeDocument/2006/relationships/tags" Target="../tags/tag374.xml"/><Relationship Id="rId98" Type="http://schemas.openxmlformats.org/officeDocument/2006/relationships/tags" Target="../tags/tag464.xml"/><Relationship Id="rId121" Type="http://schemas.openxmlformats.org/officeDocument/2006/relationships/tags" Target="../tags/tag487.xml"/><Relationship Id="rId142" Type="http://schemas.openxmlformats.org/officeDocument/2006/relationships/tags" Target="../tags/tag508.xml"/><Relationship Id="rId163" Type="http://schemas.openxmlformats.org/officeDocument/2006/relationships/tags" Target="../tags/tag529.xml"/><Relationship Id="rId184" Type="http://schemas.openxmlformats.org/officeDocument/2006/relationships/tags" Target="../tags/tag550.xml"/><Relationship Id="rId219" Type="http://schemas.openxmlformats.org/officeDocument/2006/relationships/tags" Target="../tags/tag585.xml"/><Relationship Id="rId230" Type="http://schemas.openxmlformats.org/officeDocument/2006/relationships/tags" Target="../tags/tag596.xml"/><Relationship Id="rId251" Type="http://schemas.openxmlformats.org/officeDocument/2006/relationships/tags" Target="../tags/tag617.xml"/><Relationship Id="rId25" Type="http://schemas.openxmlformats.org/officeDocument/2006/relationships/tags" Target="../tags/tag391.xml"/><Relationship Id="rId46" Type="http://schemas.openxmlformats.org/officeDocument/2006/relationships/tags" Target="../tags/tag412.xml"/><Relationship Id="rId67" Type="http://schemas.openxmlformats.org/officeDocument/2006/relationships/tags" Target="../tags/tag433.xml"/><Relationship Id="rId272" Type="http://schemas.openxmlformats.org/officeDocument/2006/relationships/tags" Target="../tags/tag638.xml"/><Relationship Id="rId293" Type="http://schemas.openxmlformats.org/officeDocument/2006/relationships/tags" Target="../tags/tag659.xml"/><Relationship Id="rId307" Type="http://schemas.openxmlformats.org/officeDocument/2006/relationships/tags" Target="../tags/tag673.xml"/><Relationship Id="rId328" Type="http://schemas.openxmlformats.org/officeDocument/2006/relationships/tags" Target="../tags/tag694.xml"/><Relationship Id="rId88" Type="http://schemas.openxmlformats.org/officeDocument/2006/relationships/tags" Target="../tags/tag454.xml"/><Relationship Id="rId111" Type="http://schemas.openxmlformats.org/officeDocument/2006/relationships/tags" Target="../tags/tag477.xml"/><Relationship Id="rId132" Type="http://schemas.openxmlformats.org/officeDocument/2006/relationships/tags" Target="../tags/tag498.xml"/><Relationship Id="rId153" Type="http://schemas.openxmlformats.org/officeDocument/2006/relationships/tags" Target="../tags/tag519.xml"/><Relationship Id="rId174" Type="http://schemas.openxmlformats.org/officeDocument/2006/relationships/tags" Target="../tags/tag540.xml"/><Relationship Id="rId195" Type="http://schemas.openxmlformats.org/officeDocument/2006/relationships/tags" Target="../tags/tag561.xml"/><Relationship Id="rId209" Type="http://schemas.openxmlformats.org/officeDocument/2006/relationships/tags" Target="../tags/tag575.xml"/><Relationship Id="rId220" Type="http://schemas.openxmlformats.org/officeDocument/2006/relationships/tags" Target="../tags/tag586.xml"/><Relationship Id="rId241" Type="http://schemas.openxmlformats.org/officeDocument/2006/relationships/tags" Target="../tags/tag607.xml"/><Relationship Id="rId15" Type="http://schemas.openxmlformats.org/officeDocument/2006/relationships/tags" Target="../tags/tag381.xml"/><Relationship Id="rId36" Type="http://schemas.openxmlformats.org/officeDocument/2006/relationships/tags" Target="../tags/tag402.xml"/><Relationship Id="rId57" Type="http://schemas.openxmlformats.org/officeDocument/2006/relationships/tags" Target="../tags/tag423.xml"/><Relationship Id="rId262" Type="http://schemas.openxmlformats.org/officeDocument/2006/relationships/tags" Target="../tags/tag628.xml"/><Relationship Id="rId283" Type="http://schemas.openxmlformats.org/officeDocument/2006/relationships/tags" Target="../tags/tag649.xml"/><Relationship Id="rId318" Type="http://schemas.openxmlformats.org/officeDocument/2006/relationships/tags" Target="../tags/tag684.xml"/><Relationship Id="rId339" Type="http://schemas.openxmlformats.org/officeDocument/2006/relationships/slideLayout" Target="../slideLayouts/slideLayout5.xml"/><Relationship Id="rId78" Type="http://schemas.openxmlformats.org/officeDocument/2006/relationships/tags" Target="../tags/tag444.xml"/><Relationship Id="rId99" Type="http://schemas.openxmlformats.org/officeDocument/2006/relationships/tags" Target="../tags/tag465.xml"/><Relationship Id="rId101" Type="http://schemas.openxmlformats.org/officeDocument/2006/relationships/tags" Target="../tags/tag467.xml"/><Relationship Id="rId122" Type="http://schemas.openxmlformats.org/officeDocument/2006/relationships/tags" Target="../tags/tag488.xml"/><Relationship Id="rId143" Type="http://schemas.openxmlformats.org/officeDocument/2006/relationships/tags" Target="../tags/tag509.xml"/><Relationship Id="rId164" Type="http://schemas.openxmlformats.org/officeDocument/2006/relationships/tags" Target="../tags/tag530.xml"/><Relationship Id="rId185" Type="http://schemas.openxmlformats.org/officeDocument/2006/relationships/tags" Target="../tags/tag551.xml"/><Relationship Id="rId9" Type="http://schemas.openxmlformats.org/officeDocument/2006/relationships/tags" Target="../tags/tag375.xml"/><Relationship Id="rId210" Type="http://schemas.openxmlformats.org/officeDocument/2006/relationships/tags" Target="../tags/tag576.xml"/><Relationship Id="rId26" Type="http://schemas.openxmlformats.org/officeDocument/2006/relationships/tags" Target="../tags/tag392.xml"/><Relationship Id="rId231" Type="http://schemas.openxmlformats.org/officeDocument/2006/relationships/tags" Target="../tags/tag597.xml"/><Relationship Id="rId252" Type="http://schemas.openxmlformats.org/officeDocument/2006/relationships/tags" Target="../tags/tag618.xml"/><Relationship Id="rId273" Type="http://schemas.openxmlformats.org/officeDocument/2006/relationships/tags" Target="../tags/tag639.xml"/><Relationship Id="rId294" Type="http://schemas.openxmlformats.org/officeDocument/2006/relationships/tags" Target="../tags/tag660.xml"/><Relationship Id="rId308" Type="http://schemas.openxmlformats.org/officeDocument/2006/relationships/tags" Target="../tags/tag674.xml"/><Relationship Id="rId329" Type="http://schemas.openxmlformats.org/officeDocument/2006/relationships/tags" Target="../tags/tag695.xml"/><Relationship Id="rId47" Type="http://schemas.openxmlformats.org/officeDocument/2006/relationships/tags" Target="../tags/tag413.xml"/><Relationship Id="rId68" Type="http://schemas.openxmlformats.org/officeDocument/2006/relationships/tags" Target="../tags/tag434.xml"/><Relationship Id="rId89" Type="http://schemas.openxmlformats.org/officeDocument/2006/relationships/tags" Target="../tags/tag455.xml"/><Relationship Id="rId112" Type="http://schemas.openxmlformats.org/officeDocument/2006/relationships/tags" Target="../tags/tag478.xml"/><Relationship Id="rId133" Type="http://schemas.openxmlformats.org/officeDocument/2006/relationships/tags" Target="../tags/tag499.xml"/><Relationship Id="rId154" Type="http://schemas.openxmlformats.org/officeDocument/2006/relationships/tags" Target="../tags/tag520.xml"/><Relationship Id="rId175" Type="http://schemas.openxmlformats.org/officeDocument/2006/relationships/tags" Target="../tags/tag541.xml"/><Relationship Id="rId340" Type="http://schemas.openxmlformats.org/officeDocument/2006/relationships/notesSlide" Target="../notesSlides/notesSlide8.xml"/><Relationship Id="rId196" Type="http://schemas.openxmlformats.org/officeDocument/2006/relationships/tags" Target="../tags/tag562.xml"/><Relationship Id="rId200" Type="http://schemas.openxmlformats.org/officeDocument/2006/relationships/tags" Target="../tags/tag566.xml"/><Relationship Id="rId16" Type="http://schemas.openxmlformats.org/officeDocument/2006/relationships/tags" Target="../tags/tag382.xml"/><Relationship Id="rId221" Type="http://schemas.openxmlformats.org/officeDocument/2006/relationships/tags" Target="../tags/tag587.xml"/><Relationship Id="rId242" Type="http://schemas.openxmlformats.org/officeDocument/2006/relationships/tags" Target="../tags/tag608.xml"/><Relationship Id="rId263" Type="http://schemas.openxmlformats.org/officeDocument/2006/relationships/tags" Target="../tags/tag629.xml"/><Relationship Id="rId284" Type="http://schemas.openxmlformats.org/officeDocument/2006/relationships/tags" Target="../tags/tag650.xml"/><Relationship Id="rId319" Type="http://schemas.openxmlformats.org/officeDocument/2006/relationships/tags" Target="../tags/tag685.xml"/><Relationship Id="rId37" Type="http://schemas.openxmlformats.org/officeDocument/2006/relationships/tags" Target="../tags/tag403.xml"/><Relationship Id="rId58" Type="http://schemas.openxmlformats.org/officeDocument/2006/relationships/tags" Target="../tags/tag424.xml"/><Relationship Id="rId79" Type="http://schemas.openxmlformats.org/officeDocument/2006/relationships/tags" Target="../tags/tag445.xml"/><Relationship Id="rId102" Type="http://schemas.openxmlformats.org/officeDocument/2006/relationships/tags" Target="../tags/tag468.xml"/><Relationship Id="rId123" Type="http://schemas.openxmlformats.org/officeDocument/2006/relationships/tags" Target="../tags/tag489.xml"/><Relationship Id="rId144" Type="http://schemas.openxmlformats.org/officeDocument/2006/relationships/tags" Target="../tags/tag510.xml"/><Relationship Id="rId330" Type="http://schemas.openxmlformats.org/officeDocument/2006/relationships/tags" Target="../tags/tag696.xml"/><Relationship Id="rId90" Type="http://schemas.openxmlformats.org/officeDocument/2006/relationships/tags" Target="../tags/tag456.xml"/><Relationship Id="rId165" Type="http://schemas.openxmlformats.org/officeDocument/2006/relationships/tags" Target="../tags/tag531.xml"/><Relationship Id="rId186" Type="http://schemas.openxmlformats.org/officeDocument/2006/relationships/tags" Target="../tags/tag552.xml"/><Relationship Id="rId211" Type="http://schemas.openxmlformats.org/officeDocument/2006/relationships/tags" Target="../tags/tag577.xml"/><Relationship Id="rId232" Type="http://schemas.openxmlformats.org/officeDocument/2006/relationships/tags" Target="../tags/tag598.xml"/><Relationship Id="rId253" Type="http://schemas.openxmlformats.org/officeDocument/2006/relationships/tags" Target="../tags/tag619.xml"/><Relationship Id="rId274" Type="http://schemas.openxmlformats.org/officeDocument/2006/relationships/tags" Target="../tags/tag640.xml"/><Relationship Id="rId295" Type="http://schemas.openxmlformats.org/officeDocument/2006/relationships/tags" Target="../tags/tag661.xml"/><Relationship Id="rId309" Type="http://schemas.openxmlformats.org/officeDocument/2006/relationships/tags" Target="../tags/tag675.xml"/><Relationship Id="rId27" Type="http://schemas.openxmlformats.org/officeDocument/2006/relationships/tags" Target="../tags/tag393.xml"/><Relationship Id="rId48" Type="http://schemas.openxmlformats.org/officeDocument/2006/relationships/tags" Target="../tags/tag414.xml"/><Relationship Id="rId69" Type="http://schemas.openxmlformats.org/officeDocument/2006/relationships/tags" Target="../tags/tag435.xml"/><Relationship Id="rId113" Type="http://schemas.openxmlformats.org/officeDocument/2006/relationships/tags" Target="../tags/tag479.xml"/><Relationship Id="rId134" Type="http://schemas.openxmlformats.org/officeDocument/2006/relationships/tags" Target="../tags/tag500.xml"/><Relationship Id="rId320" Type="http://schemas.openxmlformats.org/officeDocument/2006/relationships/tags" Target="../tags/tag686.xml"/><Relationship Id="rId80" Type="http://schemas.openxmlformats.org/officeDocument/2006/relationships/tags" Target="../tags/tag446.xml"/><Relationship Id="rId155" Type="http://schemas.openxmlformats.org/officeDocument/2006/relationships/tags" Target="../tags/tag521.xml"/><Relationship Id="rId176" Type="http://schemas.openxmlformats.org/officeDocument/2006/relationships/tags" Target="../tags/tag542.xml"/><Relationship Id="rId197" Type="http://schemas.openxmlformats.org/officeDocument/2006/relationships/tags" Target="../tags/tag563.xml"/><Relationship Id="rId341" Type="http://schemas.openxmlformats.org/officeDocument/2006/relationships/image" Target="../media/image12.jpeg"/><Relationship Id="rId201" Type="http://schemas.openxmlformats.org/officeDocument/2006/relationships/tags" Target="../tags/tag567.xml"/><Relationship Id="rId222" Type="http://schemas.openxmlformats.org/officeDocument/2006/relationships/tags" Target="../tags/tag588.xml"/><Relationship Id="rId243" Type="http://schemas.openxmlformats.org/officeDocument/2006/relationships/tags" Target="../tags/tag609.xml"/><Relationship Id="rId264" Type="http://schemas.openxmlformats.org/officeDocument/2006/relationships/tags" Target="../tags/tag630.xml"/><Relationship Id="rId285" Type="http://schemas.openxmlformats.org/officeDocument/2006/relationships/tags" Target="../tags/tag651.xml"/><Relationship Id="rId17" Type="http://schemas.openxmlformats.org/officeDocument/2006/relationships/tags" Target="../tags/tag383.xml"/><Relationship Id="rId38" Type="http://schemas.openxmlformats.org/officeDocument/2006/relationships/tags" Target="../tags/tag404.xml"/><Relationship Id="rId59" Type="http://schemas.openxmlformats.org/officeDocument/2006/relationships/tags" Target="../tags/tag425.xml"/><Relationship Id="rId103" Type="http://schemas.openxmlformats.org/officeDocument/2006/relationships/tags" Target="../tags/tag469.xml"/><Relationship Id="rId124" Type="http://schemas.openxmlformats.org/officeDocument/2006/relationships/tags" Target="../tags/tag490.xml"/><Relationship Id="rId310" Type="http://schemas.openxmlformats.org/officeDocument/2006/relationships/tags" Target="../tags/tag676.xml"/><Relationship Id="rId70" Type="http://schemas.openxmlformats.org/officeDocument/2006/relationships/tags" Target="../tags/tag436.xml"/><Relationship Id="rId91" Type="http://schemas.openxmlformats.org/officeDocument/2006/relationships/tags" Target="../tags/tag457.xml"/><Relationship Id="rId145" Type="http://schemas.openxmlformats.org/officeDocument/2006/relationships/tags" Target="../tags/tag511.xml"/><Relationship Id="rId166" Type="http://schemas.openxmlformats.org/officeDocument/2006/relationships/tags" Target="../tags/tag532.xml"/><Relationship Id="rId187" Type="http://schemas.openxmlformats.org/officeDocument/2006/relationships/tags" Target="../tags/tag553.xml"/><Relationship Id="rId331" Type="http://schemas.openxmlformats.org/officeDocument/2006/relationships/tags" Target="../tags/tag697.xml"/><Relationship Id="rId1" Type="http://schemas.openxmlformats.org/officeDocument/2006/relationships/tags" Target="../tags/tag367.xml"/><Relationship Id="rId212" Type="http://schemas.openxmlformats.org/officeDocument/2006/relationships/tags" Target="../tags/tag578.xml"/><Relationship Id="rId233" Type="http://schemas.openxmlformats.org/officeDocument/2006/relationships/tags" Target="../tags/tag599.xml"/><Relationship Id="rId254" Type="http://schemas.openxmlformats.org/officeDocument/2006/relationships/tags" Target="../tags/tag620.xml"/><Relationship Id="rId28" Type="http://schemas.openxmlformats.org/officeDocument/2006/relationships/tags" Target="../tags/tag394.xml"/><Relationship Id="rId49" Type="http://schemas.openxmlformats.org/officeDocument/2006/relationships/tags" Target="../tags/tag415.xml"/><Relationship Id="rId114" Type="http://schemas.openxmlformats.org/officeDocument/2006/relationships/tags" Target="../tags/tag480.xml"/><Relationship Id="rId275" Type="http://schemas.openxmlformats.org/officeDocument/2006/relationships/tags" Target="../tags/tag641.xml"/><Relationship Id="rId296" Type="http://schemas.openxmlformats.org/officeDocument/2006/relationships/tags" Target="../tags/tag662.xml"/><Relationship Id="rId300" Type="http://schemas.openxmlformats.org/officeDocument/2006/relationships/tags" Target="../tags/tag666.xml"/><Relationship Id="rId60" Type="http://schemas.openxmlformats.org/officeDocument/2006/relationships/tags" Target="../tags/tag426.xml"/><Relationship Id="rId81" Type="http://schemas.openxmlformats.org/officeDocument/2006/relationships/tags" Target="../tags/tag447.xml"/><Relationship Id="rId135" Type="http://schemas.openxmlformats.org/officeDocument/2006/relationships/tags" Target="../tags/tag501.xml"/><Relationship Id="rId156" Type="http://schemas.openxmlformats.org/officeDocument/2006/relationships/tags" Target="../tags/tag522.xml"/><Relationship Id="rId177" Type="http://schemas.openxmlformats.org/officeDocument/2006/relationships/tags" Target="../tags/tag543.xml"/><Relationship Id="rId198" Type="http://schemas.openxmlformats.org/officeDocument/2006/relationships/tags" Target="../tags/tag564.xml"/><Relationship Id="rId321" Type="http://schemas.openxmlformats.org/officeDocument/2006/relationships/tags" Target="../tags/tag687.xml"/><Relationship Id="rId202" Type="http://schemas.openxmlformats.org/officeDocument/2006/relationships/tags" Target="../tags/tag568.xml"/><Relationship Id="rId223" Type="http://schemas.openxmlformats.org/officeDocument/2006/relationships/tags" Target="../tags/tag589.xml"/><Relationship Id="rId244" Type="http://schemas.openxmlformats.org/officeDocument/2006/relationships/tags" Target="../tags/tag610.xml"/><Relationship Id="rId18" Type="http://schemas.openxmlformats.org/officeDocument/2006/relationships/tags" Target="../tags/tag384.xml"/><Relationship Id="rId39" Type="http://schemas.openxmlformats.org/officeDocument/2006/relationships/tags" Target="../tags/tag405.xml"/><Relationship Id="rId265" Type="http://schemas.openxmlformats.org/officeDocument/2006/relationships/tags" Target="../tags/tag631.xml"/><Relationship Id="rId286" Type="http://schemas.openxmlformats.org/officeDocument/2006/relationships/tags" Target="../tags/tag652.xml"/><Relationship Id="rId50" Type="http://schemas.openxmlformats.org/officeDocument/2006/relationships/tags" Target="../tags/tag416.xml"/><Relationship Id="rId104" Type="http://schemas.openxmlformats.org/officeDocument/2006/relationships/tags" Target="../tags/tag470.xml"/><Relationship Id="rId125" Type="http://schemas.openxmlformats.org/officeDocument/2006/relationships/tags" Target="../tags/tag491.xml"/><Relationship Id="rId146" Type="http://schemas.openxmlformats.org/officeDocument/2006/relationships/tags" Target="../tags/tag512.xml"/><Relationship Id="rId167" Type="http://schemas.openxmlformats.org/officeDocument/2006/relationships/tags" Target="../tags/tag533.xml"/><Relationship Id="rId188" Type="http://schemas.openxmlformats.org/officeDocument/2006/relationships/tags" Target="../tags/tag554.xml"/><Relationship Id="rId311" Type="http://schemas.openxmlformats.org/officeDocument/2006/relationships/tags" Target="../tags/tag677.xml"/><Relationship Id="rId332" Type="http://schemas.openxmlformats.org/officeDocument/2006/relationships/tags" Target="../tags/tag698.xml"/><Relationship Id="rId71" Type="http://schemas.openxmlformats.org/officeDocument/2006/relationships/tags" Target="../tags/tag437.xml"/><Relationship Id="rId92" Type="http://schemas.openxmlformats.org/officeDocument/2006/relationships/tags" Target="../tags/tag458.xml"/><Relationship Id="rId213" Type="http://schemas.openxmlformats.org/officeDocument/2006/relationships/tags" Target="../tags/tag579.xml"/><Relationship Id="rId234" Type="http://schemas.openxmlformats.org/officeDocument/2006/relationships/tags" Target="../tags/tag600.xml"/><Relationship Id="rId2" Type="http://schemas.openxmlformats.org/officeDocument/2006/relationships/tags" Target="../tags/tag368.xml"/><Relationship Id="rId29" Type="http://schemas.openxmlformats.org/officeDocument/2006/relationships/tags" Target="../tags/tag395.xml"/><Relationship Id="rId255" Type="http://schemas.openxmlformats.org/officeDocument/2006/relationships/tags" Target="../tags/tag621.xml"/><Relationship Id="rId276" Type="http://schemas.openxmlformats.org/officeDocument/2006/relationships/tags" Target="../tags/tag642.xml"/><Relationship Id="rId297" Type="http://schemas.openxmlformats.org/officeDocument/2006/relationships/tags" Target="../tags/tag663.xml"/><Relationship Id="rId40" Type="http://schemas.openxmlformats.org/officeDocument/2006/relationships/tags" Target="../tags/tag406.xml"/><Relationship Id="rId115" Type="http://schemas.openxmlformats.org/officeDocument/2006/relationships/tags" Target="../tags/tag481.xml"/><Relationship Id="rId136" Type="http://schemas.openxmlformats.org/officeDocument/2006/relationships/tags" Target="../tags/tag502.xml"/><Relationship Id="rId157" Type="http://schemas.openxmlformats.org/officeDocument/2006/relationships/tags" Target="../tags/tag523.xml"/><Relationship Id="rId178" Type="http://schemas.openxmlformats.org/officeDocument/2006/relationships/tags" Target="../tags/tag544.xml"/><Relationship Id="rId301" Type="http://schemas.openxmlformats.org/officeDocument/2006/relationships/tags" Target="../tags/tag667.xml"/><Relationship Id="rId322" Type="http://schemas.openxmlformats.org/officeDocument/2006/relationships/tags" Target="../tags/tag688.xml"/><Relationship Id="rId61" Type="http://schemas.openxmlformats.org/officeDocument/2006/relationships/tags" Target="../tags/tag427.xml"/><Relationship Id="rId82" Type="http://schemas.openxmlformats.org/officeDocument/2006/relationships/tags" Target="../tags/tag448.xml"/><Relationship Id="rId199" Type="http://schemas.openxmlformats.org/officeDocument/2006/relationships/tags" Target="../tags/tag565.xml"/><Relationship Id="rId203" Type="http://schemas.openxmlformats.org/officeDocument/2006/relationships/tags" Target="../tags/tag569.xml"/><Relationship Id="rId19" Type="http://schemas.openxmlformats.org/officeDocument/2006/relationships/tags" Target="../tags/tag385.xml"/><Relationship Id="rId224" Type="http://schemas.openxmlformats.org/officeDocument/2006/relationships/tags" Target="../tags/tag590.xml"/><Relationship Id="rId245" Type="http://schemas.openxmlformats.org/officeDocument/2006/relationships/tags" Target="../tags/tag611.xml"/><Relationship Id="rId266" Type="http://schemas.openxmlformats.org/officeDocument/2006/relationships/tags" Target="../tags/tag632.xml"/><Relationship Id="rId287" Type="http://schemas.openxmlformats.org/officeDocument/2006/relationships/tags" Target="../tags/tag653.xml"/><Relationship Id="rId30" Type="http://schemas.openxmlformats.org/officeDocument/2006/relationships/tags" Target="../tags/tag396.xml"/><Relationship Id="rId105" Type="http://schemas.openxmlformats.org/officeDocument/2006/relationships/tags" Target="../tags/tag471.xml"/><Relationship Id="rId126" Type="http://schemas.openxmlformats.org/officeDocument/2006/relationships/tags" Target="../tags/tag492.xml"/><Relationship Id="rId147" Type="http://schemas.openxmlformats.org/officeDocument/2006/relationships/tags" Target="../tags/tag513.xml"/><Relationship Id="rId168" Type="http://schemas.openxmlformats.org/officeDocument/2006/relationships/tags" Target="../tags/tag534.xml"/><Relationship Id="rId312" Type="http://schemas.openxmlformats.org/officeDocument/2006/relationships/tags" Target="../tags/tag678.xml"/><Relationship Id="rId333" Type="http://schemas.openxmlformats.org/officeDocument/2006/relationships/tags" Target="../tags/tag699.xml"/><Relationship Id="rId51" Type="http://schemas.openxmlformats.org/officeDocument/2006/relationships/tags" Target="../tags/tag417.xml"/><Relationship Id="rId72" Type="http://schemas.openxmlformats.org/officeDocument/2006/relationships/tags" Target="../tags/tag438.xml"/><Relationship Id="rId93" Type="http://schemas.openxmlformats.org/officeDocument/2006/relationships/tags" Target="../tags/tag459.xml"/><Relationship Id="rId189" Type="http://schemas.openxmlformats.org/officeDocument/2006/relationships/tags" Target="../tags/tag555.xml"/><Relationship Id="rId3" Type="http://schemas.openxmlformats.org/officeDocument/2006/relationships/tags" Target="../tags/tag369.xml"/><Relationship Id="rId214" Type="http://schemas.openxmlformats.org/officeDocument/2006/relationships/tags" Target="../tags/tag580.xml"/><Relationship Id="rId235" Type="http://schemas.openxmlformats.org/officeDocument/2006/relationships/tags" Target="../tags/tag601.xml"/><Relationship Id="rId256" Type="http://schemas.openxmlformats.org/officeDocument/2006/relationships/tags" Target="../tags/tag622.xml"/><Relationship Id="rId277" Type="http://schemas.openxmlformats.org/officeDocument/2006/relationships/tags" Target="../tags/tag643.xml"/><Relationship Id="rId298" Type="http://schemas.openxmlformats.org/officeDocument/2006/relationships/tags" Target="../tags/tag664.xml"/><Relationship Id="rId116" Type="http://schemas.openxmlformats.org/officeDocument/2006/relationships/tags" Target="../tags/tag482.xml"/><Relationship Id="rId137" Type="http://schemas.openxmlformats.org/officeDocument/2006/relationships/tags" Target="../tags/tag503.xml"/><Relationship Id="rId158" Type="http://schemas.openxmlformats.org/officeDocument/2006/relationships/tags" Target="../tags/tag524.xml"/><Relationship Id="rId302" Type="http://schemas.openxmlformats.org/officeDocument/2006/relationships/tags" Target="../tags/tag668.xml"/><Relationship Id="rId323" Type="http://schemas.openxmlformats.org/officeDocument/2006/relationships/tags" Target="../tags/tag689.xml"/><Relationship Id="rId20" Type="http://schemas.openxmlformats.org/officeDocument/2006/relationships/tags" Target="../tags/tag386.xml"/><Relationship Id="rId41" Type="http://schemas.openxmlformats.org/officeDocument/2006/relationships/tags" Target="../tags/tag407.xml"/><Relationship Id="rId62" Type="http://schemas.openxmlformats.org/officeDocument/2006/relationships/tags" Target="../tags/tag428.xml"/><Relationship Id="rId83" Type="http://schemas.openxmlformats.org/officeDocument/2006/relationships/tags" Target="../tags/tag449.xml"/><Relationship Id="rId179" Type="http://schemas.openxmlformats.org/officeDocument/2006/relationships/tags" Target="../tags/tag545.xml"/><Relationship Id="rId190" Type="http://schemas.openxmlformats.org/officeDocument/2006/relationships/tags" Target="../tags/tag556.xml"/><Relationship Id="rId204" Type="http://schemas.openxmlformats.org/officeDocument/2006/relationships/tags" Target="../tags/tag570.xml"/><Relationship Id="rId225" Type="http://schemas.openxmlformats.org/officeDocument/2006/relationships/tags" Target="../tags/tag591.xml"/><Relationship Id="rId246" Type="http://schemas.openxmlformats.org/officeDocument/2006/relationships/tags" Target="../tags/tag612.xml"/><Relationship Id="rId267" Type="http://schemas.openxmlformats.org/officeDocument/2006/relationships/tags" Target="../tags/tag633.xml"/><Relationship Id="rId288" Type="http://schemas.openxmlformats.org/officeDocument/2006/relationships/tags" Target="../tags/tag654.xml"/><Relationship Id="rId106" Type="http://schemas.openxmlformats.org/officeDocument/2006/relationships/tags" Target="../tags/tag472.xml"/><Relationship Id="rId127" Type="http://schemas.openxmlformats.org/officeDocument/2006/relationships/tags" Target="../tags/tag493.xml"/><Relationship Id="rId313" Type="http://schemas.openxmlformats.org/officeDocument/2006/relationships/tags" Target="../tags/tag679.xml"/><Relationship Id="rId10" Type="http://schemas.openxmlformats.org/officeDocument/2006/relationships/tags" Target="../tags/tag376.xml"/><Relationship Id="rId31" Type="http://schemas.openxmlformats.org/officeDocument/2006/relationships/tags" Target="../tags/tag397.xml"/><Relationship Id="rId52" Type="http://schemas.openxmlformats.org/officeDocument/2006/relationships/tags" Target="../tags/tag418.xml"/><Relationship Id="rId73" Type="http://schemas.openxmlformats.org/officeDocument/2006/relationships/tags" Target="../tags/tag439.xml"/><Relationship Id="rId94" Type="http://schemas.openxmlformats.org/officeDocument/2006/relationships/tags" Target="../tags/tag460.xml"/><Relationship Id="rId148" Type="http://schemas.openxmlformats.org/officeDocument/2006/relationships/tags" Target="../tags/tag514.xml"/><Relationship Id="rId169" Type="http://schemas.openxmlformats.org/officeDocument/2006/relationships/tags" Target="../tags/tag535.xml"/><Relationship Id="rId334" Type="http://schemas.openxmlformats.org/officeDocument/2006/relationships/tags" Target="../tags/tag700.xml"/><Relationship Id="rId4" Type="http://schemas.openxmlformats.org/officeDocument/2006/relationships/tags" Target="../tags/tag370.xml"/><Relationship Id="rId180" Type="http://schemas.openxmlformats.org/officeDocument/2006/relationships/tags" Target="../tags/tag546.xml"/><Relationship Id="rId215" Type="http://schemas.openxmlformats.org/officeDocument/2006/relationships/tags" Target="../tags/tag581.xml"/><Relationship Id="rId236" Type="http://schemas.openxmlformats.org/officeDocument/2006/relationships/tags" Target="../tags/tag602.xml"/><Relationship Id="rId257" Type="http://schemas.openxmlformats.org/officeDocument/2006/relationships/tags" Target="../tags/tag623.xml"/><Relationship Id="rId278" Type="http://schemas.openxmlformats.org/officeDocument/2006/relationships/tags" Target="../tags/tag644.xml"/><Relationship Id="rId303" Type="http://schemas.openxmlformats.org/officeDocument/2006/relationships/tags" Target="../tags/tag669.xml"/><Relationship Id="rId42" Type="http://schemas.openxmlformats.org/officeDocument/2006/relationships/tags" Target="../tags/tag408.xml"/><Relationship Id="rId84" Type="http://schemas.openxmlformats.org/officeDocument/2006/relationships/tags" Target="../tags/tag450.xml"/><Relationship Id="rId138" Type="http://schemas.openxmlformats.org/officeDocument/2006/relationships/tags" Target="../tags/tag504.xml"/><Relationship Id="rId191" Type="http://schemas.openxmlformats.org/officeDocument/2006/relationships/tags" Target="../tags/tag557.xml"/><Relationship Id="rId205" Type="http://schemas.openxmlformats.org/officeDocument/2006/relationships/tags" Target="../tags/tag571.xml"/><Relationship Id="rId247" Type="http://schemas.openxmlformats.org/officeDocument/2006/relationships/tags" Target="../tags/tag613.xml"/><Relationship Id="rId107" Type="http://schemas.openxmlformats.org/officeDocument/2006/relationships/tags" Target="../tags/tag473.xml"/><Relationship Id="rId289" Type="http://schemas.openxmlformats.org/officeDocument/2006/relationships/tags" Target="../tags/tag655.xml"/><Relationship Id="rId11" Type="http://schemas.openxmlformats.org/officeDocument/2006/relationships/tags" Target="../tags/tag377.xml"/><Relationship Id="rId53" Type="http://schemas.openxmlformats.org/officeDocument/2006/relationships/tags" Target="../tags/tag419.xml"/><Relationship Id="rId149" Type="http://schemas.openxmlformats.org/officeDocument/2006/relationships/tags" Target="../tags/tag515.xml"/><Relationship Id="rId314" Type="http://schemas.openxmlformats.org/officeDocument/2006/relationships/tags" Target="../tags/tag680.xml"/><Relationship Id="rId95" Type="http://schemas.openxmlformats.org/officeDocument/2006/relationships/tags" Target="../tags/tag461.xml"/><Relationship Id="rId160" Type="http://schemas.openxmlformats.org/officeDocument/2006/relationships/tags" Target="../tags/tag526.xml"/><Relationship Id="rId216" Type="http://schemas.openxmlformats.org/officeDocument/2006/relationships/tags" Target="../tags/tag582.xml"/><Relationship Id="rId258" Type="http://schemas.openxmlformats.org/officeDocument/2006/relationships/tags" Target="../tags/tag624.xml"/><Relationship Id="rId22" Type="http://schemas.openxmlformats.org/officeDocument/2006/relationships/tags" Target="../tags/tag388.xml"/><Relationship Id="rId64" Type="http://schemas.openxmlformats.org/officeDocument/2006/relationships/tags" Target="../tags/tag430.xml"/><Relationship Id="rId118" Type="http://schemas.openxmlformats.org/officeDocument/2006/relationships/tags" Target="../tags/tag484.xml"/><Relationship Id="rId325" Type="http://schemas.openxmlformats.org/officeDocument/2006/relationships/tags" Target="../tags/tag691.xml"/><Relationship Id="rId171" Type="http://schemas.openxmlformats.org/officeDocument/2006/relationships/tags" Target="../tags/tag537.xml"/><Relationship Id="rId227" Type="http://schemas.openxmlformats.org/officeDocument/2006/relationships/tags" Target="../tags/tag593.xml"/><Relationship Id="rId269" Type="http://schemas.openxmlformats.org/officeDocument/2006/relationships/tags" Target="../tags/tag635.xml"/><Relationship Id="rId33" Type="http://schemas.openxmlformats.org/officeDocument/2006/relationships/tags" Target="../tags/tag399.xml"/><Relationship Id="rId129" Type="http://schemas.openxmlformats.org/officeDocument/2006/relationships/tags" Target="../tags/tag495.xml"/><Relationship Id="rId280" Type="http://schemas.openxmlformats.org/officeDocument/2006/relationships/tags" Target="../tags/tag646.xml"/><Relationship Id="rId336" Type="http://schemas.openxmlformats.org/officeDocument/2006/relationships/tags" Target="../tags/tag702.xml"/><Relationship Id="rId75" Type="http://schemas.openxmlformats.org/officeDocument/2006/relationships/tags" Target="../tags/tag441.xml"/><Relationship Id="rId140" Type="http://schemas.openxmlformats.org/officeDocument/2006/relationships/tags" Target="../tags/tag506.xml"/><Relationship Id="rId182" Type="http://schemas.openxmlformats.org/officeDocument/2006/relationships/tags" Target="../tags/tag548.xml"/><Relationship Id="rId6" Type="http://schemas.openxmlformats.org/officeDocument/2006/relationships/tags" Target="../tags/tag372.xml"/><Relationship Id="rId238" Type="http://schemas.openxmlformats.org/officeDocument/2006/relationships/tags" Target="../tags/tag604.xml"/><Relationship Id="rId291" Type="http://schemas.openxmlformats.org/officeDocument/2006/relationships/tags" Target="../tags/tag657.xml"/><Relationship Id="rId305" Type="http://schemas.openxmlformats.org/officeDocument/2006/relationships/tags" Target="../tags/tag671.xml"/><Relationship Id="rId44" Type="http://schemas.openxmlformats.org/officeDocument/2006/relationships/tags" Target="../tags/tag410.xml"/><Relationship Id="rId86" Type="http://schemas.openxmlformats.org/officeDocument/2006/relationships/tags" Target="../tags/tag452.xml"/><Relationship Id="rId151" Type="http://schemas.openxmlformats.org/officeDocument/2006/relationships/tags" Target="../tags/tag517.xml"/><Relationship Id="rId193" Type="http://schemas.openxmlformats.org/officeDocument/2006/relationships/tags" Target="../tags/tag559.xml"/><Relationship Id="rId207" Type="http://schemas.openxmlformats.org/officeDocument/2006/relationships/tags" Target="../tags/tag573.xml"/><Relationship Id="rId249" Type="http://schemas.openxmlformats.org/officeDocument/2006/relationships/tags" Target="../tags/tag615.xml"/><Relationship Id="rId13" Type="http://schemas.openxmlformats.org/officeDocument/2006/relationships/tags" Target="../tags/tag379.xml"/><Relationship Id="rId109" Type="http://schemas.openxmlformats.org/officeDocument/2006/relationships/tags" Target="../tags/tag475.xml"/><Relationship Id="rId260" Type="http://schemas.openxmlformats.org/officeDocument/2006/relationships/tags" Target="../tags/tag626.xml"/><Relationship Id="rId316" Type="http://schemas.openxmlformats.org/officeDocument/2006/relationships/tags" Target="../tags/tag682.xml"/><Relationship Id="rId55" Type="http://schemas.openxmlformats.org/officeDocument/2006/relationships/tags" Target="../tags/tag421.xml"/><Relationship Id="rId97" Type="http://schemas.openxmlformats.org/officeDocument/2006/relationships/tags" Target="../tags/tag463.xml"/><Relationship Id="rId120" Type="http://schemas.openxmlformats.org/officeDocument/2006/relationships/tags" Target="../tags/tag486.xml"/><Relationship Id="rId162" Type="http://schemas.openxmlformats.org/officeDocument/2006/relationships/tags" Target="../tags/tag528.xml"/><Relationship Id="rId218" Type="http://schemas.openxmlformats.org/officeDocument/2006/relationships/tags" Target="../tags/tag584.xml"/><Relationship Id="rId271" Type="http://schemas.openxmlformats.org/officeDocument/2006/relationships/tags" Target="../tags/tag637.xml"/><Relationship Id="rId24" Type="http://schemas.openxmlformats.org/officeDocument/2006/relationships/tags" Target="../tags/tag390.xml"/><Relationship Id="rId66" Type="http://schemas.openxmlformats.org/officeDocument/2006/relationships/tags" Target="../tags/tag432.xml"/><Relationship Id="rId131" Type="http://schemas.openxmlformats.org/officeDocument/2006/relationships/tags" Target="../tags/tag497.xml"/><Relationship Id="rId327" Type="http://schemas.openxmlformats.org/officeDocument/2006/relationships/tags" Target="../tags/tag693.xml"/><Relationship Id="rId173" Type="http://schemas.openxmlformats.org/officeDocument/2006/relationships/tags" Target="../tags/tag539.xml"/><Relationship Id="rId229" Type="http://schemas.openxmlformats.org/officeDocument/2006/relationships/tags" Target="../tags/tag595.xml"/></Relationships>
</file>

<file path=ppt/slides/_rels/slide9.xml.rels><?xml version="1.0" encoding="UTF-8" standalone="yes"?>
<Relationships xmlns="http://schemas.openxmlformats.org/package/2006/relationships"><Relationship Id="rId26" Type="http://schemas.openxmlformats.org/officeDocument/2006/relationships/tags" Target="../tags/tag733.xml"/><Relationship Id="rId21" Type="http://schemas.openxmlformats.org/officeDocument/2006/relationships/tags" Target="../tags/tag728.xml"/><Relationship Id="rId42" Type="http://schemas.openxmlformats.org/officeDocument/2006/relationships/tags" Target="../tags/tag749.xml"/><Relationship Id="rId47" Type="http://schemas.openxmlformats.org/officeDocument/2006/relationships/tags" Target="../tags/tag754.xml"/><Relationship Id="rId63" Type="http://schemas.openxmlformats.org/officeDocument/2006/relationships/image" Target="../media/image12.jpeg"/><Relationship Id="rId68" Type="http://schemas.openxmlformats.org/officeDocument/2006/relationships/image" Target="../media/image40.emf"/><Relationship Id="rId7" Type="http://schemas.openxmlformats.org/officeDocument/2006/relationships/tags" Target="../tags/tag714.xml"/><Relationship Id="rId2" Type="http://schemas.openxmlformats.org/officeDocument/2006/relationships/tags" Target="../tags/tag709.xml"/><Relationship Id="rId16" Type="http://schemas.openxmlformats.org/officeDocument/2006/relationships/tags" Target="../tags/tag723.xml"/><Relationship Id="rId29" Type="http://schemas.openxmlformats.org/officeDocument/2006/relationships/tags" Target="../tags/tag736.xml"/><Relationship Id="rId11" Type="http://schemas.openxmlformats.org/officeDocument/2006/relationships/tags" Target="../tags/tag718.xml"/><Relationship Id="rId24" Type="http://schemas.openxmlformats.org/officeDocument/2006/relationships/tags" Target="../tags/tag731.xml"/><Relationship Id="rId32" Type="http://schemas.openxmlformats.org/officeDocument/2006/relationships/tags" Target="../tags/tag739.xml"/><Relationship Id="rId37" Type="http://schemas.openxmlformats.org/officeDocument/2006/relationships/tags" Target="../tags/tag744.xml"/><Relationship Id="rId40" Type="http://schemas.openxmlformats.org/officeDocument/2006/relationships/tags" Target="../tags/tag747.xml"/><Relationship Id="rId45" Type="http://schemas.openxmlformats.org/officeDocument/2006/relationships/tags" Target="../tags/tag752.xml"/><Relationship Id="rId53" Type="http://schemas.openxmlformats.org/officeDocument/2006/relationships/tags" Target="../tags/tag760.xml"/><Relationship Id="rId58" Type="http://schemas.openxmlformats.org/officeDocument/2006/relationships/tags" Target="../tags/tag765.xml"/><Relationship Id="rId66" Type="http://schemas.openxmlformats.org/officeDocument/2006/relationships/image" Target="../media/image38.emf"/><Relationship Id="rId5" Type="http://schemas.openxmlformats.org/officeDocument/2006/relationships/tags" Target="../tags/tag712.xml"/><Relationship Id="rId61" Type="http://schemas.openxmlformats.org/officeDocument/2006/relationships/slideLayout" Target="../slideLayouts/slideLayout6.xml"/><Relationship Id="rId19" Type="http://schemas.openxmlformats.org/officeDocument/2006/relationships/tags" Target="../tags/tag726.xml"/><Relationship Id="rId14" Type="http://schemas.openxmlformats.org/officeDocument/2006/relationships/tags" Target="../tags/tag721.xml"/><Relationship Id="rId22" Type="http://schemas.openxmlformats.org/officeDocument/2006/relationships/tags" Target="../tags/tag729.xml"/><Relationship Id="rId27" Type="http://schemas.openxmlformats.org/officeDocument/2006/relationships/tags" Target="../tags/tag734.xml"/><Relationship Id="rId30" Type="http://schemas.openxmlformats.org/officeDocument/2006/relationships/tags" Target="../tags/tag737.xml"/><Relationship Id="rId35" Type="http://schemas.openxmlformats.org/officeDocument/2006/relationships/tags" Target="../tags/tag742.xml"/><Relationship Id="rId43" Type="http://schemas.openxmlformats.org/officeDocument/2006/relationships/tags" Target="../tags/tag750.xml"/><Relationship Id="rId48" Type="http://schemas.openxmlformats.org/officeDocument/2006/relationships/tags" Target="../tags/tag755.xml"/><Relationship Id="rId56" Type="http://schemas.openxmlformats.org/officeDocument/2006/relationships/tags" Target="../tags/tag763.xml"/><Relationship Id="rId64" Type="http://schemas.openxmlformats.org/officeDocument/2006/relationships/image" Target="../media/image36.emf"/><Relationship Id="rId69" Type="http://schemas.openxmlformats.org/officeDocument/2006/relationships/image" Target="../media/image41.emf"/><Relationship Id="rId8" Type="http://schemas.openxmlformats.org/officeDocument/2006/relationships/tags" Target="../tags/tag715.xml"/><Relationship Id="rId51" Type="http://schemas.openxmlformats.org/officeDocument/2006/relationships/tags" Target="../tags/tag758.xml"/><Relationship Id="rId3" Type="http://schemas.openxmlformats.org/officeDocument/2006/relationships/tags" Target="../tags/tag710.xml"/><Relationship Id="rId12" Type="http://schemas.openxmlformats.org/officeDocument/2006/relationships/tags" Target="../tags/tag719.xml"/><Relationship Id="rId17" Type="http://schemas.openxmlformats.org/officeDocument/2006/relationships/tags" Target="../tags/tag724.xml"/><Relationship Id="rId25" Type="http://schemas.openxmlformats.org/officeDocument/2006/relationships/tags" Target="../tags/tag732.xml"/><Relationship Id="rId33" Type="http://schemas.openxmlformats.org/officeDocument/2006/relationships/tags" Target="../tags/tag740.xml"/><Relationship Id="rId38" Type="http://schemas.openxmlformats.org/officeDocument/2006/relationships/tags" Target="../tags/tag745.xml"/><Relationship Id="rId46" Type="http://schemas.openxmlformats.org/officeDocument/2006/relationships/tags" Target="../tags/tag753.xml"/><Relationship Id="rId59" Type="http://schemas.openxmlformats.org/officeDocument/2006/relationships/tags" Target="../tags/tag766.xml"/><Relationship Id="rId67" Type="http://schemas.openxmlformats.org/officeDocument/2006/relationships/image" Target="../media/image39.emf"/><Relationship Id="rId20" Type="http://schemas.openxmlformats.org/officeDocument/2006/relationships/tags" Target="../tags/tag727.xml"/><Relationship Id="rId41" Type="http://schemas.openxmlformats.org/officeDocument/2006/relationships/tags" Target="../tags/tag748.xml"/><Relationship Id="rId54" Type="http://schemas.openxmlformats.org/officeDocument/2006/relationships/tags" Target="../tags/tag761.xml"/><Relationship Id="rId62" Type="http://schemas.openxmlformats.org/officeDocument/2006/relationships/notesSlide" Target="../notesSlides/notesSlide9.xml"/><Relationship Id="rId1" Type="http://schemas.openxmlformats.org/officeDocument/2006/relationships/tags" Target="../tags/tag708.xml"/><Relationship Id="rId6" Type="http://schemas.openxmlformats.org/officeDocument/2006/relationships/tags" Target="../tags/tag713.xml"/><Relationship Id="rId15" Type="http://schemas.openxmlformats.org/officeDocument/2006/relationships/tags" Target="../tags/tag722.xml"/><Relationship Id="rId23" Type="http://schemas.openxmlformats.org/officeDocument/2006/relationships/tags" Target="../tags/tag730.xml"/><Relationship Id="rId28" Type="http://schemas.openxmlformats.org/officeDocument/2006/relationships/tags" Target="../tags/tag735.xml"/><Relationship Id="rId36" Type="http://schemas.openxmlformats.org/officeDocument/2006/relationships/tags" Target="../tags/tag743.xml"/><Relationship Id="rId49" Type="http://schemas.openxmlformats.org/officeDocument/2006/relationships/tags" Target="../tags/tag756.xml"/><Relationship Id="rId57" Type="http://schemas.openxmlformats.org/officeDocument/2006/relationships/tags" Target="../tags/tag764.xml"/><Relationship Id="rId10" Type="http://schemas.openxmlformats.org/officeDocument/2006/relationships/tags" Target="../tags/tag717.xml"/><Relationship Id="rId31" Type="http://schemas.openxmlformats.org/officeDocument/2006/relationships/tags" Target="../tags/tag738.xml"/><Relationship Id="rId44" Type="http://schemas.openxmlformats.org/officeDocument/2006/relationships/tags" Target="../tags/tag751.xml"/><Relationship Id="rId52" Type="http://schemas.openxmlformats.org/officeDocument/2006/relationships/tags" Target="../tags/tag759.xml"/><Relationship Id="rId60" Type="http://schemas.openxmlformats.org/officeDocument/2006/relationships/tags" Target="../tags/tag767.xml"/><Relationship Id="rId65" Type="http://schemas.openxmlformats.org/officeDocument/2006/relationships/image" Target="../media/image37.emf"/><Relationship Id="rId4" Type="http://schemas.openxmlformats.org/officeDocument/2006/relationships/tags" Target="../tags/tag711.xml"/><Relationship Id="rId9" Type="http://schemas.openxmlformats.org/officeDocument/2006/relationships/tags" Target="../tags/tag716.xml"/><Relationship Id="rId13" Type="http://schemas.openxmlformats.org/officeDocument/2006/relationships/tags" Target="../tags/tag720.xml"/><Relationship Id="rId18" Type="http://schemas.openxmlformats.org/officeDocument/2006/relationships/tags" Target="../tags/tag725.xml"/><Relationship Id="rId39" Type="http://schemas.openxmlformats.org/officeDocument/2006/relationships/tags" Target="../tags/tag746.xml"/><Relationship Id="rId34" Type="http://schemas.openxmlformats.org/officeDocument/2006/relationships/tags" Target="../tags/tag741.xml"/><Relationship Id="rId50" Type="http://schemas.openxmlformats.org/officeDocument/2006/relationships/tags" Target="../tags/tag757.xml"/><Relationship Id="rId55" Type="http://schemas.openxmlformats.org/officeDocument/2006/relationships/tags" Target="../tags/tag7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btfpColumnIndicatorGroup2">
            <a:extLst>
              <a:ext uri="{FF2B5EF4-FFF2-40B4-BE49-F238E27FC236}">
                <a16:creationId xmlns:a16="http://schemas.microsoft.com/office/drawing/2014/main" id="{8049D1A2-17AD-4269-D832-0F3EBF34DA6D}"/>
              </a:ext>
            </a:extLst>
          </p:cNvPr>
          <p:cNvGrpSpPr/>
          <p:nvPr>
            <p:custDataLst>
              <p:tags r:id="rId2"/>
            </p:custDataLst>
          </p:nvPr>
        </p:nvGrpSpPr>
        <p:grpSpPr>
          <a:xfrm>
            <a:off x="0" y="6926580"/>
            <a:ext cx="12192000" cy="137160"/>
            <a:chOff x="0" y="6926580"/>
            <a:chExt cx="12192000" cy="137160"/>
          </a:xfrm>
        </p:grpSpPr>
        <p:sp>
          <p:nvSpPr>
            <p:cNvPr id="9" name="btfpColumnGapBlocker795629">
              <a:extLst>
                <a:ext uri="{FF2B5EF4-FFF2-40B4-BE49-F238E27FC236}">
                  <a16:creationId xmlns:a16="http://schemas.microsoft.com/office/drawing/2014/main" id="{E88214E2-9D10-F8F4-CBD7-243A00E13259}"/>
                </a:ext>
              </a:extLst>
            </p:cNvPr>
            <p:cNvSpPr/>
            <p:nvPr>
              <p:custDataLst>
                <p:tags r:id="rId27"/>
              </p:custDataLst>
            </p:nvPr>
          </p:nvSpPr>
          <p:spPr bwMode="gray">
            <a:xfrm>
              <a:off x="11861800" y="692658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 name="btfpColumnGapBlocker146993">
              <a:extLst>
                <a:ext uri="{FF2B5EF4-FFF2-40B4-BE49-F238E27FC236}">
                  <a16:creationId xmlns:a16="http://schemas.microsoft.com/office/drawing/2014/main" id="{3E662D4E-700F-E422-6D92-66C3579E5ABF}"/>
                </a:ext>
              </a:extLst>
            </p:cNvPr>
            <p:cNvSpPr/>
            <p:nvPr>
              <p:custDataLst>
                <p:tags r:id="rId28"/>
              </p:custDataLst>
            </p:nvPr>
          </p:nvSpPr>
          <p:spPr bwMode="gray">
            <a:xfrm>
              <a:off x="0" y="692658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 name="btfpColumnIndicator114874">
              <a:extLst>
                <a:ext uri="{FF2B5EF4-FFF2-40B4-BE49-F238E27FC236}">
                  <a16:creationId xmlns:a16="http://schemas.microsoft.com/office/drawing/2014/main" id="{AF5D1712-FA8F-2DE3-20A0-F7151859AF22}"/>
                </a:ext>
              </a:extLst>
            </p:cNvPr>
            <p:cNvCxnSpPr/>
            <p:nvPr>
              <p:custDataLst>
                <p:tags r:id="rId29"/>
              </p:custDataLst>
            </p:nvPr>
          </p:nvCxnSpPr>
          <p:spPr bwMode="gray">
            <a:xfrm flipH="1" flipV="1">
              <a:off x="11861800"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800401">
              <a:extLst>
                <a:ext uri="{FF2B5EF4-FFF2-40B4-BE49-F238E27FC236}">
                  <a16:creationId xmlns:a16="http://schemas.microsoft.com/office/drawing/2014/main" id="{20F3156F-E797-83B5-D4F3-7251406CE8AF}"/>
                </a:ext>
              </a:extLst>
            </p:cNvPr>
            <p:cNvCxnSpPr/>
            <p:nvPr>
              <p:custDataLst>
                <p:tags r:id="rId30"/>
              </p:custDataLst>
            </p:nvPr>
          </p:nvCxnSpPr>
          <p:spPr bwMode="gray">
            <a:xfrm flipH="1" flipV="1">
              <a:off x="330200"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0" name="btfpColumnIndicatorGroup1">
            <a:extLst>
              <a:ext uri="{FF2B5EF4-FFF2-40B4-BE49-F238E27FC236}">
                <a16:creationId xmlns:a16="http://schemas.microsoft.com/office/drawing/2014/main" id="{1539686E-8EFB-3CAE-72CC-392CF883348E}"/>
              </a:ext>
            </a:extLst>
          </p:cNvPr>
          <p:cNvGrpSpPr/>
          <p:nvPr>
            <p:custDataLst>
              <p:tags r:id="rId3"/>
            </p:custDataLst>
          </p:nvPr>
        </p:nvGrpSpPr>
        <p:grpSpPr>
          <a:xfrm>
            <a:off x="0" y="-205740"/>
            <a:ext cx="12192000" cy="137160"/>
            <a:chOff x="0" y="-205740"/>
            <a:chExt cx="12192000" cy="137160"/>
          </a:xfrm>
        </p:grpSpPr>
        <p:sp>
          <p:nvSpPr>
            <p:cNvPr id="8" name="btfpColumnGapBlocker491708">
              <a:extLst>
                <a:ext uri="{FF2B5EF4-FFF2-40B4-BE49-F238E27FC236}">
                  <a16:creationId xmlns:a16="http://schemas.microsoft.com/office/drawing/2014/main" id="{599F3D67-B56F-9617-A09C-BD5304AD58A9}"/>
                </a:ext>
              </a:extLst>
            </p:cNvPr>
            <p:cNvSpPr/>
            <p:nvPr>
              <p:custDataLst>
                <p:tags r:id="rId23"/>
              </p:custDataLst>
            </p:nvPr>
          </p:nvSpPr>
          <p:spPr bwMode="gray">
            <a:xfrm>
              <a:off x="11861800" y="-20574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 name="btfpColumnGapBlocker250058">
              <a:extLst>
                <a:ext uri="{FF2B5EF4-FFF2-40B4-BE49-F238E27FC236}">
                  <a16:creationId xmlns:a16="http://schemas.microsoft.com/office/drawing/2014/main" id="{751E123F-2AF7-B24D-03EE-9F3304D23565}"/>
                </a:ext>
              </a:extLst>
            </p:cNvPr>
            <p:cNvSpPr/>
            <p:nvPr>
              <p:custDataLst>
                <p:tags r:id="rId24"/>
              </p:custDataLst>
            </p:nvPr>
          </p:nvSpPr>
          <p:spPr bwMode="gray">
            <a:xfrm>
              <a:off x="0" y="-20574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4" name="btfpColumnIndicator197443">
              <a:extLst>
                <a:ext uri="{FF2B5EF4-FFF2-40B4-BE49-F238E27FC236}">
                  <a16:creationId xmlns:a16="http://schemas.microsoft.com/office/drawing/2014/main" id="{4AABF107-F7A5-F662-ED36-F549A3FBE3FD}"/>
                </a:ext>
              </a:extLst>
            </p:cNvPr>
            <p:cNvCxnSpPr/>
            <p:nvPr>
              <p:custDataLst>
                <p:tags r:id="rId25"/>
              </p:custDataLst>
            </p:nvPr>
          </p:nvCxnSpPr>
          <p:spPr bwMode="gray">
            <a:xfrm flipH="1" flipV="1">
              <a:off x="11861800"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 name="btfpColumnIndicator950350">
              <a:extLst>
                <a:ext uri="{FF2B5EF4-FFF2-40B4-BE49-F238E27FC236}">
                  <a16:creationId xmlns:a16="http://schemas.microsoft.com/office/drawing/2014/main" id="{14541E92-CEFE-40B1-4357-A3DDF6ECE493}"/>
                </a:ext>
              </a:extLst>
            </p:cNvPr>
            <p:cNvCxnSpPr/>
            <p:nvPr>
              <p:custDataLst>
                <p:tags r:id="rId26"/>
              </p:custDataLst>
            </p:nvPr>
          </p:nvCxnSpPr>
          <p:spPr bwMode="gray">
            <a:xfrm flipH="1" flipV="1">
              <a:off x="330200"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pic>
        <p:nvPicPr>
          <p:cNvPr id="52" name="Picture 51">
            <a:extLst>
              <a:ext uri="{FF2B5EF4-FFF2-40B4-BE49-F238E27FC236}">
                <a16:creationId xmlns:a16="http://schemas.microsoft.com/office/drawing/2014/main" id="{6A805E42-2AD6-4D89-B90C-5FF0C131FF07}"/>
              </a:ext>
            </a:extLst>
          </p:cNvPr>
          <p:cNvPicPr>
            <a:picLocks noChangeAspect="1"/>
          </p:cNvPicPr>
          <p:nvPr>
            <p:custDataLst>
              <p:tags r:id="rId4"/>
            </p:custDataLst>
          </p:nvPr>
        </p:nvPicPr>
        <p:blipFill>
          <a:blip r:embed="rId33">
            <a:extLst>
              <a:ext uri="{28A0092B-C50C-407E-A947-70E740481C1C}">
                <a14:useLocalDpi xmlns:a14="http://schemas.microsoft.com/office/drawing/2010/main" val="0"/>
              </a:ext>
            </a:extLst>
          </a:blip>
          <a:srcRect l="1637" t="30769" r="10317"/>
          <a:stretch>
            <a:fillRect/>
          </a:stretch>
        </p:blipFill>
        <p:spPr>
          <a:xfrm flipH="1" flipV="1">
            <a:off x="12" y="1237"/>
            <a:ext cx="12191988" cy="6858005"/>
          </a:xfrm>
          <a:prstGeom prst="rect">
            <a:avLst/>
          </a:prstGeom>
          <a:ln>
            <a:noFill/>
          </a:ln>
        </p:spPr>
      </p:pic>
      <p:sp>
        <p:nvSpPr>
          <p:cNvPr id="54" name="btfpBulletedList826205">
            <a:extLst>
              <a:ext uri="{FF2B5EF4-FFF2-40B4-BE49-F238E27FC236}">
                <a16:creationId xmlns:a16="http://schemas.microsoft.com/office/drawing/2014/main" id="{D1B9EF6A-29B8-488F-B448-D61551EEF307}"/>
              </a:ext>
            </a:extLst>
          </p:cNvPr>
          <p:cNvSpPr txBox="1"/>
          <p:nvPr>
            <p:custDataLst>
              <p:tags r:id="rId5"/>
            </p:custDataLst>
          </p:nvPr>
        </p:nvSpPr>
        <p:spPr>
          <a:xfrm>
            <a:off x="350972" y="4219800"/>
            <a:ext cx="2249988" cy="288147"/>
          </a:xfrm>
          <a:prstGeom prst="rect">
            <a:avLst/>
          </a:prstGeom>
          <a:gradFill flip="none" rotWithShape="1">
            <a:gsLst>
              <a:gs pos="0">
                <a:srgbClr val="CC0000">
                  <a:lumMod val="100000"/>
                </a:srgbClr>
              </a:gs>
              <a:gs pos="60000">
                <a:srgbClr val="890B58">
                  <a:lumMod val="100000"/>
                </a:srgbClr>
              </a:gs>
              <a:gs pos="100000">
                <a:srgbClr val="890B58">
                  <a:lumMod val="100000"/>
                </a:srgbClr>
              </a:gs>
            </a:gsLst>
            <a:lin ang="0" scaled="1"/>
          </a:gradFill>
          <a:ln w="9525">
            <a:noFill/>
            <a:prstDash val="solid"/>
          </a:ln>
        </p:spPr>
        <p:txBody>
          <a:bodyPr vert="horz" wrap="square" lIns="36000" tIns="36000" rIns="36000" bIns="36000"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spc="300">
                <a:solidFill>
                  <a:schemeClr val="bg1"/>
                </a:solidFill>
              </a:rPr>
              <a:t>December, 2023</a:t>
            </a:r>
          </a:p>
        </p:txBody>
      </p:sp>
      <p:cxnSp>
        <p:nvCxnSpPr>
          <p:cNvPr id="55" name="Straight Connector 54">
            <a:extLst>
              <a:ext uri="{FF2B5EF4-FFF2-40B4-BE49-F238E27FC236}">
                <a16:creationId xmlns:a16="http://schemas.microsoft.com/office/drawing/2014/main" id="{BEE4D546-4A91-49E2-81EF-44B020A778CF}"/>
              </a:ext>
            </a:extLst>
          </p:cNvPr>
          <p:cNvCxnSpPr/>
          <p:nvPr>
            <p:custDataLst>
              <p:tags r:id="rId6"/>
            </p:custDataLst>
          </p:nvPr>
        </p:nvCxnSpPr>
        <p:spPr bwMode="gray">
          <a:xfrm flipH="1">
            <a:off x="3155092" y="1001932"/>
            <a:ext cx="0" cy="309996"/>
          </a:xfrm>
          <a:prstGeom prst="line">
            <a:avLst/>
          </a:prstGeom>
          <a:ln w="9525" cap="flat" cmpd="sng" algn="ctr">
            <a:solidFill>
              <a:schemeClr val="tx1"/>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0B5068E8-B5A9-4534-B68C-E7CBAD1CA02B}"/>
              </a:ext>
            </a:extLst>
          </p:cNvPr>
          <p:cNvGrpSpPr/>
          <p:nvPr>
            <p:custDataLst>
              <p:tags r:id="rId7"/>
            </p:custDataLst>
          </p:nvPr>
        </p:nvGrpSpPr>
        <p:grpSpPr>
          <a:xfrm>
            <a:off x="401425" y="1074627"/>
            <a:ext cx="2474912" cy="277813"/>
            <a:chOff x="336550" y="1095376"/>
            <a:chExt cx="2474912" cy="277813"/>
          </a:xfrm>
          <a:solidFill>
            <a:schemeClr val="bg1"/>
          </a:solidFill>
        </p:grpSpPr>
        <p:sp>
          <p:nvSpPr>
            <p:cNvPr id="57" name="Freeform 5">
              <a:extLst>
                <a:ext uri="{FF2B5EF4-FFF2-40B4-BE49-F238E27FC236}">
                  <a16:creationId xmlns:a16="http://schemas.microsoft.com/office/drawing/2014/main" id="{23649174-2EE6-412B-9EA3-BD1C6013BAE1}"/>
                </a:ext>
              </a:extLst>
            </p:cNvPr>
            <p:cNvSpPr>
              <a:spLocks noEditPoints="1"/>
            </p:cNvSpPr>
            <p:nvPr>
              <p:custDataLst>
                <p:tags r:id="rId10"/>
              </p:custDataLst>
            </p:nvPr>
          </p:nvSpPr>
          <p:spPr bwMode="auto">
            <a:xfrm>
              <a:off x="1390650" y="1150938"/>
              <a:ext cx="161925" cy="165100"/>
            </a:xfrm>
            <a:custGeom>
              <a:avLst/>
              <a:gdLst>
                <a:gd name="T0" fmla="*/ 0 w 73"/>
                <a:gd name="T1" fmla="*/ 37 h 73"/>
                <a:gd name="T2" fmla="*/ 37 w 73"/>
                <a:gd name="T3" fmla="*/ 73 h 73"/>
                <a:gd name="T4" fmla="*/ 73 w 73"/>
                <a:gd name="T5" fmla="*/ 37 h 73"/>
                <a:gd name="T6" fmla="*/ 37 w 73"/>
                <a:gd name="T7" fmla="*/ 0 h 73"/>
                <a:gd name="T8" fmla="*/ 0 w 73"/>
                <a:gd name="T9" fmla="*/ 37 h 73"/>
                <a:gd name="T10" fmla="*/ 14 w 73"/>
                <a:gd name="T11" fmla="*/ 37 h 73"/>
                <a:gd name="T12" fmla="*/ 37 w 73"/>
                <a:gd name="T13" fmla="*/ 12 h 73"/>
                <a:gd name="T14" fmla="*/ 59 w 73"/>
                <a:gd name="T15" fmla="*/ 37 h 73"/>
                <a:gd name="T16" fmla="*/ 37 w 73"/>
                <a:gd name="T17" fmla="*/ 61 h 73"/>
                <a:gd name="T18" fmla="*/ 14 w 73"/>
                <a:gd name="T19" fmla="*/ 3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73">
                  <a:moveTo>
                    <a:pt x="0" y="37"/>
                  </a:moveTo>
                  <a:cubicBezTo>
                    <a:pt x="0" y="58"/>
                    <a:pt x="16" y="73"/>
                    <a:pt x="37" y="73"/>
                  </a:cubicBezTo>
                  <a:cubicBezTo>
                    <a:pt x="57" y="73"/>
                    <a:pt x="73" y="57"/>
                    <a:pt x="73" y="37"/>
                  </a:cubicBezTo>
                  <a:cubicBezTo>
                    <a:pt x="73" y="15"/>
                    <a:pt x="57" y="0"/>
                    <a:pt x="37" y="0"/>
                  </a:cubicBezTo>
                  <a:cubicBezTo>
                    <a:pt x="16" y="0"/>
                    <a:pt x="0" y="17"/>
                    <a:pt x="0" y="37"/>
                  </a:cubicBezTo>
                  <a:moveTo>
                    <a:pt x="14" y="37"/>
                  </a:moveTo>
                  <a:cubicBezTo>
                    <a:pt x="14" y="24"/>
                    <a:pt x="23" y="12"/>
                    <a:pt x="37" y="12"/>
                  </a:cubicBezTo>
                  <a:cubicBezTo>
                    <a:pt x="50" y="12"/>
                    <a:pt x="59" y="22"/>
                    <a:pt x="59" y="37"/>
                  </a:cubicBezTo>
                  <a:cubicBezTo>
                    <a:pt x="59" y="50"/>
                    <a:pt x="50" y="61"/>
                    <a:pt x="37" y="61"/>
                  </a:cubicBezTo>
                  <a:cubicBezTo>
                    <a:pt x="23" y="61"/>
                    <a:pt x="14" y="51"/>
                    <a:pt x="1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8" name="Freeform 6">
              <a:extLst>
                <a:ext uri="{FF2B5EF4-FFF2-40B4-BE49-F238E27FC236}">
                  <a16:creationId xmlns:a16="http://schemas.microsoft.com/office/drawing/2014/main" id="{15458D85-EDAD-4DB3-BE5F-5C5870F066FA}"/>
                </a:ext>
              </a:extLst>
            </p:cNvPr>
            <p:cNvSpPr/>
            <p:nvPr>
              <p:custDataLst>
                <p:tags r:id="rId11"/>
              </p:custDataLst>
            </p:nvPr>
          </p:nvSpPr>
          <p:spPr bwMode="auto">
            <a:xfrm>
              <a:off x="1214438" y="1154113"/>
              <a:ext cx="144462" cy="160338"/>
            </a:xfrm>
            <a:custGeom>
              <a:avLst/>
              <a:gdLst>
                <a:gd name="T0" fmla="*/ 0 w 65"/>
                <a:gd name="T1" fmla="*/ 35 h 71"/>
                <a:gd name="T2" fmla="*/ 37 w 65"/>
                <a:gd name="T3" fmla="*/ 71 h 71"/>
                <a:gd name="T4" fmla="*/ 64 w 65"/>
                <a:gd name="T5" fmla="*/ 58 h 71"/>
                <a:gd name="T6" fmla="*/ 65 w 65"/>
                <a:gd name="T7" fmla="*/ 57 h 71"/>
                <a:gd name="T8" fmla="*/ 55 w 65"/>
                <a:gd name="T9" fmla="*/ 49 h 71"/>
                <a:gd name="T10" fmla="*/ 54 w 65"/>
                <a:gd name="T11" fmla="*/ 50 h 71"/>
                <a:gd name="T12" fmla="*/ 37 w 65"/>
                <a:gd name="T13" fmla="*/ 60 h 71"/>
                <a:gd name="T14" fmla="*/ 14 w 65"/>
                <a:gd name="T15" fmla="*/ 35 h 71"/>
                <a:gd name="T16" fmla="*/ 37 w 65"/>
                <a:gd name="T17" fmla="*/ 11 h 71"/>
                <a:gd name="T18" fmla="*/ 54 w 65"/>
                <a:gd name="T19" fmla="*/ 21 h 71"/>
                <a:gd name="T20" fmla="*/ 55 w 65"/>
                <a:gd name="T21" fmla="*/ 21 h 71"/>
                <a:gd name="T22" fmla="*/ 65 w 65"/>
                <a:gd name="T23" fmla="*/ 13 h 71"/>
                <a:gd name="T24" fmla="*/ 64 w 65"/>
                <a:gd name="T25" fmla="*/ 13 h 71"/>
                <a:gd name="T26" fmla="*/ 37 w 65"/>
                <a:gd name="T27" fmla="*/ 0 h 71"/>
                <a:gd name="T28" fmla="*/ 0 w 65"/>
                <a:gd name="T29" fmla="*/ 3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71">
                  <a:moveTo>
                    <a:pt x="0" y="35"/>
                  </a:moveTo>
                  <a:cubicBezTo>
                    <a:pt x="0" y="57"/>
                    <a:pt x="15" y="71"/>
                    <a:pt x="37" y="71"/>
                  </a:cubicBezTo>
                  <a:cubicBezTo>
                    <a:pt x="48" y="71"/>
                    <a:pt x="58" y="67"/>
                    <a:pt x="64" y="58"/>
                  </a:cubicBezTo>
                  <a:cubicBezTo>
                    <a:pt x="65" y="57"/>
                    <a:pt x="65" y="57"/>
                    <a:pt x="65" y="57"/>
                  </a:cubicBezTo>
                  <a:cubicBezTo>
                    <a:pt x="55" y="49"/>
                    <a:pt x="55" y="49"/>
                    <a:pt x="55" y="49"/>
                  </a:cubicBezTo>
                  <a:cubicBezTo>
                    <a:pt x="54" y="50"/>
                    <a:pt x="54" y="50"/>
                    <a:pt x="54" y="50"/>
                  </a:cubicBezTo>
                  <a:cubicBezTo>
                    <a:pt x="51" y="57"/>
                    <a:pt x="45" y="60"/>
                    <a:pt x="37" y="60"/>
                  </a:cubicBezTo>
                  <a:cubicBezTo>
                    <a:pt x="23" y="60"/>
                    <a:pt x="14" y="49"/>
                    <a:pt x="14" y="35"/>
                  </a:cubicBezTo>
                  <a:cubicBezTo>
                    <a:pt x="14" y="22"/>
                    <a:pt x="24" y="11"/>
                    <a:pt x="37" y="11"/>
                  </a:cubicBezTo>
                  <a:cubicBezTo>
                    <a:pt x="44" y="11"/>
                    <a:pt x="51" y="15"/>
                    <a:pt x="54" y="21"/>
                  </a:cubicBezTo>
                  <a:cubicBezTo>
                    <a:pt x="55" y="21"/>
                    <a:pt x="55" y="21"/>
                    <a:pt x="55" y="21"/>
                  </a:cubicBezTo>
                  <a:cubicBezTo>
                    <a:pt x="65" y="13"/>
                    <a:pt x="65" y="13"/>
                    <a:pt x="65" y="13"/>
                  </a:cubicBezTo>
                  <a:cubicBezTo>
                    <a:pt x="64" y="13"/>
                    <a:pt x="64" y="13"/>
                    <a:pt x="64" y="13"/>
                  </a:cubicBezTo>
                  <a:cubicBezTo>
                    <a:pt x="58" y="4"/>
                    <a:pt x="47" y="0"/>
                    <a:pt x="37" y="0"/>
                  </a:cubicBezTo>
                  <a:cubicBezTo>
                    <a:pt x="17" y="0"/>
                    <a:pt x="0" y="15"/>
                    <a:pt x="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9" name="Freeform 7">
              <a:extLst>
                <a:ext uri="{FF2B5EF4-FFF2-40B4-BE49-F238E27FC236}">
                  <a16:creationId xmlns:a16="http://schemas.microsoft.com/office/drawing/2014/main" id="{1AB640BC-DB44-4D55-82EA-460CEC70F426}"/>
                </a:ext>
              </a:extLst>
            </p:cNvPr>
            <p:cNvSpPr/>
            <p:nvPr>
              <p:custDataLst>
                <p:tags r:id="rId12"/>
              </p:custDataLst>
            </p:nvPr>
          </p:nvSpPr>
          <p:spPr bwMode="auto">
            <a:xfrm>
              <a:off x="2282825" y="1155701"/>
              <a:ext cx="142875" cy="155575"/>
            </a:xfrm>
            <a:custGeom>
              <a:avLst/>
              <a:gdLst>
                <a:gd name="T0" fmla="*/ 37 w 90"/>
                <a:gd name="T1" fmla="*/ 57 h 98"/>
                <a:gd name="T2" fmla="*/ 37 w 90"/>
                <a:gd name="T3" fmla="*/ 98 h 98"/>
                <a:gd name="T4" fmla="*/ 55 w 90"/>
                <a:gd name="T5" fmla="*/ 98 h 98"/>
                <a:gd name="T6" fmla="*/ 55 w 90"/>
                <a:gd name="T7" fmla="*/ 57 h 98"/>
                <a:gd name="T8" fmla="*/ 90 w 90"/>
                <a:gd name="T9" fmla="*/ 0 h 98"/>
                <a:gd name="T10" fmla="*/ 70 w 90"/>
                <a:gd name="T11" fmla="*/ 0 h 98"/>
                <a:gd name="T12" fmla="*/ 45 w 90"/>
                <a:gd name="T13" fmla="*/ 40 h 98"/>
                <a:gd name="T14" fmla="*/ 21 w 90"/>
                <a:gd name="T15" fmla="*/ 0 h 98"/>
                <a:gd name="T16" fmla="*/ 0 w 90"/>
                <a:gd name="T17" fmla="*/ 0 h 98"/>
                <a:gd name="T18" fmla="*/ 37 w 90"/>
                <a:gd name="T19" fmla="*/ 5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98">
                  <a:moveTo>
                    <a:pt x="37" y="57"/>
                  </a:moveTo>
                  <a:lnTo>
                    <a:pt x="37" y="98"/>
                  </a:lnTo>
                  <a:lnTo>
                    <a:pt x="55" y="98"/>
                  </a:lnTo>
                  <a:lnTo>
                    <a:pt x="55" y="57"/>
                  </a:lnTo>
                  <a:lnTo>
                    <a:pt x="90" y="0"/>
                  </a:lnTo>
                  <a:lnTo>
                    <a:pt x="70" y="0"/>
                  </a:lnTo>
                  <a:lnTo>
                    <a:pt x="45" y="40"/>
                  </a:lnTo>
                  <a:lnTo>
                    <a:pt x="21" y="0"/>
                  </a:lnTo>
                  <a:lnTo>
                    <a:pt x="0" y="0"/>
                  </a:lnTo>
                  <a:lnTo>
                    <a:pt x="37"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0" name="Freeform 8">
              <a:extLst>
                <a:ext uri="{FF2B5EF4-FFF2-40B4-BE49-F238E27FC236}">
                  <a16:creationId xmlns:a16="http://schemas.microsoft.com/office/drawing/2014/main" id="{610DCCC0-4409-4A13-A037-EF0D7CDA3531}"/>
                </a:ext>
              </a:extLst>
            </p:cNvPr>
            <p:cNvSpPr>
              <a:spLocks noEditPoints="1"/>
            </p:cNvSpPr>
            <p:nvPr>
              <p:custDataLst>
                <p:tags r:id="rId13"/>
              </p:custDataLst>
            </p:nvPr>
          </p:nvSpPr>
          <p:spPr bwMode="auto">
            <a:xfrm>
              <a:off x="1822450" y="1155701"/>
              <a:ext cx="100012" cy="155575"/>
            </a:xfrm>
            <a:custGeom>
              <a:avLst/>
              <a:gdLst>
                <a:gd name="T0" fmla="*/ 0 w 45"/>
                <a:gd name="T1" fmla="*/ 0 h 69"/>
                <a:gd name="T2" fmla="*/ 0 w 45"/>
                <a:gd name="T3" fmla="*/ 69 h 69"/>
                <a:gd name="T4" fmla="*/ 13 w 45"/>
                <a:gd name="T5" fmla="*/ 69 h 69"/>
                <a:gd name="T6" fmla="*/ 13 w 45"/>
                <a:gd name="T7" fmla="*/ 43 h 69"/>
                <a:gd name="T8" fmla="*/ 16 w 45"/>
                <a:gd name="T9" fmla="*/ 44 h 69"/>
                <a:gd name="T10" fmla="*/ 45 w 45"/>
                <a:gd name="T11" fmla="*/ 22 h 69"/>
                <a:gd name="T12" fmla="*/ 16 w 45"/>
                <a:gd name="T13" fmla="*/ 0 h 69"/>
                <a:gd name="T14" fmla="*/ 0 w 45"/>
                <a:gd name="T15" fmla="*/ 0 h 69"/>
                <a:gd name="T16" fmla="*/ 13 w 45"/>
                <a:gd name="T17" fmla="*/ 10 h 69"/>
                <a:gd name="T18" fmla="*/ 16 w 45"/>
                <a:gd name="T19" fmla="*/ 10 h 69"/>
                <a:gd name="T20" fmla="*/ 31 w 45"/>
                <a:gd name="T21" fmla="*/ 22 h 69"/>
                <a:gd name="T22" fmla="*/ 16 w 45"/>
                <a:gd name="T23" fmla="*/ 33 h 69"/>
                <a:gd name="T24" fmla="*/ 13 w 45"/>
                <a:gd name="T25" fmla="*/ 33 h 69"/>
                <a:gd name="T26" fmla="*/ 13 w 45"/>
                <a:gd name="T27" fmla="*/ 1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69">
                  <a:moveTo>
                    <a:pt x="0" y="0"/>
                  </a:moveTo>
                  <a:cubicBezTo>
                    <a:pt x="0" y="69"/>
                    <a:pt x="0" y="69"/>
                    <a:pt x="0" y="69"/>
                  </a:cubicBezTo>
                  <a:cubicBezTo>
                    <a:pt x="13" y="69"/>
                    <a:pt x="13" y="69"/>
                    <a:pt x="13" y="69"/>
                  </a:cubicBezTo>
                  <a:cubicBezTo>
                    <a:pt x="13" y="43"/>
                    <a:pt x="13" y="43"/>
                    <a:pt x="13" y="43"/>
                  </a:cubicBezTo>
                  <a:cubicBezTo>
                    <a:pt x="14" y="44"/>
                    <a:pt x="15" y="44"/>
                    <a:pt x="16" y="44"/>
                  </a:cubicBezTo>
                  <a:cubicBezTo>
                    <a:pt x="33" y="44"/>
                    <a:pt x="45" y="36"/>
                    <a:pt x="45" y="22"/>
                  </a:cubicBezTo>
                  <a:cubicBezTo>
                    <a:pt x="45" y="8"/>
                    <a:pt x="35" y="0"/>
                    <a:pt x="16" y="0"/>
                  </a:cubicBezTo>
                  <a:lnTo>
                    <a:pt x="0" y="0"/>
                  </a:lnTo>
                  <a:close/>
                  <a:moveTo>
                    <a:pt x="13" y="10"/>
                  </a:moveTo>
                  <a:cubicBezTo>
                    <a:pt x="16" y="10"/>
                    <a:pt x="16" y="10"/>
                    <a:pt x="16" y="10"/>
                  </a:cubicBezTo>
                  <a:cubicBezTo>
                    <a:pt x="27" y="10"/>
                    <a:pt x="31" y="15"/>
                    <a:pt x="31" y="22"/>
                  </a:cubicBezTo>
                  <a:cubicBezTo>
                    <a:pt x="31" y="29"/>
                    <a:pt x="26" y="33"/>
                    <a:pt x="16" y="33"/>
                  </a:cubicBezTo>
                  <a:cubicBezTo>
                    <a:pt x="15" y="33"/>
                    <a:pt x="14" y="33"/>
                    <a:pt x="13" y="33"/>
                  </a:cubicBezTo>
                  <a:lnTo>
                    <a:pt x="1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1" name="Freeform 9">
              <a:extLst>
                <a:ext uri="{FF2B5EF4-FFF2-40B4-BE49-F238E27FC236}">
                  <a16:creationId xmlns:a16="http://schemas.microsoft.com/office/drawing/2014/main" id="{8F675152-6B4E-44E0-B68E-3C9D97D84AEA}"/>
                </a:ext>
              </a:extLst>
            </p:cNvPr>
            <p:cNvSpPr/>
            <p:nvPr>
              <p:custDataLst>
                <p:tags r:id="rId14"/>
              </p:custDataLst>
            </p:nvPr>
          </p:nvSpPr>
          <p:spPr bwMode="auto">
            <a:xfrm>
              <a:off x="1582738" y="1154113"/>
              <a:ext cx="190500" cy="161925"/>
            </a:xfrm>
            <a:custGeom>
              <a:avLst/>
              <a:gdLst>
                <a:gd name="T0" fmla="*/ 30 w 120"/>
                <a:gd name="T1" fmla="*/ 47 h 102"/>
                <a:gd name="T2" fmla="*/ 59 w 120"/>
                <a:gd name="T3" fmla="*/ 102 h 102"/>
                <a:gd name="T4" fmla="*/ 88 w 120"/>
                <a:gd name="T5" fmla="*/ 47 h 102"/>
                <a:gd name="T6" fmla="*/ 101 w 120"/>
                <a:gd name="T7" fmla="*/ 99 h 102"/>
                <a:gd name="T8" fmla="*/ 120 w 120"/>
                <a:gd name="T9" fmla="*/ 99 h 102"/>
                <a:gd name="T10" fmla="*/ 94 w 120"/>
                <a:gd name="T11" fmla="*/ 0 h 102"/>
                <a:gd name="T12" fmla="*/ 59 w 120"/>
                <a:gd name="T13" fmla="*/ 65 h 102"/>
                <a:gd name="T14" fmla="*/ 24 w 120"/>
                <a:gd name="T15" fmla="*/ 0 h 102"/>
                <a:gd name="T16" fmla="*/ 0 w 120"/>
                <a:gd name="T17" fmla="*/ 99 h 102"/>
                <a:gd name="T18" fmla="*/ 17 w 120"/>
                <a:gd name="T19" fmla="*/ 99 h 102"/>
                <a:gd name="T20" fmla="*/ 30 w 120"/>
                <a:gd name="T21" fmla="*/ 4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 h="102">
                  <a:moveTo>
                    <a:pt x="30" y="47"/>
                  </a:moveTo>
                  <a:lnTo>
                    <a:pt x="59" y="102"/>
                  </a:lnTo>
                  <a:lnTo>
                    <a:pt x="88" y="47"/>
                  </a:lnTo>
                  <a:lnTo>
                    <a:pt x="101" y="99"/>
                  </a:lnTo>
                  <a:lnTo>
                    <a:pt x="120" y="99"/>
                  </a:lnTo>
                  <a:lnTo>
                    <a:pt x="94" y="0"/>
                  </a:lnTo>
                  <a:lnTo>
                    <a:pt x="59" y="65"/>
                  </a:lnTo>
                  <a:lnTo>
                    <a:pt x="24" y="0"/>
                  </a:lnTo>
                  <a:lnTo>
                    <a:pt x="0" y="99"/>
                  </a:lnTo>
                  <a:lnTo>
                    <a:pt x="17" y="99"/>
                  </a:lnTo>
                  <a:lnTo>
                    <a:pt x="30"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2" name="Freeform 10">
              <a:extLst>
                <a:ext uri="{FF2B5EF4-FFF2-40B4-BE49-F238E27FC236}">
                  <a16:creationId xmlns:a16="http://schemas.microsoft.com/office/drawing/2014/main" id="{C5DB7679-2B00-4DB6-987D-58755C226FEC}"/>
                </a:ext>
              </a:extLst>
            </p:cNvPr>
            <p:cNvSpPr/>
            <p:nvPr>
              <p:custDataLst>
                <p:tags r:id="rId15"/>
              </p:custDataLst>
            </p:nvPr>
          </p:nvSpPr>
          <p:spPr bwMode="auto">
            <a:xfrm>
              <a:off x="744538" y="1154113"/>
              <a:ext cx="128587" cy="161925"/>
            </a:xfrm>
            <a:custGeom>
              <a:avLst/>
              <a:gdLst>
                <a:gd name="T0" fmla="*/ 63 w 81"/>
                <a:gd name="T1" fmla="*/ 59 h 102"/>
                <a:gd name="T2" fmla="*/ 0 w 81"/>
                <a:gd name="T3" fmla="*/ 0 h 102"/>
                <a:gd name="T4" fmla="*/ 0 w 81"/>
                <a:gd name="T5" fmla="*/ 99 h 102"/>
                <a:gd name="T6" fmla="*/ 17 w 81"/>
                <a:gd name="T7" fmla="*/ 99 h 102"/>
                <a:gd name="T8" fmla="*/ 17 w 81"/>
                <a:gd name="T9" fmla="*/ 42 h 102"/>
                <a:gd name="T10" fmla="*/ 81 w 81"/>
                <a:gd name="T11" fmla="*/ 102 h 102"/>
                <a:gd name="T12" fmla="*/ 81 w 81"/>
                <a:gd name="T13" fmla="*/ 1 h 102"/>
                <a:gd name="T14" fmla="*/ 63 w 81"/>
                <a:gd name="T15" fmla="*/ 1 h 102"/>
                <a:gd name="T16" fmla="*/ 63 w 81"/>
                <a:gd name="T17" fmla="*/ 5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02">
                  <a:moveTo>
                    <a:pt x="63" y="59"/>
                  </a:moveTo>
                  <a:lnTo>
                    <a:pt x="0" y="0"/>
                  </a:lnTo>
                  <a:lnTo>
                    <a:pt x="0" y="99"/>
                  </a:lnTo>
                  <a:lnTo>
                    <a:pt x="17" y="99"/>
                  </a:lnTo>
                  <a:lnTo>
                    <a:pt x="17" y="42"/>
                  </a:lnTo>
                  <a:lnTo>
                    <a:pt x="81" y="102"/>
                  </a:lnTo>
                  <a:lnTo>
                    <a:pt x="81" y="1"/>
                  </a:lnTo>
                  <a:lnTo>
                    <a:pt x="63" y="1"/>
                  </a:lnTo>
                  <a:lnTo>
                    <a:pt x="63"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3" name="Freeform 11">
              <a:extLst>
                <a:ext uri="{FF2B5EF4-FFF2-40B4-BE49-F238E27FC236}">
                  <a16:creationId xmlns:a16="http://schemas.microsoft.com/office/drawing/2014/main" id="{13BF63C4-DF01-41E0-8265-E14F1EE34F50}"/>
                </a:ext>
              </a:extLst>
            </p:cNvPr>
            <p:cNvSpPr/>
            <p:nvPr>
              <p:custDataLst>
                <p:tags r:id="rId16"/>
              </p:custDataLst>
            </p:nvPr>
          </p:nvSpPr>
          <p:spPr bwMode="auto">
            <a:xfrm>
              <a:off x="649288" y="1155701"/>
              <a:ext cx="28575" cy="155575"/>
            </a:xfrm>
            <a:custGeom>
              <a:avLst/>
              <a:gdLst>
                <a:gd name="T0" fmla="*/ 0 w 13"/>
                <a:gd name="T1" fmla="*/ 0 h 69"/>
                <a:gd name="T2" fmla="*/ 0 w 13"/>
                <a:gd name="T3" fmla="*/ 69 h 69"/>
                <a:gd name="T4" fmla="*/ 6 w 13"/>
                <a:gd name="T5" fmla="*/ 69 h 69"/>
                <a:gd name="T6" fmla="*/ 13 w 13"/>
                <a:gd name="T7" fmla="*/ 69 h 69"/>
                <a:gd name="T8" fmla="*/ 13 w 13"/>
                <a:gd name="T9" fmla="*/ 0 h 69"/>
                <a:gd name="T10" fmla="*/ 0 w 13"/>
                <a:gd name="T11" fmla="*/ 0 h 69"/>
              </a:gdLst>
              <a:ahLst/>
              <a:cxnLst>
                <a:cxn ang="0">
                  <a:pos x="T0" y="T1"/>
                </a:cxn>
                <a:cxn ang="0">
                  <a:pos x="T2" y="T3"/>
                </a:cxn>
                <a:cxn ang="0">
                  <a:pos x="T4" y="T5"/>
                </a:cxn>
                <a:cxn ang="0">
                  <a:pos x="T6" y="T7"/>
                </a:cxn>
                <a:cxn ang="0">
                  <a:pos x="T8" y="T9"/>
                </a:cxn>
                <a:cxn ang="0">
                  <a:pos x="T10" y="T11"/>
                </a:cxn>
              </a:cxnLst>
              <a:rect l="0" t="0" r="r" b="b"/>
              <a:pathLst>
                <a:path w="13" h="69">
                  <a:moveTo>
                    <a:pt x="0" y="0"/>
                  </a:moveTo>
                  <a:cubicBezTo>
                    <a:pt x="0" y="69"/>
                    <a:pt x="0" y="69"/>
                    <a:pt x="0" y="69"/>
                  </a:cubicBezTo>
                  <a:cubicBezTo>
                    <a:pt x="0" y="69"/>
                    <a:pt x="1" y="69"/>
                    <a:pt x="6" y="69"/>
                  </a:cubicBezTo>
                  <a:cubicBezTo>
                    <a:pt x="11" y="69"/>
                    <a:pt x="13" y="69"/>
                    <a:pt x="13" y="69"/>
                  </a:cubicBezTo>
                  <a:cubicBezTo>
                    <a:pt x="13" y="0"/>
                    <a:pt x="13" y="0"/>
                    <a:pt x="1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4" name="Freeform 12">
              <a:extLst>
                <a:ext uri="{FF2B5EF4-FFF2-40B4-BE49-F238E27FC236}">
                  <a16:creationId xmlns:a16="http://schemas.microsoft.com/office/drawing/2014/main" id="{1D8EC08B-D00D-434D-B5F9-BCBE2EAB7D0F}"/>
                </a:ext>
              </a:extLst>
            </p:cNvPr>
            <p:cNvSpPr>
              <a:spLocks noEditPoints="1"/>
            </p:cNvSpPr>
            <p:nvPr>
              <p:custDataLst>
                <p:tags r:id="rId17"/>
              </p:custDataLst>
            </p:nvPr>
          </p:nvSpPr>
          <p:spPr bwMode="auto">
            <a:xfrm>
              <a:off x="463550" y="1154113"/>
              <a:ext cx="149225" cy="157163"/>
            </a:xfrm>
            <a:custGeom>
              <a:avLst/>
              <a:gdLst>
                <a:gd name="T0" fmla="*/ 94 w 94"/>
                <a:gd name="T1" fmla="*/ 99 h 99"/>
                <a:gd name="T2" fmla="*/ 46 w 94"/>
                <a:gd name="T3" fmla="*/ 0 h 99"/>
                <a:gd name="T4" fmla="*/ 0 w 94"/>
                <a:gd name="T5" fmla="*/ 99 h 99"/>
                <a:gd name="T6" fmla="*/ 18 w 94"/>
                <a:gd name="T7" fmla="*/ 99 h 99"/>
                <a:gd name="T8" fmla="*/ 27 w 94"/>
                <a:gd name="T9" fmla="*/ 78 h 99"/>
                <a:gd name="T10" fmla="*/ 64 w 94"/>
                <a:gd name="T11" fmla="*/ 78 h 99"/>
                <a:gd name="T12" fmla="*/ 73 w 94"/>
                <a:gd name="T13" fmla="*/ 99 h 99"/>
                <a:gd name="T14" fmla="*/ 94 w 94"/>
                <a:gd name="T15" fmla="*/ 99 h 99"/>
                <a:gd name="T16" fmla="*/ 34 w 94"/>
                <a:gd name="T17" fmla="*/ 62 h 99"/>
                <a:gd name="T18" fmla="*/ 46 w 94"/>
                <a:gd name="T19" fmla="*/ 34 h 99"/>
                <a:gd name="T20" fmla="*/ 57 w 94"/>
                <a:gd name="T21" fmla="*/ 62 h 99"/>
                <a:gd name="T22" fmla="*/ 34 w 94"/>
                <a:gd name="T23" fmla="*/ 6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99">
                  <a:moveTo>
                    <a:pt x="94" y="99"/>
                  </a:moveTo>
                  <a:lnTo>
                    <a:pt x="46" y="0"/>
                  </a:lnTo>
                  <a:lnTo>
                    <a:pt x="0" y="99"/>
                  </a:lnTo>
                  <a:lnTo>
                    <a:pt x="18" y="99"/>
                  </a:lnTo>
                  <a:lnTo>
                    <a:pt x="27" y="78"/>
                  </a:lnTo>
                  <a:lnTo>
                    <a:pt x="64" y="78"/>
                  </a:lnTo>
                  <a:lnTo>
                    <a:pt x="73" y="99"/>
                  </a:lnTo>
                  <a:lnTo>
                    <a:pt x="94" y="99"/>
                  </a:lnTo>
                  <a:close/>
                  <a:moveTo>
                    <a:pt x="34" y="62"/>
                  </a:moveTo>
                  <a:lnTo>
                    <a:pt x="46" y="34"/>
                  </a:lnTo>
                  <a:lnTo>
                    <a:pt x="57" y="62"/>
                  </a:lnTo>
                  <a:lnTo>
                    <a:pt x="3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5" name="Freeform 13">
              <a:extLst>
                <a:ext uri="{FF2B5EF4-FFF2-40B4-BE49-F238E27FC236}">
                  <a16:creationId xmlns:a16="http://schemas.microsoft.com/office/drawing/2014/main" id="{C2C5096E-FBCE-46FD-B3E1-46D1A011B6EC}"/>
                </a:ext>
              </a:extLst>
            </p:cNvPr>
            <p:cNvSpPr>
              <a:spLocks noEditPoints="1"/>
            </p:cNvSpPr>
            <p:nvPr>
              <p:custDataLst>
                <p:tags r:id="rId18"/>
              </p:custDataLst>
            </p:nvPr>
          </p:nvSpPr>
          <p:spPr bwMode="auto">
            <a:xfrm>
              <a:off x="336550" y="1155701"/>
              <a:ext cx="104775" cy="155575"/>
            </a:xfrm>
            <a:custGeom>
              <a:avLst/>
              <a:gdLst>
                <a:gd name="T0" fmla="*/ 34 w 47"/>
                <a:gd name="T1" fmla="*/ 32 h 69"/>
                <a:gd name="T2" fmla="*/ 43 w 47"/>
                <a:gd name="T3" fmla="*/ 18 h 69"/>
                <a:gd name="T4" fmla="*/ 17 w 47"/>
                <a:gd name="T5" fmla="*/ 0 h 69"/>
                <a:gd name="T6" fmla="*/ 0 w 47"/>
                <a:gd name="T7" fmla="*/ 0 h 69"/>
                <a:gd name="T8" fmla="*/ 0 w 47"/>
                <a:gd name="T9" fmla="*/ 69 h 69"/>
                <a:gd name="T10" fmla="*/ 20 w 47"/>
                <a:gd name="T11" fmla="*/ 69 h 69"/>
                <a:gd name="T12" fmla="*/ 47 w 47"/>
                <a:gd name="T13" fmla="*/ 49 h 69"/>
                <a:gd name="T14" fmla="*/ 34 w 47"/>
                <a:gd name="T15" fmla="*/ 32 h 69"/>
                <a:gd name="T16" fmla="*/ 19 w 47"/>
                <a:gd name="T17" fmla="*/ 40 h 69"/>
                <a:gd name="T18" fmla="*/ 33 w 47"/>
                <a:gd name="T19" fmla="*/ 49 h 69"/>
                <a:gd name="T20" fmla="*/ 19 w 47"/>
                <a:gd name="T21" fmla="*/ 59 h 69"/>
                <a:gd name="T22" fmla="*/ 13 w 47"/>
                <a:gd name="T23" fmla="*/ 59 h 69"/>
                <a:gd name="T24" fmla="*/ 13 w 47"/>
                <a:gd name="T25" fmla="*/ 40 h 69"/>
                <a:gd name="T26" fmla="*/ 19 w 47"/>
                <a:gd name="T27" fmla="*/ 40 h 69"/>
                <a:gd name="T28" fmla="*/ 13 w 47"/>
                <a:gd name="T29" fmla="*/ 29 h 69"/>
                <a:gd name="T30" fmla="*/ 13 w 47"/>
                <a:gd name="T31" fmla="*/ 10 h 69"/>
                <a:gd name="T32" fmla="*/ 16 w 47"/>
                <a:gd name="T33" fmla="*/ 10 h 69"/>
                <a:gd name="T34" fmla="*/ 30 w 47"/>
                <a:gd name="T35" fmla="*/ 20 h 69"/>
                <a:gd name="T36" fmla="*/ 16 w 47"/>
                <a:gd name="T37" fmla="*/ 29 h 69"/>
                <a:gd name="T38" fmla="*/ 13 w 47"/>
                <a:gd name="T39" fmla="*/ 2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69">
                  <a:moveTo>
                    <a:pt x="34" y="32"/>
                  </a:moveTo>
                  <a:cubicBezTo>
                    <a:pt x="39" y="30"/>
                    <a:pt x="43" y="25"/>
                    <a:pt x="43" y="18"/>
                  </a:cubicBezTo>
                  <a:cubicBezTo>
                    <a:pt x="43" y="6"/>
                    <a:pt x="33" y="0"/>
                    <a:pt x="17" y="0"/>
                  </a:cubicBezTo>
                  <a:cubicBezTo>
                    <a:pt x="0" y="0"/>
                    <a:pt x="0" y="0"/>
                    <a:pt x="0" y="0"/>
                  </a:cubicBezTo>
                  <a:cubicBezTo>
                    <a:pt x="0" y="69"/>
                    <a:pt x="0" y="69"/>
                    <a:pt x="0" y="69"/>
                  </a:cubicBezTo>
                  <a:cubicBezTo>
                    <a:pt x="20" y="69"/>
                    <a:pt x="20" y="69"/>
                    <a:pt x="20" y="69"/>
                  </a:cubicBezTo>
                  <a:cubicBezTo>
                    <a:pt x="38" y="69"/>
                    <a:pt x="47" y="62"/>
                    <a:pt x="47" y="49"/>
                  </a:cubicBezTo>
                  <a:cubicBezTo>
                    <a:pt x="47" y="41"/>
                    <a:pt x="42" y="35"/>
                    <a:pt x="34" y="32"/>
                  </a:cubicBezTo>
                  <a:moveTo>
                    <a:pt x="19" y="40"/>
                  </a:moveTo>
                  <a:cubicBezTo>
                    <a:pt x="28" y="40"/>
                    <a:pt x="33" y="42"/>
                    <a:pt x="33" y="49"/>
                  </a:cubicBezTo>
                  <a:cubicBezTo>
                    <a:pt x="33" y="56"/>
                    <a:pt x="29" y="59"/>
                    <a:pt x="19" y="59"/>
                  </a:cubicBezTo>
                  <a:cubicBezTo>
                    <a:pt x="13" y="59"/>
                    <a:pt x="13" y="59"/>
                    <a:pt x="13" y="59"/>
                  </a:cubicBezTo>
                  <a:cubicBezTo>
                    <a:pt x="13" y="40"/>
                    <a:pt x="13" y="40"/>
                    <a:pt x="13" y="40"/>
                  </a:cubicBezTo>
                  <a:lnTo>
                    <a:pt x="19" y="40"/>
                  </a:lnTo>
                  <a:close/>
                  <a:moveTo>
                    <a:pt x="13" y="29"/>
                  </a:moveTo>
                  <a:cubicBezTo>
                    <a:pt x="13" y="10"/>
                    <a:pt x="13" y="10"/>
                    <a:pt x="13" y="10"/>
                  </a:cubicBezTo>
                  <a:cubicBezTo>
                    <a:pt x="16" y="10"/>
                    <a:pt x="16" y="10"/>
                    <a:pt x="16" y="10"/>
                  </a:cubicBezTo>
                  <a:cubicBezTo>
                    <a:pt x="25" y="10"/>
                    <a:pt x="30" y="13"/>
                    <a:pt x="30" y="20"/>
                  </a:cubicBezTo>
                  <a:cubicBezTo>
                    <a:pt x="30" y="27"/>
                    <a:pt x="25" y="29"/>
                    <a:pt x="16" y="29"/>
                  </a:cubicBezTo>
                  <a:lnTo>
                    <a:pt x="13"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6" name="Freeform 14">
              <a:extLst>
                <a:ext uri="{FF2B5EF4-FFF2-40B4-BE49-F238E27FC236}">
                  <a16:creationId xmlns:a16="http://schemas.microsoft.com/office/drawing/2014/main" id="{BFDDE4CA-20AF-457D-ADF7-DDDCBB874D5E}"/>
                </a:ext>
              </a:extLst>
            </p:cNvPr>
            <p:cNvSpPr>
              <a:spLocks noEditPoints="1"/>
            </p:cNvSpPr>
            <p:nvPr>
              <p:custDataLst>
                <p:tags r:id="rId19"/>
              </p:custDataLst>
            </p:nvPr>
          </p:nvSpPr>
          <p:spPr bwMode="auto">
            <a:xfrm>
              <a:off x="989013" y="1150938"/>
              <a:ext cx="138112" cy="165100"/>
            </a:xfrm>
            <a:custGeom>
              <a:avLst/>
              <a:gdLst>
                <a:gd name="T0" fmla="*/ 46 w 62"/>
                <a:gd name="T1" fmla="*/ 71 h 73"/>
                <a:gd name="T2" fmla="*/ 62 w 62"/>
                <a:gd name="T3" fmla="*/ 71 h 73"/>
                <a:gd name="T4" fmla="*/ 48 w 62"/>
                <a:gd name="T5" fmla="*/ 56 h 73"/>
                <a:gd name="T6" fmla="*/ 60 w 62"/>
                <a:gd name="T7" fmla="*/ 38 h 73"/>
                <a:gd name="T8" fmla="*/ 47 w 62"/>
                <a:gd name="T9" fmla="*/ 38 h 73"/>
                <a:gd name="T10" fmla="*/ 41 w 62"/>
                <a:gd name="T11" fmla="*/ 48 h 73"/>
                <a:gd name="T12" fmla="*/ 30 w 62"/>
                <a:gd name="T13" fmla="*/ 35 h 73"/>
                <a:gd name="T14" fmla="*/ 45 w 62"/>
                <a:gd name="T15" fmla="*/ 16 h 73"/>
                <a:gd name="T16" fmla="*/ 26 w 62"/>
                <a:gd name="T17" fmla="*/ 0 h 73"/>
                <a:gd name="T18" fmla="*/ 6 w 62"/>
                <a:gd name="T19" fmla="*/ 17 h 73"/>
                <a:gd name="T20" fmla="*/ 14 w 62"/>
                <a:gd name="T21" fmla="*/ 34 h 73"/>
                <a:gd name="T22" fmla="*/ 0 w 62"/>
                <a:gd name="T23" fmla="*/ 54 h 73"/>
                <a:gd name="T24" fmla="*/ 21 w 62"/>
                <a:gd name="T25" fmla="*/ 73 h 73"/>
                <a:gd name="T26" fmla="*/ 41 w 62"/>
                <a:gd name="T27" fmla="*/ 65 h 73"/>
                <a:gd name="T28" fmla="*/ 46 w 62"/>
                <a:gd name="T29" fmla="*/ 71 h 73"/>
                <a:gd name="T30" fmla="*/ 18 w 62"/>
                <a:gd name="T31" fmla="*/ 18 h 73"/>
                <a:gd name="T32" fmla="*/ 26 w 62"/>
                <a:gd name="T33" fmla="*/ 10 h 73"/>
                <a:gd name="T34" fmla="*/ 34 w 62"/>
                <a:gd name="T35" fmla="*/ 17 h 73"/>
                <a:gd name="T36" fmla="*/ 24 w 62"/>
                <a:gd name="T37" fmla="*/ 28 h 73"/>
                <a:gd name="T38" fmla="*/ 18 w 62"/>
                <a:gd name="T39" fmla="*/ 18 h 73"/>
                <a:gd name="T40" fmla="*/ 34 w 62"/>
                <a:gd name="T41" fmla="*/ 57 h 73"/>
                <a:gd name="T42" fmla="*/ 23 w 62"/>
                <a:gd name="T43" fmla="*/ 62 h 73"/>
                <a:gd name="T44" fmla="*/ 12 w 62"/>
                <a:gd name="T45" fmla="*/ 53 h 73"/>
                <a:gd name="T46" fmla="*/ 20 w 62"/>
                <a:gd name="T47" fmla="*/ 41 h 73"/>
                <a:gd name="T48" fmla="*/ 20 w 62"/>
                <a:gd name="T49" fmla="*/ 41 h 73"/>
                <a:gd name="T50" fmla="*/ 34 w 62"/>
                <a:gd name="T51" fmla="*/ 5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73">
                  <a:moveTo>
                    <a:pt x="46" y="71"/>
                  </a:moveTo>
                  <a:cubicBezTo>
                    <a:pt x="62" y="71"/>
                    <a:pt x="62" y="71"/>
                    <a:pt x="62" y="71"/>
                  </a:cubicBezTo>
                  <a:cubicBezTo>
                    <a:pt x="62" y="71"/>
                    <a:pt x="50" y="58"/>
                    <a:pt x="48" y="56"/>
                  </a:cubicBezTo>
                  <a:cubicBezTo>
                    <a:pt x="50" y="54"/>
                    <a:pt x="60" y="38"/>
                    <a:pt x="60" y="38"/>
                  </a:cubicBezTo>
                  <a:cubicBezTo>
                    <a:pt x="47" y="38"/>
                    <a:pt x="47" y="38"/>
                    <a:pt x="47" y="38"/>
                  </a:cubicBezTo>
                  <a:cubicBezTo>
                    <a:pt x="41" y="48"/>
                    <a:pt x="41" y="48"/>
                    <a:pt x="41" y="48"/>
                  </a:cubicBezTo>
                  <a:cubicBezTo>
                    <a:pt x="30" y="35"/>
                    <a:pt x="30" y="35"/>
                    <a:pt x="30" y="35"/>
                  </a:cubicBezTo>
                  <a:cubicBezTo>
                    <a:pt x="40" y="31"/>
                    <a:pt x="45" y="24"/>
                    <a:pt x="45" y="16"/>
                  </a:cubicBezTo>
                  <a:cubicBezTo>
                    <a:pt x="45" y="7"/>
                    <a:pt x="37" y="0"/>
                    <a:pt x="26" y="0"/>
                  </a:cubicBezTo>
                  <a:cubicBezTo>
                    <a:pt x="14" y="0"/>
                    <a:pt x="6" y="7"/>
                    <a:pt x="6" y="17"/>
                  </a:cubicBezTo>
                  <a:cubicBezTo>
                    <a:pt x="6" y="24"/>
                    <a:pt x="11" y="30"/>
                    <a:pt x="14" y="34"/>
                  </a:cubicBezTo>
                  <a:cubicBezTo>
                    <a:pt x="6" y="38"/>
                    <a:pt x="0" y="44"/>
                    <a:pt x="0" y="54"/>
                  </a:cubicBezTo>
                  <a:cubicBezTo>
                    <a:pt x="0" y="64"/>
                    <a:pt x="9" y="73"/>
                    <a:pt x="21" y="73"/>
                  </a:cubicBezTo>
                  <a:cubicBezTo>
                    <a:pt x="29" y="73"/>
                    <a:pt x="36" y="70"/>
                    <a:pt x="41" y="65"/>
                  </a:cubicBezTo>
                  <a:lnTo>
                    <a:pt x="46" y="71"/>
                  </a:lnTo>
                  <a:close/>
                  <a:moveTo>
                    <a:pt x="18" y="18"/>
                  </a:moveTo>
                  <a:cubicBezTo>
                    <a:pt x="18" y="13"/>
                    <a:pt x="22" y="10"/>
                    <a:pt x="26" y="10"/>
                  </a:cubicBezTo>
                  <a:cubicBezTo>
                    <a:pt x="31" y="10"/>
                    <a:pt x="34" y="13"/>
                    <a:pt x="34" y="17"/>
                  </a:cubicBezTo>
                  <a:cubicBezTo>
                    <a:pt x="34" y="22"/>
                    <a:pt x="29" y="26"/>
                    <a:pt x="24" y="28"/>
                  </a:cubicBezTo>
                  <a:cubicBezTo>
                    <a:pt x="22" y="26"/>
                    <a:pt x="18" y="22"/>
                    <a:pt x="18" y="18"/>
                  </a:cubicBezTo>
                  <a:close/>
                  <a:moveTo>
                    <a:pt x="34" y="57"/>
                  </a:moveTo>
                  <a:cubicBezTo>
                    <a:pt x="32" y="60"/>
                    <a:pt x="28" y="62"/>
                    <a:pt x="23" y="62"/>
                  </a:cubicBezTo>
                  <a:cubicBezTo>
                    <a:pt x="17" y="62"/>
                    <a:pt x="12" y="58"/>
                    <a:pt x="12" y="53"/>
                  </a:cubicBezTo>
                  <a:cubicBezTo>
                    <a:pt x="12" y="48"/>
                    <a:pt x="16" y="43"/>
                    <a:pt x="20" y="41"/>
                  </a:cubicBezTo>
                  <a:cubicBezTo>
                    <a:pt x="20" y="41"/>
                    <a:pt x="20" y="41"/>
                    <a:pt x="20" y="41"/>
                  </a:cubicBezTo>
                  <a:lnTo>
                    <a:pt x="34"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7" name="Freeform 15">
              <a:extLst>
                <a:ext uri="{FF2B5EF4-FFF2-40B4-BE49-F238E27FC236}">
                  <a16:creationId xmlns:a16="http://schemas.microsoft.com/office/drawing/2014/main" id="{B02D2DC9-8DD4-4FDC-A761-32716DF34DEC}"/>
                </a:ext>
              </a:extLst>
            </p:cNvPr>
            <p:cNvSpPr/>
            <p:nvPr>
              <p:custDataLst>
                <p:tags r:id="rId20"/>
              </p:custDataLst>
            </p:nvPr>
          </p:nvSpPr>
          <p:spPr bwMode="auto">
            <a:xfrm>
              <a:off x="2122488" y="1154113"/>
              <a:ext cx="128587" cy="161925"/>
            </a:xfrm>
            <a:custGeom>
              <a:avLst/>
              <a:gdLst>
                <a:gd name="T0" fmla="*/ 62 w 81"/>
                <a:gd name="T1" fmla="*/ 59 h 102"/>
                <a:gd name="T2" fmla="*/ 0 w 81"/>
                <a:gd name="T3" fmla="*/ 0 h 102"/>
                <a:gd name="T4" fmla="*/ 0 w 81"/>
                <a:gd name="T5" fmla="*/ 99 h 102"/>
                <a:gd name="T6" fmla="*/ 16 w 81"/>
                <a:gd name="T7" fmla="*/ 99 h 102"/>
                <a:gd name="T8" fmla="*/ 16 w 81"/>
                <a:gd name="T9" fmla="*/ 42 h 102"/>
                <a:gd name="T10" fmla="*/ 81 w 81"/>
                <a:gd name="T11" fmla="*/ 102 h 102"/>
                <a:gd name="T12" fmla="*/ 81 w 81"/>
                <a:gd name="T13" fmla="*/ 1 h 102"/>
                <a:gd name="T14" fmla="*/ 62 w 81"/>
                <a:gd name="T15" fmla="*/ 1 h 102"/>
                <a:gd name="T16" fmla="*/ 62 w 81"/>
                <a:gd name="T17" fmla="*/ 5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02">
                  <a:moveTo>
                    <a:pt x="62" y="59"/>
                  </a:moveTo>
                  <a:lnTo>
                    <a:pt x="0" y="0"/>
                  </a:lnTo>
                  <a:lnTo>
                    <a:pt x="0" y="99"/>
                  </a:lnTo>
                  <a:lnTo>
                    <a:pt x="16" y="99"/>
                  </a:lnTo>
                  <a:lnTo>
                    <a:pt x="16" y="42"/>
                  </a:lnTo>
                  <a:lnTo>
                    <a:pt x="81" y="102"/>
                  </a:lnTo>
                  <a:lnTo>
                    <a:pt x="81" y="1"/>
                  </a:lnTo>
                  <a:lnTo>
                    <a:pt x="62" y="1"/>
                  </a:lnTo>
                  <a:lnTo>
                    <a:pt x="62"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8" name="Freeform 16">
              <a:extLst>
                <a:ext uri="{FF2B5EF4-FFF2-40B4-BE49-F238E27FC236}">
                  <a16:creationId xmlns:a16="http://schemas.microsoft.com/office/drawing/2014/main" id="{C82A38A5-2DC0-4A9E-9A36-8495DD0CA307}"/>
                </a:ext>
              </a:extLst>
            </p:cNvPr>
            <p:cNvSpPr>
              <a:spLocks noEditPoints="1"/>
            </p:cNvSpPr>
            <p:nvPr>
              <p:custDataLst>
                <p:tags r:id="rId21"/>
              </p:custDataLst>
            </p:nvPr>
          </p:nvSpPr>
          <p:spPr bwMode="auto">
            <a:xfrm>
              <a:off x="1935163" y="1154113"/>
              <a:ext cx="149225" cy="157163"/>
            </a:xfrm>
            <a:custGeom>
              <a:avLst/>
              <a:gdLst>
                <a:gd name="T0" fmla="*/ 94 w 94"/>
                <a:gd name="T1" fmla="*/ 99 h 99"/>
                <a:gd name="T2" fmla="*/ 46 w 94"/>
                <a:gd name="T3" fmla="*/ 0 h 99"/>
                <a:gd name="T4" fmla="*/ 0 w 94"/>
                <a:gd name="T5" fmla="*/ 99 h 99"/>
                <a:gd name="T6" fmla="*/ 18 w 94"/>
                <a:gd name="T7" fmla="*/ 99 h 99"/>
                <a:gd name="T8" fmla="*/ 27 w 94"/>
                <a:gd name="T9" fmla="*/ 78 h 99"/>
                <a:gd name="T10" fmla="*/ 64 w 94"/>
                <a:gd name="T11" fmla="*/ 78 h 99"/>
                <a:gd name="T12" fmla="*/ 73 w 94"/>
                <a:gd name="T13" fmla="*/ 99 h 99"/>
                <a:gd name="T14" fmla="*/ 94 w 94"/>
                <a:gd name="T15" fmla="*/ 99 h 99"/>
                <a:gd name="T16" fmla="*/ 34 w 94"/>
                <a:gd name="T17" fmla="*/ 62 h 99"/>
                <a:gd name="T18" fmla="*/ 46 w 94"/>
                <a:gd name="T19" fmla="*/ 34 h 99"/>
                <a:gd name="T20" fmla="*/ 57 w 94"/>
                <a:gd name="T21" fmla="*/ 62 h 99"/>
                <a:gd name="T22" fmla="*/ 34 w 94"/>
                <a:gd name="T23" fmla="*/ 6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99">
                  <a:moveTo>
                    <a:pt x="94" y="99"/>
                  </a:moveTo>
                  <a:lnTo>
                    <a:pt x="46" y="0"/>
                  </a:lnTo>
                  <a:lnTo>
                    <a:pt x="0" y="99"/>
                  </a:lnTo>
                  <a:lnTo>
                    <a:pt x="18" y="99"/>
                  </a:lnTo>
                  <a:lnTo>
                    <a:pt x="27" y="78"/>
                  </a:lnTo>
                  <a:lnTo>
                    <a:pt x="64" y="78"/>
                  </a:lnTo>
                  <a:lnTo>
                    <a:pt x="73" y="99"/>
                  </a:lnTo>
                  <a:lnTo>
                    <a:pt x="94" y="99"/>
                  </a:lnTo>
                  <a:close/>
                  <a:moveTo>
                    <a:pt x="34" y="62"/>
                  </a:moveTo>
                  <a:lnTo>
                    <a:pt x="46" y="34"/>
                  </a:lnTo>
                  <a:lnTo>
                    <a:pt x="57" y="62"/>
                  </a:lnTo>
                  <a:lnTo>
                    <a:pt x="34"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9" name="Freeform 17">
              <a:extLst>
                <a:ext uri="{FF2B5EF4-FFF2-40B4-BE49-F238E27FC236}">
                  <a16:creationId xmlns:a16="http://schemas.microsoft.com/office/drawing/2014/main" id="{19539831-4569-4C4D-B45D-EBE983076F30}"/>
                </a:ext>
              </a:extLst>
            </p:cNvPr>
            <p:cNvSpPr>
              <a:spLocks noEditPoints="1"/>
            </p:cNvSpPr>
            <p:nvPr>
              <p:custDataLst>
                <p:tags r:id="rId22"/>
              </p:custDataLst>
            </p:nvPr>
          </p:nvSpPr>
          <p:spPr bwMode="auto">
            <a:xfrm>
              <a:off x="2540000" y="1095376"/>
              <a:ext cx="271462" cy="277813"/>
            </a:xfrm>
            <a:custGeom>
              <a:avLst/>
              <a:gdLst>
                <a:gd name="T0" fmla="*/ 83 w 122"/>
                <a:gd name="T1" fmla="*/ 64 h 123"/>
                <a:gd name="T2" fmla="*/ 72 w 122"/>
                <a:gd name="T3" fmla="*/ 15 h 123"/>
                <a:gd name="T4" fmla="*/ 41 w 122"/>
                <a:gd name="T5" fmla="*/ 55 h 123"/>
                <a:gd name="T6" fmla="*/ 83 w 122"/>
                <a:gd name="T7" fmla="*/ 64 h 123"/>
                <a:gd name="T8" fmla="*/ 122 w 122"/>
                <a:gd name="T9" fmla="*/ 62 h 123"/>
                <a:gd name="T10" fmla="*/ 61 w 122"/>
                <a:gd name="T11" fmla="*/ 123 h 123"/>
                <a:gd name="T12" fmla="*/ 0 w 122"/>
                <a:gd name="T13" fmla="*/ 62 h 123"/>
                <a:gd name="T14" fmla="*/ 61 w 122"/>
                <a:gd name="T15" fmla="*/ 0 h 123"/>
                <a:gd name="T16" fmla="*/ 71 w 122"/>
                <a:gd name="T17" fmla="*/ 1 h 123"/>
                <a:gd name="T18" fmla="*/ 66 w 122"/>
                <a:gd name="T19" fmla="*/ 8 h 123"/>
                <a:gd name="T20" fmla="*/ 61 w 122"/>
                <a:gd name="T21" fmla="*/ 8 h 123"/>
                <a:gd name="T22" fmla="*/ 10 w 122"/>
                <a:gd name="T23" fmla="*/ 58 h 123"/>
                <a:gd name="T24" fmla="*/ 61 w 122"/>
                <a:gd name="T25" fmla="*/ 108 h 123"/>
                <a:gd name="T26" fmla="*/ 113 w 122"/>
                <a:gd name="T27" fmla="*/ 58 h 123"/>
                <a:gd name="T28" fmla="*/ 80 w 122"/>
                <a:gd name="T29" fmla="*/ 11 h 123"/>
                <a:gd name="T30" fmla="*/ 78 w 122"/>
                <a:gd name="T31" fmla="*/ 3 h 123"/>
                <a:gd name="T32" fmla="*/ 122 w 122"/>
                <a:gd name="T33" fmla="*/ 6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2" h="123">
                  <a:moveTo>
                    <a:pt x="83" y="64"/>
                  </a:moveTo>
                  <a:cubicBezTo>
                    <a:pt x="72" y="15"/>
                    <a:pt x="72" y="15"/>
                    <a:pt x="72" y="15"/>
                  </a:cubicBezTo>
                  <a:cubicBezTo>
                    <a:pt x="41" y="55"/>
                    <a:pt x="41" y="55"/>
                    <a:pt x="41" y="55"/>
                  </a:cubicBezTo>
                  <a:lnTo>
                    <a:pt x="83" y="64"/>
                  </a:lnTo>
                  <a:close/>
                  <a:moveTo>
                    <a:pt x="122" y="62"/>
                  </a:moveTo>
                  <a:cubicBezTo>
                    <a:pt x="122" y="95"/>
                    <a:pt x="95" y="123"/>
                    <a:pt x="61" y="123"/>
                  </a:cubicBezTo>
                  <a:cubicBezTo>
                    <a:pt x="27" y="123"/>
                    <a:pt x="0" y="95"/>
                    <a:pt x="0" y="62"/>
                  </a:cubicBezTo>
                  <a:cubicBezTo>
                    <a:pt x="0" y="28"/>
                    <a:pt x="27" y="0"/>
                    <a:pt x="61" y="0"/>
                  </a:cubicBezTo>
                  <a:cubicBezTo>
                    <a:pt x="64" y="0"/>
                    <a:pt x="68" y="1"/>
                    <a:pt x="71" y="1"/>
                  </a:cubicBezTo>
                  <a:cubicBezTo>
                    <a:pt x="66" y="8"/>
                    <a:pt x="66" y="8"/>
                    <a:pt x="66" y="8"/>
                  </a:cubicBezTo>
                  <a:cubicBezTo>
                    <a:pt x="64" y="8"/>
                    <a:pt x="63" y="8"/>
                    <a:pt x="61" y="8"/>
                  </a:cubicBezTo>
                  <a:cubicBezTo>
                    <a:pt x="33" y="8"/>
                    <a:pt x="10" y="30"/>
                    <a:pt x="10" y="58"/>
                  </a:cubicBezTo>
                  <a:cubicBezTo>
                    <a:pt x="10" y="86"/>
                    <a:pt x="33" y="108"/>
                    <a:pt x="61" y="108"/>
                  </a:cubicBezTo>
                  <a:cubicBezTo>
                    <a:pt x="90" y="108"/>
                    <a:pt x="113" y="86"/>
                    <a:pt x="113" y="58"/>
                  </a:cubicBezTo>
                  <a:cubicBezTo>
                    <a:pt x="113" y="37"/>
                    <a:pt x="99" y="18"/>
                    <a:pt x="80" y="11"/>
                  </a:cubicBezTo>
                  <a:cubicBezTo>
                    <a:pt x="78" y="3"/>
                    <a:pt x="78" y="3"/>
                    <a:pt x="78" y="3"/>
                  </a:cubicBezTo>
                  <a:cubicBezTo>
                    <a:pt x="104" y="10"/>
                    <a:pt x="122" y="34"/>
                    <a:pt x="12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grpSp>
      <p:sp>
        <p:nvSpPr>
          <p:cNvPr id="70" name="Rectangle 69">
            <a:extLst>
              <a:ext uri="{FF2B5EF4-FFF2-40B4-BE49-F238E27FC236}">
                <a16:creationId xmlns:a16="http://schemas.microsoft.com/office/drawing/2014/main" id="{A02E51B2-66A8-4412-842A-F4EB100D36E5}"/>
              </a:ext>
            </a:extLst>
          </p:cNvPr>
          <p:cNvSpPr/>
          <p:nvPr>
            <p:custDataLst>
              <p:tags r:id="rId8"/>
            </p:custDataLst>
          </p:nvPr>
        </p:nvSpPr>
        <p:spPr>
          <a:xfrm>
            <a:off x="330200" y="1435469"/>
            <a:ext cx="6527800" cy="1426920"/>
          </a:xfrm>
          <a:prstGeom prst="rect">
            <a:avLst/>
          </a:prstGeom>
          <a:ln w="9525" cap="flat" cmpd="sng" algn="ctr">
            <a:noFill/>
            <a:prstDash val="solid"/>
            <a:round/>
            <a:headEnd type="none" w="med" len="med"/>
            <a:tailEnd type="none" w="med" len="med"/>
          </a:ln>
        </p:spPr>
        <p:txBody>
          <a:bodyPr wrap="square" lIns="36000" tIns="36000" rIns="36000" bIns="36000">
            <a:spAutoFit/>
          </a:bodyPr>
          <a:lstStyle/>
          <a:p>
            <a:pPr marL="0" indent="0">
              <a:spcBef>
                <a:spcPct val="0"/>
              </a:spcBef>
              <a:buNone/>
            </a:pPr>
            <a:r>
              <a:rPr lang="en-US" altLang="zh-CN" sz="4400" b="1">
                <a:solidFill>
                  <a:schemeClr val="bg1"/>
                </a:solidFill>
              </a:rPr>
              <a:t>Observations on Global </a:t>
            </a:r>
            <a:br>
              <a:rPr lang="en-US" altLang="zh-CN" sz="4400" b="1">
                <a:solidFill>
                  <a:schemeClr val="bg1"/>
                </a:solidFill>
              </a:rPr>
            </a:br>
            <a:r>
              <a:rPr lang="en-US" altLang="zh-CN" sz="4400" b="1">
                <a:solidFill>
                  <a:schemeClr val="bg1"/>
                </a:solidFill>
              </a:rPr>
              <a:t>AI Policy and AI Safety</a:t>
            </a:r>
          </a:p>
        </p:txBody>
      </p:sp>
      <p:sp>
        <p:nvSpPr>
          <p:cNvPr id="14" name="Rectangle 13">
            <a:extLst>
              <a:ext uri="{FF2B5EF4-FFF2-40B4-BE49-F238E27FC236}">
                <a16:creationId xmlns:a16="http://schemas.microsoft.com/office/drawing/2014/main" id="{95AB32E3-6DEB-00D4-7082-300F3393B2ED}"/>
              </a:ext>
            </a:extLst>
          </p:cNvPr>
          <p:cNvSpPr/>
          <p:nvPr>
            <p:custDataLst>
              <p:tags r:id="rId9"/>
            </p:custDataLst>
          </p:nvPr>
        </p:nvSpPr>
        <p:spPr bwMode="gray">
          <a:xfrm>
            <a:off x="333199" y="6674779"/>
            <a:ext cx="6400800" cy="76949"/>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600">
                <a:solidFill>
                  <a:srgbClr val="D6D6D6"/>
                </a:solidFill>
              </a:rPr>
              <a:t>All logos, trademarks and brand names used belong to their respective owners</a:t>
            </a:r>
            <a:br>
              <a:rPr lang="en-US" sz="600">
                <a:solidFill>
                  <a:srgbClr val="D6D6D6"/>
                </a:solidFill>
              </a:rPr>
            </a:br>
            <a:r>
              <a:rPr lang="en-US" sz="600">
                <a:solidFill>
                  <a:srgbClr val="D6D6D6"/>
                </a:solidFill>
              </a:rPr>
              <a:t>This information is confidential and was prepared by Bain &amp; Company solely for the use of our client; it is not to be relied on by any 3</a:t>
            </a:r>
            <a:r>
              <a:rPr lang="en-US" sz="600" baseline="30000">
                <a:solidFill>
                  <a:srgbClr val="D6D6D6"/>
                </a:solidFill>
              </a:rPr>
              <a:t>rd</a:t>
            </a:r>
            <a:r>
              <a:rPr lang="en-US" sz="600">
                <a:solidFill>
                  <a:srgbClr val="D6D6D6"/>
                </a:solidFill>
              </a:rPr>
              <a:t> party without Bain’s prior </a:t>
            </a:r>
            <a:r>
              <a:rPr lang="en-US" sz="600">
                <a:solidFill>
                  <a:srgbClr val="D6D6D6"/>
                </a:solidFill>
                <a:latin typeface="+mj-lt"/>
              </a:rPr>
              <a:t>written</a:t>
            </a:r>
            <a:r>
              <a:rPr lang="en-US" sz="600">
                <a:solidFill>
                  <a:srgbClr val="D6D6D6"/>
                </a:solidFill>
              </a:rPr>
              <a:t> consent</a:t>
            </a:r>
          </a:p>
        </p:txBody>
      </p:sp>
    </p:spTree>
    <p:custDataLst>
      <p:tags r:id="rId1"/>
    </p:custDataLst>
    <p:extLst>
      <p:ext uri="{BB962C8B-B14F-4D97-AF65-F5344CB8AC3E}">
        <p14:creationId xmlns:p14="http://schemas.microsoft.com/office/powerpoint/2010/main" val="118475730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15128" y="1788454"/>
            <a:ext cx="8361229" cy="1933997"/>
          </a:xfrm>
        </p:spPr>
        <p:txBody>
          <a:bodyPr/>
          <a:lstStyle/>
          <a:p>
            <a:r>
              <a:rPr lang="en-US" sz="4400" i="1" cap="none" dirty="0"/>
              <a:t>Whether, When, and</a:t>
            </a:r>
            <a:br>
              <a:rPr lang="en-US" sz="4400" i="1" cap="none" dirty="0"/>
            </a:br>
            <a:r>
              <a:rPr lang="en-US" sz="4400" i="1" cap="none" dirty="0"/>
              <a:t>How to Regulate AI</a:t>
            </a:r>
            <a:endParaRPr lang="en-SG" sz="3600" i="1" cap="none" dirty="0"/>
          </a:p>
        </p:txBody>
      </p:sp>
      <p:sp>
        <p:nvSpPr>
          <p:cNvPr id="4" name="Subtitle 2"/>
          <p:cNvSpPr txBox="1">
            <a:spLocks/>
          </p:cNvSpPr>
          <p:nvPr/>
        </p:nvSpPr>
        <p:spPr>
          <a:xfrm>
            <a:off x="2832306" y="4108679"/>
            <a:ext cx="6831673" cy="1328735"/>
          </a:xfrm>
          <a:prstGeom prst="rect">
            <a:avLst/>
          </a:prstGeom>
        </p:spPr>
        <p:txBody>
          <a:bodyPr vert="horz" lIns="91440" tIns="45720" rIns="91440" bIns="45720" rtlCol="0">
            <a:normAutofit fontScale="70000" lnSpcReduction="20000"/>
          </a:bodyPr>
          <a:lstStyle>
            <a:lvl1pPr marL="0" indent="0" algn="ctr" defTabSz="914400" rtl="0" eaLnBrk="1" latinLnBrk="0" hangingPunct="1">
              <a:lnSpc>
                <a:spcPct val="112000"/>
              </a:lnSpc>
              <a:spcBef>
                <a:spcPts val="0"/>
              </a:spcBef>
              <a:spcAft>
                <a:spcPts val="0"/>
              </a:spcAft>
              <a:buFont typeface="Franklin Gothic Book" panose="020B0503020102020204" pitchFamily="34" charset="0"/>
              <a:buNone/>
              <a:defRPr sz="2300" kern="1200" baseline="0">
                <a:solidFill>
                  <a:schemeClr val="tx2"/>
                </a:solidFill>
                <a:latin typeface="+mn-lt"/>
                <a:ea typeface="+mn-ea"/>
                <a:cs typeface="+mn-cs"/>
              </a:defRPr>
            </a:lvl1pPr>
            <a:lvl2pPr marL="457200" indent="0" algn="ctr" defTabSz="914400" rtl="0" eaLnBrk="1" latinLnBrk="0" hangingPunct="1">
              <a:lnSpc>
                <a:spcPct val="94000"/>
              </a:lnSpc>
              <a:spcBef>
                <a:spcPts val="500"/>
              </a:spcBef>
              <a:spcAft>
                <a:spcPts val="200"/>
              </a:spcAft>
              <a:buFont typeface="Franklin Gothic Book" panose="020B0503020102020204" pitchFamily="34" charset="0"/>
              <a:buNone/>
              <a:defRPr sz="2000" i="1" kern="1200" baseline="0">
                <a:solidFill>
                  <a:schemeClr val="tx2"/>
                </a:solidFill>
                <a:latin typeface="+mn-lt"/>
                <a:ea typeface="+mn-ea"/>
                <a:cs typeface="+mn-cs"/>
              </a:defRPr>
            </a:lvl2pPr>
            <a:lvl3pPr marL="914400" indent="0" algn="ctr" defTabSz="914400" rtl="0" eaLnBrk="1" latinLnBrk="0" hangingPunct="1">
              <a:lnSpc>
                <a:spcPct val="94000"/>
              </a:lnSpc>
              <a:spcBef>
                <a:spcPts val="500"/>
              </a:spcBef>
              <a:spcAft>
                <a:spcPts val="200"/>
              </a:spcAft>
              <a:buFont typeface="Franklin Gothic Book" panose="020B0503020102020204" pitchFamily="34" charset="0"/>
              <a:buNone/>
              <a:defRPr sz="1800" kern="1200" baseline="0">
                <a:solidFill>
                  <a:schemeClr val="tx2"/>
                </a:solidFill>
                <a:latin typeface="+mn-lt"/>
                <a:ea typeface="+mn-ea"/>
                <a:cs typeface="+mn-cs"/>
              </a:defRPr>
            </a:lvl3pPr>
            <a:lvl4pPr marL="1371600" indent="0" algn="ctr" defTabSz="914400" rtl="0" eaLnBrk="1" latinLnBrk="0" hangingPunct="1">
              <a:lnSpc>
                <a:spcPct val="94000"/>
              </a:lnSpc>
              <a:spcBef>
                <a:spcPts val="500"/>
              </a:spcBef>
              <a:spcAft>
                <a:spcPts val="200"/>
              </a:spcAft>
              <a:buFont typeface="Franklin Gothic Book" panose="020B0503020102020204" pitchFamily="34" charset="0"/>
              <a:buNone/>
              <a:defRPr sz="1600" i="1" kern="1200" baseline="0">
                <a:solidFill>
                  <a:schemeClr val="tx2"/>
                </a:solidFill>
                <a:latin typeface="+mn-lt"/>
                <a:ea typeface="+mn-ea"/>
                <a:cs typeface="+mn-cs"/>
              </a:defRPr>
            </a:lvl4pPr>
            <a:lvl5pPr marL="1828800" indent="0" algn="ctr" defTabSz="914400" rtl="0" eaLnBrk="1" latinLnBrk="0" hangingPunct="1">
              <a:lnSpc>
                <a:spcPct val="94000"/>
              </a:lnSpc>
              <a:spcBef>
                <a:spcPts val="500"/>
              </a:spcBef>
              <a:spcAft>
                <a:spcPts val="200"/>
              </a:spcAft>
              <a:buFont typeface="Franklin Gothic Book" panose="020B0503020102020204" pitchFamily="34" charset="0"/>
              <a:buNone/>
              <a:defRPr sz="1600" kern="1200" baseline="0">
                <a:solidFill>
                  <a:schemeClr val="tx2"/>
                </a:solidFill>
                <a:latin typeface="+mn-lt"/>
                <a:ea typeface="+mn-ea"/>
                <a:cs typeface="+mn-cs"/>
              </a:defRPr>
            </a:lvl5pPr>
            <a:lvl6pPr marL="2286000" indent="0" algn="ctr" defTabSz="914400" rtl="0" eaLnBrk="1" latinLnBrk="0" hangingPunct="1">
              <a:lnSpc>
                <a:spcPct val="94000"/>
              </a:lnSpc>
              <a:spcBef>
                <a:spcPts val="500"/>
              </a:spcBef>
              <a:spcAft>
                <a:spcPts val="200"/>
              </a:spcAft>
              <a:buFont typeface="Franklin Gothic Book" panose="020B0503020102020204" pitchFamily="34" charset="0"/>
              <a:buNone/>
              <a:defRPr sz="1600" i="1" kern="1200" baseline="0">
                <a:solidFill>
                  <a:schemeClr val="tx2"/>
                </a:solidFill>
                <a:latin typeface="+mn-lt"/>
                <a:ea typeface="+mn-ea"/>
                <a:cs typeface="+mn-cs"/>
              </a:defRPr>
            </a:lvl6pPr>
            <a:lvl7pPr marL="2743200" indent="0" algn="ctr" defTabSz="914400" rtl="0" eaLnBrk="1" latinLnBrk="0" hangingPunct="1">
              <a:lnSpc>
                <a:spcPct val="94000"/>
              </a:lnSpc>
              <a:spcBef>
                <a:spcPts val="500"/>
              </a:spcBef>
              <a:spcAft>
                <a:spcPts val="200"/>
              </a:spcAft>
              <a:buFont typeface="Franklin Gothic Book" panose="020B0503020102020204" pitchFamily="34" charset="0"/>
              <a:buNone/>
              <a:defRPr sz="1600" kern="1200" baseline="0">
                <a:solidFill>
                  <a:schemeClr val="tx2"/>
                </a:solidFill>
                <a:latin typeface="+mn-lt"/>
                <a:ea typeface="+mn-ea"/>
                <a:cs typeface="+mn-cs"/>
              </a:defRPr>
            </a:lvl7pPr>
            <a:lvl8pPr marL="3200400" indent="0" algn="ctr" defTabSz="914400" rtl="0" eaLnBrk="1" latinLnBrk="0" hangingPunct="1">
              <a:lnSpc>
                <a:spcPct val="94000"/>
              </a:lnSpc>
              <a:spcBef>
                <a:spcPts val="500"/>
              </a:spcBef>
              <a:spcAft>
                <a:spcPts val="200"/>
              </a:spcAft>
              <a:buFont typeface="Franklin Gothic Book" panose="020B0503020102020204" pitchFamily="34" charset="0"/>
              <a:buNone/>
              <a:defRPr sz="1600" i="1" kern="1200" baseline="0">
                <a:solidFill>
                  <a:schemeClr val="tx2"/>
                </a:solidFill>
                <a:latin typeface="+mn-lt"/>
                <a:ea typeface="+mn-ea"/>
                <a:cs typeface="+mn-cs"/>
              </a:defRPr>
            </a:lvl8pPr>
            <a:lvl9pPr marL="3657600" indent="0" algn="ctr" defTabSz="914400" rtl="0" eaLnBrk="1" latinLnBrk="0" hangingPunct="1">
              <a:lnSpc>
                <a:spcPct val="94000"/>
              </a:lnSpc>
              <a:spcBef>
                <a:spcPts val="500"/>
              </a:spcBef>
              <a:spcAft>
                <a:spcPts val="200"/>
              </a:spcAft>
              <a:buFont typeface="Franklin Gothic Book" panose="020B0503020102020204" pitchFamily="34" charset="0"/>
              <a:buNone/>
              <a:defRPr sz="1600" kern="1200" baseline="0">
                <a:solidFill>
                  <a:schemeClr val="tx2"/>
                </a:solidFill>
                <a:latin typeface="+mn-lt"/>
                <a:ea typeface="+mn-ea"/>
                <a:cs typeface="+mn-cs"/>
              </a:defRPr>
            </a:lvl9pPr>
          </a:lstStyle>
          <a:p>
            <a:pPr marL="0" marR="0" lvl="0" indent="0" algn="ctr" defTabSz="914400" rtl="0" eaLnBrk="1" fontAlgn="auto" latinLnBrk="0" hangingPunct="1">
              <a:lnSpc>
                <a:spcPct val="112000"/>
              </a:lnSpc>
              <a:spcBef>
                <a:spcPts val="0"/>
              </a:spcBef>
              <a:spcAft>
                <a:spcPts val="0"/>
              </a:spcAft>
              <a:buClrTx/>
              <a:buSzTx/>
              <a:buFont typeface="Franklin Gothic Book" panose="020B0503020102020204" pitchFamily="34" charset="0"/>
              <a:buNone/>
              <a:tabLst/>
              <a:defRPr/>
            </a:pPr>
            <a:r>
              <a:rPr kumimoji="0" lang="en-US" sz="2300" b="0" i="0" u="none" strike="noStrike" kern="1200" cap="none" spc="0" normalizeH="0" baseline="0" noProof="0" dirty="0">
                <a:ln>
                  <a:noFill/>
                </a:ln>
                <a:solidFill>
                  <a:srgbClr val="191B0E"/>
                </a:solidFill>
                <a:effectLst/>
                <a:uLnTx/>
                <a:uFillTx/>
                <a:latin typeface="Franklin Gothic Book" panose="020B0503020102020204"/>
                <a:ea typeface="+mn-ea"/>
                <a:cs typeface="+mn-cs"/>
              </a:rPr>
              <a:t>Simon Chesterman</a:t>
            </a:r>
          </a:p>
          <a:p>
            <a:pPr marL="0" marR="0" lvl="0" indent="0" algn="ctr" defTabSz="914400" rtl="0" eaLnBrk="1" fontAlgn="auto" latinLnBrk="0" hangingPunct="1">
              <a:lnSpc>
                <a:spcPct val="112000"/>
              </a:lnSpc>
              <a:spcBef>
                <a:spcPts val="0"/>
              </a:spcBef>
              <a:spcAft>
                <a:spcPts val="0"/>
              </a:spcAft>
              <a:buClrTx/>
              <a:buSzTx/>
              <a:buFont typeface="Franklin Gothic Book" panose="020B0503020102020204" pitchFamily="34" charset="0"/>
              <a:buNone/>
              <a:tabLst/>
              <a:defRPr/>
            </a:pPr>
            <a:endParaRPr kumimoji="0" lang="en-US" sz="2300" b="0" i="0" u="none" strike="noStrike" kern="1200" cap="none" spc="0" normalizeH="0" baseline="0" noProof="0" dirty="0">
              <a:ln>
                <a:noFill/>
              </a:ln>
              <a:solidFill>
                <a:srgbClr val="191B0E"/>
              </a:solidFill>
              <a:effectLst/>
              <a:uLnTx/>
              <a:uFillTx/>
              <a:latin typeface="Franklin Gothic Book" panose="020B0503020102020204"/>
              <a:ea typeface="+mn-ea"/>
              <a:cs typeface="+mn-cs"/>
            </a:endParaRPr>
          </a:p>
          <a:p>
            <a:pPr marL="0" marR="0" lvl="0" indent="0" algn="ctr" defTabSz="914400" rtl="0" eaLnBrk="1" fontAlgn="auto" latinLnBrk="0" hangingPunct="1">
              <a:lnSpc>
                <a:spcPct val="112000"/>
              </a:lnSpc>
              <a:spcBef>
                <a:spcPts val="0"/>
              </a:spcBef>
              <a:spcAft>
                <a:spcPts val="0"/>
              </a:spcAft>
              <a:buClrTx/>
              <a:buSzTx/>
              <a:buFont typeface="Franklin Gothic Book" panose="020B0503020102020204" pitchFamily="34" charset="0"/>
              <a:buNone/>
              <a:tabLst/>
              <a:defRPr/>
            </a:pPr>
            <a:endParaRPr kumimoji="0" lang="en-US" sz="2300" b="0" i="0" u="none" strike="noStrike" kern="1200" cap="none" spc="0" normalizeH="0" baseline="0" noProof="0" dirty="0">
              <a:ln>
                <a:noFill/>
              </a:ln>
              <a:solidFill>
                <a:srgbClr val="191B0E"/>
              </a:solidFill>
              <a:effectLst/>
              <a:uLnTx/>
              <a:uFillTx/>
              <a:latin typeface="Franklin Gothic Book" panose="020B0503020102020204"/>
              <a:ea typeface="+mn-ea"/>
              <a:cs typeface="+mn-cs"/>
            </a:endParaRPr>
          </a:p>
          <a:p>
            <a:pPr marL="0" marR="0" lvl="0" indent="0" algn="ctr" defTabSz="914400" rtl="0" eaLnBrk="1" fontAlgn="auto" latinLnBrk="0" hangingPunct="1">
              <a:lnSpc>
                <a:spcPct val="112000"/>
              </a:lnSpc>
              <a:spcBef>
                <a:spcPts val="0"/>
              </a:spcBef>
              <a:spcAft>
                <a:spcPts val="0"/>
              </a:spcAft>
              <a:buClrTx/>
              <a:buSzTx/>
              <a:buFont typeface="Franklin Gothic Book" panose="020B0503020102020204" pitchFamily="34" charset="0"/>
              <a:buNone/>
              <a:tabLst/>
              <a:defRPr/>
            </a:pPr>
            <a:br>
              <a:rPr kumimoji="0" lang="en-US" sz="2300" b="0" i="0" u="none" strike="noStrike" kern="1200" cap="none" spc="0" normalizeH="0" baseline="0" noProof="0" dirty="0">
                <a:ln>
                  <a:noFill/>
                </a:ln>
                <a:solidFill>
                  <a:srgbClr val="191B0E"/>
                </a:solidFill>
                <a:effectLst/>
                <a:uLnTx/>
                <a:uFillTx/>
                <a:latin typeface="Franklin Gothic Book" panose="020B0503020102020204"/>
                <a:ea typeface="+mn-ea"/>
                <a:cs typeface="+mn-cs"/>
              </a:rPr>
            </a:br>
            <a:fld id="{073F594B-ACBD-4BF3-9696-3F583688961E}" type="datetime4">
              <a:rPr kumimoji="0" lang="en-US" sz="2300" b="0" i="0" u="none" strike="noStrike" kern="1200" cap="none" spc="0" normalizeH="0" baseline="0" noProof="0" smtClean="0">
                <a:ln>
                  <a:noFill/>
                </a:ln>
                <a:solidFill>
                  <a:srgbClr val="191B0E"/>
                </a:solidFill>
                <a:effectLst/>
                <a:uLnTx/>
                <a:uFillTx/>
                <a:latin typeface="Franklin Gothic Book" panose="020B0503020102020204"/>
                <a:ea typeface="+mn-ea"/>
                <a:cs typeface="+mn-cs"/>
              </a:rPr>
              <a:pPr marL="0" marR="0" lvl="0" indent="0" algn="ctr" defTabSz="914400" rtl="0" eaLnBrk="1" fontAlgn="auto" latinLnBrk="0" hangingPunct="1">
                <a:lnSpc>
                  <a:spcPct val="112000"/>
                </a:lnSpc>
                <a:spcBef>
                  <a:spcPts val="0"/>
                </a:spcBef>
                <a:spcAft>
                  <a:spcPts val="0"/>
                </a:spcAft>
                <a:buClrTx/>
                <a:buSzTx/>
                <a:buFont typeface="Franklin Gothic Book" panose="020B0503020102020204" pitchFamily="34" charset="0"/>
                <a:buNone/>
                <a:tabLst/>
                <a:defRPr/>
              </a:pPr>
              <a:t>March 7, 2024</a:t>
            </a:fld>
            <a:endParaRPr kumimoji="0" lang="en-SG" sz="2300" b="0" i="0" u="none" strike="noStrike" kern="1200" cap="none" spc="0" normalizeH="0" baseline="0" noProof="0" dirty="0">
              <a:ln>
                <a:noFill/>
              </a:ln>
              <a:solidFill>
                <a:srgbClr val="191B0E"/>
              </a:solidFill>
              <a:effectLst/>
              <a:uLnTx/>
              <a:uFillTx/>
              <a:latin typeface="Franklin Gothic Book" panose="020B0503020102020204"/>
              <a:ea typeface="+mn-ea"/>
              <a:cs typeface="+mn-cs"/>
            </a:endParaRPr>
          </a:p>
        </p:txBody>
      </p:sp>
      <p:pic>
        <p:nvPicPr>
          <p:cNvPr id="6" name="Picture 5" descr="https://www.aisingapore.org/wp-content/uploads/2021/01/AISGR-Horizontal-Logo-CMYK-Full-Colour_small.png"/>
          <p:cNvPicPr/>
          <p:nvPr/>
        </p:nvPicPr>
        <p:blipFill>
          <a:blip r:embed="rId3">
            <a:extLst>
              <a:ext uri="{28A0092B-C50C-407E-A947-70E740481C1C}">
                <a14:useLocalDpi xmlns:a14="http://schemas.microsoft.com/office/drawing/2010/main" val="0"/>
              </a:ext>
            </a:extLst>
          </a:blip>
          <a:srcRect/>
          <a:stretch>
            <a:fillRect/>
          </a:stretch>
        </p:blipFill>
        <p:spPr bwMode="auto">
          <a:xfrm>
            <a:off x="7464718" y="4568256"/>
            <a:ext cx="2009775" cy="409575"/>
          </a:xfrm>
          <a:prstGeom prst="rect">
            <a:avLst/>
          </a:prstGeom>
          <a:noFill/>
          <a:ln>
            <a:noFill/>
          </a:ln>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b="-1931"/>
          <a:stretch/>
        </p:blipFill>
        <p:spPr>
          <a:xfrm>
            <a:off x="5788488" y="4568257"/>
            <a:ext cx="919308" cy="409575"/>
          </a:xfrm>
          <a:prstGeom prst="rect">
            <a:avLst/>
          </a:prstGeom>
        </p:spPr>
      </p:pic>
      <p:pic>
        <p:nvPicPr>
          <p:cNvPr id="1026" name="Picture 2">
            <a:extLst>
              <a:ext uri="{FF2B5EF4-FFF2-40B4-BE49-F238E27FC236}">
                <a16:creationId xmlns:a16="http://schemas.microsoft.com/office/drawing/2014/main" id="{A4768C28-AE31-E418-D029-89D59B3F4A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71079" y="808088"/>
            <a:ext cx="1049325" cy="1049325"/>
          </a:xfrm>
          <a:prstGeom prst="rect">
            <a:avLst/>
          </a:prstGeom>
          <a:noFill/>
          <a:extLst>
            <a:ext uri="{909E8E84-426E-40DD-AFC4-6F175D3DCCD1}">
              <a14:hiddenFill xmlns:a14="http://schemas.microsoft.com/office/drawing/2010/main">
                <a:solidFill>
                  <a:srgbClr val="FFFFFF"/>
                </a:solidFill>
              </a14:hiddenFill>
            </a:ext>
          </a:extLst>
        </p:spPr>
      </p:pic>
      <p:pic>
        <p:nvPicPr>
          <p:cNvPr id="3" name="image1.png">
            <a:extLst>
              <a:ext uri="{FF2B5EF4-FFF2-40B4-BE49-F238E27FC236}">
                <a16:creationId xmlns:a16="http://schemas.microsoft.com/office/drawing/2014/main" id="{575DD2E4-E372-C87D-04C6-020D861B0449}"/>
              </a:ext>
            </a:extLst>
          </p:cNvPr>
          <p:cNvPicPr/>
          <p:nvPr/>
        </p:nvPicPr>
        <p:blipFill>
          <a:blip r:embed="rId6"/>
          <a:srcRect/>
          <a:stretch>
            <a:fillRect/>
          </a:stretch>
        </p:blipFill>
        <p:spPr>
          <a:xfrm>
            <a:off x="3312609" y="4464805"/>
            <a:ext cx="1414674" cy="616475"/>
          </a:xfrm>
          <a:prstGeom prst="rect">
            <a:avLst/>
          </a:prstGeom>
          <a:ln/>
          <a:effectLst>
            <a:softEdge rad="63500"/>
          </a:effectLst>
        </p:spPr>
      </p:pic>
    </p:spTree>
    <p:extLst>
      <p:ext uri="{BB962C8B-B14F-4D97-AF65-F5344CB8AC3E}">
        <p14:creationId xmlns:p14="http://schemas.microsoft.com/office/powerpoint/2010/main" val="21600228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FB440-8807-108C-203F-05302C9ABC30}"/>
              </a:ext>
            </a:extLst>
          </p:cNvPr>
          <p:cNvSpPr>
            <a:spLocks noGrp="1"/>
          </p:cNvSpPr>
          <p:nvPr>
            <p:ph type="title"/>
          </p:nvPr>
        </p:nvSpPr>
        <p:spPr/>
        <p:txBody>
          <a:bodyPr/>
          <a:lstStyle/>
          <a:p>
            <a:endParaRPr lang="en-SG"/>
          </a:p>
        </p:txBody>
      </p:sp>
      <p:sp>
        <p:nvSpPr>
          <p:cNvPr id="3" name="Content Placeholder 2">
            <a:extLst>
              <a:ext uri="{FF2B5EF4-FFF2-40B4-BE49-F238E27FC236}">
                <a16:creationId xmlns:a16="http://schemas.microsoft.com/office/drawing/2014/main" id="{C582B286-D033-A6EA-2F48-1F0E1CA45870}"/>
              </a:ext>
            </a:extLst>
          </p:cNvPr>
          <p:cNvSpPr>
            <a:spLocks noGrp="1"/>
          </p:cNvSpPr>
          <p:nvPr>
            <p:ph idx="1"/>
          </p:nvPr>
        </p:nvSpPr>
        <p:spPr/>
        <p:txBody>
          <a:bodyPr/>
          <a:lstStyle/>
          <a:p>
            <a:endParaRPr lang="en-SG"/>
          </a:p>
        </p:txBody>
      </p:sp>
      <p:pic>
        <p:nvPicPr>
          <p:cNvPr id="2050" name="Picture 2" descr="Image">
            <a:extLst>
              <a:ext uri="{FF2B5EF4-FFF2-40B4-BE49-F238E27FC236}">
                <a16:creationId xmlns:a16="http://schemas.microsoft.com/office/drawing/2014/main" id="{28572137-15A3-A13F-B89F-E18702E02B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7000" y="0"/>
            <a:ext cx="6858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07579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53821-8F60-4802-BC06-E2160ADADC15}"/>
              </a:ext>
            </a:extLst>
          </p:cNvPr>
          <p:cNvSpPr>
            <a:spLocks noGrp="1"/>
          </p:cNvSpPr>
          <p:nvPr>
            <p:ph type="title"/>
          </p:nvPr>
        </p:nvSpPr>
        <p:spPr/>
        <p:txBody>
          <a:bodyPr/>
          <a:lstStyle/>
          <a:p>
            <a:endParaRPr lang="en-SG"/>
          </a:p>
        </p:txBody>
      </p:sp>
      <p:sp>
        <p:nvSpPr>
          <p:cNvPr id="3" name="Content Placeholder 2">
            <a:extLst>
              <a:ext uri="{FF2B5EF4-FFF2-40B4-BE49-F238E27FC236}">
                <a16:creationId xmlns:a16="http://schemas.microsoft.com/office/drawing/2014/main" id="{E57D5239-91CF-4725-B829-6FEC7F358DF2}"/>
              </a:ext>
            </a:extLst>
          </p:cNvPr>
          <p:cNvSpPr>
            <a:spLocks noGrp="1"/>
          </p:cNvSpPr>
          <p:nvPr>
            <p:ph idx="1"/>
          </p:nvPr>
        </p:nvSpPr>
        <p:spPr/>
        <p:txBody>
          <a:bodyPr/>
          <a:lstStyle/>
          <a:p>
            <a:endParaRPr lang="en-SG"/>
          </a:p>
        </p:txBody>
      </p:sp>
      <p:pic>
        <p:nvPicPr>
          <p:cNvPr id="5" name="Picture 4">
            <a:extLst>
              <a:ext uri="{FF2B5EF4-FFF2-40B4-BE49-F238E27FC236}">
                <a16:creationId xmlns:a16="http://schemas.microsoft.com/office/drawing/2014/main" id="{AAE22EA5-CA69-4EF9-88A2-3410ADF74956}"/>
              </a:ext>
            </a:extLst>
          </p:cNvPr>
          <p:cNvPicPr>
            <a:picLocks noChangeAspect="1"/>
          </p:cNvPicPr>
          <p:nvPr/>
        </p:nvPicPr>
        <p:blipFill>
          <a:blip r:embed="rId2"/>
          <a:stretch>
            <a:fillRect/>
          </a:stretch>
        </p:blipFill>
        <p:spPr>
          <a:xfrm>
            <a:off x="2472690" y="0"/>
            <a:ext cx="7246620" cy="6955758"/>
          </a:xfrm>
          <a:prstGeom prst="rect">
            <a:avLst/>
          </a:prstGeom>
        </p:spPr>
      </p:pic>
    </p:spTree>
    <p:extLst>
      <p:ext uri="{BB962C8B-B14F-4D97-AF65-F5344CB8AC3E}">
        <p14:creationId xmlns:p14="http://schemas.microsoft.com/office/powerpoint/2010/main" val="19080431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7849B0-EAA2-28AE-32B3-852484B6DE9B}"/>
              </a:ext>
            </a:extLst>
          </p:cNvPr>
          <p:cNvSpPr>
            <a:spLocks noGrp="1"/>
          </p:cNvSpPr>
          <p:nvPr>
            <p:ph type="title"/>
          </p:nvPr>
        </p:nvSpPr>
        <p:spPr/>
        <p:txBody>
          <a:bodyPr/>
          <a:lstStyle/>
          <a:p>
            <a:endParaRPr lang="en-SG"/>
          </a:p>
        </p:txBody>
      </p:sp>
      <p:sp>
        <p:nvSpPr>
          <p:cNvPr id="3" name="Content Placeholder 2">
            <a:extLst>
              <a:ext uri="{FF2B5EF4-FFF2-40B4-BE49-F238E27FC236}">
                <a16:creationId xmlns:a16="http://schemas.microsoft.com/office/drawing/2014/main" id="{046E99BD-A593-545C-883F-572E38ADE6A4}"/>
              </a:ext>
            </a:extLst>
          </p:cNvPr>
          <p:cNvSpPr>
            <a:spLocks noGrp="1"/>
          </p:cNvSpPr>
          <p:nvPr>
            <p:ph idx="1"/>
          </p:nvPr>
        </p:nvSpPr>
        <p:spPr/>
        <p:txBody>
          <a:bodyPr/>
          <a:lstStyle/>
          <a:p>
            <a:endParaRPr lang="en-SG"/>
          </a:p>
        </p:txBody>
      </p:sp>
      <p:pic>
        <p:nvPicPr>
          <p:cNvPr id="4" name="Picture 2" descr="https://miro.medium.com/v2/resize:fit:875/0*7o1nPtr260CgeJ-Z">
            <a:extLst>
              <a:ext uri="{FF2B5EF4-FFF2-40B4-BE49-F238E27FC236}">
                <a16:creationId xmlns:a16="http://schemas.microsoft.com/office/drawing/2014/main" id="{13AE48E0-C633-11CC-5300-21A5C65D691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0429" y="0"/>
            <a:ext cx="10290464" cy="685638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30B01F35-79E7-822A-4B35-004874069E2A}"/>
              </a:ext>
            </a:extLst>
          </p:cNvPr>
          <p:cNvSpPr txBox="1"/>
          <p:nvPr/>
        </p:nvSpPr>
        <p:spPr>
          <a:xfrm rot="16200000">
            <a:off x="8660637" y="3549134"/>
            <a:ext cx="6096000"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SG" sz="1800" b="0" i="0" u="none" strike="noStrike" kern="1200" cap="none" spc="0" normalizeH="0" baseline="0" noProof="0" dirty="0">
                <a:ln>
                  <a:noFill/>
                </a:ln>
                <a:solidFill>
                  <a:prstClr val="black"/>
                </a:solidFill>
                <a:effectLst/>
                <a:uLnTx/>
                <a:uFillTx/>
                <a:latin typeface="Franklin Gothic Book" panose="020B0503020102020204"/>
                <a:ea typeface="+mn-ea"/>
                <a:cs typeface="+mn-cs"/>
              </a:rPr>
              <a:t>AI generated content posted to r/</a:t>
            </a:r>
            <a:r>
              <a:rPr kumimoji="0" lang="en-SG" sz="1800" b="0" i="0" u="none" strike="noStrike" kern="1200" cap="none" spc="0" normalizeH="0" baseline="0" noProof="0" dirty="0" err="1">
                <a:ln>
                  <a:noFill/>
                </a:ln>
                <a:solidFill>
                  <a:prstClr val="black"/>
                </a:solidFill>
                <a:effectLst/>
                <a:uLnTx/>
                <a:uFillTx/>
                <a:latin typeface="Franklin Gothic Book" panose="020B0503020102020204"/>
                <a:ea typeface="+mn-ea"/>
                <a:cs typeface="+mn-cs"/>
              </a:rPr>
              <a:t>midjourney</a:t>
            </a:r>
            <a:endParaRPr kumimoji="0" lang="en-SG" sz="18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8707714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5126A-6949-D0AD-F895-286D9556C19B}"/>
              </a:ext>
            </a:extLst>
          </p:cNvPr>
          <p:cNvSpPr>
            <a:spLocks noGrp="1"/>
          </p:cNvSpPr>
          <p:nvPr>
            <p:ph type="title"/>
          </p:nvPr>
        </p:nvSpPr>
        <p:spPr/>
        <p:txBody>
          <a:bodyPr/>
          <a:lstStyle/>
          <a:p>
            <a:endParaRPr lang="en-SG"/>
          </a:p>
        </p:txBody>
      </p:sp>
      <p:sp>
        <p:nvSpPr>
          <p:cNvPr id="3" name="Content Placeholder 2">
            <a:extLst>
              <a:ext uri="{FF2B5EF4-FFF2-40B4-BE49-F238E27FC236}">
                <a16:creationId xmlns:a16="http://schemas.microsoft.com/office/drawing/2014/main" id="{8EF8E1AB-1C66-EB55-4CF3-FF4E5E793319}"/>
              </a:ext>
            </a:extLst>
          </p:cNvPr>
          <p:cNvSpPr>
            <a:spLocks noGrp="1"/>
          </p:cNvSpPr>
          <p:nvPr>
            <p:ph idx="1"/>
          </p:nvPr>
        </p:nvSpPr>
        <p:spPr/>
        <p:txBody>
          <a:bodyPr/>
          <a:lstStyle/>
          <a:p>
            <a:endParaRPr lang="en-SG"/>
          </a:p>
        </p:txBody>
      </p:sp>
      <p:pic>
        <p:nvPicPr>
          <p:cNvPr id="4" name="Picture 8" descr="https://miro.medium.com/v2/resize:fit:875/0*-7UcnMV-J5mQ7Cns">
            <a:extLst>
              <a:ext uri="{FF2B5EF4-FFF2-40B4-BE49-F238E27FC236}">
                <a16:creationId xmlns:a16="http://schemas.microsoft.com/office/drawing/2014/main" id="{9850E246-88F1-1DB9-FB3C-2CAA9C254E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1675" y="0"/>
            <a:ext cx="10292882"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21C2226-B1BB-8085-0D4A-D1EB1C6475B2}"/>
              </a:ext>
            </a:extLst>
          </p:cNvPr>
          <p:cNvSpPr txBox="1"/>
          <p:nvPr/>
        </p:nvSpPr>
        <p:spPr>
          <a:xfrm rot="16200000">
            <a:off x="8660637" y="3549134"/>
            <a:ext cx="6096000"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SG" sz="1800" b="0" i="0" u="none" strike="noStrike" kern="1200" cap="none" spc="0" normalizeH="0" baseline="0" noProof="0" dirty="0">
                <a:ln>
                  <a:noFill/>
                </a:ln>
                <a:solidFill>
                  <a:prstClr val="black"/>
                </a:solidFill>
                <a:effectLst/>
                <a:uLnTx/>
                <a:uFillTx/>
                <a:latin typeface="Franklin Gothic Book" panose="020B0503020102020204"/>
                <a:ea typeface="+mn-ea"/>
                <a:cs typeface="+mn-cs"/>
              </a:rPr>
              <a:t>AI generated content posted to r/</a:t>
            </a:r>
            <a:r>
              <a:rPr kumimoji="0" lang="en-SG" sz="1800" b="0" i="0" u="none" strike="noStrike" kern="1200" cap="none" spc="0" normalizeH="0" baseline="0" noProof="0" dirty="0" err="1">
                <a:ln>
                  <a:noFill/>
                </a:ln>
                <a:solidFill>
                  <a:prstClr val="black"/>
                </a:solidFill>
                <a:effectLst/>
                <a:uLnTx/>
                <a:uFillTx/>
                <a:latin typeface="Franklin Gothic Book" panose="020B0503020102020204"/>
                <a:ea typeface="+mn-ea"/>
                <a:cs typeface="+mn-cs"/>
              </a:rPr>
              <a:t>midjourney</a:t>
            </a:r>
            <a:endParaRPr kumimoji="0" lang="en-SG" sz="18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4376996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5AF51-6BED-CB0C-1216-6083FFD98C91}"/>
              </a:ext>
            </a:extLst>
          </p:cNvPr>
          <p:cNvSpPr>
            <a:spLocks noGrp="1"/>
          </p:cNvSpPr>
          <p:nvPr>
            <p:ph type="title"/>
          </p:nvPr>
        </p:nvSpPr>
        <p:spPr/>
        <p:txBody>
          <a:bodyPr/>
          <a:lstStyle/>
          <a:p>
            <a:endParaRPr lang="en-SG"/>
          </a:p>
        </p:txBody>
      </p:sp>
      <p:sp>
        <p:nvSpPr>
          <p:cNvPr id="3" name="Content Placeholder 2">
            <a:extLst>
              <a:ext uri="{FF2B5EF4-FFF2-40B4-BE49-F238E27FC236}">
                <a16:creationId xmlns:a16="http://schemas.microsoft.com/office/drawing/2014/main" id="{38CD9950-0112-C246-5F97-CE111B035B1B}"/>
              </a:ext>
            </a:extLst>
          </p:cNvPr>
          <p:cNvSpPr>
            <a:spLocks noGrp="1"/>
          </p:cNvSpPr>
          <p:nvPr>
            <p:ph idx="1"/>
          </p:nvPr>
        </p:nvSpPr>
        <p:spPr/>
        <p:txBody>
          <a:bodyPr/>
          <a:lstStyle/>
          <a:p>
            <a:endParaRPr lang="en-SG"/>
          </a:p>
        </p:txBody>
      </p:sp>
      <p:pic>
        <p:nvPicPr>
          <p:cNvPr id="4" name="Picture 4" descr="https://miro.medium.com/v2/resize:fit:875/0*8mUAT2XijnIaIb5S">
            <a:extLst>
              <a:ext uri="{FF2B5EF4-FFF2-40B4-BE49-F238E27FC236}">
                <a16:creationId xmlns:a16="http://schemas.microsoft.com/office/drawing/2014/main" id="{618C3A09-F403-CB68-D6B9-7C6D100463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2221" y="-21041"/>
            <a:ext cx="10309544" cy="686910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80320EF-941F-6B4F-BBD9-EB1A3999F04B}"/>
              </a:ext>
            </a:extLst>
          </p:cNvPr>
          <p:cNvSpPr txBox="1"/>
          <p:nvPr/>
        </p:nvSpPr>
        <p:spPr>
          <a:xfrm rot="16200000">
            <a:off x="8660637" y="3549134"/>
            <a:ext cx="6096000"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SG" sz="1800" b="0" i="0" u="none" strike="noStrike" kern="1200" cap="none" spc="0" normalizeH="0" baseline="0" noProof="0" dirty="0">
                <a:ln>
                  <a:noFill/>
                </a:ln>
                <a:solidFill>
                  <a:prstClr val="black"/>
                </a:solidFill>
                <a:effectLst/>
                <a:uLnTx/>
                <a:uFillTx/>
                <a:latin typeface="Franklin Gothic Book" panose="020B0503020102020204"/>
                <a:ea typeface="+mn-ea"/>
                <a:cs typeface="+mn-cs"/>
              </a:rPr>
              <a:t>AI generated content posted to r/</a:t>
            </a:r>
            <a:r>
              <a:rPr kumimoji="0" lang="en-SG" sz="1800" b="0" i="0" u="none" strike="noStrike" kern="1200" cap="none" spc="0" normalizeH="0" baseline="0" noProof="0" dirty="0" err="1">
                <a:ln>
                  <a:noFill/>
                </a:ln>
                <a:solidFill>
                  <a:prstClr val="black"/>
                </a:solidFill>
                <a:effectLst/>
                <a:uLnTx/>
                <a:uFillTx/>
                <a:latin typeface="Franklin Gothic Book" panose="020B0503020102020204"/>
                <a:ea typeface="+mn-ea"/>
                <a:cs typeface="+mn-cs"/>
              </a:rPr>
              <a:t>midjourney</a:t>
            </a:r>
            <a:endParaRPr kumimoji="0" lang="en-SG" sz="18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2173196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Ellen DeGeneres Oscars selfie">
            <a:extLst>
              <a:ext uri="{FF2B5EF4-FFF2-40B4-BE49-F238E27FC236}">
                <a16:creationId xmlns:a16="http://schemas.microsoft.com/office/drawing/2014/main" id="{D674DC3A-FEB0-7E35-32ED-5AD943C9AB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477A9DB9-F06A-AE2F-508C-FB5BD3BB5597}"/>
              </a:ext>
            </a:extLst>
          </p:cNvPr>
          <p:cNvSpPr txBox="1"/>
          <p:nvPr/>
        </p:nvSpPr>
        <p:spPr>
          <a:xfrm>
            <a:off x="3190672" y="6385677"/>
            <a:ext cx="3268493" cy="5232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SG" sz="1400" b="0" i="0" u="none" strike="noStrike" kern="1200" cap="none" spc="0" normalizeH="0" baseline="0" noProof="0" dirty="0">
                <a:ln>
                  <a:noFill/>
                </a:ln>
                <a:solidFill>
                  <a:prstClr val="black"/>
                </a:solidFill>
                <a:effectLst/>
                <a:uLnTx/>
                <a:uFillTx/>
                <a:latin typeface="Franklin Gothic Book" panose="020B0503020102020204"/>
                <a:ea typeface="+mn-ea"/>
                <a:cs typeface="+mn-cs"/>
              </a:rPr>
              <a:t>Ellen DeGeneres' Oscars selfie. Photograph: Reuters</a:t>
            </a:r>
          </a:p>
        </p:txBody>
      </p:sp>
      <p:pic>
        <p:nvPicPr>
          <p:cNvPr id="3" name="Picture 2">
            <a:extLst>
              <a:ext uri="{FF2B5EF4-FFF2-40B4-BE49-F238E27FC236}">
                <a16:creationId xmlns:a16="http://schemas.microsoft.com/office/drawing/2014/main" id="{BF69EF9D-CD8D-D94C-5C58-0758348F7B23}"/>
              </a:ext>
            </a:extLst>
          </p:cNvPr>
          <p:cNvPicPr>
            <a:picLocks noChangeAspect="1"/>
          </p:cNvPicPr>
          <p:nvPr/>
        </p:nvPicPr>
        <p:blipFill>
          <a:blip r:embed="rId3"/>
          <a:stretch>
            <a:fillRect/>
          </a:stretch>
        </p:blipFill>
        <p:spPr>
          <a:xfrm rot="437229">
            <a:off x="6041822" y="169300"/>
            <a:ext cx="1394937" cy="1878331"/>
          </a:xfrm>
          <a:prstGeom prst="rect">
            <a:avLst/>
          </a:prstGeom>
          <a:effectLst>
            <a:softEdge rad="127000"/>
          </a:effectLst>
        </p:spPr>
      </p:pic>
    </p:spTree>
    <p:extLst>
      <p:ext uri="{BB962C8B-B14F-4D97-AF65-F5344CB8AC3E}">
        <p14:creationId xmlns:p14="http://schemas.microsoft.com/office/powerpoint/2010/main" val="3730933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696686" y="-919117"/>
            <a:ext cx="10668000" cy="8445500"/>
          </a:xfrm>
          <a:prstGeom prst="rect">
            <a:avLst/>
          </a:prstGeom>
        </p:spPr>
      </p:pic>
      <p:sp>
        <p:nvSpPr>
          <p:cNvPr id="2" name="TextBox 1"/>
          <p:cNvSpPr txBox="1"/>
          <p:nvPr/>
        </p:nvSpPr>
        <p:spPr>
          <a:xfrm rot="16200000">
            <a:off x="10293427" y="4952469"/>
            <a:ext cx="312692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a:ea typeface="+mn-ea"/>
                <a:cs typeface="+mn-cs"/>
              </a:rPr>
              <a:t>Photo: Margaret Minsky</a:t>
            </a:r>
          </a:p>
        </p:txBody>
      </p:sp>
    </p:spTree>
    <p:extLst>
      <p:ext uri="{BB962C8B-B14F-4D97-AF65-F5344CB8AC3E}">
        <p14:creationId xmlns:p14="http://schemas.microsoft.com/office/powerpoint/2010/main" val="30588921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llenges</a:t>
            </a:r>
          </a:p>
        </p:txBody>
      </p:sp>
      <p:sp>
        <p:nvSpPr>
          <p:cNvPr id="3" name="Content Placeholder 2"/>
          <p:cNvSpPr>
            <a:spLocks noGrp="1"/>
          </p:cNvSpPr>
          <p:nvPr>
            <p:ph idx="1"/>
          </p:nvPr>
        </p:nvSpPr>
        <p:spPr/>
        <p:txBody>
          <a:bodyPr>
            <a:normAutofit/>
          </a:bodyPr>
          <a:lstStyle/>
          <a:p>
            <a:r>
              <a:rPr lang="en-US" sz="3600" dirty="0"/>
              <a:t>Speed</a:t>
            </a:r>
          </a:p>
          <a:p>
            <a:r>
              <a:rPr lang="en-US" sz="3600" dirty="0"/>
              <a:t>Autonomy</a:t>
            </a:r>
          </a:p>
          <a:p>
            <a:r>
              <a:rPr lang="en-US" sz="3600" dirty="0"/>
              <a:t>Opacity</a:t>
            </a:r>
          </a:p>
        </p:txBody>
      </p:sp>
      <p:pic>
        <p:nvPicPr>
          <p:cNvPr id="6" name="Picture 2" descr="https://sc.cnbcfm.com/applications/cnbc.com/resources/files/2015/04/21/flash.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873413" y="0"/>
            <a:ext cx="3318587" cy="191150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732A5A60-9416-EC31-5C35-4A5A9321ECDC}"/>
              </a:ext>
            </a:extLst>
          </p:cNvPr>
          <p:cNvPicPr>
            <a:picLocks noChangeAspect="1"/>
          </p:cNvPicPr>
          <p:nvPr/>
        </p:nvPicPr>
        <p:blipFill rotWithShape="1">
          <a:blip r:embed="rId3"/>
          <a:srcRect l="23893" t="11887" r="10208" b="16779"/>
          <a:stretch/>
        </p:blipFill>
        <p:spPr>
          <a:xfrm>
            <a:off x="8873412" y="1911506"/>
            <a:ext cx="3318587" cy="2475237"/>
          </a:xfrm>
          <a:prstGeom prst="rect">
            <a:avLst/>
          </a:prstGeom>
        </p:spPr>
      </p:pic>
      <p:pic>
        <p:nvPicPr>
          <p:cNvPr id="8" name="Content Placeholder 3">
            <a:extLst>
              <a:ext uri="{FF2B5EF4-FFF2-40B4-BE49-F238E27FC236}">
                <a16:creationId xmlns:a16="http://schemas.microsoft.com/office/drawing/2014/main" id="{145459AF-0143-7F7C-1647-2DC5A002DB7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35887" y="4451565"/>
            <a:ext cx="2297663" cy="2297663"/>
          </a:xfrm>
          <a:prstGeom prst="rect">
            <a:avLst/>
          </a:prstGeom>
        </p:spPr>
      </p:pic>
    </p:spTree>
    <p:extLst>
      <p:ext uri="{BB962C8B-B14F-4D97-AF65-F5344CB8AC3E}">
        <p14:creationId xmlns:p14="http://schemas.microsoft.com/office/powerpoint/2010/main" val="1326109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Why </a:t>
            </a:r>
            <a:r>
              <a:rPr lang="en-US" dirty="0"/>
              <a:t>(Not) Regulate?</a:t>
            </a:r>
            <a:endParaRPr lang="en-SG" dirty="0"/>
          </a:p>
        </p:txBody>
      </p:sp>
      <p:sp>
        <p:nvSpPr>
          <p:cNvPr id="3" name="Content Placeholder 2"/>
          <p:cNvSpPr>
            <a:spLocks noGrp="1"/>
          </p:cNvSpPr>
          <p:nvPr>
            <p:ph idx="1"/>
          </p:nvPr>
        </p:nvSpPr>
        <p:spPr/>
        <p:txBody>
          <a:bodyPr>
            <a:noAutofit/>
          </a:bodyPr>
          <a:lstStyle/>
          <a:p>
            <a:r>
              <a:rPr lang="en-US" sz="3600" dirty="0"/>
              <a:t>Address market failures</a:t>
            </a:r>
          </a:p>
          <a:p>
            <a:r>
              <a:rPr lang="en-US" sz="3600" dirty="0"/>
              <a:t>In support of social or other policies</a:t>
            </a:r>
          </a:p>
          <a:p>
            <a:pPr marL="0" indent="0">
              <a:buNone/>
            </a:pPr>
            <a:r>
              <a:rPr lang="en-US" sz="3600" dirty="0"/>
              <a:t>But…</a:t>
            </a:r>
          </a:p>
          <a:p>
            <a:r>
              <a:rPr lang="en-US" sz="3600" dirty="0"/>
              <a:t>Constrain innovation</a:t>
            </a:r>
          </a:p>
          <a:p>
            <a:r>
              <a:rPr lang="en-US" sz="3600" dirty="0"/>
              <a:t>Lose competitive advantage</a:t>
            </a:r>
          </a:p>
          <a:p>
            <a:r>
              <a:rPr lang="en-US" sz="3600" dirty="0"/>
              <a:t>US vs Europe vs China</a:t>
            </a:r>
            <a:endParaRPr lang="en-SG" sz="3600" dirty="0"/>
          </a:p>
        </p:txBody>
      </p:sp>
    </p:spTree>
    <p:extLst>
      <p:ext uri="{BB962C8B-B14F-4D97-AF65-F5344CB8AC3E}">
        <p14:creationId xmlns:p14="http://schemas.microsoft.com/office/powerpoint/2010/main" val="14110000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Rectangle 100">
            <a:extLst>
              <a:ext uri="{FF2B5EF4-FFF2-40B4-BE49-F238E27FC236}">
                <a16:creationId xmlns:a16="http://schemas.microsoft.com/office/drawing/2014/main" id="{F342FF80-C3CE-4AE5-DCC7-74933808D5BE}"/>
              </a:ext>
            </a:extLst>
          </p:cNvPr>
          <p:cNvSpPr/>
          <p:nvPr>
            <p:custDataLst>
              <p:tags r:id="rId2"/>
            </p:custDataLst>
          </p:nvPr>
        </p:nvSpPr>
        <p:spPr bwMode="gray">
          <a:xfrm>
            <a:off x="-1" y="1264726"/>
            <a:ext cx="12192000" cy="1921933"/>
          </a:xfrm>
          <a:prstGeom prst="rect">
            <a:avLst/>
          </a:prstGeom>
          <a:solidFill>
            <a:srgbClr val="00000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rgbClr val="FFFFFF"/>
              </a:solidFill>
            </a:endParaRPr>
          </a:p>
        </p:txBody>
      </p:sp>
      <p:grpSp>
        <p:nvGrpSpPr>
          <p:cNvPr id="100" name="Group 99">
            <a:extLst>
              <a:ext uri="{FF2B5EF4-FFF2-40B4-BE49-F238E27FC236}">
                <a16:creationId xmlns:a16="http://schemas.microsoft.com/office/drawing/2014/main" id="{EC13C4DF-2DE5-4732-26EC-451828BDFF7A}"/>
              </a:ext>
            </a:extLst>
          </p:cNvPr>
          <p:cNvGrpSpPr/>
          <p:nvPr>
            <p:custDataLst>
              <p:tags r:id="rId3"/>
            </p:custDataLst>
          </p:nvPr>
        </p:nvGrpSpPr>
        <p:grpSpPr>
          <a:xfrm>
            <a:off x="330200" y="1264726"/>
            <a:ext cx="11531601" cy="1921933"/>
            <a:chOff x="330200" y="1264726"/>
            <a:chExt cx="11531601" cy="1921933"/>
          </a:xfrm>
        </p:grpSpPr>
        <p:pic>
          <p:nvPicPr>
            <p:cNvPr id="5128" name="Picture 5127" descr="A group of people sitting around a table with electronic devices&#10;&#10;Description automatically generated">
              <a:extLst>
                <a:ext uri="{FF2B5EF4-FFF2-40B4-BE49-F238E27FC236}">
                  <a16:creationId xmlns:a16="http://schemas.microsoft.com/office/drawing/2014/main" id="{5FAC792D-92B8-7B91-50B6-D0D456D7F5B6}"/>
                </a:ext>
              </a:extLst>
            </p:cNvPr>
            <p:cNvPicPr>
              <a:picLocks noChangeAspect="1"/>
            </p:cNvPicPr>
            <p:nvPr>
              <p:custDataLst>
                <p:tags r:id="rId67"/>
              </p:custDataLst>
            </p:nvPr>
          </p:nvPicPr>
          <p:blipFill>
            <a:blip r:embed="rId71">
              <a:extLst>
                <a:ext uri="{BEBA8EAE-BF5A-486C-A8C5-ECC9F3942E4B}">
                  <a14:imgProps xmlns:a14="http://schemas.microsoft.com/office/drawing/2010/main">
                    <a14:imgLayer r:embed="rId72">
                      <a14:imgEffect>
                        <a14:saturation sat="60000"/>
                      </a14:imgEffect>
                    </a14:imgLayer>
                  </a14:imgProps>
                </a:ext>
                <a:ext uri="{28A0092B-C50C-407E-A947-70E740481C1C}">
                  <a14:useLocalDpi xmlns:a14="http://schemas.microsoft.com/office/drawing/2010/main" val="0"/>
                </a:ext>
              </a:extLst>
            </a:blip>
            <a:stretch>
              <a:fillRect/>
            </a:stretch>
          </p:blipFill>
          <p:spPr>
            <a:xfrm>
              <a:off x="9939868" y="1264726"/>
              <a:ext cx="1921933" cy="1921933"/>
            </a:xfrm>
            <a:prstGeom prst="rect">
              <a:avLst/>
            </a:prstGeom>
            <a:solidFill>
              <a:srgbClr val="000000">
                <a:alpha val="50000"/>
              </a:srgbClr>
            </a:solidFill>
          </p:spPr>
        </p:pic>
        <p:pic>
          <p:nvPicPr>
            <p:cNvPr id="86" name="Picture 85" descr="A child smiling and holding a phone&#10;&#10;Description automatically generated">
              <a:extLst>
                <a:ext uri="{FF2B5EF4-FFF2-40B4-BE49-F238E27FC236}">
                  <a16:creationId xmlns:a16="http://schemas.microsoft.com/office/drawing/2014/main" id="{D8DD250A-931E-5DDD-F75D-081681C38861}"/>
                </a:ext>
              </a:extLst>
            </p:cNvPr>
            <p:cNvPicPr>
              <a:picLocks noChangeAspect="1"/>
            </p:cNvPicPr>
            <p:nvPr>
              <p:custDataLst>
                <p:tags r:id="rId68"/>
              </p:custDataLst>
            </p:nvPr>
          </p:nvPicPr>
          <p:blipFill>
            <a:blip r:embed="rId73">
              <a:extLst>
                <a:ext uri="{BEBA8EAE-BF5A-486C-A8C5-ECC9F3942E4B}">
                  <a14:imgProps xmlns:a14="http://schemas.microsoft.com/office/drawing/2010/main">
                    <a14:imgLayer r:embed="rId74">
                      <a14:imgEffect>
                        <a14:saturation sat="60000"/>
                      </a14:imgEffect>
                    </a14:imgLayer>
                  </a14:imgProps>
                </a:ext>
                <a:ext uri="{28A0092B-C50C-407E-A947-70E740481C1C}">
                  <a14:useLocalDpi xmlns:a14="http://schemas.microsoft.com/office/drawing/2010/main" val="0"/>
                </a:ext>
              </a:extLst>
            </a:blip>
            <a:stretch>
              <a:fillRect/>
            </a:stretch>
          </p:blipFill>
          <p:spPr>
            <a:xfrm>
              <a:off x="330200" y="1264726"/>
              <a:ext cx="1921933" cy="1921933"/>
            </a:xfrm>
            <a:prstGeom prst="rect">
              <a:avLst/>
            </a:prstGeom>
          </p:spPr>
        </p:pic>
      </p:grpSp>
      <p:pic>
        <p:nvPicPr>
          <p:cNvPr id="102" name="Picture 101" descr="A child using a tablet&#10;&#10;Description automatically generated">
            <a:extLst>
              <a:ext uri="{FF2B5EF4-FFF2-40B4-BE49-F238E27FC236}">
                <a16:creationId xmlns:a16="http://schemas.microsoft.com/office/drawing/2014/main" id="{FE3AF9A2-F871-71C6-152D-F74A6ABF2060}"/>
              </a:ext>
            </a:extLst>
          </p:cNvPr>
          <p:cNvPicPr>
            <a:picLocks noChangeAspect="1"/>
          </p:cNvPicPr>
          <p:nvPr>
            <p:custDataLst>
              <p:tags r:id="rId4"/>
            </p:custDataLst>
          </p:nvPr>
        </p:nvPicPr>
        <p:blipFill>
          <a:blip r:embed="rId75">
            <a:extLst>
              <a:ext uri="{BEBA8EAE-BF5A-486C-A8C5-ECC9F3942E4B}">
                <a14:imgProps xmlns:a14="http://schemas.microsoft.com/office/drawing/2010/main">
                  <a14:imgLayer r:embed="rId76">
                    <a14:imgEffect>
                      <a14:saturation sat="60000"/>
                    </a14:imgEffect>
                  </a14:imgLayer>
                </a14:imgProps>
              </a:ext>
              <a:ext uri="{28A0092B-C50C-407E-A947-70E740481C1C}">
                <a14:useLocalDpi xmlns:a14="http://schemas.microsoft.com/office/drawing/2010/main" val="0"/>
              </a:ext>
            </a:extLst>
          </a:blip>
          <a:stretch>
            <a:fillRect/>
          </a:stretch>
        </p:blipFill>
        <p:spPr>
          <a:xfrm>
            <a:off x="2252133" y="1264726"/>
            <a:ext cx="1921933" cy="1921933"/>
          </a:xfrm>
          <a:prstGeom prst="rect">
            <a:avLst/>
          </a:prstGeom>
        </p:spPr>
      </p:pic>
      <p:pic>
        <p:nvPicPr>
          <p:cNvPr id="114" name="Picture 113" descr="A person holding a tablet with a screen showing another person&#10;&#10;Description automatically generated">
            <a:extLst>
              <a:ext uri="{FF2B5EF4-FFF2-40B4-BE49-F238E27FC236}">
                <a16:creationId xmlns:a16="http://schemas.microsoft.com/office/drawing/2014/main" id="{65728444-27E8-0561-16E8-29A4373BE8D6}"/>
              </a:ext>
            </a:extLst>
          </p:cNvPr>
          <p:cNvPicPr>
            <a:picLocks noChangeAspect="1"/>
          </p:cNvPicPr>
          <p:nvPr>
            <p:custDataLst>
              <p:tags r:id="rId5"/>
            </p:custDataLst>
          </p:nvPr>
        </p:nvPicPr>
        <p:blipFill>
          <a:blip r:embed="rId77">
            <a:extLst>
              <a:ext uri="{BEBA8EAE-BF5A-486C-A8C5-ECC9F3942E4B}">
                <a14:imgProps xmlns:a14="http://schemas.microsoft.com/office/drawing/2010/main">
                  <a14:imgLayer r:embed="rId78">
                    <a14:imgEffect>
                      <a14:saturation sat="60000"/>
                    </a14:imgEffect>
                  </a14:imgLayer>
                </a14:imgProps>
              </a:ext>
              <a:ext uri="{28A0092B-C50C-407E-A947-70E740481C1C}">
                <a14:useLocalDpi xmlns:a14="http://schemas.microsoft.com/office/drawing/2010/main" val="0"/>
              </a:ext>
            </a:extLst>
          </a:blip>
          <a:stretch>
            <a:fillRect/>
          </a:stretch>
        </p:blipFill>
        <p:spPr>
          <a:xfrm>
            <a:off x="4174067" y="1264726"/>
            <a:ext cx="1921933" cy="1921933"/>
          </a:xfrm>
          <a:prstGeom prst="rect">
            <a:avLst/>
          </a:prstGeom>
        </p:spPr>
      </p:pic>
      <p:pic>
        <p:nvPicPr>
          <p:cNvPr id="122" name="Picture 121" descr="A drone flying over a forest&#10;&#10;Description automatically generated">
            <a:extLst>
              <a:ext uri="{FF2B5EF4-FFF2-40B4-BE49-F238E27FC236}">
                <a16:creationId xmlns:a16="http://schemas.microsoft.com/office/drawing/2014/main" id="{562A0D6E-30E5-6201-4CD4-88FAB265709E}"/>
              </a:ext>
            </a:extLst>
          </p:cNvPr>
          <p:cNvPicPr>
            <a:picLocks noChangeAspect="1"/>
          </p:cNvPicPr>
          <p:nvPr>
            <p:custDataLst>
              <p:tags r:id="rId6"/>
            </p:custDataLst>
          </p:nvPr>
        </p:nvPicPr>
        <p:blipFill>
          <a:blip r:embed="rId79">
            <a:extLst>
              <a:ext uri="{BEBA8EAE-BF5A-486C-A8C5-ECC9F3942E4B}">
                <a14:imgProps xmlns:a14="http://schemas.microsoft.com/office/drawing/2010/main">
                  <a14:imgLayer r:embed="rId80">
                    <a14:imgEffect>
                      <a14:saturation sat="60000"/>
                    </a14:imgEffect>
                  </a14:imgLayer>
                </a14:imgProps>
              </a:ext>
              <a:ext uri="{28A0092B-C50C-407E-A947-70E740481C1C}">
                <a14:useLocalDpi xmlns:a14="http://schemas.microsoft.com/office/drawing/2010/main" val="0"/>
              </a:ext>
            </a:extLst>
          </a:blip>
          <a:stretch>
            <a:fillRect/>
          </a:stretch>
        </p:blipFill>
        <p:spPr>
          <a:xfrm>
            <a:off x="6096000" y="1264726"/>
            <a:ext cx="1921933" cy="1921933"/>
          </a:xfrm>
          <a:prstGeom prst="rect">
            <a:avLst/>
          </a:prstGeom>
        </p:spPr>
      </p:pic>
      <p:pic>
        <p:nvPicPr>
          <p:cNvPr id="5120" name="Picture 5119" descr="A group of people wearing virtual reality goggles&#10;&#10;Description automatically generated">
            <a:extLst>
              <a:ext uri="{FF2B5EF4-FFF2-40B4-BE49-F238E27FC236}">
                <a16:creationId xmlns:a16="http://schemas.microsoft.com/office/drawing/2014/main" id="{4CA985A2-9143-C9C2-8ED3-29A46862E613}"/>
              </a:ext>
            </a:extLst>
          </p:cNvPr>
          <p:cNvPicPr>
            <a:picLocks noChangeAspect="1"/>
          </p:cNvPicPr>
          <p:nvPr>
            <p:custDataLst>
              <p:tags r:id="rId7"/>
            </p:custDataLst>
          </p:nvPr>
        </p:nvPicPr>
        <p:blipFill>
          <a:blip r:embed="rId81">
            <a:extLst>
              <a:ext uri="{BEBA8EAE-BF5A-486C-A8C5-ECC9F3942E4B}">
                <a14:imgProps xmlns:a14="http://schemas.microsoft.com/office/drawing/2010/main">
                  <a14:imgLayer r:embed="rId82">
                    <a14:imgEffect>
                      <a14:saturation sat="60000"/>
                    </a14:imgEffect>
                  </a14:imgLayer>
                </a14:imgProps>
              </a:ext>
              <a:ext uri="{28A0092B-C50C-407E-A947-70E740481C1C}">
                <a14:useLocalDpi xmlns:a14="http://schemas.microsoft.com/office/drawing/2010/main" val="0"/>
              </a:ext>
            </a:extLst>
          </a:blip>
          <a:stretch>
            <a:fillRect/>
          </a:stretch>
        </p:blipFill>
        <p:spPr>
          <a:xfrm>
            <a:off x="8017934" y="1264726"/>
            <a:ext cx="1921933" cy="1921933"/>
          </a:xfrm>
          <a:prstGeom prst="rect">
            <a:avLst/>
          </a:prstGeom>
        </p:spPr>
      </p:pic>
      <p:grpSp>
        <p:nvGrpSpPr>
          <p:cNvPr id="56" name="btfpColumnIndicatorGroup2">
            <a:extLst>
              <a:ext uri="{FF2B5EF4-FFF2-40B4-BE49-F238E27FC236}">
                <a16:creationId xmlns:a16="http://schemas.microsoft.com/office/drawing/2014/main" id="{3B9AAB73-A62F-FC72-3AA7-0EA9639EF9FC}"/>
              </a:ext>
            </a:extLst>
          </p:cNvPr>
          <p:cNvGrpSpPr/>
          <p:nvPr>
            <p:custDataLst>
              <p:tags r:id="rId8"/>
            </p:custDataLst>
          </p:nvPr>
        </p:nvGrpSpPr>
        <p:grpSpPr>
          <a:xfrm>
            <a:off x="0" y="6926580"/>
            <a:ext cx="12192000" cy="137160"/>
            <a:chOff x="0" y="6926580"/>
            <a:chExt cx="12192000" cy="137160"/>
          </a:xfrm>
        </p:grpSpPr>
        <p:sp>
          <p:nvSpPr>
            <p:cNvPr id="54" name="btfpColumnGapBlocker376921">
              <a:extLst>
                <a:ext uri="{FF2B5EF4-FFF2-40B4-BE49-F238E27FC236}">
                  <a16:creationId xmlns:a16="http://schemas.microsoft.com/office/drawing/2014/main" id="{CFC88EBE-148F-3C91-FC31-264FAACCA875}"/>
                </a:ext>
              </a:extLst>
            </p:cNvPr>
            <p:cNvSpPr/>
            <p:nvPr>
              <p:custDataLst>
                <p:tags r:id="rId48"/>
              </p:custDataLst>
            </p:nvPr>
          </p:nvSpPr>
          <p:spPr bwMode="gray">
            <a:xfrm>
              <a:off x="11861801" y="6926580"/>
              <a:ext cx="330199"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sp>
          <p:nvSpPr>
            <p:cNvPr id="52" name="btfpColumnGapBlocker116400">
              <a:extLst>
                <a:ext uri="{FF2B5EF4-FFF2-40B4-BE49-F238E27FC236}">
                  <a16:creationId xmlns:a16="http://schemas.microsoft.com/office/drawing/2014/main" id="{6655B34D-D01C-147F-EB5E-618DC1C70B0A}"/>
                </a:ext>
              </a:extLst>
            </p:cNvPr>
            <p:cNvSpPr/>
            <p:nvPr>
              <p:custDataLst>
                <p:tags r:id="rId49"/>
              </p:custDataLst>
            </p:nvPr>
          </p:nvSpPr>
          <p:spPr bwMode="gray">
            <a:xfrm>
              <a:off x="9849776" y="6926580"/>
              <a:ext cx="540545"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50" name="btfpColumnIndicator347428">
              <a:extLst>
                <a:ext uri="{FF2B5EF4-FFF2-40B4-BE49-F238E27FC236}">
                  <a16:creationId xmlns:a16="http://schemas.microsoft.com/office/drawing/2014/main" id="{BAA344AD-9DA1-B672-62ED-C18CC57B3113}"/>
                </a:ext>
              </a:extLst>
            </p:cNvPr>
            <p:cNvCxnSpPr/>
            <p:nvPr>
              <p:custDataLst>
                <p:tags r:id="rId50"/>
              </p:custDataLst>
            </p:nvPr>
          </p:nvCxnSpPr>
          <p:spPr bwMode="gray">
            <a:xfrm flipH="1" flipV="1">
              <a:off x="11861801"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8" name="btfpColumnIndicator736590">
              <a:extLst>
                <a:ext uri="{FF2B5EF4-FFF2-40B4-BE49-F238E27FC236}">
                  <a16:creationId xmlns:a16="http://schemas.microsoft.com/office/drawing/2014/main" id="{1ECF0724-1D5A-6465-5642-F27026934823}"/>
                </a:ext>
              </a:extLst>
            </p:cNvPr>
            <p:cNvCxnSpPr/>
            <p:nvPr>
              <p:custDataLst>
                <p:tags r:id="rId51"/>
              </p:custDataLst>
            </p:nvPr>
          </p:nvCxnSpPr>
          <p:spPr bwMode="gray">
            <a:xfrm flipH="1" flipV="1">
              <a:off x="10390321"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6" name="btfpColumnGapBlocker483023">
              <a:extLst>
                <a:ext uri="{FF2B5EF4-FFF2-40B4-BE49-F238E27FC236}">
                  <a16:creationId xmlns:a16="http://schemas.microsoft.com/office/drawing/2014/main" id="{5B636BF3-A75D-1C0B-F1EA-23C1552E6418}"/>
                </a:ext>
              </a:extLst>
            </p:cNvPr>
            <p:cNvSpPr/>
            <p:nvPr>
              <p:custDataLst>
                <p:tags r:id="rId52"/>
              </p:custDataLst>
            </p:nvPr>
          </p:nvSpPr>
          <p:spPr bwMode="gray">
            <a:xfrm>
              <a:off x="7837753" y="6926580"/>
              <a:ext cx="540543"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44" name="btfpColumnIndicator630534">
              <a:extLst>
                <a:ext uri="{FF2B5EF4-FFF2-40B4-BE49-F238E27FC236}">
                  <a16:creationId xmlns:a16="http://schemas.microsoft.com/office/drawing/2014/main" id="{774428EB-19BF-F1B4-9701-D4AE903651D0}"/>
                </a:ext>
              </a:extLst>
            </p:cNvPr>
            <p:cNvCxnSpPr/>
            <p:nvPr>
              <p:custDataLst>
                <p:tags r:id="rId53"/>
              </p:custDataLst>
            </p:nvPr>
          </p:nvCxnSpPr>
          <p:spPr bwMode="gray">
            <a:xfrm flipH="1" flipV="1">
              <a:off x="9849776"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2" name="btfpColumnIndicator393393">
              <a:extLst>
                <a:ext uri="{FF2B5EF4-FFF2-40B4-BE49-F238E27FC236}">
                  <a16:creationId xmlns:a16="http://schemas.microsoft.com/office/drawing/2014/main" id="{E6D865A1-FE1C-1360-28A6-376523CEA178}"/>
                </a:ext>
              </a:extLst>
            </p:cNvPr>
            <p:cNvCxnSpPr/>
            <p:nvPr>
              <p:custDataLst>
                <p:tags r:id="rId54"/>
              </p:custDataLst>
            </p:nvPr>
          </p:nvCxnSpPr>
          <p:spPr bwMode="gray">
            <a:xfrm flipH="1" flipV="1">
              <a:off x="8378296"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0" name="btfpColumnGapBlocker813694">
              <a:extLst>
                <a:ext uri="{FF2B5EF4-FFF2-40B4-BE49-F238E27FC236}">
                  <a16:creationId xmlns:a16="http://schemas.microsoft.com/office/drawing/2014/main" id="{0B6B7444-28F2-70A9-98AF-616245F1F406}"/>
                </a:ext>
              </a:extLst>
            </p:cNvPr>
            <p:cNvSpPr/>
            <p:nvPr>
              <p:custDataLst>
                <p:tags r:id="rId55"/>
              </p:custDataLst>
            </p:nvPr>
          </p:nvSpPr>
          <p:spPr bwMode="gray">
            <a:xfrm>
              <a:off x="5825729" y="6926580"/>
              <a:ext cx="540543"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38" name="btfpColumnIndicator305707">
              <a:extLst>
                <a:ext uri="{FF2B5EF4-FFF2-40B4-BE49-F238E27FC236}">
                  <a16:creationId xmlns:a16="http://schemas.microsoft.com/office/drawing/2014/main" id="{E8B5585F-9EBB-1187-4390-C073B3B8055A}"/>
                </a:ext>
              </a:extLst>
            </p:cNvPr>
            <p:cNvCxnSpPr/>
            <p:nvPr>
              <p:custDataLst>
                <p:tags r:id="rId56"/>
              </p:custDataLst>
            </p:nvPr>
          </p:nvCxnSpPr>
          <p:spPr bwMode="gray">
            <a:xfrm flipH="1" flipV="1">
              <a:off x="7837753"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456985">
              <a:extLst>
                <a:ext uri="{FF2B5EF4-FFF2-40B4-BE49-F238E27FC236}">
                  <a16:creationId xmlns:a16="http://schemas.microsoft.com/office/drawing/2014/main" id="{C8197BCA-E214-F057-BC6D-0AD09E087C10}"/>
                </a:ext>
              </a:extLst>
            </p:cNvPr>
            <p:cNvCxnSpPr/>
            <p:nvPr>
              <p:custDataLst>
                <p:tags r:id="rId57"/>
              </p:custDataLst>
            </p:nvPr>
          </p:nvCxnSpPr>
          <p:spPr bwMode="gray">
            <a:xfrm flipH="1" flipV="1">
              <a:off x="6366272"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4" name="btfpColumnGapBlocker450677">
              <a:extLst>
                <a:ext uri="{FF2B5EF4-FFF2-40B4-BE49-F238E27FC236}">
                  <a16:creationId xmlns:a16="http://schemas.microsoft.com/office/drawing/2014/main" id="{81CD1939-0D75-FB72-3DD6-675640FBDF0A}"/>
                </a:ext>
              </a:extLst>
            </p:cNvPr>
            <p:cNvSpPr/>
            <p:nvPr>
              <p:custDataLst>
                <p:tags r:id="rId58"/>
              </p:custDataLst>
            </p:nvPr>
          </p:nvSpPr>
          <p:spPr bwMode="gray">
            <a:xfrm>
              <a:off x="3813704" y="6926580"/>
              <a:ext cx="540544"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32" name="btfpColumnIndicator787764">
              <a:extLst>
                <a:ext uri="{FF2B5EF4-FFF2-40B4-BE49-F238E27FC236}">
                  <a16:creationId xmlns:a16="http://schemas.microsoft.com/office/drawing/2014/main" id="{BB421132-8462-1078-5A75-03F56F76E98C}"/>
                </a:ext>
              </a:extLst>
            </p:cNvPr>
            <p:cNvCxnSpPr/>
            <p:nvPr>
              <p:custDataLst>
                <p:tags r:id="rId59"/>
              </p:custDataLst>
            </p:nvPr>
          </p:nvCxnSpPr>
          <p:spPr bwMode="gray">
            <a:xfrm flipH="1" flipV="1">
              <a:off x="5825729"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327949">
              <a:extLst>
                <a:ext uri="{FF2B5EF4-FFF2-40B4-BE49-F238E27FC236}">
                  <a16:creationId xmlns:a16="http://schemas.microsoft.com/office/drawing/2014/main" id="{0D30CCAC-0D9A-6906-CABF-686CE36629CC}"/>
                </a:ext>
              </a:extLst>
            </p:cNvPr>
            <p:cNvCxnSpPr/>
            <p:nvPr>
              <p:custDataLst>
                <p:tags r:id="rId60"/>
              </p:custDataLst>
            </p:nvPr>
          </p:nvCxnSpPr>
          <p:spPr bwMode="gray">
            <a:xfrm flipH="1" flipV="1">
              <a:off x="4354248"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182864">
              <a:extLst>
                <a:ext uri="{FF2B5EF4-FFF2-40B4-BE49-F238E27FC236}">
                  <a16:creationId xmlns:a16="http://schemas.microsoft.com/office/drawing/2014/main" id="{CFD13A21-3392-FE68-E48A-DBC4C0BB923A}"/>
                </a:ext>
              </a:extLst>
            </p:cNvPr>
            <p:cNvSpPr/>
            <p:nvPr>
              <p:custDataLst>
                <p:tags r:id="rId61"/>
              </p:custDataLst>
            </p:nvPr>
          </p:nvSpPr>
          <p:spPr bwMode="gray">
            <a:xfrm>
              <a:off x="1801680" y="6926580"/>
              <a:ext cx="540544"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26" name="btfpColumnIndicator597862">
              <a:extLst>
                <a:ext uri="{FF2B5EF4-FFF2-40B4-BE49-F238E27FC236}">
                  <a16:creationId xmlns:a16="http://schemas.microsoft.com/office/drawing/2014/main" id="{2AC3CE1A-B059-6F87-1032-D51B5D3591BF}"/>
                </a:ext>
              </a:extLst>
            </p:cNvPr>
            <p:cNvCxnSpPr/>
            <p:nvPr>
              <p:custDataLst>
                <p:tags r:id="rId62"/>
              </p:custDataLst>
            </p:nvPr>
          </p:nvCxnSpPr>
          <p:spPr bwMode="gray">
            <a:xfrm flipH="1" flipV="1">
              <a:off x="3813704"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Indicator773580">
              <a:extLst>
                <a:ext uri="{FF2B5EF4-FFF2-40B4-BE49-F238E27FC236}">
                  <a16:creationId xmlns:a16="http://schemas.microsoft.com/office/drawing/2014/main" id="{0C80FC79-2D4E-3B08-5132-5B76EE7B1BDF}"/>
                </a:ext>
              </a:extLst>
            </p:cNvPr>
            <p:cNvCxnSpPr/>
            <p:nvPr>
              <p:custDataLst>
                <p:tags r:id="rId63"/>
              </p:custDataLst>
            </p:nvPr>
          </p:nvCxnSpPr>
          <p:spPr bwMode="gray">
            <a:xfrm flipH="1" flipV="1">
              <a:off x="2342224"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btfpColumnGapBlocker855313">
              <a:extLst>
                <a:ext uri="{FF2B5EF4-FFF2-40B4-BE49-F238E27FC236}">
                  <a16:creationId xmlns:a16="http://schemas.microsoft.com/office/drawing/2014/main" id="{B780E41C-1FA3-3A76-6381-63E88723EC58}"/>
                </a:ext>
              </a:extLst>
            </p:cNvPr>
            <p:cNvSpPr/>
            <p:nvPr>
              <p:custDataLst>
                <p:tags r:id="rId64"/>
              </p:custDataLst>
            </p:nvPr>
          </p:nvSpPr>
          <p:spPr bwMode="gray">
            <a:xfrm>
              <a:off x="0" y="692658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20" name="btfpColumnIndicator427198">
              <a:extLst>
                <a:ext uri="{FF2B5EF4-FFF2-40B4-BE49-F238E27FC236}">
                  <a16:creationId xmlns:a16="http://schemas.microsoft.com/office/drawing/2014/main" id="{C20805AD-73D9-CA0D-447A-E5A2C8CAF9A5}"/>
                </a:ext>
              </a:extLst>
            </p:cNvPr>
            <p:cNvCxnSpPr/>
            <p:nvPr>
              <p:custDataLst>
                <p:tags r:id="rId65"/>
              </p:custDataLst>
            </p:nvPr>
          </p:nvCxnSpPr>
          <p:spPr bwMode="gray">
            <a:xfrm flipH="1" flipV="1">
              <a:off x="1801680"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8" name="btfpColumnIndicator500738">
              <a:extLst>
                <a:ext uri="{FF2B5EF4-FFF2-40B4-BE49-F238E27FC236}">
                  <a16:creationId xmlns:a16="http://schemas.microsoft.com/office/drawing/2014/main" id="{3B50F014-672F-3C9B-BEAF-9872355680D8}"/>
                </a:ext>
              </a:extLst>
            </p:cNvPr>
            <p:cNvCxnSpPr/>
            <p:nvPr>
              <p:custDataLst>
                <p:tags r:id="rId66"/>
              </p:custDataLst>
            </p:nvPr>
          </p:nvCxnSpPr>
          <p:spPr bwMode="gray">
            <a:xfrm flipH="1" flipV="1">
              <a:off x="330200"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55" name="btfpColumnIndicatorGroup1">
            <a:extLst>
              <a:ext uri="{FF2B5EF4-FFF2-40B4-BE49-F238E27FC236}">
                <a16:creationId xmlns:a16="http://schemas.microsoft.com/office/drawing/2014/main" id="{33C5EEFD-2C5B-A683-1387-13E4248E0872}"/>
              </a:ext>
            </a:extLst>
          </p:cNvPr>
          <p:cNvGrpSpPr/>
          <p:nvPr>
            <p:custDataLst>
              <p:tags r:id="rId9"/>
            </p:custDataLst>
          </p:nvPr>
        </p:nvGrpSpPr>
        <p:grpSpPr>
          <a:xfrm>
            <a:off x="0" y="-205740"/>
            <a:ext cx="12192000" cy="137160"/>
            <a:chOff x="0" y="-205740"/>
            <a:chExt cx="12192000" cy="137160"/>
          </a:xfrm>
        </p:grpSpPr>
        <p:sp>
          <p:nvSpPr>
            <p:cNvPr id="53" name="btfpColumnGapBlocker948069">
              <a:extLst>
                <a:ext uri="{FF2B5EF4-FFF2-40B4-BE49-F238E27FC236}">
                  <a16:creationId xmlns:a16="http://schemas.microsoft.com/office/drawing/2014/main" id="{1A06AD04-5449-6376-8F5A-2283752DFD4D}"/>
                </a:ext>
              </a:extLst>
            </p:cNvPr>
            <p:cNvSpPr/>
            <p:nvPr>
              <p:custDataLst>
                <p:tags r:id="rId29"/>
              </p:custDataLst>
            </p:nvPr>
          </p:nvSpPr>
          <p:spPr bwMode="gray">
            <a:xfrm>
              <a:off x="11861801" y="-205740"/>
              <a:ext cx="330199"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sp>
          <p:nvSpPr>
            <p:cNvPr id="51" name="btfpColumnGapBlocker684359">
              <a:extLst>
                <a:ext uri="{FF2B5EF4-FFF2-40B4-BE49-F238E27FC236}">
                  <a16:creationId xmlns:a16="http://schemas.microsoft.com/office/drawing/2014/main" id="{11FECFDF-DAD7-9BD4-25D1-3D217774DB30}"/>
                </a:ext>
              </a:extLst>
            </p:cNvPr>
            <p:cNvSpPr/>
            <p:nvPr>
              <p:custDataLst>
                <p:tags r:id="rId30"/>
              </p:custDataLst>
            </p:nvPr>
          </p:nvSpPr>
          <p:spPr bwMode="gray">
            <a:xfrm>
              <a:off x="9849776" y="-205740"/>
              <a:ext cx="540545"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49" name="btfpColumnIndicator353516">
              <a:extLst>
                <a:ext uri="{FF2B5EF4-FFF2-40B4-BE49-F238E27FC236}">
                  <a16:creationId xmlns:a16="http://schemas.microsoft.com/office/drawing/2014/main" id="{722CE829-2AAE-38D9-72FA-8DB01CD2E355}"/>
                </a:ext>
              </a:extLst>
            </p:cNvPr>
            <p:cNvCxnSpPr/>
            <p:nvPr>
              <p:custDataLst>
                <p:tags r:id="rId31"/>
              </p:custDataLst>
            </p:nvPr>
          </p:nvCxnSpPr>
          <p:spPr bwMode="gray">
            <a:xfrm flipH="1" flipV="1">
              <a:off x="11861801"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7" name="btfpColumnIndicator615633">
              <a:extLst>
                <a:ext uri="{FF2B5EF4-FFF2-40B4-BE49-F238E27FC236}">
                  <a16:creationId xmlns:a16="http://schemas.microsoft.com/office/drawing/2014/main" id="{B46DAF24-C44D-065C-B956-5A43AB4DDD6B}"/>
                </a:ext>
              </a:extLst>
            </p:cNvPr>
            <p:cNvCxnSpPr/>
            <p:nvPr>
              <p:custDataLst>
                <p:tags r:id="rId32"/>
              </p:custDataLst>
            </p:nvPr>
          </p:nvCxnSpPr>
          <p:spPr bwMode="gray">
            <a:xfrm flipH="1" flipV="1">
              <a:off x="10390321"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5" name="btfpColumnGapBlocker462130">
              <a:extLst>
                <a:ext uri="{FF2B5EF4-FFF2-40B4-BE49-F238E27FC236}">
                  <a16:creationId xmlns:a16="http://schemas.microsoft.com/office/drawing/2014/main" id="{D78013E3-116C-1643-1158-9BC1F794BC68}"/>
                </a:ext>
              </a:extLst>
            </p:cNvPr>
            <p:cNvSpPr/>
            <p:nvPr>
              <p:custDataLst>
                <p:tags r:id="rId33"/>
              </p:custDataLst>
            </p:nvPr>
          </p:nvSpPr>
          <p:spPr bwMode="gray">
            <a:xfrm>
              <a:off x="7837753" y="-205740"/>
              <a:ext cx="540543"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43" name="btfpColumnIndicator659012">
              <a:extLst>
                <a:ext uri="{FF2B5EF4-FFF2-40B4-BE49-F238E27FC236}">
                  <a16:creationId xmlns:a16="http://schemas.microsoft.com/office/drawing/2014/main" id="{753AD39E-B329-7DDF-46BA-BDD1DE28A01A}"/>
                </a:ext>
              </a:extLst>
            </p:cNvPr>
            <p:cNvCxnSpPr/>
            <p:nvPr>
              <p:custDataLst>
                <p:tags r:id="rId34"/>
              </p:custDataLst>
            </p:nvPr>
          </p:nvCxnSpPr>
          <p:spPr bwMode="gray">
            <a:xfrm flipH="1" flipV="1">
              <a:off x="9849776"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1" name="btfpColumnIndicator971195">
              <a:extLst>
                <a:ext uri="{FF2B5EF4-FFF2-40B4-BE49-F238E27FC236}">
                  <a16:creationId xmlns:a16="http://schemas.microsoft.com/office/drawing/2014/main" id="{9FBE1E43-BE31-04DD-4A23-FD1787D8DA4F}"/>
                </a:ext>
              </a:extLst>
            </p:cNvPr>
            <p:cNvCxnSpPr/>
            <p:nvPr>
              <p:custDataLst>
                <p:tags r:id="rId35"/>
              </p:custDataLst>
            </p:nvPr>
          </p:nvCxnSpPr>
          <p:spPr bwMode="gray">
            <a:xfrm flipH="1" flipV="1">
              <a:off x="8378296"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9" name="btfpColumnGapBlocker779177">
              <a:extLst>
                <a:ext uri="{FF2B5EF4-FFF2-40B4-BE49-F238E27FC236}">
                  <a16:creationId xmlns:a16="http://schemas.microsoft.com/office/drawing/2014/main" id="{D2EC0A8A-FFBA-0038-A0DC-DAEBD6FA22B3}"/>
                </a:ext>
              </a:extLst>
            </p:cNvPr>
            <p:cNvSpPr/>
            <p:nvPr>
              <p:custDataLst>
                <p:tags r:id="rId36"/>
              </p:custDataLst>
            </p:nvPr>
          </p:nvSpPr>
          <p:spPr bwMode="gray">
            <a:xfrm>
              <a:off x="5825729" y="-205740"/>
              <a:ext cx="540543"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37" name="btfpColumnIndicator355242">
              <a:extLst>
                <a:ext uri="{FF2B5EF4-FFF2-40B4-BE49-F238E27FC236}">
                  <a16:creationId xmlns:a16="http://schemas.microsoft.com/office/drawing/2014/main" id="{C3A494E4-D91F-B811-9179-5EB9CB105F84}"/>
                </a:ext>
              </a:extLst>
            </p:cNvPr>
            <p:cNvCxnSpPr/>
            <p:nvPr>
              <p:custDataLst>
                <p:tags r:id="rId37"/>
              </p:custDataLst>
            </p:nvPr>
          </p:nvCxnSpPr>
          <p:spPr bwMode="gray">
            <a:xfrm flipH="1" flipV="1">
              <a:off x="7837753"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5" name="btfpColumnIndicator186863">
              <a:extLst>
                <a:ext uri="{FF2B5EF4-FFF2-40B4-BE49-F238E27FC236}">
                  <a16:creationId xmlns:a16="http://schemas.microsoft.com/office/drawing/2014/main" id="{9027F628-8DD2-912D-9489-C1442D176985}"/>
                </a:ext>
              </a:extLst>
            </p:cNvPr>
            <p:cNvCxnSpPr/>
            <p:nvPr>
              <p:custDataLst>
                <p:tags r:id="rId38"/>
              </p:custDataLst>
            </p:nvPr>
          </p:nvCxnSpPr>
          <p:spPr bwMode="gray">
            <a:xfrm flipH="1" flipV="1">
              <a:off x="6366272"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227574">
              <a:extLst>
                <a:ext uri="{FF2B5EF4-FFF2-40B4-BE49-F238E27FC236}">
                  <a16:creationId xmlns:a16="http://schemas.microsoft.com/office/drawing/2014/main" id="{360AFC30-CA09-C04D-CDDE-086D352CBB1C}"/>
                </a:ext>
              </a:extLst>
            </p:cNvPr>
            <p:cNvSpPr/>
            <p:nvPr>
              <p:custDataLst>
                <p:tags r:id="rId39"/>
              </p:custDataLst>
            </p:nvPr>
          </p:nvSpPr>
          <p:spPr bwMode="gray">
            <a:xfrm>
              <a:off x="3813704" y="-205740"/>
              <a:ext cx="540544"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31" name="btfpColumnIndicator580030">
              <a:extLst>
                <a:ext uri="{FF2B5EF4-FFF2-40B4-BE49-F238E27FC236}">
                  <a16:creationId xmlns:a16="http://schemas.microsoft.com/office/drawing/2014/main" id="{F55FEF78-A98A-2843-CEC5-9620203A0F14}"/>
                </a:ext>
              </a:extLst>
            </p:cNvPr>
            <p:cNvCxnSpPr/>
            <p:nvPr>
              <p:custDataLst>
                <p:tags r:id="rId40"/>
              </p:custDataLst>
            </p:nvPr>
          </p:nvCxnSpPr>
          <p:spPr bwMode="gray">
            <a:xfrm flipH="1" flipV="1">
              <a:off x="5825729"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532521">
              <a:extLst>
                <a:ext uri="{FF2B5EF4-FFF2-40B4-BE49-F238E27FC236}">
                  <a16:creationId xmlns:a16="http://schemas.microsoft.com/office/drawing/2014/main" id="{404887F1-AF57-B58F-FE00-86EFAA9B2855}"/>
                </a:ext>
              </a:extLst>
            </p:cNvPr>
            <p:cNvCxnSpPr/>
            <p:nvPr>
              <p:custDataLst>
                <p:tags r:id="rId41"/>
              </p:custDataLst>
            </p:nvPr>
          </p:nvCxnSpPr>
          <p:spPr bwMode="gray">
            <a:xfrm flipH="1" flipV="1">
              <a:off x="4354248"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314025">
              <a:extLst>
                <a:ext uri="{FF2B5EF4-FFF2-40B4-BE49-F238E27FC236}">
                  <a16:creationId xmlns:a16="http://schemas.microsoft.com/office/drawing/2014/main" id="{6D555E16-5862-0849-8C2F-50F818CBA62F}"/>
                </a:ext>
              </a:extLst>
            </p:cNvPr>
            <p:cNvSpPr/>
            <p:nvPr>
              <p:custDataLst>
                <p:tags r:id="rId42"/>
              </p:custDataLst>
            </p:nvPr>
          </p:nvSpPr>
          <p:spPr bwMode="gray">
            <a:xfrm>
              <a:off x="1801680" y="-205740"/>
              <a:ext cx="540544"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25" name="btfpColumnIndicator337084">
              <a:extLst>
                <a:ext uri="{FF2B5EF4-FFF2-40B4-BE49-F238E27FC236}">
                  <a16:creationId xmlns:a16="http://schemas.microsoft.com/office/drawing/2014/main" id="{F864D1FE-6A2E-15F3-B086-333199A5E220}"/>
                </a:ext>
              </a:extLst>
            </p:cNvPr>
            <p:cNvCxnSpPr/>
            <p:nvPr>
              <p:custDataLst>
                <p:tags r:id="rId43"/>
              </p:custDataLst>
            </p:nvPr>
          </p:nvCxnSpPr>
          <p:spPr bwMode="gray">
            <a:xfrm flipH="1" flipV="1">
              <a:off x="3813704"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lumnIndicator208885">
              <a:extLst>
                <a:ext uri="{FF2B5EF4-FFF2-40B4-BE49-F238E27FC236}">
                  <a16:creationId xmlns:a16="http://schemas.microsoft.com/office/drawing/2014/main" id="{E8BA9529-5B86-36D9-ACE8-52D32A9C5852}"/>
                </a:ext>
              </a:extLst>
            </p:cNvPr>
            <p:cNvCxnSpPr/>
            <p:nvPr>
              <p:custDataLst>
                <p:tags r:id="rId44"/>
              </p:custDataLst>
            </p:nvPr>
          </p:nvCxnSpPr>
          <p:spPr bwMode="gray">
            <a:xfrm flipH="1" flipV="1">
              <a:off x="2342224"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ColumnGapBlocker176462">
              <a:extLst>
                <a:ext uri="{FF2B5EF4-FFF2-40B4-BE49-F238E27FC236}">
                  <a16:creationId xmlns:a16="http://schemas.microsoft.com/office/drawing/2014/main" id="{40B4B012-8820-74C4-093B-A7B565C05871}"/>
                </a:ext>
              </a:extLst>
            </p:cNvPr>
            <p:cNvSpPr/>
            <p:nvPr>
              <p:custDataLst>
                <p:tags r:id="rId45"/>
              </p:custDataLst>
            </p:nvPr>
          </p:nvSpPr>
          <p:spPr bwMode="gray">
            <a:xfrm>
              <a:off x="0" y="-20574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19" name="btfpColumnIndicator467261">
              <a:extLst>
                <a:ext uri="{FF2B5EF4-FFF2-40B4-BE49-F238E27FC236}">
                  <a16:creationId xmlns:a16="http://schemas.microsoft.com/office/drawing/2014/main" id="{560ED52F-7F3F-8153-B2EE-E5984026915C}"/>
                </a:ext>
              </a:extLst>
            </p:cNvPr>
            <p:cNvCxnSpPr/>
            <p:nvPr>
              <p:custDataLst>
                <p:tags r:id="rId46"/>
              </p:custDataLst>
            </p:nvPr>
          </p:nvCxnSpPr>
          <p:spPr bwMode="gray">
            <a:xfrm flipH="1" flipV="1">
              <a:off x="1801680"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btfpColumnIndicator960724">
              <a:extLst>
                <a:ext uri="{FF2B5EF4-FFF2-40B4-BE49-F238E27FC236}">
                  <a16:creationId xmlns:a16="http://schemas.microsoft.com/office/drawing/2014/main" id="{CB4B922E-B8D9-6629-3DA9-3A98E4A4F4D5}"/>
                </a:ext>
              </a:extLst>
            </p:cNvPr>
            <p:cNvCxnSpPr/>
            <p:nvPr>
              <p:custDataLst>
                <p:tags r:id="rId47"/>
              </p:custDataLst>
            </p:nvPr>
          </p:nvCxnSpPr>
          <p:spPr bwMode="gray">
            <a:xfrm flipH="1" flipV="1">
              <a:off x="330200"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93" name="btfpStatusSticker290449">
            <a:extLst>
              <a:ext uri="{FF2B5EF4-FFF2-40B4-BE49-F238E27FC236}">
                <a16:creationId xmlns:a16="http://schemas.microsoft.com/office/drawing/2014/main" id="{78810BCE-DA44-B648-65EB-6B4C675587AF}"/>
              </a:ext>
            </a:extLst>
          </p:cNvPr>
          <p:cNvGrpSpPr/>
          <p:nvPr>
            <p:custDataLst>
              <p:tags r:id="rId10"/>
            </p:custDataLst>
          </p:nvPr>
        </p:nvGrpSpPr>
        <p:grpSpPr>
          <a:xfrm>
            <a:off x="9629778" y="0"/>
            <a:ext cx="2232022" cy="235611"/>
            <a:chOff x="-3332646" y="876300"/>
            <a:chExt cx="2232022" cy="235611"/>
          </a:xfrm>
        </p:grpSpPr>
        <p:sp>
          <p:nvSpPr>
            <p:cNvPr id="91" name="btfpStatusStickerText290449">
              <a:extLst>
                <a:ext uri="{FF2B5EF4-FFF2-40B4-BE49-F238E27FC236}">
                  <a16:creationId xmlns:a16="http://schemas.microsoft.com/office/drawing/2014/main" id="{EE323A2B-E2B8-EE8C-23A4-44ECAB5B08FA}"/>
                </a:ext>
              </a:extLst>
            </p:cNvPr>
            <p:cNvSpPr txBox="1"/>
            <p:nvPr>
              <p:custDataLst>
                <p:tags r:id="rId27"/>
              </p:custDataLst>
            </p:nvPr>
          </p:nvSpPr>
          <p:spPr bwMode="gray">
            <a:xfrm>
              <a:off x="-3332646" y="876300"/>
              <a:ext cx="2232022" cy="235611"/>
            </a:xfrm>
            <a:prstGeom prst="rect">
              <a:avLst/>
            </a:prstGeom>
            <a:noFill/>
          </p:spPr>
          <p:txBody>
            <a:bodyPr vert="horz" wrap="none" lIns="72073" tIns="25226" rIns="0" bIns="25226" rtlCol="0" anchor="t">
              <a:spAutoFit/>
            </a:bodyPr>
            <a:lstStyle/>
            <a:p>
              <a:pPr marL="0" indent="0" algn="r">
                <a:spcBef>
                  <a:spcPct val="0"/>
                </a:spcBef>
                <a:buNone/>
              </a:pPr>
              <a:r>
                <a:rPr lang="en-AU" sz="1200" b="1" cap="all" spc="450">
                  <a:solidFill>
                    <a:srgbClr val="000000"/>
                  </a:solidFill>
                </a:rPr>
                <a:t>Not exhaustive</a:t>
              </a:r>
            </a:p>
          </p:txBody>
        </p:sp>
        <p:cxnSp>
          <p:nvCxnSpPr>
            <p:cNvPr id="92" name="btfpStatusStickerLine290449">
              <a:extLst>
                <a:ext uri="{FF2B5EF4-FFF2-40B4-BE49-F238E27FC236}">
                  <a16:creationId xmlns:a16="http://schemas.microsoft.com/office/drawing/2014/main" id="{6FBBE4C4-D8AF-32C0-9F35-0A2BE412C533}"/>
                </a:ext>
              </a:extLst>
            </p:cNvPr>
            <p:cNvCxnSpPr/>
            <p:nvPr>
              <p:custDataLst>
                <p:tags r:id="rId28"/>
              </p:custDataLst>
            </p:nvPr>
          </p:nvCxnSpPr>
          <p:spPr bwMode="gray">
            <a:xfrm rot="720000" flipH="1">
              <a:off x="-3332646"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sp>
        <p:nvSpPr>
          <p:cNvPr id="3" name="Title 1">
            <a:extLst>
              <a:ext uri="{FF2B5EF4-FFF2-40B4-BE49-F238E27FC236}">
                <a16:creationId xmlns:a16="http://schemas.microsoft.com/office/drawing/2014/main" id="{33FC77E0-B879-B69E-D210-7C283FD7A541}"/>
              </a:ext>
            </a:extLst>
          </p:cNvPr>
          <p:cNvSpPr txBox="1"/>
          <p:nvPr>
            <p:custDataLst>
              <p:tags r:id="rId11"/>
            </p:custDataLst>
          </p:nvPr>
        </p:nvSpPr>
        <p:spPr>
          <a:xfrm>
            <a:off x="347472" y="289372"/>
            <a:ext cx="11521440" cy="847718"/>
          </a:xfrm>
          <a:prstGeom prst="rect">
            <a:avLst/>
          </a:prstGeom>
        </p:spPr>
        <p:txBody>
          <a:bodyPr vert="horz" lIns="36000" tIns="36000" rIns="36000" bIns="72000" rtlCol="0" anchor="ctr" anchorCtr="0">
            <a:noAutofit/>
          </a:bodyPr>
          <a:lst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a:lstStyle>
          <a:p>
            <a:pPr marL="0" indent="0"/>
            <a:r>
              <a:rPr lang="en-US"/>
              <a:t>AI has the potential to create tremendous good in the world</a:t>
            </a:r>
            <a:endParaRPr lang="en-GB"/>
          </a:p>
        </p:txBody>
      </p:sp>
      <p:sp>
        <p:nvSpPr>
          <p:cNvPr id="15" name="btfpNotesBox191913">
            <a:extLst>
              <a:ext uri="{FF2B5EF4-FFF2-40B4-BE49-F238E27FC236}">
                <a16:creationId xmlns:a16="http://schemas.microsoft.com/office/drawing/2014/main" id="{91AED29D-6905-12BE-666E-5FEE39AF6419}"/>
              </a:ext>
            </a:extLst>
          </p:cNvPr>
          <p:cNvSpPr txBox="1"/>
          <p:nvPr>
            <p:custDataLst>
              <p:tags r:id="rId12"/>
            </p:custDataLst>
          </p:nvPr>
        </p:nvSpPr>
        <p:spPr bwMode="gray">
          <a:xfrm>
            <a:off x="330199" y="6512267"/>
            <a:ext cx="11531600" cy="123111"/>
          </a:xfrm>
          <a:prstGeom prst="rect">
            <a:avLst/>
          </a:prstGeom>
          <a:noFill/>
        </p:spPr>
        <p:txBody>
          <a:bodyPr vert="horz" wrap="square" lIns="0" tIns="0" rIns="0" bIns="0" rtlCol="0" anchor="b">
            <a:spAutoFit/>
          </a:bodyPr>
          <a:lstStyle/>
          <a:p>
            <a:pPr marL="0" indent="0">
              <a:spcBef>
                <a:spcPct val="0"/>
              </a:spcBef>
              <a:buNone/>
            </a:pPr>
            <a:r>
              <a:rPr lang="en-AU" sz="800">
                <a:solidFill>
                  <a:srgbClr val="000000"/>
                </a:solidFill>
              </a:rPr>
              <a:t>Note: Stock photos are generated by AI (Dall-E 3)</a:t>
            </a:r>
          </a:p>
        </p:txBody>
      </p:sp>
      <p:sp>
        <p:nvSpPr>
          <p:cNvPr id="98" name="Rectangle 97">
            <a:extLst>
              <a:ext uri="{FF2B5EF4-FFF2-40B4-BE49-F238E27FC236}">
                <a16:creationId xmlns:a16="http://schemas.microsoft.com/office/drawing/2014/main" id="{66A03B3D-E860-3CF6-04C4-3791FB0521BF}"/>
              </a:ext>
            </a:extLst>
          </p:cNvPr>
          <p:cNvSpPr/>
          <p:nvPr>
            <p:custDataLst>
              <p:tags r:id="rId13"/>
            </p:custDataLst>
          </p:nvPr>
        </p:nvSpPr>
        <p:spPr bwMode="gray">
          <a:xfrm>
            <a:off x="330200" y="1268413"/>
            <a:ext cx="11531601" cy="1921933"/>
          </a:xfrm>
          <a:prstGeom prst="rect">
            <a:avLst/>
          </a:prstGeom>
          <a:solidFill>
            <a:srgbClr val="000000">
              <a:alpha val="50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rgbClr val="FFFFFF"/>
              </a:solidFill>
            </a:endParaRPr>
          </a:p>
        </p:txBody>
      </p:sp>
      <p:sp>
        <p:nvSpPr>
          <p:cNvPr id="94" name="Rectangle 93">
            <a:extLst>
              <a:ext uri="{FF2B5EF4-FFF2-40B4-BE49-F238E27FC236}">
                <a16:creationId xmlns:a16="http://schemas.microsoft.com/office/drawing/2014/main" id="{BAEC5A04-43C4-CA71-BF13-698F5ABE97E4}"/>
              </a:ext>
            </a:extLst>
          </p:cNvPr>
          <p:cNvSpPr/>
          <p:nvPr>
            <p:custDataLst>
              <p:tags r:id="rId14"/>
            </p:custDataLst>
          </p:nvPr>
        </p:nvSpPr>
        <p:spPr bwMode="gray">
          <a:xfrm>
            <a:off x="0" y="2997842"/>
            <a:ext cx="12192000" cy="766834"/>
          </a:xfrm>
          <a:prstGeom prst="rect">
            <a:avLst/>
          </a:prstGeom>
          <a:gradFill flip="none" rotWithShape="1">
            <a:gsLst>
              <a:gs pos="100000">
                <a:schemeClr val="accent6"/>
              </a:gs>
              <a:gs pos="0">
                <a:schemeClr val="accent3"/>
              </a:gs>
            </a:gsLst>
            <a:lin ang="0" scaled="1"/>
          </a:gra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endParaRPr>
          </a:p>
        </p:txBody>
      </p:sp>
      <p:sp>
        <p:nvSpPr>
          <p:cNvPr id="57" name="btfpColumnHeaderBoxText459319">
            <a:extLst>
              <a:ext uri="{FF2B5EF4-FFF2-40B4-BE49-F238E27FC236}">
                <a16:creationId xmlns:a16="http://schemas.microsoft.com/office/drawing/2014/main" id="{F1C0A92D-F197-2265-2EF0-1F7A3E48720A}"/>
              </a:ext>
            </a:extLst>
          </p:cNvPr>
          <p:cNvSpPr txBox="1"/>
          <p:nvPr>
            <p:custDataLst>
              <p:tags r:id="rId15"/>
            </p:custDataLst>
          </p:nvPr>
        </p:nvSpPr>
        <p:spPr bwMode="gray">
          <a:xfrm>
            <a:off x="9939868" y="3405123"/>
            <a:ext cx="1921933" cy="359553"/>
          </a:xfrm>
          <a:prstGeom prst="rect">
            <a:avLst/>
          </a:prstGeom>
          <a:noFill/>
          <a:extLst>
            <a:ext uri="{909E8E84-426E-40DD-AFC4-6F175D3DCCD1}">
              <a14:hiddenFill xmlns:a14="http://schemas.microsoft.com/office/drawing/2010/main">
                <a:solidFill>
                  <a:srgbClr val="000000">
                    <a:alpha val="60000"/>
                  </a:srgbClr>
                </a:solidFill>
              </a14:hiddenFill>
            </a:ext>
          </a:extLst>
        </p:spPr>
        <p:txBody>
          <a:bodyPr vert="horz" wrap="square" lIns="91440" tIns="36036" rIns="36036" bIns="91440" rtlCol="0" anchor="b">
            <a:spAutoFit/>
          </a:bodyPr>
          <a:lstStyle/>
          <a:p>
            <a:pPr marL="0" indent="0">
              <a:spcBef>
                <a:spcPct val="0"/>
              </a:spcBef>
              <a:buNone/>
            </a:pPr>
            <a:r>
              <a:rPr lang="en-AU" sz="1500" b="1">
                <a:solidFill>
                  <a:srgbClr val="FFFFFF"/>
                </a:solidFill>
              </a:rPr>
              <a:t>Entertainment</a:t>
            </a:r>
          </a:p>
        </p:txBody>
      </p:sp>
      <p:sp>
        <p:nvSpPr>
          <p:cNvPr id="60" name="btfpColumnHeaderBoxText878776">
            <a:extLst>
              <a:ext uri="{FF2B5EF4-FFF2-40B4-BE49-F238E27FC236}">
                <a16:creationId xmlns:a16="http://schemas.microsoft.com/office/drawing/2014/main" id="{857EB9D8-606E-83C7-5B20-99D5DF78246C}"/>
              </a:ext>
            </a:extLst>
          </p:cNvPr>
          <p:cNvSpPr txBox="1"/>
          <p:nvPr>
            <p:custDataLst>
              <p:tags r:id="rId16"/>
            </p:custDataLst>
          </p:nvPr>
        </p:nvSpPr>
        <p:spPr bwMode="gray">
          <a:xfrm>
            <a:off x="8017934" y="3174290"/>
            <a:ext cx="1921933" cy="590386"/>
          </a:xfrm>
          <a:prstGeom prst="rect">
            <a:avLst/>
          </a:prstGeom>
          <a:noFill/>
          <a:extLst>
            <a:ext uri="{909E8E84-426E-40DD-AFC4-6F175D3DCCD1}">
              <a14:hiddenFill xmlns:a14="http://schemas.microsoft.com/office/drawing/2010/main">
                <a:solidFill>
                  <a:srgbClr val="000000">
                    <a:alpha val="60000"/>
                  </a:srgbClr>
                </a:solidFill>
              </a14:hiddenFill>
            </a:ext>
          </a:extLst>
        </p:spPr>
        <p:txBody>
          <a:bodyPr vert="horz" wrap="square" lIns="91440" tIns="36036" rIns="36036" bIns="91440" rtlCol="0" anchor="b">
            <a:spAutoFit/>
          </a:bodyPr>
          <a:lstStyle/>
          <a:p>
            <a:pPr marL="0" indent="0">
              <a:spcBef>
                <a:spcPct val="0"/>
              </a:spcBef>
              <a:buNone/>
            </a:pPr>
            <a:r>
              <a:rPr lang="en-AU" sz="1500" b="1">
                <a:solidFill>
                  <a:srgbClr val="FFFFFF"/>
                </a:solidFill>
              </a:rPr>
              <a:t>Financial</a:t>
            </a:r>
            <a:br>
              <a:rPr lang="en-AU" sz="1500" b="1">
                <a:solidFill>
                  <a:srgbClr val="FFFFFF"/>
                </a:solidFill>
              </a:rPr>
            </a:br>
            <a:r>
              <a:rPr lang="en-AU" sz="1500" b="1">
                <a:solidFill>
                  <a:srgbClr val="FFFFFF"/>
                </a:solidFill>
              </a:rPr>
              <a:t>services</a:t>
            </a:r>
          </a:p>
        </p:txBody>
      </p:sp>
      <p:sp>
        <p:nvSpPr>
          <p:cNvPr id="63" name="btfpColumnHeaderBoxText802926">
            <a:extLst>
              <a:ext uri="{FF2B5EF4-FFF2-40B4-BE49-F238E27FC236}">
                <a16:creationId xmlns:a16="http://schemas.microsoft.com/office/drawing/2014/main" id="{9AC48D3D-650A-AA99-1C62-E1B53607EDD1}"/>
              </a:ext>
            </a:extLst>
          </p:cNvPr>
          <p:cNvSpPr txBox="1"/>
          <p:nvPr>
            <p:custDataLst>
              <p:tags r:id="rId17"/>
            </p:custDataLst>
          </p:nvPr>
        </p:nvSpPr>
        <p:spPr bwMode="gray">
          <a:xfrm>
            <a:off x="6096000" y="3174290"/>
            <a:ext cx="1921933" cy="590386"/>
          </a:xfrm>
          <a:prstGeom prst="rect">
            <a:avLst/>
          </a:prstGeom>
          <a:noFill/>
          <a:extLst>
            <a:ext uri="{909E8E84-426E-40DD-AFC4-6F175D3DCCD1}">
              <a14:hiddenFill xmlns:a14="http://schemas.microsoft.com/office/drawing/2010/main">
                <a:solidFill>
                  <a:srgbClr val="000000">
                    <a:alpha val="60000"/>
                  </a:srgbClr>
                </a:solidFill>
              </a14:hiddenFill>
            </a:ext>
          </a:extLst>
        </p:spPr>
        <p:txBody>
          <a:bodyPr vert="horz" wrap="square" lIns="91440" tIns="36036" rIns="36036" bIns="91440" rtlCol="0" anchor="b">
            <a:spAutoFit/>
          </a:bodyPr>
          <a:lstStyle/>
          <a:p>
            <a:pPr marL="0" indent="0">
              <a:spcBef>
                <a:spcPct val="0"/>
              </a:spcBef>
              <a:buNone/>
            </a:pPr>
            <a:r>
              <a:rPr lang="en-AU" sz="1500" b="1">
                <a:solidFill>
                  <a:srgbClr val="FFFFFF"/>
                </a:solidFill>
              </a:rPr>
              <a:t>Climate</a:t>
            </a:r>
            <a:br>
              <a:rPr lang="en-AU" sz="1500" b="1">
                <a:solidFill>
                  <a:srgbClr val="FFFFFF"/>
                </a:solidFill>
              </a:rPr>
            </a:br>
            <a:r>
              <a:rPr lang="en-AU" sz="1500" b="1">
                <a:solidFill>
                  <a:srgbClr val="FFFFFF"/>
                </a:solidFill>
              </a:rPr>
              <a:t>change</a:t>
            </a:r>
          </a:p>
        </p:txBody>
      </p:sp>
      <p:sp>
        <p:nvSpPr>
          <p:cNvPr id="66" name="btfpColumnHeaderBoxText359823">
            <a:extLst>
              <a:ext uri="{FF2B5EF4-FFF2-40B4-BE49-F238E27FC236}">
                <a16:creationId xmlns:a16="http://schemas.microsoft.com/office/drawing/2014/main" id="{E528C510-1C74-CD89-8021-92D08D9BD0E9}"/>
              </a:ext>
            </a:extLst>
          </p:cNvPr>
          <p:cNvSpPr txBox="1"/>
          <p:nvPr>
            <p:custDataLst>
              <p:tags r:id="rId18"/>
            </p:custDataLst>
          </p:nvPr>
        </p:nvSpPr>
        <p:spPr bwMode="gray">
          <a:xfrm>
            <a:off x="4174067" y="3174290"/>
            <a:ext cx="1921933" cy="590386"/>
          </a:xfrm>
          <a:prstGeom prst="rect">
            <a:avLst/>
          </a:prstGeom>
          <a:noFill/>
          <a:extLst>
            <a:ext uri="{909E8E84-426E-40DD-AFC4-6F175D3DCCD1}">
              <a14:hiddenFill xmlns:a14="http://schemas.microsoft.com/office/drawing/2010/main">
                <a:solidFill>
                  <a:srgbClr val="000000">
                    <a:alpha val="60000"/>
                  </a:srgbClr>
                </a:solidFill>
              </a14:hiddenFill>
            </a:ext>
          </a:extLst>
        </p:spPr>
        <p:txBody>
          <a:bodyPr vert="horz" wrap="square" lIns="91440" tIns="36036" rIns="36036" bIns="91440" rtlCol="0" anchor="b">
            <a:spAutoFit/>
          </a:bodyPr>
          <a:lstStyle/>
          <a:p>
            <a:pPr marL="0" indent="0">
              <a:spcBef>
                <a:spcPct val="0"/>
              </a:spcBef>
              <a:buNone/>
            </a:pPr>
            <a:r>
              <a:rPr lang="en-AU" sz="1500" b="1">
                <a:solidFill>
                  <a:srgbClr val="FFFFFF"/>
                </a:solidFill>
              </a:rPr>
              <a:t>Communication</a:t>
            </a:r>
            <a:br>
              <a:rPr lang="en-AU" sz="1500" b="1">
                <a:solidFill>
                  <a:srgbClr val="FFFFFF"/>
                </a:solidFill>
              </a:rPr>
            </a:br>
            <a:r>
              <a:rPr lang="en-AU" sz="1500" b="1">
                <a:solidFill>
                  <a:srgbClr val="FFFFFF"/>
                </a:solidFill>
              </a:rPr>
              <a:t>&amp; connectivity</a:t>
            </a:r>
          </a:p>
        </p:txBody>
      </p:sp>
      <p:sp>
        <p:nvSpPr>
          <p:cNvPr id="69" name="btfpColumnHeaderBoxText342267">
            <a:extLst>
              <a:ext uri="{FF2B5EF4-FFF2-40B4-BE49-F238E27FC236}">
                <a16:creationId xmlns:a16="http://schemas.microsoft.com/office/drawing/2014/main" id="{38F00857-6CA9-7E65-337E-AEF2E564229B}"/>
              </a:ext>
            </a:extLst>
          </p:cNvPr>
          <p:cNvSpPr txBox="1"/>
          <p:nvPr>
            <p:custDataLst>
              <p:tags r:id="rId19"/>
            </p:custDataLst>
          </p:nvPr>
        </p:nvSpPr>
        <p:spPr bwMode="gray">
          <a:xfrm>
            <a:off x="2252133" y="3405123"/>
            <a:ext cx="1921933" cy="359553"/>
          </a:xfrm>
          <a:prstGeom prst="rect">
            <a:avLst/>
          </a:prstGeom>
          <a:noFill/>
          <a:extLst>
            <a:ext uri="{909E8E84-426E-40DD-AFC4-6F175D3DCCD1}">
              <a14:hiddenFill xmlns:a14="http://schemas.microsoft.com/office/drawing/2010/main">
                <a:solidFill>
                  <a:srgbClr val="000000">
                    <a:alpha val="60000"/>
                  </a:srgbClr>
                </a:solidFill>
              </a14:hiddenFill>
            </a:ext>
          </a:extLst>
        </p:spPr>
        <p:txBody>
          <a:bodyPr vert="horz" wrap="square" lIns="91440" tIns="36036" rIns="36036" bIns="91440" rtlCol="0" anchor="b">
            <a:spAutoFit/>
          </a:bodyPr>
          <a:lstStyle/>
          <a:p>
            <a:pPr marL="0" indent="0">
              <a:spcBef>
                <a:spcPct val="0"/>
              </a:spcBef>
              <a:buNone/>
            </a:pPr>
            <a:r>
              <a:rPr lang="en-AU" sz="1500" b="1">
                <a:solidFill>
                  <a:srgbClr val="FFFFFF"/>
                </a:solidFill>
              </a:rPr>
              <a:t>Education</a:t>
            </a:r>
          </a:p>
        </p:txBody>
      </p:sp>
      <p:sp>
        <p:nvSpPr>
          <p:cNvPr id="72" name="btfpColumnHeaderBoxText608073">
            <a:extLst>
              <a:ext uri="{FF2B5EF4-FFF2-40B4-BE49-F238E27FC236}">
                <a16:creationId xmlns:a16="http://schemas.microsoft.com/office/drawing/2014/main" id="{BA8CDFCC-C24C-297B-E256-E314E9E42C94}"/>
              </a:ext>
            </a:extLst>
          </p:cNvPr>
          <p:cNvSpPr txBox="1"/>
          <p:nvPr>
            <p:custDataLst>
              <p:tags r:id="rId20"/>
            </p:custDataLst>
          </p:nvPr>
        </p:nvSpPr>
        <p:spPr bwMode="gray">
          <a:xfrm>
            <a:off x="330200" y="3405123"/>
            <a:ext cx="1921933" cy="359553"/>
          </a:xfrm>
          <a:prstGeom prst="rect">
            <a:avLst/>
          </a:prstGeom>
          <a:noFill/>
          <a:extLst>
            <a:ext uri="{909E8E84-426E-40DD-AFC4-6F175D3DCCD1}">
              <a14:hiddenFill xmlns:a14="http://schemas.microsoft.com/office/drawing/2010/main">
                <a:solidFill>
                  <a:srgbClr val="000000">
                    <a:alpha val="60000"/>
                  </a:srgbClr>
                </a:solidFill>
              </a14:hiddenFill>
            </a:ext>
          </a:extLst>
        </p:spPr>
        <p:txBody>
          <a:bodyPr vert="horz" wrap="square" lIns="91440" tIns="36036" rIns="36036" bIns="91440" rtlCol="0" anchor="b">
            <a:spAutoFit/>
          </a:bodyPr>
          <a:lstStyle/>
          <a:p>
            <a:pPr marL="0" indent="0">
              <a:spcBef>
                <a:spcPct val="0"/>
              </a:spcBef>
              <a:buNone/>
            </a:pPr>
            <a:r>
              <a:rPr lang="en-AU" sz="1500" b="1">
                <a:solidFill>
                  <a:srgbClr val="FFFFFF"/>
                </a:solidFill>
              </a:rPr>
              <a:t>Healthcare</a:t>
            </a:r>
          </a:p>
        </p:txBody>
      </p:sp>
      <p:sp>
        <p:nvSpPr>
          <p:cNvPr id="75" name="btfpBulletedList882080">
            <a:extLst>
              <a:ext uri="{FF2B5EF4-FFF2-40B4-BE49-F238E27FC236}">
                <a16:creationId xmlns:a16="http://schemas.microsoft.com/office/drawing/2014/main" id="{66AC0897-7DB7-F787-9D0E-0281B764DA0F}"/>
              </a:ext>
            </a:extLst>
          </p:cNvPr>
          <p:cNvSpPr txBox="1"/>
          <p:nvPr>
            <p:custDataLst>
              <p:tags r:id="rId21"/>
            </p:custDataLst>
          </p:nvPr>
        </p:nvSpPr>
        <p:spPr bwMode="gray">
          <a:xfrm>
            <a:off x="9939868" y="3816883"/>
            <a:ext cx="1921933" cy="2304665"/>
          </a:xfrm>
          <a:prstGeom prst="rect">
            <a:avLst/>
          </a:prstGeom>
          <a:noFill/>
        </p:spPr>
        <p:txBody>
          <a:bodyPr vert="horz" wrap="square" lIns="109728" tIns="36000" rIns="182880" bIns="36576" rtlCol="0">
            <a:spAutoFit/>
          </a:bodyPr>
          <a:lstStyle/>
          <a:p>
            <a:pPr marL="0" indent="0">
              <a:spcBef>
                <a:spcPts val="1500"/>
              </a:spcBef>
              <a:buNone/>
            </a:pPr>
            <a:r>
              <a:rPr lang="en-AU" sz="1200"/>
              <a:t>AI support for content creators in music, film, video, novels, and art</a:t>
            </a:r>
          </a:p>
          <a:p>
            <a:pPr marL="0" indent="0">
              <a:spcBef>
                <a:spcPts val="1500"/>
              </a:spcBef>
              <a:buNone/>
            </a:pPr>
            <a:r>
              <a:rPr lang="en-AU" sz="1200"/>
              <a:t>Streamlined and enhanced special effects in movies and animation</a:t>
            </a:r>
          </a:p>
          <a:p>
            <a:pPr marL="0" indent="0">
              <a:spcBef>
                <a:spcPts val="1500"/>
              </a:spcBef>
              <a:buNone/>
            </a:pPr>
            <a:r>
              <a:rPr lang="en-AU" sz="1200"/>
              <a:t>Realistic interactive NPCs and dynamic worlds in video games</a:t>
            </a:r>
            <a:endParaRPr lang="en-AU" sz="1000"/>
          </a:p>
        </p:txBody>
      </p:sp>
      <p:sp>
        <p:nvSpPr>
          <p:cNvPr id="76" name="btfpBulletedList821814">
            <a:extLst>
              <a:ext uri="{FF2B5EF4-FFF2-40B4-BE49-F238E27FC236}">
                <a16:creationId xmlns:a16="http://schemas.microsoft.com/office/drawing/2014/main" id="{72731FDA-D9B4-D05C-E8A6-BCB65DC641A6}"/>
              </a:ext>
            </a:extLst>
          </p:cNvPr>
          <p:cNvSpPr txBox="1"/>
          <p:nvPr>
            <p:custDataLst>
              <p:tags r:id="rId22"/>
            </p:custDataLst>
          </p:nvPr>
        </p:nvSpPr>
        <p:spPr bwMode="gray">
          <a:xfrm>
            <a:off x="8017934" y="3816883"/>
            <a:ext cx="1921933" cy="1742973"/>
          </a:xfrm>
          <a:prstGeom prst="rect">
            <a:avLst/>
          </a:prstGeom>
          <a:noFill/>
        </p:spPr>
        <p:txBody>
          <a:bodyPr vert="horz" wrap="square" lIns="109728" tIns="36000" rIns="182880" bIns="36576" rtlCol="0">
            <a:spAutoFit/>
          </a:bodyPr>
          <a:lstStyle/>
          <a:p>
            <a:pPr marL="0" indent="0">
              <a:spcBef>
                <a:spcPts val="1500"/>
              </a:spcBef>
              <a:buNone/>
            </a:pPr>
            <a:r>
              <a:rPr lang="en-AU" sz="1200"/>
              <a:t>Effective fraud detection and prevention</a:t>
            </a:r>
          </a:p>
          <a:p>
            <a:pPr marL="0" indent="0">
              <a:spcBef>
                <a:spcPts val="1500"/>
              </a:spcBef>
              <a:buNone/>
            </a:pPr>
            <a:r>
              <a:rPr lang="en-AU" sz="1200"/>
              <a:t>Informed investment decisions and personalized investment advice</a:t>
            </a:r>
            <a:br>
              <a:rPr lang="en-AU" sz="1200"/>
            </a:br>
            <a:r>
              <a:rPr lang="en-AU" sz="1200"/>
              <a:t>for all </a:t>
            </a:r>
            <a:endParaRPr lang="en-AU" sz="1100"/>
          </a:p>
        </p:txBody>
      </p:sp>
      <p:sp>
        <p:nvSpPr>
          <p:cNvPr id="77" name="btfpBulletedList958619">
            <a:extLst>
              <a:ext uri="{FF2B5EF4-FFF2-40B4-BE49-F238E27FC236}">
                <a16:creationId xmlns:a16="http://schemas.microsoft.com/office/drawing/2014/main" id="{F83E7022-4ADE-688F-CF06-33677B27D2A3}"/>
              </a:ext>
            </a:extLst>
          </p:cNvPr>
          <p:cNvSpPr txBox="1"/>
          <p:nvPr>
            <p:custDataLst>
              <p:tags r:id="rId23"/>
            </p:custDataLst>
          </p:nvPr>
        </p:nvSpPr>
        <p:spPr bwMode="gray">
          <a:xfrm>
            <a:off x="6096000" y="3816883"/>
            <a:ext cx="1921933" cy="1742973"/>
          </a:xfrm>
          <a:prstGeom prst="rect">
            <a:avLst/>
          </a:prstGeom>
          <a:noFill/>
        </p:spPr>
        <p:txBody>
          <a:bodyPr vert="horz" wrap="square" lIns="109728" tIns="36000" rIns="182880" bIns="36576" rtlCol="0">
            <a:spAutoFit/>
          </a:bodyPr>
          <a:lstStyle/>
          <a:p>
            <a:pPr marL="0" indent="0">
              <a:spcBef>
                <a:spcPts val="1500"/>
              </a:spcBef>
              <a:buNone/>
            </a:pPr>
            <a:r>
              <a:rPr lang="en-AU" sz="1200"/>
              <a:t>AI-enhanced climate models for better understanding and mitigation</a:t>
            </a:r>
          </a:p>
          <a:p>
            <a:pPr marL="0" indent="0">
              <a:spcBef>
                <a:spcPts val="1500"/>
              </a:spcBef>
              <a:buNone/>
            </a:pPr>
            <a:r>
              <a:rPr lang="en-AU" sz="1200"/>
              <a:t>AI-powered monitoring to protect endangered species and combat poaching</a:t>
            </a:r>
            <a:endParaRPr lang="en-AU" sz="1100"/>
          </a:p>
        </p:txBody>
      </p:sp>
      <p:sp>
        <p:nvSpPr>
          <p:cNvPr id="78" name="btfpBulletedList394670">
            <a:extLst>
              <a:ext uri="{FF2B5EF4-FFF2-40B4-BE49-F238E27FC236}">
                <a16:creationId xmlns:a16="http://schemas.microsoft.com/office/drawing/2014/main" id="{6017A650-53F3-F390-B15B-66D070A7D349}"/>
              </a:ext>
            </a:extLst>
          </p:cNvPr>
          <p:cNvSpPr txBox="1"/>
          <p:nvPr>
            <p:custDataLst>
              <p:tags r:id="rId24"/>
            </p:custDataLst>
          </p:nvPr>
        </p:nvSpPr>
        <p:spPr bwMode="gray">
          <a:xfrm>
            <a:off x="4174067" y="3816883"/>
            <a:ext cx="1921933" cy="1188975"/>
          </a:xfrm>
          <a:prstGeom prst="rect">
            <a:avLst/>
          </a:prstGeom>
          <a:noFill/>
        </p:spPr>
        <p:txBody>
          <a:bodyPr vert="horz" wrap="square" lIns="109728" tIns="36000" rIns="182880" bIns="36576" rtlCol="0">
            <a:spAutoFit/>
          </a:bodyPr>
          <a:lstStyle/>
          <a:p>
            <a:pPr marL="0" indent="0">
              <a:spcBef>
                <a:spcPts val="1500"/>
              </a:spcBef>
              <a:buNone/>
            </a:pPr>
            <a:r>
              <a:rPr lang="en-AU" sz="1200"/>
              <a:t>Instant, real-time language translation for global communication</a:t>
            </a:r>
          </a:p>
          <a:p>
            <a:pPr marL="0" indent="0">
              <a:spcBef>
                <a:spcPts val="1500"/>
              </a:spcBef>
              <a:buNone/>
            </a:pPr>
            <a:r>
              <a:rPr lang="en-AU" sz="1200"/>
              <a:t>Facilitation of cross-cultural understanding</a:t>
            </a:r>
            <a:endParaRPr lang="en-AU" sz="1100"/>
          </a:p>
        </p:txBody>
      </p:sp>
      <p:sp>
        <p:nvSpPr>
          <p:cNvPr id="79" name="btfpBulletedList737160">
            <a:extLst>
              <a:ext uri="{FF2B5EF4-FFF2-40B4-BE49-F238E27FC236}">
                <a16:creationId xmlns:a16="http://schemas.microsoft.com/office/drawing/2014/main" id="{755A7B00-E64E-3C64-D8F1-C95C1A166C56}"/>
              </a:ext>
            </a:extLst>
          </p:cNvPr>
          <p:cNvSpPr txBox="1"/>
          <p:nvPr>
            <p:custDataLst>
              <p:tags r:id="rId25"/>
            </p:custDataLst>
          </p:nvPr>
        </p:nvSpPr>
        <p:spPr bwMode="gray">
          <a:xfrm>
            <a:off x="2252133" y="3816883"/>
            <a:ext cx="1921933" cy="1742973"/>
          </a:xfrm>
          <a:prstGeom prst="rect">
            <a:avLst/>
          </a:prstGeom>
          <a:noFill/>
        </p:spPr>
        <p:txBody>
          <a:bodyPr vert="horz" wrap="square" lIns="109728" tIns="36000" rIns="182880" bIns="36576" rtlCol="0">
            <a:spAutoFit/>
          </a:bodyPr>
          <a:lstStyle/>
          <a:p>
            <a:pPr marL="0" indent="0">
              <a:spcBef>
                <a:spcPts val="1500"/>
              </a:spcBef>
              <a:buNone/>
            </a:pPr>
            <a:r>
              <a:rPr lang="en-AU" sz="1200"/>
              <a:t>Personalized learning through AI-powered platforms</a:t>
            </a:r>
          </a:p>
          <a:p>
            <a:pPr marL="0" indent="0">
              <a:spcBef>
                <a:spcPts val="1500"/>
              </a:spcBef>
              <a:buNone/>
            </a:pPr>
            <a:r>
              <a:rPr lang="en-AU" sz="1200"/>
              <a:t>Increased accessibility for students with disabilities or from low socioeconomic backgrounds</a:t>
            </a:r>
            <a:endParaRPr lang="en-AU" sz="1100"/>
          </a:p>
        </p:txBody>
      </p:sp>
      <p:sp>
        <p:nvSpPr>
          <p:cNvPr id="80" name="btfpBulletedList383348">
            <a:extLst>
              <a:ext uri="{FF2B5EF4-FFF2-40B4-BE49-F238E27FC236}">
                <a16:creationId xmlns:a16="http://schemas.microsoft.com/office/drawing/2014/main" id="{A74477E2-F9A5-7E77-925C-C81E5F82B068}"/>
              </a:ext>
            </a:extLst>
          </p:cNvPr>
          <p:cNvSpPr txBox="1"/>
          <p:nvPr>
            <p:custDataLst>
              <p:tags r:id="rId26"/>
            </p:custDataLst>
          </p:nvPr>
        </p:nvSpPr>
        <p:spPr bwMode="gray">
          <a:xfrm>
            <a:off x="330200" y="3816883"/>
            <a:ext cx="1921933" cy="1566001"/>
          </a:xfrm>
          <a:prstGeom prst="rect">
            <a:avLst/>
          </a:prstGeom>
          <a:noFill/>
        </p:spPr>
        <p:txBody>
          <a:bodyPr vert="horz" wrap="square" lIns="109728" tIns="36000" rIns="182880" bIns="36576" rtlCol="0">
            <a:spAutoFit/>
          </a:bodyPr>
          <a:lstStyle/>
          <a:p>
            <a:pPr marL="0" indent="0">
              <a:spcBef>
                <a:spcPts val="1500"/>
              </a:spcBef>
              <a:buNone/>
            </a:pPr>
            <a:r>
              <a:rPr lang="en-AU" sz="1200"/>
              <a:t>Accelerated drug discovery and synthesis</a:t>
            </a:r>
          </a:p>
          <a:p>
            <a:pPr marL="0" indent="0">
              <a:spcBef>
                <a:spcPts val="1500"/>
              </a:spcBef>
              <a:buNone/>
            </a:pPr>
            <a:r>
              <a:rPr lang="en-AU" sz="1200"/>
              <a:t>Personalized medicine options</a:t>
            </a:r>
          </a:p>
          <a:p>
            <a:pPr marL="0" indent="0">
              <a:spcBef>
                <a:spcPts val="1500"/>
              </a:spcBef>
              <a:buNone/>
            </a:pPr>
            <a:r>
              <a:rPr lang="en-AU" sz="1200"/>
              <a:t>Enhanced access to healthcare services</a:t>
            </a:r>
            <a:endParaRPr lang="en-AU" sz="1000"/>
          </a:p>
        </p:txBody>
      </p:sp>
    </p:spTree>
    <p:custDataLst>
      <p:tags r:id="rId1"/>
    </p:custDataLst>
    <p:extLst>
      <p:ext uri="{BB962C8B-B14F-4D97-AF65-F5344CB8AC3E}">
        <p14:creationId xmlns:p14="http://schemas.microsoft.com/office/powerpoint/2010/main" val="1232697760"/>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When </a:t>
            </a:r>
            <a:r>
              <a:rPr lang="en-US" dirty="0"/>
              <a:t>to Regulate?</a:t>
            </a:r>
            <a:endParaRPr lang="en-SG" dirty="0"/>
          </a:p>
        </p:txBody>
      </p:sp>
      <p:cxnSp>
        <p:nvCxnSpPr>
          <p:cNvPr id="10" name="Straight Arrow Connector 9">
            <a:extLst>
              <a:ext uri="{FF2B5EF4-FFF2-40B4-BE49-F238E27FC236}">
                <a16:creationId xmlns:a16="http://schemas.microsoft.com/office/drawing/2014/main" id="{54B8CC89-F3DF-060E-AA79-7089D8341FE1}"/>
              </a:ext>
            </a:extLst>
          </p:cNvPr>
          <p:cNvCxnSpPr/>
          <p:nvPr/>
        </p:nvCxnSpPr>
        <p:spPr>
          <a:xfrm flipV="1">
            <a:off x="2388636" y="2006082"/>
            <a:ext cx="0" cy="3713583"/>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BA5F3C6-4C48-6FFB-E55B-18EB03694D0A}"/>
              </a:ext>
            </a:extLst>
          </p:cNvPr>
          <p:cNvCxnSpPr>
            <a:cxnSpLocks/>
          </p:cNvCxnSpPr>
          <p:nvPr/>
        </p:nvCxnSpPr>
        <p:spPr>
          <a:xfrm>
            <a:off x="2388636" y="5694783"/>
            <a:ext cx="7567127" cy="24882"/>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9F4CCA3-D237-09FB-7A49-C5A783A878AC}"/>
              </a:ext>
            </a:extLst>
          </p:cNvPr>
          <p:cNvSpPr txBox="1"/>
          <p:nvPr/>
        </p:nvSpPr>
        <p:spPr>
          <a:xfrm>
            <a:off x="5612362" y="5802868"/>
            <a:ext cx="1119674"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SG" sz="1800" b="0" i="1" u="none" strike="noStrike" kern="1200" cap="none" spc="0" normalizeH="0" baseline="0" noProof="0" dirty="0">
                <a:ln>
                  <a:noFill/>
                </a:ln>
                <a:solidFill>
                  <a:prstClr val="black"/>
                </a:solidFill>
                <a:effectLst/>
                <a:uLnTx/>
                <a:uFillTx/>
                <a:latin typeface="Franklin Gothic Book" panose="020B0503020102020204"/>
                <a:ea typeface="+mn-ea"/>
                <a:cs typeface="+mn-cs"/>
              </a:rPr>
              <a:t>Time</a:t>
            </a:r>
          </a:p>
        </p:txBody>
      </p:sp>
      <p:cxnSp>
        <p:nvCxnSpPr>
          <p:cNvPr id="15" name="Straight Arrow Connector 14">
            <a:extLst>
              <a:ext uri="{FF2B5EF4-FFF2-40B4-BE49-F238E27FC236}">
                <a16:creationId xmlns:a16="http://schemas.microsoft.com/office/drawing/2014/main" id="{A27C769A-201C-ACB6-3399-2928A1B6214D}"/>
              </a:ext>
            </a:extLst>
          </p:cNvPr>
          <p:cNvCxnSpPr>
            <a:cxnSpLocks/>
          </p:cNvCxnSpPr>
          <p:nvPr/>
        </p:nvCxnSpPr>
        <p:spPr>
          <a:xfrm flipV="1">
            <a:off x="2407294" y="2425959"/>
            <a:ext cx="7315204" cy="2332653"/>
          </a:xfrm>
          <a:prstGeom prst="straightConnector1">
            <a:avLst/>
          </a:prstGeom>
          <a:ln w="3810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Straight Arrow Connector 2">
            <a:extLst>
              <a:ext uri="{FF2B5EF4-FFF2-40B4-BE49-F238E27FC236}">
                <a16:creationId xmlns:a16="http://schemas.microsoft.com/office/drawing/2014/main" id="{EDDB7E32-2950-2071-283F-87E291805BA6}"/>
              </a:ext>
            </a:extLst>
          </p:cNvPr>
          <p:cNvCxnSpPr>
            <a:cxnSpLocks/>
          </p:cNvCxnSpPr>
          <p:nvPr/>
        </p:nvCxnSpPr>
        <p:spPr>
          <a:xfrm>
            <a:off x="2407294" y="2360645"/>
            <a:ext cx="7212567" cy="2230016"/>
          </a:xfrm>
          <a:prstGeom prst="straightConnector1">
            <a:avLst/>
          </a:prstGeom>
          <a:ln w="38100">
            <a:solidFill>
              <a:srgbClr val="00B0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341911B7-F7A0-DF27-938D-85C2A96DD5EC}"/>
              </a:ext>
            </a:extLst>
          </p:cNvPr>
          <p:cNvSpPr txBox="1"/>
          <p:nvPr/>
        </p:nvSpPr>
        <p:spPr>
          <a:xfrm rot="20496398">
            <a:off x="7628371" y="2354709"/>
            <a:ext cx="189721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SG" sz="1800" b="0" i="0" u="none" strike="noStrike" kern="1200" cap="none" spc="0" normalizeH="0" baseline="0" noProof="0" dirty="0">
                <a:ln>
                  <a:noFill/>
                </a:ln>
                <a:solidFill>
                  <a:prstClr val="black"/>
                </a:solidFill>
                <a:effectLst/>
                <a:uLnTx/>
                <a:uFillTx/>
                <a:latin typeface="Franklin Gothic Book" panose="020B0503020102020204"/>
                <a:ea typeface="+mn-ea"/>
                <a:cs typeface="+mn-cs"/>
              </a:rPr>
              <a:t>Knowledge of risk</a:t>
            </a:r>
          </a:p>
        </p:txBody>
      </p:sp>
      <p:sp>
        <p:nvSpPr>
          <p:cNvPr id="12" name="TextBox 11">
            <a:extLst>
              <a:ext uri="{FF2B5EF4-FFF2-40B4-BE49-F238E27FC236}">
                <a16:creationId xmlns:a16="http://schemas.microsoft.com/office/drawing/2014/main" id="{42FE5FCE-4F1C-FE21-7B92-850249E1555F}"/>
              </a:ext>
            </a:extLst>
          </p:cNvPr>
          <p:cNvSpPr txBox="1"/>
          <p:nvPr/>
        </p:nvSpPr>
        <p:spPr>
          <a:xfrm rot="996291">
            <a:off x="7992480" y="3991835"/>
            <a:ext cx="1951195"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SG" sz="1800" b="0" i="0" u="none" strike="noStrike" kern="1200" cap="none" spc="0" normalizeH="0" baseline="0" noProof="0" dirty="0">
                <a:ln>
                  <a:noFill/>
                </a:ln>
                <a:solidFill>
                  <a:prstClr val="black"/>
                </a:solidFill>
                <a:effectLst/>
                <a:uLnTx/>
                <a:uFillTx/>
                <a:latin typeface="Franklin Gothic Book" panose="020B0503020102020204"/>
                <a:ea typeface="+mn-ea"/>
                <a:cs typeface="+mn-cs"/>
              </a:rPr>
              <a:t>Ability to control</a:t>
            </a:r>
          </a:p>
        </p:txBody>
      </p:sp>
    </p:spTree>
    <p:extLst>
      <p:ext uri="{BB962C8B-B14F-4D97-AF65-F5344CB8AC3E}">
        <p14:creationId xmlns:p14="http://schemas.microsoft.com/office/powerpoint/2010/main" val="1071257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wipe(left)">
                                      <p:cBhvr>
                                        <p:cTn id="11" dur="500"/>
                                        <p:tgtEl>
                                          <p:spTgt spid="12"/>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wipe(left)">
                                      <p:cBhvr>
                                        <p:cTn id="15" dur="500"/>
                                        <p:tgtEl>
                                          <p:spTgt spid="15"/>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3600"/>
              <a:t>Manage </a:t>
            </a:r>
            <a:r>
              <a:rPr lang="en-US" sz="3600" dirty="0"/>
              <a:t>risks</a:t>
            </a:r>
          </a:p>
          <a:p>
            <a:r>
              <a:rPr lang="en-US" sz="3600" dirty="0"/>
              <a:t>Red lines</a:t>
            </a:r>
          </a:p>
          <a:p>
            <a:r>
              <a:rPr lang="en-US" sz="3600" dirty="0"/>
              <a:t>Process legitimacy</a:t>
            </a:r>
            <a:endParaRPr lang="en-SG" sz="3600" dirty="0"/>
          </a:p>
        </p:txBody>
      </p:sp>
      <p:pic>
        <p:nvPicPr>
          <p:cNvPr id="5122" name="Picture 2" descr="https://scwcontent.affino.com/AcuCustom/Sitename/DAM/014/Autonomous-vehicle-AdobeStock_174958313_r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62746" y="-243614"/>
            <a:ext cx="3819754" cy="2546502"/>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cdn.vox-cdn.com/thumbor/tuqIAcwGgmwgqVjB32k9cONHW8c=/0x0:1020x680/1200x800/filters:focal(415x207:577x369)/cdn.vox-cdn.com/uploads/chorus_image/image/56882573/terminator_endoskeleton_1020.0.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62746" y="2022550"/>
            <a:ext cx="3629254" cy="2419503"/>
          </a:xfrm>
          <a:prstGeom prst="rect">
            <a:avLst/>
          </a:prstGeom>
          <a:noFill/>
          <a:extLst>
            <a:ext uri="{909E8E84-426E-40DD-AFC4-6F175D3DCCD1}">
              <a14:hiddenFill xmlns:a14="http://schemas.microsoft.com/office/drawing/2010/main">
                <a:solidFill>
                  <a:srgbClr val="FFFFFF"/>
                </a:solidFill>
              </a14:hiddenFill>
            </a:ext>
          </a:extLst>
        </p:spPr>
      </p:pic>
      <p:sp>
        <p:nvSpPr>
          <p:cNvPr id="23" name="Title 1"/>
          <p:cNvSpPr>
            <a:spLocks noGrp="1"/>
          </p:cNvSpPr>
          <p:nvPr>
            <p:ph type="title"/>
          </p:nvPr>
        </p:nvSpPr>
        <p:spPr>
          <a:xfrm>
            <a:off x="1371600" y="685800"/>
            <a:ext cx="9601200" cy="1485900"/>
          </a:xfrm>
        </p:spPr>
        <p:txBody>
          <a:bodyPr/>
          <a:lstStyle/>
          <a:p>
            <a:r>
              <a:rPr lang="en-US" b="1" dirty="0"/>
              <a:t>How</a:t>
            </a:r>
            <a:r>
              <a:rPr lang="en-US" dirty="0"/>
              <a:t>? Supply of regulation</a:t>
            </a:r>
          </a:p>
        </p:txBody>
      </p:sp>
      <p:grpSp>
        <p:nvGrpSpPr>
          <p:cNvPr id="24" name="Group 23"/>
          <p:cNvGrpSpPr/>
          <p:nvPr/>
        </p:nvGrpSpPr>
        <p:grpSpPr>
          <a:xfrm>
            <a:off x="2779776" y="316769"/>
            <a:ext cx="3580928" cy="883381"/>
            <a:chOff x="1371600" y="316769"/>
            <a:chExt cx="3580928" cy="883381"/>
          </a:xfrm>
        </p:grpSpPr>
        <p:sp>
          <p:nvSpPr>
            <p:cNvPr id="25" name="TextBox 24"/>
            <p:cNvSpPr txBox="1"/>
            <p:nvPr/>
          </p:nvSpPr>
          <p:spPr>
            <a:xfrm>
              <a:off x="1548425" y="316769"/>
              <a:ext cx="3404103"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0000"/>
                  </a:solidFill>
                  <a:effectLst/>
                  <a:uLnTx/>
                  <a:uFillTx/>
                  <a:latin typeface="MV Boli" panose="02000500030200090000" pitchFamily="2" charset="0"/>
                  <a:ea typeface="+mn-ea"/>
                  <a:cs typeface="MV Boli" panose="02000500030200090000" pitchFamily="2" charset="0"/>
                </a:rPr>
                <a:t>Demand for</a:t>
              </a:r>
            </a:p>
          </p:txBody>
        </p:sp>
        <p:cxnSp>
          <p:nvCxnSpPr>
            <p:cNvPr id="26" name="Straight Connector 25"/>
            <p:cNvCxnSpPr/>
            <p:nvPr/>
          </p:nvCxnSpPr>
          <p:spPr>
            <a:xfrm flipV="1">
              <a:off x="1371600" y="917288"/>
              <a:ext cx="2434250" cy="282862"/>
            </a:xfrm>
            <a:prstGeom prst="line">
              <a:avLst/>
            </a:prstGeom>
            <a:ln w="95250">
              <a:solidFill>
                <a:srgbClr val="FF0000"/>
              </a:solidFill>
            </a:ln>
          </p:spPr>
          <p:style>
            <a:lnRef idx="2">
              <a:schemeClr val="accent6"/>
            </a:lnRef>
            <a:fillRef idx="0">
              <a:schemeClr val="accent6"/>
            </a:fillRef>
            <a:effectRef idx="1">
              <a:schemeClr val="accent6"/>
            </a:effectRef>
            <a:fontRef idx="minor">
              <a:schemeClr val="tx1"/>
            </a:fontRef>
          </p:style>
        </p:cxnSp>
        <p:cxnSp>
          <p:nvCxnSpPr>
            <p:cNvPr id="27" name="Straight Connector 26"/>
            <p:cNvCxnSpPr/>
            <p:nvPr/>
          </p:nvCxnSpPr>
          <p:spPr>
            <a:xfrm>
              <a:off x="1371600" y="813957"/>
              <a:ext cx="2329475" cy="328157"/>
            </a:xfrm>
            <a:prstGeom prst="line">
              <a:avLst/>
            </a:prstGeom>
            <a:ln w="95250">
              <a:solidFill>
                <a:srgbClr val="FF0000"/>
              </a:solidFill>
            </a:ln>
          </p:spPr>
          <p:style>
            <a:lnRef idx="2">
              <a:schemeClr val="accent6"/>
            </a:lnRef>
            <a:fillRef idx="0">
              <a:schemeClr val="accent6"/>
            </a:fillRef>
            <a:effectRef idx="1">
              <a:schemeClr val="accent6"/>
            </a:effectRef>
            <a:fontRef idx="minor">
              <a:schemeClr val="tx1"/>
            </a:fontRef>
          </p:style>
        </p:cxnSp>
      </p:grpSp>
      <p:pic>
        <p:nvPicPr>
          <p:cNvPr id="11" name="Picture 2" descr="https://images.theconversation.com/files/169366/original/file-20170515-7005-ybtl2u.jpg?ixlib=rb-1.1.0&amp;q=45&amp;auto=format&amp;w=926&amp;fit=clip"/>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562746" y="4266414"/>
            <a:ext cx="3629254" cy="2723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8288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fade">
                                      <p:cBhvr>
                                        <p:cTn id="12" dur="500"/>
                                        <p:tgtEl>
                                          <p:spTgt spid="3">
                                            <p:txEl>
                                              <p:pRg st="0" end="0"/>
                                            </p:txEl>
                                          </p:spTgt>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5122"/>
                                        </p:tgtEl>
                                        <p:attrNameLst>
                                          <p:attrName>style.visibility</p:attrName>
                                        </p:attrNameLst>
                                      </p:cBhvr>
                                      <p:to>
                                        <p:strVal val="visible"/>
                                      </p:to>
                                    </p:set>
                                    <p:animEffect transition="in" filter="fade">
                                      <p:cBhvr>
                                        <p:cTn id="16" dur="500"/>
                                        <p:tgtEl>
                                          <p:spTgt spid="512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
                                            <p:txEl>
                                              <p:pRg st="1" end="1"/>
                                            </p:txEl>
                                          </p:spTgt>
                                        </p:tgtEl>
                                        <p:attrNameLst>
                                          <p:attrName>style.visibility</p:attrName>
                                        </p:attrNameLst>
                                      </p:cBhvr>
                                      <p:to>
                                        <p:strVal val="visible"/>
                                      </p:to>
                                    </p:set>
                                    <p:animEffect transition="in" filter="fade">
                                      <p:cBhvr>
                                        <p:cTn id="21" dur="500"/>
                                        <p:tgtEl>
                                          <p:spTgt spid="3">
                                            <p:txEl>
                                              <p:pRg st="1" end="1"/>
                                            </p:txEl>
                                          </p:spTgt>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5124"/>
                                        </p:tgtEl>
                                        <p:attrNameLst>
                                          <p:attrName>style.visibility</p:attrName>
                                        </p:attrNameLst>
                                      </p:cBhvr>
                                      <p:to>
                                        <p:strVal val="visible"/>
                                      </p:to>
                                    </p:set>
                                    <p:animEffect transition="in" filter="fade">
                                      <p:cBhvr>
                                        <p:cTn id="25" dur="500"/>
                                        <p:tgtEl>
                                          <p:spTgt spid="5124"/>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
                                            <p:txEl>
                                              <p:pRg st="2" end="2"/>
                                            </p:txEl>
                                          </p:spTgt>
                                        </p:tgtEl>
                                        <p:attrNameLst>
                                          <p:attrName>style.visibility</p:attrName>
                                        </p:attrNameLst>
                                      </p:cBhvr>
                                      <p:to>
                                        <p:strVal val="visible"/>
                                      </p:to>
                                    </p:set>
                                    <p:animEffect transition="in" filter="fade">
                                      <p:cBhvr>
                                        <p:cTn id="30" dur="500"/>
                                        <p:tgtEl>
                                          <p:spTgt spid="3">
                                            <p:txEl>
                                              <p:pRg st="2" end="2"/>
                                            </p:txEl>
                                          </p:spTgt>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3600" dirty="0"/>
              <a:t>Standards &amp; self-regulation</a:t>
            </a:r>
          </a:p>
          <a:p>
            <a:r>
              <a:rPr lang="en-US" sz="3600" dirty="0"/>
              <a:t>States</a:t>
            </a:r>
          </a:p>
          <a:p>
            <a:r>
              <a:rPr lang="en-US" sz="3600" dirty="0"/>
              <a:t>International coordination?</a:t>
            </a:r>
            <a:endParaRPr lang="en-SG" sz="3600" dirty="0"/>
          </a:p>
        </p:txBody>
      </p:sp>
      <p:sp>
        <p:nvSpPr>
          <p:cNvPr id="23" name="Title 1"/>
          <p:cNvSpPr>
            <a:spLocks noGrp="1"/>
          </p:cNvSpPr>
          <p:nvPr>
            <p:ph type="title"/>
          </p:nvPr>
        </p:nvSpPr>
        <p:spPr>
          <a:xfrm>
            <a:off x="1371600" y="685800"/>
            <a:ext cx="9601200" cy="1485900"/>
          </a:xfrm>
        </p:spPr>
        <p:txBody>
          <a:bodyPr/>
          <a:lstStyle/>
          <a:p>
            <a:r>
              <a:rPr lang="en-US" b="1" dirty="0"/>
              <a:t>Who </a:t>
            </a:r>
            <a:r>
              <a:rPr lang="en-US" dirty="0"/>
              <a:t>should regulate?</a:t>
            </a:r>
          </a:p>
        </p:txBody>
      </p:sp>
      <p:pic>
        <p:nvPicPr>
          <p:cNvPr id="2050" name="Picture 2" descr="Dont Push The Red Button GIFs | Tenor"/>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8562746" y="-58260"/>
            <a:ext cx="3629254" cy="271829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www.aware.org.sg/wp-content/uploads/law.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62747" y="1095375"/>
            <a:ext cx="3629253" cy="2722324"/>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www.renemagritte.org/images/paintings/man-in-a-bowler-hat.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62745" y="2229303"/>
            <a:ext cx="3629255" cy="46286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4772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050"/>
                                        </p:tgtEl>
                                        <p:attrNameLst>
                                          <p:attrName>style.visibility</p:attrName>
                                        </p:attrNameLst>
                                      </p:cBhvr>
                                      <p:to>
                                        <p:strVal val="visible"/>
                                      </p:to>
                                    </p:set>
                                    <p:animEffect transition="in" filter="fade">
                                      <p:cBhvr>
                                        <p:cTn id="10" dur="500"/>
                                        <p:tgtEl>
                                          <p:spTgt spid="205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052"/>
                                        </p:tgtEl>
                                        <p:attrNameLst>
                                          <p:attrName>style.visibility</p:attrName>
                                        </p:attrNameLst>
                                      </p:cBhvr>
                                      <p:to>
                                        <p:strVal val="visible"/>
                                      </p:to>
                                    </p:set>
                                    <p:animEffect transition="in" filter="fade">
                                      <p:cBhvr>
                                        <p:cTn id="18" dur="500"/>
                                        <p:tgtEl>
                                          <p:spTgt spid="205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animEffect transition="in" filter="fade">
                                      <p:cBhvr>
                                        <p:cTn id="23" dur="500"/>
                                        <p:tgtEl>
                                          <p:spTgt spid="3">
                                            <p:txEl>
                                              <p:pRg st="2" end="2"/>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2054"/>
                                        </p:tgtEl>
                                        <p:attrNameLst>
                                          <p:attrName>style.visibility</p:attrName>
                                        </p:attrNameLst>
                                      </p:cBhvr>
                                      <p:to>
                                        <p:strVal val="visible"/>
                                      </p:to>
                                    </p:set>
                                    <p:animEffect transition="in" filter="fade">
                                      <p:cBhvr>
                                        <p:cTn id="26" dur="500"/>
                                        <p:tgtEl>
                                          <p:spTgt spid="20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8" name="Content Placeholder 7">
            <a:extLst>
              <a:ext uri="{FF2B5EF4-FFF2-40B4-BE49-F238E27FC236}">
                <a16:creationId xmlns:a16="http://schemas.microsoft.com/office/drawing/2014/main" id="{49B7BAFC-E97E-4081-9113-7008D2B952CC}"/>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139008" y="1204807"/>
            <a:ext cx="8046720" cy="6962988"/>
          </a:xfrm>
          <a:scene3d>
            <a:camera prst="orthographicFront">
              <a:rot lat="0" lon="0" rev="0"/>
            </a:camera>
            <a:lightRig rig="threePt" dir="t"/>
          </a:scene3d>
        </p:spPr>
      </p:pic>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388989C-8C01-429F-94F0-97363AB1CE47}" type="slidenum">
              <a:rPr kumimoji="0" lang="en-SG" sz="1200" b="0" i="0" u="none" strike="noStrike" kern="1200" cap="none" spc="0" normalizeH="0" baseline="0" noProof="0" smtClean="0">
                <a:ln>
                  <a:noFill/>
                </a:ln>
                <a:solidFill>
                  <a:srgbClr val="191B0E"/>
                </a:solidFill>
                <a:effectLst/>
                <a:uLnTx/>
                <a:uFillTx/>
                <a:latin typeface="Franklin Gothic Book" panose="020B05030201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SG" sz="1200" b="0" i="0" u="none" strike="noStrike" kern="1200" cap="none" spc="0" normalizeH="0" baseline="0" noProof="0">
              <a:ln>
                <a:noFill/>
              </a:ln>
              <a:solidFill>
                <a:srgbClr val="191B0E"/>
              </a:solidFill>
              <a:effectLst/>
              <a:uLnTx/>
              <a:uFillTx/>
              <a:latin typeface="Franklin Gothic Book" panose="020B0503020102020204"/>
              <a:ea typeface="+mn-ea"/>
              <a:cs typeface="+mn-cs"/>
            </a:endParaRPr>
          </a:p>
        </p:txBody>
      </p:sp>
      <p:graphicFrame>
        <p:nvGraphicFramePr>
          <p:cNvPr id="5" name="Object 4"/>
          <p:cNvGraphicFramePr>
            <a:graphicFrameLocks noChangeAspect="1"/>
          </p:cNvGraphicFramePr>
          <p:nvPr/>
        </p:nvGraphicFramePr>
        <p:xfrm>
          <a:off x="8572501" y="0"/>
          <a:ext cx="3619500" cy="5491162"/>
        </p:xfrm>
        <a:graphic>
          <a:graphicData uri="http://schemas.openxmlformats.org/presentationml/2006/ole">
            <mc:AlternateContent xmlns:mc="http://schemas.openxmlformats.org/markup-compatibility/2006">
              <mc:Choice xmlns:v="urn:schemas-microsoft-com:vml" Requires="v">
                <p:oleObj name="Acrobat Document" r:id="rId4" imgW="3345003" imgH="5074636" progId="Acrobat.Document.DC">
                  <p:embed/>
                </p:oleObj>
              </mc:Choice>
              <mc:Fallback>
                <p:oleObj name="Acrobat Document" r:id="rId4" imgW="3345003" imgH="5074636" progId="Acrobat.Document.DC">
                  <p:embed/>
                  <p:pic>
                    <p:nvPicPr>
                      <p:cNvPr id="5" name="Object 4"/>
                      <p:cNvPicPr/>
                      <p:nvPr/>
                    </p:nvPicPr>
                    <p:blipFill>
                      <a:blip r:embed="rId5"/>
                      <a:stretch>
                        <a:fillRect/>
                      </a:stretch>
                    </p:blipFill>
                    <p:spPr>
                      <a:xfrm>
                        <a:off x="8572501" y="0"/>
                        <a:ext cx="3619500" cy="5491162"/>
                      </a:xfrm>
                      <a:prstGeom prst="rect">
                        <a:avLst/>
                      </a:prstGeom>
                    </p:spPr>
                  </p:pic>
                </p:oleObj>
              </mc:Fallback>
            </mc:AlternateContent>
          </a:graphicData>
        </a:graphic>
      </p:graphicFrame>
      <p:pic>
        <p:nvPicPr>
          <p:cNvPr id="6" name="Picture 2">
            <a:extLst>
              <a:ext uri="{FF2B5EF4-FFF2-40B4-BE49-F238E27FC236}">
                <a16:creationId xmlns:a16="http://schemas.microsoft.com/office/drawing/2014/main" id="{795DE2B7-CE89-2261-09B2-1E855DDABD8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3619501" cy="55823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4B068E7D-97CA-45B1-A63F-FAC671E5775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62010" y="4231493"/>
            <a:ext cx="2629989" cy="2629989"/>
          </a:xfrm>
          <a:prstGeom prst="rect">
            <a:avLst/>
          </a:prstGeom>
        </p:spPr>
      </p:pic>
      <p:pic>
        <p:nvPicPr>
          <p:cNvPr id="10" name="Picture 9">
            <a:extLst>
              <a:ext uri="{FF2B5EF4-FFF2-40B4-BE49-F238E27FC236}">
                <a16:creationId xmlns:a16="http://schemas.microsoft.com/office/drawing/2014/main" id="{FCBCDBB7-637A-486B-870E-BDB28EDE958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4228010"/>
            <a:ext cx="2629989" cy="2629989"/>
          </a:xfrm>
          <a:prstGeom prst="rect">
            <a:avLst/>
          </a:prstGeom>
        </p:spPr>
      </p:pic>
    </p:spTree>
    <p:extLst>
      <p:ext uri="{BB962C8B-B14F-4D97-AF65-F5344CB8AC3E}">
        <p14:creationId xmlns:p14="http://schemas.microsoft.com/office/powerpoint/2010/main" val="2239445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btfpColumnIndicatorGroup2">
            <a:extLst>
              <a:ext uri="{FF2B5EF4-FFF2-40B4-BE49-F238E27FC236}">
                <a16:creationId xmlns:a16="http://schemas.microsoft.com/office/drawing/2014/main" id="{531C25D4-3BDB-247F-F2CB-610A62C3D4FE}"/>
              </a:ext>
            </a:extLst>
          </p:cNvPr>
          <p:cNvGrpSpPr/>
          <p:nvPr>
            <p:custDataLst>
              <p:tags r:id="rId2"/>
            </p:custDataLst>
          </p:nvPr>
        </p:nvGrpSpPr>
        <p:grpSpPr>
          <a:xfrm>
            <a:off x="0" y="6926580"/>
            <a:ext cx="12192000" cy="137160"/>
            <a:chOff x="0" y="6926580"/>
            <a:chExt cx="12192000" cy="137160"/>
          </a:xfrm>
        </p:grpSpPr>
        <p:sp>
          <p:nvSpPr>
            <p:cNvPr id="79" name="btfpColumnGapBlocker733842">
              <a:extLst>
                <a:ext uri="{FF2B5EF4-FFF2-40B4-BE49-F238E27FC236}">
                  <a16:creationId xmlns:a16="http://schemas.microsoft.com/office/drawing/2014/main" id="{310969AD-6D26-BFD0-FAAD-C3EACF4305E5}"/>
                </a:ext>
              </a:extLst>
            </p:cNvPr>
            <p:cNvSpPr/>
            <p:nvPr>
              <p:custDataLst>
                <p:tags r:id="rId39"/>
              </p:custDataLst>
            </p:nvPr>
          </p:nvSpPr>
          <p:spPr bwMode="gray">
            <a:xfrm>
              <a:off x="11861800" y="692658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sp>
          <p:nvSpPr>
            <p:cNvPr id="77" name="btfpColumnGapBlocker697428">
              <a:extLst>
                <a:ext uri="{FF2B5EF4-FFF2-40B4-BE49-F238E27FC236}">
                  <a16:creationId xmlns:a16="http://schemas.microsoft.com/office/drawing/2014/main" id="{20EF980B-1488-665D-61D8-C14CDE12C63F}"/>
                </a:ext>
              </a:extLst>
            </p:cNvPr>
            <p:cNvSpPr/>
            <p:nvPr>
              <p:custDataLst>
                <p:tags r:id="rId40"/>
              </p:custDataLst>
            </p:nvPr>
          </p:nvSpPr>
          <p:spPr bwMode="gray">
            <a:xfrm>
              <a:off x="7837752" y="6926580"/>
              <a:ext cx="540544"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73" name="btfpColumnIndicator259437">
              <a:extLst>
                <a:ext uri="{FF2B5EF4-FFF2-40B4-BE49-F238E27FC236}">
                  <a16:creationId xmlns:a16="http://schemas.microsoft.com/office/drawing/2014/main" id="{E1E1A26E-6C28-431E-EA8A-4DB7C2299EDE}"/>
                </a:ext>
              </a:extLst>
            </p:cNvPr>
            <p:cNvCxnSpPr/>
            <p:nvPr>
              <p:custDataLst>
                <p:tags r:id="rId41"/>
              </p:custDataLst>
            </p:nvPr>
          </p:nvCxnSpPr>
          <p:spPr bwMode="gray">
            <a:xfrm flipH="1" flipV="1">
              <a:off x="11861800"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0" name="btfpColumnIndicator674359">
              <a:extLst>
                <a:ext uri="{FF2B5EF4-FFF2-40B4-BE49-F238E27FC236}">
                  <a16:creationId xmlns:a16="http://schemas.microsoft.com/office/drawing/2014/main" id="{5A4B7493-10F9-0760-C061-7C355C5D7078}"/>
                </a:ext>
              </a:extLst>
            </p:cNvPr>
            <p:cNvCxnSpPr/>
            <p:nvPr>
              <p:custDataLst>
                <p:tags r:id="rId42"/>
              </p:custDataLst>
            </p:nvPr>
          </p:nvCxnSpPr>
          <p:spPr bwMode="gray">
            <a:xfrm flipH="1" flipV="1">
              <a:off x="8378296"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8" name="btfpColumnGapBlocker611464">
              <a:extLst>
                <a:ext uri="{FF2B5EF4-FFF2-40B4-BE49-F238E27FC236}">
                  <a16:creationId xmlns:a16="http://schemas.microsoft.com/office/drawing/2014/main" id="{AE3EC15E-0A3F-25C8-BCAD-BF9939E7F3C1}"/>
                </a:ext>
              </a:extLst>
            </p:cNvPr>
            <p:cNvSpPr/>
            <p:nvPr>
              <p:custDataLst>
                <p:tags r:id="rId43"/>
              </p:custDataLst>
            </p:nvPr>
          </p:nvSpPr>
          <p:spPr bwMode="gray">
            <a:xfrm>
              <a:off x="3813704" y="6926580"/>
              <a:ext cx="540544"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66" name="btfpColumnIndicator942634">
              <a:extLst>
                <a:ext uri="{FF2B5EF4-FFF2-40B4-BE49-F238E27FC236}">
                  <a16:creationId xmlns:a16="http://schemas.microsoft.com/office/drawing/2014/main" id="{5143FED6-F452-FC68-5656-A3C9E4FFDB81}"/>
                </a:ext>
              </a:extLst>
            </p:cNvPr>
            <p:cNvCxnSpPr/>
            <p:nvPr>
              <p:custDataLst>
                <p:tags r:id="rId44"/>
              </p:custDataLst>
            </p:nvPr>
          </p:nvCxnSpPr>
          <p:spPr bwMode="gray">
            <a:xfrm flipH="1" flipV="1">
              <a:off x="7837752"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4" name="btfpColumnIndicator293282">
              <a:extLst>
                <a:ext uri="{FF2B5EF4-FFF2-40B4-BE49-F238E27FC236}">
                  <a16:creationId xmlns:a16="http://schemas.microsoft.com/office/drawing/2014/main" id="{025026A1-5CE4-8E09-ED8A-7ADAA37A7119}"/>
                </a:ext>
              </a:extLst>
            </p:cNvPr>
            <p:cNvCxnSpPr/>
            <p:nvPr>
              <p:custDataLst>
                <p:tags r:id="rId45"/>
              </p:custDataLst>
            </p:nvPr>
          </p:nvCxnSpPr>
          <p:spPr bwMode="gray">
            <a:xfrm flipH="1" flipV="1">
              <a:off x="4354248"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2" name="btfpColumnGapBlocker992958">
              <a:extLst>
                <a:ext uri="{FF2B5EF4-FFF2-40B4-BE49-F238E27FC236}">
                  <a16:creationId xmlns:a16="http://schemas.microsoft.com/office/drawing/2014/main" id="{77E544F6-7FB3-6C46-880C-6A1CCD472980}"/>
                </a:ext>
              </a:extLst>
            </p:cNvPr>
            <p:cNvSpPr/>
            <p:nvPr>
              <p:custDataLst>
                <p:tags r:id="rId46"/>
              </p:custDataLst>
            </p:nvPr>
          </p:nvSpPr>
          <p:spPr bwMode="gray">
            <a:xfrm>
              <a:off x="0" y="692658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55" name="btfpColumnIndicator640693">
              <a:extLst>
                <a:ext uri="{FF2B5EF4-FFF2-40B4-BE49-F238E27FC236}">
                  <a16:creationId xmlns:a16="http://schemas.microsoft.com/office/drawing/2014/main" id="{7AEC2B67-7EE2-30C8-CB2A-E952AE12B41C}"/>
                </a:ext>
              </a:extLst>
            </p:cNvPr>
            <p:cNvCxnSpPr/>
            <p:nvPr>
              <p:custDataLst>
                <p:tags r:id="rId47"/>
              </p:custDataLst>
            </p:nvPr>
          </p:nvCxnSpPr>
          <p:spPr bwMode="gray">
            <a:xfrm flipH="1" flipV="1">
              <a:off x="3813704"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3" name="btfpColumnIndicator668993">
              <a:extLst>
                <a:ext uri="{FF2B5EF4-FFF2-40B4-BE49-F238E27FC236}">
                  <a16:creationId xmlns:a16="http://schemas.microsoft.com/office/drawing/2014/main" id="{B2C78FE6-EC4F-46E5-D4A1-F2EC8D5C15CA}"/>
                </a:ext>
              </a:extLst>
            </p:cNvPr>
            <p:cNvCxnSpPr/>
            <p:nvPr>
              <p:custDataLst>
                <p:tags r:id="rId48"/>
              </p:custDataLst>
            </p:nvPr>
          </p:nvCxnSpPr>
          <p:spPr bwMode="gray">
            <a:xfrm flipH="1" flipV="1">
              <a:off x="330200"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80" name="btfpColumnIndicatorGroup1">
            <a:extLst>
              <a:ext uri="{FF2B5EF4-FFF2-40B4-BE49-F238E27FC236}">
                <a16:creationId xmlns:a16="http://schemas.microsoft.com/office/drawing/2014/main" id="{5EB69CFD-2123-33B4-3FEF-D6D132B66FB2}"/>
              </a:ext>
            </a:extLst>
          </p:cNvPr>
          <p:cNvGrpSpPr/>
          <p:nvPr>
            <p:custDataLst>
              <p:tags r:id="rId3"/>
            </p:custDataLst>
          </p:nvPr>
        </p:nvGrpSpPr>
        <p:grpSpPr>
          <a:xfrm>
            <a:off x="0" y="-205740"/>
            <a:ext cx="12192000" cy="137160"/>
            <a:chOff x="0" y="-205740"/>
            <a:chExt cx="12192000" cy="137160"/>
          </a:xfrm>
        </p:grpSpPr>
        <p:sp>
          <p:nvSpPr>
            <p:cNvPr id="78" name="btfpColumnGapBlocker384964">
              <a:extLst>
                <a:ext uri="{FF2B5EF4-FFF2-40B4-BE49-F238E27FC236}">
                  <a16:creationId xmlns:a16="http://schemas.microsoft.com/office/drawing/2014/main" id="{F008E408-D0A7-60B4-9A66-E9C3B9C7B1D3}"/>
                </a:ext>
              </a:extLst>
            </p:cNvPr>
            <p:cNvSpPr/>
            <p:nvPr>
              <p:custDataLst>
                <p:tags r:id="rId29"/>
              </p:custDataLst>
            </p:nvPr>
          </p:nvSpPr>
          <p:spPr bwMode="gray">
            <a:xfrm>
              <a:off x="11861800" y="-20574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sp>
          <p:nvSpPr>
            <p:cNvPr id="75" name="btfpColumnGapBlocker286956">
              <a:extLst>
                <a:ext uri="{FF2B5EF4-FFF2-40B4-BE49-F238E27FC236}">
                  <a16:creationId xmlns:a16="http://schemas.microsoft.com/office/drawing/2014/main" id="{A666FCE6-CA53-EFF4-1268-1FB8EE434091}"/>
                </a:ext>
              </a:extLst>
            </p:cNvPr>
            <p:cNvSpPr/>
            <p:nvPr>
              <p:custDataLst>
                <p:tags r:id="rId30"/>
              </p:custDataLst>
            </p:nvPr>
          </p:nvSpPr>
          <p:spPr bwMode="gray">
            <a:xfrm>
              <a:off x="7837752" y="-205740"/>
              <a:ext cx="540544"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71" name="btfpColumnIndicator543016">
              <a:extLst>
                <a:ext uri="{FF2B5EF4-FFF2-40B4-BE49-F238E27FC236}">
                  <a16:creationId xmlns:a16="http://schemas.microsoft.com/office/drawing/2014/main" id="{86F0E957-6D0B-F2AF-A03D-CD1EAAA0B459}"/>
                </a:ext>
              </a:extLst>
            </p:cNvPr>
            <p:cNvCxnSpPr/>
            <p:nvPr>
              <p:custDataLst>
                <p:tags r:id="rId31"/>
              </p:custDataLst>
            </p:nvPr>
          </p:nvCxnSpPr>
          <p:spPr bwMode="gray">
            <a:xfrm flipH="1" flipV="1">
              <a:off x="11861800"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9" name="btfpColumnIndicator295886">
              <a:extLst>
                <a:ext uri="{FF2B5EF4-FFF2-40B4-BE49-F238E27FC236}">
                  <a16:creationId xmlns:a16="http://schemas.microsoft.com/office/drawing/2014/main" id="{731440C5-9732-C827-9F26-1D8BD343A948}"/>
                </a:ext>
              </a:extLst>
            </p:cNvPr>
            <p:cNvCxnSpPr/>
            <p:nvPr>
              <p:custDataLst>
                <p:tags r:id="rId32"/>
              </p:custDataLst>
            </p:nvPr>
          </p:nvCxnSpPr>
          <p:spPr bwMode="gray">
            <a:xfrm flipH="1" flipV="1">
              <a:off x="8378296"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7" name="btfpColumnGapBlocker464125">
              <a:extLst>
                <a:ext uri="{FF2B5EF4-FFF2-40B4-BE49-F238E27FC236}">
                  <a16:creationId xmlns:a16="http://schemas.microsoft.com/office/drawing/2014/main" id="{22BB99CB-18A1-6365-D533-5245A60E53D9}"/>
                </a:ext>
              </a:extLst>
            </p:cNvPr>
            <p:cNvSpPr/>
            <p:nvPr>
              <p:custDataLst>
                <p:tags r:id="rId33"/>
              </p:custDataLst>
            </p:nvPr>
          </p:nvSpPr>
          <p:spPr bwMode="gray">
            <a:xfrm>
              <a:off x="3813704" y="-205740"/>
              <a:ext cx="540544"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65" name="btfpColumnIndicator123078">
              <a:extLst>
                <a:ext uri="{FF2B5EF4-FFF2-40B4-BE49-F238E27FC236}">
                  <a16:creationId xmlns:a16="http://schemas.microsoft.com/office/drawing/2014/main" id="{7179DF5A-7C6C-69D7-0D93-AA1CF8767B1D}"/>
                </a:ext>
              </a:extLst>
            </p:cNvPr>
            <p:cNvCxnSpPr/>
            <p:nvPr>
              <p:custDataLst>
                <p:tags r:id="rId34"/>
              </p:custDataLst>
            </p:nvPr>
          </p:nvCxnSpPr>
          <p:spPr bwMode="gray">
            <a:xfrm flipH="1" flipV="1">
              <a:off x="7837752"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3" name="btfpColumnIndicator731061">
              <a:extLst>
                <a:ext uri="{FF2B5EF4-FFF2-40B4-BE49-F238E27FC236}">
                  <a16:creationId xmlns:a16="http://schemas.microsoft.com/office/drawing/2014/main" id="{31FD781E-6B0E-9B9B-E378-B3B3F0A72D53}"/>
                </a:ext>
              </a:extLst>
            </p:cNvPr>
            <p:cNvCxnSpPr/>
            <p:nvPr>
              <p:custDataLst>
                <p:tags r:id="rId35"/>
              </p:custDataLst>
            </p:nvPr>
          </p:nvCxnSpPr>
          <p:spPr bwMode="gray">
            <a:xfrm flipH="1" flipV="1">
              <a:off x="4354248"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1" name="btfpColumnGapBlocker467781">
              <a:extLst>
                <a:ext uri="{FF2B5EF4-FFF2-40B4-BE49-F238E27FC236}">
                  <a16:creationId xmlns:a16="http://schemas.microsoft.com/office/drawing/2014/main" id="{1D177EF4-A9DA-CA81-37AC-E90930D9545E}"/>
                </a:ext>
              </a:extLst>
            </p:cNvPr>
            <p:cNvSpPr/>
            <p:nvPr>
              <p:custDataLst>
                <p:tags r:id="rId36"/>
              </p:custDataLst>
            </p:nvPr>
          </p:nvSpPr>
          <p:spPr bwMode="gray">
            <a:xfrm>
              <a:off x="0" y="-20574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54" name="btfpColumnIndicator972387">
              <a:extLst>
                <a:ext uri="{FF2B5EF4-FFF2-40B4-BE49-F238E27FC236}">
                  <a16:creationId xmlns:a16="http://schemas.microsoft.com/office/drawing/2014/main" id="{1AF4CA33-7589-2265-A416-070359EF230B}"/>
                </a:ext>
              </a:extLst>
            </p:cNvPr>
            <p:cNvCxnSpPr/>
            <p:nvPr>
              <p:custDataLst>
                <p:tags r:id="rId37"/>
              </p:custDataLst>
            </p:nvPr>
          </p:nvCxnSpPr>
          <p:spPr bwMode="gray">
            <a:xfrm flipH="1" flipV="1">
              <a:off x="3813704"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2" name="btfpColumnIndicator324808">
              <a:extLst>
                <a:ext uri="{FF2B5EF4-FFF2-40B4-BE49-F238E27FC236}">
                  <a16:creationId xmlns:a16="http://schemas.microsoft.com/office/drawing/2014/main" id="{C3F4ECF1-53E8-FC74-AAA7-51CA334C91AF}"/>
                </a:ext>
              </a:extLst>
            </p:cNvPr>
            <p:cNvCxnSpPr/>
            <p:nvPr>
              <p:custDataLst>
                <p:tags r:id="rId38"/>
              </p:custDataLst>
            </p:nvPr>
          </p:nvCxnSpPr>
          <p:spPr bwMode="gray">
            <a:xfrm flipH="1" flipV="1">
              <a:off x="330200"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52E9824F-9EBA-D93A-3441-D2C3A31FD831}"/>
              </a:ext>
            </a:extLst>
          </p:cNvPr>
          <p:cNvSpPr>
            <a:spLocks noGrp="1"/>
          </p:cNvSpPr>
          <p:nvPr>
            <p:ph type="title"/>
            <p:custDataLst>
              <p:tags r:id="rId4"/>
            </p:custDataLst>
          </p:nvPr>
        </p:nvSpPr>
        <p:spPr>
          <a:xfrm>
            <a:off x="330200" y="76233"/>
            <a:ext cx="11531600" cy="877824"/>
          </a:xfrm>
        </p:spPr>
        <p:txBody>
          <a:bodyPr vert="horz"/>
          <a:lstStyle/>
          <a:p>
            <a:r>
              <a:rPr lang="en-US">
                <a:solidFill>
                  <a:schemeClr val="bg1"/>
                </a:solidFill>
                <a:latin typeface="Arial" panose="020B0604020202020204" pitchFamily="34" charset="0"/>
                <a:cs typeface="Arial" panose="020B0604020202020204" pitchFamily="34" charset="0"/>
              </a:rPr>
              <a:t>A central program office will likely be needed as we scale, to ensure coordination and closely monitor results delivery</a:t>
            </a:r>
          </a:p>
        </p:txBody>
      </p:sp>
      <p:pic>
        <p:nvPicPr>
          <p:cNvPr id="9" name="btfpPhotoGeneric442375">
            <a:extLst>
              <a:ext uri="{FF2B5EF4-FFF2-40B4-BE49-F238E27FC236}">
                <a16:creationId xmlns:a16="http://schemas.microsoft.com/office/drawing/2014/main" id="{536F453C-1E06-535C-219B-015F172A78DB}"/>
              </a:ext>
            </a:extLst>
          </p:cNvPr>
          <p:cNvPicPr>
            <a:picLocks noChangeAspect="1"/>
          </p:cNvPicPr>
          <p:nvPr>
            <p:custDataLst>
              <p:tags r:id="rId5"/>
            </p:custDataLst>
          </p:nvPr>
        </p:nvPicPr>
        <p:blipFill>
          <a:blip r:embed="rId51">
            <a:extLst>
              <a:ext uri="{28A0092B-C50C-407E-A947-70E740481C1C}">
                <a14:useLocalDpi xmlns:a14="http://schemas.microsoft.com/office/drawing/2010/main" val="0"/>
              </a:ext>
            </a:extLst>
          </a:blip>
          <a:srcRect t="72088" b="9421"/>
          <a:stretch>
            <a:fillRect/>
          </a:stretch>
        </p:blipFill>
        <p:spPr>
          <a:xfrm flipH="1" flipV="1">
            <a:off x="-11" y="-8453"/>
            <a:ext cx="12191989" cy="1268527"/>
          </a:xfrm>
          <a:prstGeom prst="rect">
            <a:avLst/>
          </a:prstGeom>
          <a:ln>
            <a:noFill/>
          </a:ln>
        </p:spPr>
      </p:pic>
      <p:sp>
        <p:nvSpPr>
          <p:cNvPr id="10" name="Title 15">
            <a:extLst>
              <a:ext uri="{FF2B5EF4-FFF2-40B4-BE49-F238E27FC236}">
                <a16:creationId xmlns:a16="http://schemas.microsoft.com/office/drawing/2014/main" id="{BCF1DDB5-A7C1-70CA-F81B-0801E84D2BC3}"/>
              </a:ext>
            </a:extLst>
          </p:cNvPr>
          <p:cNvSpPr txBox="1"/>
          <p:nvPr>
            <p:custDataLst>
              <p:tags r:id="rId6"/>
            </p:custDataLst>
          </p:nvPr>
        </p:nvSpPr>
        <p:spPr>
          <a:xfrm>
            <a:off x="330200" y="507965"/>
            <a:ext cx="11531600" cy="877824"/>
          </a:xfrm>
          <a:prstGeom prst="rect">
            <a:avLst/>
          </a:prstGeom>
        </p:spPr>
        <p:txBody>
          <a:bodyPr vert="horz" lIns="36000" tIns="36000" rIns="36000" bIns="72000" rtlCol="0" anchor="b">
            <a:noAutofit/>
          </a:bodyPr>
          <a:lst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a:lstStyle>
          <a:p>
            <a:pPr marL="0" indent="0"/>
            <a:r>
              <a:rPr lang="en-US">
                <a:solidFill>
                  <a:schemeClr val="bg1"/>
                </a:solidFill>
                <a:latin typeface="Arial" panose="020B0604020202020204" pitchFamily="34" charset="0"/>
                <a:cs typeface="Arial" panose="020B0604020202020204" pitchFamily="34" charset="0"/>
              </a:rPr>
              <a:t>But AI also presents risks that need to be understood and managed</a:t>
            </a:r>
            <a:br>
              <a:rPr lang="en-US">
                <a:solidFill>
                  <a:schemeClr val="bg1"/>
                </a:solidFill>
                <a:latin typeface="Arial" panose="020B0604020202020204" pitchFamily="34" charset="0"/>
                <a:cs typeface="Arial" panose="020B0604020202020204" pitchFamily="34" charset="0"/>
              </a:rPr>
            </a:br>
            <a:endParaRPr lang="en-US">
              <a:solidFill>
                <a:schemeClr val="bg1"/>
              </a:solidFill>
              <a:latin typeface="Arial" panose="020B0604020202020204" pitchFamily="34" charset="0"/>
              <a:cs typeface="Arial" panose="020B0604020202020204" pitchFamily="34" charset="0"/>
            </a:endParaRPr>
          </a:p>
        </p:txBody>
      </p:sp>
      <p:pic>
        <p:nvPicPr>
          <p:cNvPr id="34" name="Picture 33">
            <a:extLst>
              <a:ext uri="{FF2B5EF4-FFF2-40B4-BE49-F238E27FC236}">
                <a16:creationId xmlns:a16="http://schemas.microsoft.com/office/drawing/2014/main" id="{C0B2090D-EB3C-3F2B-25F8-6C41883E79C6}"/>
              </a:ext>
            </a:extLst>
          </p:cNvPr>
          <p:cNvPicPr>
            <a:picLocks noChangeAspect="1"/>
          </p:cNvPicPr>
          <p:nvPr>
            <p:custDataLst>
              <p:tags r:id="rId7"/>
            </p:custDataLst>
          </p:nvPr>
        </p:nvPicPr>
        <p:blipFill>
          <a:blip r:embed="rId52"/>
          <a:srcRect l="1" t="21474" r="1009"/>
          <a:stretch>
            <a:fillRect/>
          </a:stretch>
        </p:blipFill>
        <p:spPr>
          <a:xfrm>
            <a:off x="4289758" y="1941290"/>
            <a:ext cx="3625029" cy="958155"/>
          </a:xfrm>
          <a:prstGeom prst="rect">
            <a:avLst/>
          </a:prstGeom>
        </p:spPr>
      </p:pic>
      <p:pic>
        <p:nvPicPr>
          <p:cNvPr id="56" name="Picture 55">
            <a:extLst>
              <a:ext uri="{FF2B5EF4-FFF2-40B4-BE49-F238E27FC236}">
                <a16:creationId xmlns:a16="http://schemas.microsoft.com/office/drawing/2014/main" id="{FA2C096C-4D25-C774-C9CD-BBB175DF0D6C}"/>
              </a:ext>
            </a:extLst>
          </p:cNvPr>
          <p:cNvPicPr>
            <a:picLocks noChangeAspect="1"/>
          </p:cNvPicPr>
          <p:nvPr>
            <p:custDataLst>
              <p:tags r:id="rId8"/>
            </p:custDataLst>
          </p:nvPr>
        </p:nvPicPr>
        <p:blipFill>
          <a:blip r:embed="rId53"/>
          <a:srcRect r="6063" b="55539"/>
          <a:stretch>
            <a:fillRect/>
          </a:stretch>
        </p:blipFill>
        <p:spPr>
          <a:xfrm>
            <a:off x="8254355" y="2014371"/>
            <a:ext cx="3656702" cy="318032"/>
          </a:xfrm>
          <a:prstGeom prst="rect">
            <a:avLst/>
          </a:prstGeom>
        </p:spPr>
      </p:pic>
      <p:pic>
        <p:nvPicPr>
          <p:cNvPr id="58" name="Picture 4" descr="Radio France Internationale - Wikipedia">
            <a:extLst>
              <a:ext uri="{FF2B5EF4-FFF2-40B4-BE49-F238E27FC236}">
                <a16:creationId xmlns:a16="http://schemas.microsoft.com/office/drawing/2014/main" id="{A95F2AC6-43D4-E0BC-F9EB-B2BF63E01EE9}"/>
              </a:ext>
            </a:extLst>
          </p:cNvPr>
          <p:cNvPicPr>
            <a:picLocks noChangeAspect="1" noChangeArrowheads="1"/>
          </p:cNvPicPr>
          <p:nvPr>
            <p:custDataLst>
              <p:tags r:id="rId9"/>
            </p:custDataLst>
          </p:nvPr>
        </p:nvPicPr>
        <p:blipFill>
          <a:blip r:embed="rId54">
            <a:extLst>
              <a:ext uri="{28A0092B-C50C-407E-A947-70E740481C1C}">
                <a14:useLocalDpi xmlns:a14="http://schemas.microsoft.com/office/drawing/2010/main" val="0"/>
              </a:ext>
            </a:extLst>
          </a:blip>
          <a:stretch>
            <a:fillRect/>
          </a:stretch>
        </p:blipFill>
        <p:spPr bwMode="auto">
          <a:xfrm>
            <a:off x="11449973" y="3102313"/>
            <a:ext cx="280676" cy="334773"/>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a:extLst>
              <a:ext uri="{FF2B5EF4-FFF2-40B4-BE49-F238E27FC236}">
                <a16:creationId xmlns:a16="http://schemas.microsoft.com/office/drawing/2014/main" id="{A579CB82-28DA-974B-1F95-7EF428C078D5}"/>
              </a:ext>
            </a:extLst>
          </p:cNvPr>
          <p:cNvPicPr>
            <a:picLocks noChangeAspect="1"/>
          </p:cNvPicPr>
          <p:nvPr>
            <p:custDataLst>
              <p:tags r:id="rId10"/>
            </p:custDataLst>
          </p:nvPr>
        </p:nvPicPr>
        <p:blipFill>
          <a:blip r:embed="rId55"/>
          <a:stretch>
            <a:fillRect/>
          </a:stretch>
        </p:blipFill>
        <p:spPr>
          <a:xfrm>
            <a:off x="556589" y="4589281"/>
            <a:ext cx="3132178" cy="593312"/>
          </a:xfrm>
          <a:prstGeom prst="rect">
            <a:avLst/>
          </a:prstGeom>
        </p:spPr>
      </p:pic>
      <p:pic>
        <p:nvPicPr>
          <p:cNvPr id="114" name="Picture 113">
            <a:extLst>
              <a:ext uri="{FF2B5EF4-FFF2-40B4-BE49-F238E27FC236}">
                <a16:creationId xmlns:a16="http://schemas.microsoft.com/office/drawing/2014/main" id="{AA517D39-1A49-8BB7-564F-0FC20A95C25E}"/>
              </a:ext>
            </a:extLst>
          </p:cNvPr>
          <p:cNvPicPr>
            <a:picLocks noChangeAspect="1"/>
          </p:cNvPicPr>
          <p:nvPr>
            <p:custDataLst>
              <p:tags r:id="rId11"/>
            </p:custDataLst>
          </p:nvPr>
        </p:nvPicPr>
        <p:blipFill>
          <a:blip r:embed="rId56"/>
          <a:stretch>
            <a:fillRect/>
          </a:stretch>
        </p:blipFill>
        <p:spPr>
          <a:xfrm>
            <a:off x="556590" y="1866901"/>
            <a:ext cx="3132177" cy="1007512"/>
          </a:xfrm>
          <a:prstGeom prst="rect">
            <a:avLst/>
          </a:prstGeom>
        </p:spPr>
      </p:pic>
      <p:pic>
        <p:nvPicPr>
          <p:cNvPr id="1028" name="Picture 4" descr="Forbes Logo PNG Images Free Download - Free Transparent PNG Logos">
            <a:extLst>
              <a:ext uri="{FF2B5EF4-FFF2-40B4-BE49-F238E27FC236}">
                <a16:creationId xmlns:a16="http://schemas.microsoft.com/office/drawing/2014/main" id="{DC3A720D-075F-5D99-D03A-D4A842282DD6}"/>
              </a:ext>
            </a:extLst>
          </p:cNvPr>
          <p:cNvPicPr>
            <a:picLocks noChangeAspect="1" noChangeArrowheads="1"/>
          </p:cNvPicPr>
          <p:nvPr>
            <p:custDataLst>
              <p:tags r:id="rId12"/>
            </p:custDataLst>
          </p:nvPr>
        </p:nvPicPr>
        <p:blipFill>
          <a:blip r:embed="rId57">
            <a:extLst>
              <a:ext uri="{28A0092B-C50C-407E-A947-70E740481C1C}">
                <a14:useLocalDpi xmlns:a14="http://schemas.microsoft.com/office/drawing/2010/main" val="0"/>
              </a:ext>
            </a:extLst>
          </a:blip>
          <a:stretch>
            <a:fillRect/>
          </a:stretch>
        </p:blipFill>
        <p:spPr bwMode="auto">
          <a:xfrm>
            <a:off x="3076082" y="3222874"/>
            <a:ext cx="612686" cy="16035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085DDF51-D626-1347-FB0A-51368AC09606}"/>
              </a:ext>
            </a:extLst>
          </p:cNvPr>
          <p:cNvPicPr>
            <a:picLocks noChangeAspect="1" noChangeArrowheads="1"/>
          </p:cNvPicPr>
          <p:nvPr>
            <p:custDataLst>
              <p:tags r:id="rId13"/>
            </p:custDataLst>
          </p:nvPr>
        </p:nvPicPr>
        <p:blipFill>
          <a:blip r:embed="rId58">
            <a:extLst>
              <a:ext uri="{28A0092B-C50C-407E-A947-70E740481C1C}">
                <a14:useLocalDpi xmlns:a14="http://schemas.microsoft.com/office/drawing/2010/main" val="0"/>
              </a:ext>
            </a:extLst>
          </a:blip>
          <a:stretch>
            <a:fillRect/>
          </a:stretch>
        </p:blipFill>
        <p:spPr bwMode="auto">
          <a:xfrm>
            <a:off x="2884277" y="5687281"/>
            <a:ext cx="996296" cy="747222"/>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39">
            <a:extLst>
              <a:ext uri="{FF2B5EF4-FFF2-40B4-BE49-F238E27FC236}">
                <a16:creationId xmlns:a16="http://schemas.microsoft.com/office/drawing/2014/main" id="{B32FB81A-E0F1-16CB-DDEF-51F0038CE270}"/>
              </a:ext>
            </a:extLst>
          </p:cNvPr>
          <p:cNvPicPr>
            <a:picLocks noChangeAspect="1"/>
          </p:cNvPicPr>
          <p:nvPr>
            <p:custDataLst>
              <p:tags r:id="rId14"/>
            </p:custDataLst>
          </p:nvPr>
        </p:nvPicPr>
        <p:blipFill>
          <a:blip r:embed="rId53"/>
          <a:srcRect t="48230"/>
          <a:stretch>
            <a:fillRect/>
          </a:stretch>
        </p:blipFill>
        <p:spPr>
          <a:xfrm>
            <a:off x="8294022" y="2436904"/>
            <a:ext cx="3540496" cy="343526"/>
          </a:xfrm>
          <a:prstGeom prst="rect">
            <a:avLst/>
          </a:prstGeom>
        </p:spPr>
      </p:pic>
      <p:pic>
        <p:nvPicPr>
          <p:cNvPr id="33" name="Picture 32">
            <a:extLst>
              <a:ext uri="{FF2B5EF4-FFF2-40B4-BE49-F238E27FC236}">
                <a16:creationId xmlns:a16="http://schemas.microsoft.com/office/drawing/2014/main" id="{ECA240F6-2BBF-5D91-4F68-67F54D6670BC}"/>
              </a:ext>
            </a:extLst>
          </p:cNvPr>
          <p:cNvPicPr>
            <a:picLocks noChangeAspect="1"/>
          </p:cNvPicPr>
          <p:nvPr>
            <p:custDataLst>
              <p:tags r:id="rId15"/>
            </p:custDataLst>
          </p:nvPr>
        </p:nvPicPr>
        <p:blipFill>
          <a:blip r:embed="rId59"/>
          <a:srcRect l="3937" t="11611" r="19643" b="42512"/>
          <a:stretch>
            <a:fillRect/>
          </a:stretch>
        </p:blipFill>
        <p:spPr>
          <a:xfrm>
            <a:off x="4430509" y="4572994"/>
            <a:ext cx="3281171" cy="542544"/>
          </a:xfrm>
          <a:prstGeom prst="rect">
            <a:avLst/>
          </a:prstGeom>
        </p:spPr>
      </p:pic>
      <p:pic>
        <p:nvPicPr>
          <p:cNvPr id="1032" name="Picture 8">
            <a:extLst>
              <a:ext uri="{FF2B5EF4-FFF2-40B4-BE49-F238E27FC236}">
                <a16:creationId xmlns:a16="http://schemas.microsoft.com/office/drawing/2014/main" id="{D66102FE-51FC-7E5D-52A1-B3A0439EB85F}"/>
              </a:ext>
            </a:extLst>
          </p:cNvPr>
          <p:cNvPicPr>
            <a:picLocks noChangeAspect="1" noChangeArrowheads="1"/>
          </p:cNvPicPr>
          <p:nvPr>
            <p:custDataLst>
              <p:tags r:id="rId16"/>
            </p:custDataLst>
          </p:nvPr>
        </p:nvPicPr>
        <p:blipFill>
          <a:blip r:embed="rId60">
            <a:extLst>
              <a:ext uri="{28A0092B-C50C-407E-A947-70E740481C1C}">
                <a14:useLocalDpi xmlns:a14="http://schemas.microsoft.com/office/drawing/2010/main" val="0"/>
              </a:ext>
            </a:extLst>
          </a:blip>
          <a:stretch>
            <a:fillRect/>
          </a:stretch>
        </p:blipFill>
        <p:spPr bwMode="auto">
          <a:xfrm>
            <a:off x="10373341" y="5940000"/>
            <a:ext cx="1488459" cy="244052"/>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1032">
            <a:extLst>
              <a:ext uri="{FF2B5EF4-FFF2-40B4-BE49-F238E27FC236}">
                <a16:creationId xmlns:a16="http://schemas.microsoft.com/office/drawing/2014/main" id="{CD5C3C7C-478C-5083-1768-908BC41E4F08}"/>
              </a:ext>
            </a:extLst>
          </p:cNvPr>
          <p:cNvPicPr>
            <a:picLocks noChangeAspect="1"/>
          </p:cNvPicPr>
          <p:nvPr>
            <p:custDataLst>
              <p:tags r:id="rId17"/>
            </p:custDataLst>
          </p:nvPr>
        </p:nvPicPr>
        <p:blipFill>
          <a:blip r:embed="rId59"/>
          <a:srcRect l="3453" t="59590" r="8669"/>
          <a:stretch>
            <a:fillRect/>
          </a:stretch>
        </p:blipFill>
        <p:spPr>
          <a:xfrm>
            <a:off x="4389362" y="5244613"/>
            <a:ext cx="3322317" cy="459945"/>
          </a:xfrm>
          <a:prstGeom prst="rect">
            <a:avLst/>
          </a:prstGeom>
        </p:spPr>
      </p:pic>
      <p:grpSp>
        <p:nvGrpSpPr>
          <p:cNvPr id="124" name="Group 123">
            <a:extLst>
              <a:ext uri="{FF2B5EF4-FFF2-40B4-BE49-F238E27FC236}">
                <a16:creationId xmlns:a16="http://schemas.microsoft.com/office/drawing/2014/main" id="{31D6DA5A-BC84-BC86-FAF0-F3889F23C992}"/>
              </a:ext>
            </a:extLst>
          </p:cNvPr>
          <p:cNvGrpSpPr/>
          <p:nvPr>
            <p:custDataLst>
              <p:tags r:id="rId18"/>
            </p:custDataLst>
          </p:nvPr>
        </p:nvGrpSpPr>
        <p:grpSpPr>
          <a:xfrm>
            <a:off x="8254353" y="4619793"/>
            <a:ext cx="3527936" cy="1042047"/>
            <a:chOff x="8229004" y="4817249"/>
            <a:chExt cx="3519351" cy="846222"/>
          </a:xfrm>
        </p:grpSpPr>
        <p:pic>
          <p:nvPicPr>
            <p:cNvPr id="148" name="Picture 147">
              <a:extLst>
                <a:ext uri="{FF2B5EF4-FFF2-40B4-BE49-F238E27FC236}">
                  <a16:creationId xmlns:a16="http://schemas.microsoft.com/office/drawing/2014/main" id="{6B807E3F-39EE-B5F7-039F-E1228ABE6CAB}"/>
                </a:ext>
              </a:extLst>
            </p:cNvPr>
            <p:cNvPicPr>
              <a:picLocks noChangeAspect="1"/>
            </p:cNvPicPr>
            <p:nvPr>
              <p:custDataLst>
                <p:tags r:id="rId27"/>
              </p:custDataLst>
            </p:nvPr>
          </p:nvPicPr>
          <p:blipFill>
            <a:blip r:embed="rId61"/>
            <a:srcRect r="9371" b="34230"/>
            <a:stretch>
              <a:fillRect/>
            </a:stretch>
          </p:blipFill>
          <p:spPr>
            <a:xfrm>
              <a:off x="8229004" y="4817249"/>
              <a:ext cx="3519350" cy="462770"/>
            </a:xfrm>
            <a:prstGeom prst="rect">
              <a:avLst/>
            </a:prstGeom>
          </p:spPr>
        </p:pic>
        <p:pic>
          <p:nvPicPr>
            <p:cNvPr id="1049" name="Picture 1048">
              <a:extLst>
                <a:ext uri="{FF2B5EF4-FFF2-40B4-BE49-F238E27FC236}">
                  <a16:creationId xmlns:a16="http://schemas.microsoft.com/office/drawing/2014/main" id="{8BA932D7-6AB4-3C79-060E-2B9B3E619B2C}"/>
                </a:ext>
              </a:extLst>
            </p:cNvPr>
            <p:cNvPicPr>
              <a:picLocks noChangeAspect="1"/>
            </p:cNvPicPr>
            <p:nvPr>
              <p:custDataLst>
                <p:tags r:id="rId28"/>
              </p:custDataLst>
            </p:nvPr>
          </p:nvPicPr>
          <p:blipFill>
            <a:blip r:embed="rId61"/>
            <a:srcRect t="70204"/>
            <a:stretch>
              <a:fillRect/>
            </a:stretch>
          </p:blipFill>
          <p:spPr>
            <a:xfrm>
              <a:off x="8268576" y="5329583"/>
              <a:ext cx="3479779" cy="333888"/>
            </a:xfrm>
            <a:prstGeom prst="rect">
              <a:avLst/>
            </a:prstGeom>
          </p:spPr>
        </p:pic>
      </p:grpSp>
      <p:cxnSp>
        <p:nvCxnSpPr>
          <p:cNvPr id="72" name="Straight Connector 71">
            <a:extLst>
              <a:ext uri="{FF2B5EF4-FFF2-40B4-BE49-F238E27FC236}">
                <a16:creationId xmlns:a16="http://schemas.microsoft.com/office/drawing/2014/main" id="{57D8FABF-EC99-863A-FC77-C15097B3C963}"/>
              </a:ext>
            </a:extLst>
          </p:cNvPr>
          <p:cNvCxnSpPr/>
          <p:nvPr>
            <p:custDataLst>
              <p:tags r:id="rId19"/>
            </p:custDataLst>
          </p:nvPr>
        </p:nvCxnSpPr>
        <p:spPr bwMode="gray">
          <a:xfrm flipH="1">
            <a:off x="4085165" y="1597794"/>
            <a:ext cx="0" cy="4971293"/>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AF07F279-FD00-E79F-4D7D-7001BFE44E6F}"/>
              </a:ext>
            </a:extLst>
          </p:cNvPr>
          <p:cNvCxnSpPr/>
          <p:nvPr>
            <p:custDataLst>
              <p:tags r:id="rId20"/>
            </p:custDataLst>
          </p:nvPr>
        </p:nvCxnSpPr>
        <p:spPr bwMode="gray">
          <a:xfrm flipH="1">
            <a:off x="8108079" y="1597794"/>
            <a:ext cx="0" cy="4971293"/>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DDD528CE-ADCA-F21D-8D70-4E79CEBCFDC1}"/>
              </a:ext>
            </a:extLst>
          </p:cNvPr>
          <p:cNvCxnSpPr/>
          <p:nvPr>
            <p:custDataLst>
              <p:tags r:id="rId21"/>
            </p:custDataLst>
          </p:nvPr>
        </p:nvCxnSpPr>
        <p:spPr bwMode="gray">
          <a:xfrm flipH="1">
            <a:off x="330200" y="3833183"/>
            <a:ext cx="11531602" cy="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pic>
        <p:nvPicPr>
          <p:cNvPr id="151" name="Picture 2" descr="Bloomberg - APK Download for Android | Aptoide">
            <a:extLst>
              <a:ext uri="{FF2B5EF4-FFF2-40B4-BE49-F238E27FC236}">
                <a16:creationId xmlns:a16="http://schemas.microsoft.com/office/drawing/2014/main" id="{DAE108D9-4AD3-F57F-2B77-E662485736AC}"/>
              </a:ext>
            </a:extLst>
          </p:cNvPr>
          <p:cNvPicPr>
            <a:picLocks noChangeAspect="1" noChangeArrowheads="1"/>
          </p:cNvPicPr>
          <p:nvPr>
            <p:custDataLst>
              <p:tags r:id="rId22"/>
            </p:custDataLst>
          </p:nvPr>
        </p:nvPicPr>
        <p:blipFill>
          <a:blip r:embed="rId62">
            <a:extLst>
              <a:ext uri="{28A0092B-C50C-407E-A947-70E740481C1C}">
                <a14:useLocalDpi xmlns:a14="http://schemas.microsoft.com/office/drawing/2010/main" val="0"/>
              </a:ext>
            </a:extLst>
          </a:blip>
          <a:srcRect t="32758" b="33609"/>
          <a:stretch>
            <a:fillRect/>
          </a:stretch>
        </p:blipFill>
        <p:spPr bwMode="auto">
          <a:xfrm>
            <a:off x="6600828" y="3209387"/>
            <a:ext cx="1382561" cy="227052"/>
          </a:xfrm>
          <a:prstGeom prst="rect">
            <a:avLst/>
          </a:prstGeom>
          <a:noFill/>
          <a:extLst>
            <a:ext uri="{909E8E84-426E-40DD-AFC4-6F175D3DCCD1}">
              <a14:hiddenFill xmlns:a14="http://schemas.microsoft.com/office/drawing/2010/main">
                <a:solidFill>
                  <a:srgbClr val="FFFFFF"/>
                </a:solidFill>
              </a14:hiddenFill>
            </a:ext>
          </a:extLst>
        </p:spPr>
      </p:pic>
      <p:sp>
        <p:nvSpPr>
          <p:cNvPr id="163" name="Rectangle 162">
            <a:extLst>
              <a:ext uri="{FF2B5EF4-FFF2-40B4-BE49-F238E27FC236}">
                <a16:creationId xmlns:a16="http://schemas.microsoft.com/office/drawing/2014/main" id="{9103405C-5EB6-4558-1DEB-2DD0B9779665}"/>
              </a:ext>
            </a:extLst>
          </p:cNvPr>
          <p:cNvSpPr/>
          <p:nvPr>
            <p:custDataLst>
              <p:tags r:id="rId23"/>
            </p:custDataLst>
          </p:nvPr>
        </p:nvSpPr>
        <p:spPr bwMode="gray">
          <a:xfrm>
            <a:off x="3847342" y="3599850"/>
            <a:ext cx="475164" cy="475164"/>
          </a:xfrm>
          <a:prstGeom prst="rect">
            <a:avLst/>
          </a:prstGeom>
          <a:solidFill>
            <a:srgbClr val="FFFFFF"/>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B4B4B4"/>
              </a:solidFill>
            </a:endParaRPr>
          </a:p>
        </p:txBody>
      </p:sp>
      <p:sp>
        <p:nvSpPr>
          <p:cNvPr id="164" name="Rectangle 163">
            <a:extLst>
              <a:ext uri="{FF2B5EF4-FFF2-40B4-BE49-F238E27FC236}">
                <a16:creationId xmlns:a16="http://schemas.microsoft.com/office/drawing/2014/main" id="{49069F2D-053A-39A5-8109-8A12C3C67662}"/>
              </a:ext>
            </a:extLst>
          </p:cNvPr>
          <p:cNvSpPr/>
          <p:nvPr>
            <p:custDataLst>
              <p:tags r:id="rId24"/>
            </p:custDataLst>
          </p:nvPr>
        </p:nvSpPr>
        <p:spPr bwMode="gray">
          <a:xfrm>
            <a:off x="7858702" y="3597361"/>
            <a:ext cx="475164" cy="475164"/>
          </a:xfrm>
          <a:prstGeom prst="rect">
            <a:avLst/>
          </a:prstGeom>
          <a:solidFill>
            <a:srgbClr val="FFFFFF"/>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B4B4B4"/>
              </a:solidFill>
            </a:endParaRPr>
          </a:p>
        </p:txBody>
      </p:sp>
      <p:pic>
        <p:nvPicPr>
          <p:cNvPr id="18" name="Picture 17">
            <a:extLst>
              <a:ext uri="{FF2B5EF4-FFF2-40B4-BE49-F238E27FC236}">
                <a16:creationId xmlns:a16="http://schemas.microsoft.com/office/drawing/2014/main" id="{CD84F7BA-92F0-F03C-3D0B-7E2878166924}"/>
              </a:ext>
            </a:extLst>
          </p:cNvPr>
          <p:cNvPicPr>
            <a:picLocks noChangeAspect="1"/>
          </p:cNvPicPr>
          <p:nvPr>
            <p:custDataLst>
              <p:tags r:id="rId25"/>
            </p:custDataLst>
          </p:nvPr>
        </p:nvPicPr>
        <p:blipFill>
          <a:blip r:embed="rId63"/>
          <a:stretch>
            <a:fillRect/>
          </a:stretch>
        </p:blipFill>
        <p:spPr>
          <a:xfrm>
            <a:off x="6518341" y="5940000"/>
            <a:ext cx="1422265" cy="241785"/>
          </a:xfrm>
          <a:prstGeom prst="rect">
            <a:avLst/>
          </a:prstGeom>
        </p:spPr>
      </p:pic>
      <p:sp>
        <p:nvSpPr>
          <p:cNvPr id="57" name="Rectangle 56">
            <a:extLst>
              <a:ext uri="{FF2B5EF4-FFF2-40B4-BE49-F238E27FC236}">
                <a16:creationId xmlns:a16="http://schemas.microsoft.com/office/drawing/2014/main" id="{E62F3CD3-3437-ED8A-4341-E9771C756DFE}"/>
              </a:ext>
            </a:extLst>
          </p:cNvPr>
          <p:cNvSpPr/>
          <p:nvPr>
            <p:custDataLst>
              <p:tags r:id="rId26"/>
            </p:custDataLst>
          </p:nvPr>
        </p:nvSpPr>
        <p:spPr bwMode="gray">
          <a:xfrm>
            <a:off x="4212569" y="1851925"/>
            <a:ext cx="3883715" cy="63950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800" b="1">
                <a:solidFill>
                  <a:schemeClr val="tx1"/>
                </a:solidFill>
                <a:latin typeface="Abadi" panose="020B0604020104020204" pitchFamily="34" charset="0"/>
              </a:rPr>
              <a:t>Generative AI Takes Stereotypes and Bias from Bad to Worse</a:t>
            </a:r>
          </a:p>
        </p:txBody>
      </p:sp>
    </p:spTree>
    <p:custDataLst>
      <p:tags r:id="rId1"/>
    </p:custDataLst>
    <p:extLst>
      <p:ext uri="{BB962C8B-B14F-4D97-AF65-F5344CB8AC3E}">
        <p14:creationId xmlns:p14="http://schemas.microsoft.com/office/powerpoint/2010/main" val="3584511844"/>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7" name="Picture 1046" descr="A red lines on a black background&#10;&#10;Description automatically generated">
            <a:extLst>
              <a:ext uri="{FF2B5EF4-FFF2-40B4-BE49-F238E27FC236}">
                <a16:creationId xmlns:a16="http://schemas.microsoft.com/office/drawing/2014/main" id="{1F5BC426-8C1A-25E8-33B0-24198B597F0F}"/>
              </a:ext>
            </a:extLst>
          </p:cNvPr>
          <p:cNvPicPr>
            <a:picLocks noChangeAspect="1"/>
          </p:cNvPicPr>
          <p:nvPr>
            <p:custDataLst>
              <p:tags r:id="rId2"/>
            </p:custDataLst>
          </p:nvPr>
        </p:nvPicPr>
        <p:blipFill>
          <a:blip r:embed="rId41">
            <a:extLst>
              <a:ext uri="{28A0092B-C50C-407E-A947-70E740481C1C}">
                <a14:useLocalDpi xmlns:a14="http://schemas.microsoft.com/office/drawing/2010/main" val="0"/>
              </a:ext>
            </a:extLst>
          </a:blip>
          <a:srcRect t="-16" b="76884"/>
          <a:stretch>
            <a:fillRect/>
          </a:stretch>
        </p:blipFill>
        <p:spPr>
          <a:xfrm>
            <a:off x="0" y="0"/>
            <a:ext cx="12192000" cy="1879600"/>
          </a:xfrm>
          <a:prstGeom prst="rect">
            <a:avLst/>
          </a:prstGeom>
        </p:spPr>
      </p:pic>
      <p:sp>
        <p:nvSpPr>
          <p:cNvPr id="1032" name="Rectangle 1031">
            <a:extLst>
              <a:ext uri="{FF2B5EF4-FFF2-40B4-BE49-F238E27FC236}">
                <a16:creationId xmlns:a16="http://schemas.microsoft.com/office/drawing/2014/main" id="{8E1C1EBC-5FB6-16A2-F469-5B4CA9302C6E}"/>
              </a:ext>
            </a:extLst>
          </p:cNvPr>
          <p:cNvSpPr/>
          <p:nvPr>
            <p:custDataLst>
              <p:tags r:id="rId3"/>
            </p:custDataLst>
          </p:nvPr>
        </p:nvSpPr>
        <p:spPr bwMode="gray">
          <a:xfrm>
            <a:off x="0" y="0"/>
            <a:ext cx="12192000" cy="1879600"/>
          </a:xfrm>
          <a:prstGeom prst="rect">
            <a:avLst/>
          </a:prstGeom>
          <a:solidFill>
            <a:srgbClr val="000000">
              <a:alpha val="65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endParaRPr>
          </a:p>
        </p:txBody>
      </p:sp>
      <p:grpSp>
        <p:nvGrpSpPr>
          <p:cNvPr id="63" name="btfpColumnIndicatorGroup2">
            <a:extLst>
              <a:ext uri="{FF2B5EF4-FFF2-40B4-BE49-F238E27FC236}">
                <a16:creationId xmlns:a16="http://schemas.microsoft.com/office/drawing/2014/main" id="{7017DB0D-F929-D05B-6889-D4FFE12E98E4}"/>
              </a:ext>
            </a:extLst>
          </p:cNvPr>
          <p:cNvGrpSpPr/>
          <p:nvPr>
            <p:custDataLst>
              <p:tags r:id="rId4"/>
            </p:custDataLst>
          </p:nvPr>
        </p:nvGrpSpPr>
        <p:grpSpPr>
          <a:xfrm>
            <a:off x="0" y="6926580"/>
            <a:ext cx="12192000" cy="137160"/>
            <a:chOff x="0" y="6926580"/>
            <a:chExt cx="12192000" cy="137160"/>
          </a:xfrm>
        </p:grpSpPr>
        <p:sp>
          <p:nvSpPr>
            <p:cNvPr id="60" name="btfpColumnGapBlocker283755">
              <a:extLst>
                <a:ext uri="{FF2B5EF4-FFF2-40B4-BE49-F238E27FC236}">
                  <a16:creationId xmlns:a16="http://schemas.microsoft.com/office/drawing/2014/main" id="{27DBCFCE-E6C6-D032-4766-47005325DBE3}"/>
                </a:ext>
              </a:extLst>
            </p:cNvPr>
            <p:cNvSpPr/>
            <p:nvPr>
              <p:custDataLst>
                <p:tags r:id="rId35"/>
              </p:custDataLst>
            </p:nvPr>
          </p:nvSpPr>
          <p:spPr bwMode="gray">
            <a:xfrm>
              <a:off x="11861800" y="692658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57" name="btfpColumnGapBlocker162520">
              <a:extLst>
                <a:ext uri="{FF2B5EF4-FFF2-40B4-BE49-F238E27FC236}">
                  <a16:creationId xmlns:a16="http://schemas.microsoft.com/office/drawing/2014/main" id="{96FF6BB7-34B0-2AAF-58C7-86D12A4AA129}"/>
                </a:ext>
              </a:extLst>
            </p:cNvPr>
            <p:cNvSpPr/>
            <p:nvPr>
              <p:custDataLst>
                <p:tags r:id="rId36"/>
              </p:custDataLst>
            </p:nvPr>
          </p:nvSpPr>
          <p:spPr bwMode="gray">
            <a:xfrm>
              <a:off x="0" y="692658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55" name="btfpColumnIndicator214455">
              <a:extLst>
                <a:ext uri="{FF2B5EF4-FFF2-40B4-BE49-F238E27FC236}">
                  <a16:creationId xmlns:a16="http://schemas.microsoft.com/office/drawing/2014/main" id="{324A5D71-D5D5-F445-F5F1-ADAD92CA11B8}"/>
                </a:ext>
              </a:extLst>
            </p:cNvPr>
            <p:cNvCxnSpPr/>
            <p:nvPr>
              <p:custDataLst>
                <p:tags r:id="rId37"/>
              </p:custDataLst>
            </p:nvPr>
          </p:nvCxnSpPr>
          <p:spPr bwMode="gray">
            <a:xfrm flipH="1" flipV="1">
              <a:off x="11861800"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3" name="btfpColumnIndicator538653">
              <a:extLst>
                <a:ext uri="{FF2B5EF4-FFF2-40B4-BE49-F238E27FC236}">
                  <a16:creationId xmlns:a16="http://schemas.microsoft.com/office/drawing/2014/main" id="{B09D0BDE-0A59-D686-0595-50E9C5C80034}"/>
                </a:ext>
              </a:extLst>
            </p:cNvPr>
            <p:cNvCxnSpPr/>
            <p:nvPr>
              <p:custDataLst>
                <p:tags r:id="rId38"/>
              </p:custDataLst>
            </p:nvPr>
          </p:nvCxnSpPr>
          <p:spPr bwMode="gray">
            <a:xfrm flipH="1" flipV="1">
              <a:off x="330200"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61" name="btfpColumnIndicatorGroup1">
            <a:extLst>
              <a:ext uri="{FF2B5EF4-FFF2-40B4-BE49-F238E27FC236}">
                <a16:creationId xmlns:a16="http://schemas.microsoft.com/office/drawing/2014/main" id="{8C09F7F6-3F40-4B6B-47E6-912D8A47855A}"/>
              </a:ext>
            </a:extLst>
          </p:cNvPr>
          <p:cNvGrpSpPr/>
          <p:nvPr>
            <p:custDataLst>
              <p:tags r:id="rId5"/>
            </p:custDataLst>
          </p:nvPr>
        </p:nvGrpSpPr>
        <p:grpSpPr>
          <a:xfrm>
            <a:off x="0" y="-205740"/>
            <a:ext cx="12192000" cy="137160"/>
            <a:chOff x="0" y="-205740"/>
            <a:chExt cx="12192000" cy="137160"/>
          </a:xfrm>
        </p:grpSpPr>
        <p:sp>
          <p:nvSpPr>
            <p:cNvPr id="59" name="btfpColumnGapBlocker389464">
              <a:extLst>
                <a:ext uri="{FF2B5EF4-FFF2-40B4-BE49-F238E27FC236}">
                  <a16:creationId xmlns:a16="http://schemas.microsoft.com/office/drawing/2014/main" id="{D3042634-882A-5FC1-477F-97F72234BFC1}"/>
                </a:ext>
              </a:extLst>
            </p:cNvPr>
            <p:cNvSpPr/>
            <p:nvPr>
              <p:custDataLst>
                <p:tags r:id="rId31"/>
              </p:custDataLst>
            </p:nvPr>
          </p:nvSpPr>
          <p:spPr bwMode="gray">
            <a:xfrm>
              <a:off x="11861800" y="-20574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56" name="btfpColumnGapBlocker119738">
              <a:extLst>
                <a:ext uri="{FF2B5EF4-FFF2-40B4-BE49-F238E27FC236}">
                  <a16:creationId xmlns:a16="http://schemas.microsoft.com/office/drawing/2014/main" id="{7314D0BE-A431-926B-F5D1-82057CFD2581}"/>
                </a:ext>
              </a:extLst>
            </p:cNvPr>
            <p:cNvSpPr/>
            <p:nvPr>
              <p:custDataLst>
                <p:tags r:id="rId32"/>
              </p:custDataLst>
            </p:nvPr>
          </p:nvSpPr>
          <p:spPr bwMode="gray">
            <a:xfrm>
              <a:off x="0" y="-20574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54" name="btfpColumnIndicator924073">
              <a:extLst>
                <a:ext uri="{FF2B5EF4-FFF2-40B4-BE49-F238E27FC236}">
                  <a16:creationId xmlns:a16="http://schemas.microsoft.com/office/drawing/2014/main" id="{9AC6B021-8F4B-803E-FB48-20634F468D73}"/>
                </a:ext>
              </a:extLst>
            </p:cNvPr>
            <p:cNvCxnSpPr/>
            <p:nvPr>
              <p:custDataLst>
                <p:tags r:id="rId33"/>
              </p:custDataLst>
            </p:nvPr>
          </p:nvCxnSpPr>
          <p:spPr bwMode="gray">
            <a:xfrm flipH="1" flipV="1">
              <a:off x="11861800"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2" name="btfpColumnIndicator700115">
              <a:extLst>
                <a:ext uri="{FF2B5EF4-FFF2-40B4-BE49-F238E27FC236}">
                  <a16:creationId xmlns:a16="http://schemas.microsoft.com/office/drawing/2014/main" id="{33E16772-8187-5D8D-137A-4437818F689A}"/>
                </a:ext>
              </a:extLst>
            </p:cNvPr>
            <p:cNvCxnSpPr/>
            <p:nvPr>
              <p:custDataLst>
                <p:tags r:id="rId34"/>
              </p:custDataLst>
            </p:nvPr>
          </p:nvCxnSpPr>
          <p:spPr bwMode="gray">
            <a:xfrm flipH="1" flipV="1">
              <a:off x="330200"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6" name="btfpBulletedList400100">
            <a:extLst>
              <a:ext uri="{FF2B5EF4-FFF2-40B4-BE49-F238E27FC236}">
                <a16:creationId xmlns:a16="http://schemas.microsoft.com/office/drawing/2014/main" id="{9EE9EE15-EEC3-3256-5975-794EA9FB067A}"/>
              </a:ext>
            </a:extLst>
          </p:cNvPr>
          <p:cNvSpPr txBox="1"/>
          <p:nvPr>
            <p:custDataLst>
              <p:tags r:id="rId6"/>
            </p:custDataLst>
          </p:nvPr>
        </p:nvSpPr>
        <p:spPr bwMode="gray">
          <a:xfrm>
            <a:off x="6244352" y="2030957"/>
            <a:ext cx="5696188" cy="1611586"/>
          </a:xfrm>
          <a:prstGeom prst="rect">
            <a:avLst/>
          </a:prstGeom>
          <a:noFill/>
        </p:spPr>
        <p:txBody>
          <a:bodyPr vert="horz" wrap="square" lIns="411480" tIns="36000" rIns="36000" bIns="36000" rtlCol="0">
            <a:spAutoFit/>
          </a:bodyPr>
          <a:lstStyle/>
          <a:p>
            <a:pPr marL="0" indent="0">
              <a:spcBef>
                <a:spcPts val="2400"/>
              </a:spcBef>
              <a:buNone/>
            </a:pPr>
            <a:r>
              <a:rPr lang="en-AU" sz="1200" b="1"/>
              <a:t>Whether there is an imminent existential threat associated with AI.</a:t>
            </a:r>
          </a:p>
          <a:p>
            <a:pPr marL="0" indent="0">
              <a:spcBef>
                <a:spcPts val="2400"/>
              </a:spcBef>
              <a:buNone/>
            </a:pPr>
            <a:r>
              <a:rPr lang="en-AU" sz="1200" b="1"/>
              <a:t>How the existential threat should be incorporated in a regulatory framework. </a:t>
            </a:r>
          </a:p>
          <a:p>
            <a:pPr marL="0" indent="0">
              <a:spcBef>
                <a:spcPts val="2400"/>
              </a:spcBef>
              <a:buNone/>
            </a:pPr>
            <a:r>
              <a:rPr lang="en-AU" sz="1200" b="1"/>
              <a:t>How accountability should be shared between developers of AI and users of AI</a:t>
            </a:r>
          </a:p>
        </p:txBody>
      </p:sp>
      <p:sp>
        <p:nvSpPr>
          <p:cNvPr id="1033" name="btfpNotesBox191913">
            <a:extLst>
              <a:ext uri="{FF2B5EF4-FFF2-40B4-BE49-F238E27FC236}">
                <a16:creationId xmlns:a16="http://schemas.microsoft.com/office/drawing/2014/main" id="{B22E9C94-E0EC-7E7C-52B1-FCAC70370265}"/>
              </a:ext>
            </a:extLst>
          </p:cNvPr>
          <p:cNvSpPr txBox="1"/>
          <p:nvPr>
            <p:custDataLst>
              <p:tags r:id="rId7"/>
            </p:custDataLst>
          </p:nvPr>
        </p:nvSpPr>
        <p:spPr bwMode="gray">
          <a:xfrm>
            <a:off x="330200" y="6494651"/>
            <a:ext cx="11531600" cy="123111"/>
          </a:xfrm>
          <a:prstGeom prst="rect">
            <a:avLst/>
          </a:prstGeom>
          <a:noFill/>
        </p:spPr>
        <p:txBody>
          <a:bodyPr vert="horz" wrap="square" lIns="0" tIns="0" rIns="0" bIns="0" rtlCol="0" anchor="b">
            <a:spAutoFit/>
          </a:bodyPr>
          <a:lstStyle/>
          <a:p>
            <a:pPr marL="0" indent="0">
              <a:spcBef>
                <a:spcPct val="0"/>
              </a:spcBef>
              <a:buNone/>
            </a:pPr>
            <a:r>
              <a:rPr lang="en-AU" sz="800">
                <a:solidFill>
                  <a:srgbClr val="000000"/>
                </a:solidFill>
              </a:rPr>
              <a:t>Source: Lit Search; Center for AI Safety, Yahoo News (https://finance.yahoo.com/news/google-brain-cofounder-says-big-113049941.html)</a:t>
            </a:r>
          </a:p>
        </p:txBody>
      </p:sp>
      <p:sp>
        <p:nvSpPr>
          <p:cNvPr id="1041" name="btfpHBCheckCross208042">
            <a:extLst>
              <a:ext uri="{FF2B5EF4-FFF2-40B4-BE49-F238E27FC236}">
                <a16:creationId xmlns:a16="http://schemas.microsoft.com/office/drawing/2014/main" id="{F38F2748-FE06-E26A-F4CE-0B7C46DEB4A0}"/>
              </a:ext>
            </a:extLst>
          </p:cNvPr>
          <p:cNvSpPr>
            <a:spLocks noChangeAspect="1"/>
          </p:cNvSpPr>
          <p:nvPr>
            <p:custDataLst>
              <p:tags r:id="rId8"/>
            </p:custDataLst>
          </p:nvPr>
        </p:nvSpPr>
        <p:spPr bwMode="gray">
          <a:xfrm>
            <a:off x="6244352" y="2031150"/>
            <a:ext cx="343568" cy="343568"/>
          </a:xfrm>
          <a:prstGeom prst="rect">
            <a:avLst/>
          </a:prstGeom>
          <a:blipFill>
            <a:blip r:embed="rId42"/>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400" err="1">
              <a:solidFill>
                <a:schemeClr val="tx1"/>
              </a:solidFill>
            </a:endParaRPr>
          </a:p>
        </p:txBody>
      </p:sp>
      <p:sp>
        <p:nvSpPr>
          <p:cNvPr id="1042" name="btfpHBCheckCross208042">
            <a:extLst>
              <a:ext uri="{FF2B5EF4-FFF2-40B4-BE49-F238E27FC236}">
                <a16:creationId xmlns:a16="http://schemas.microsoft.com/office/drawing/2014/main" id="{EFA1585E-498D-7655-6E04-348D0979E036}"/>
              </a:ext>
            </a:extLst>
          </p:cNvPr>
          <p:cNvSpPr>
            <a:spLocks noChangeAspect="1"/>
          </p:cNvSpPr>
          <p:nvPr>
            <p:custDataLst>
              <p:tags r:id="rId9"/>
            </p:custDataLst>
          </p:nvPr>
        </p:nvSpPr>
        <p:spPr bwMode="gray">
          <a:xfrm>
            <a:off x="6244352" y="2541178"/>
            <a:ext cx="343568" cy="343568"/>
          </a:xfrm>
          <a:prstGeom prst="rect">
            <a:avLst/>
          </a:prstGeom>
          <a:blipFill>
            <a:blip r:embed="rId42"/>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400" err="1">
              <a:solidFill>
                <a:schemeClr val="tx1"/>
              </a:solidFill>
            </a:endParaRPr>
          </a:p>
        </p:txBody>
      </p:sp>
      <p:sp>
        <p:nvSpPr>
          <p:cNvPr id="1034" name="Title 1">
            <a:extLst>
              <a:ext uri="{FF2B5EF4-FFF2-40B4-BE49-F238E27FC236}">
                <a16:creationId xmlns:a16="http://schemas.microsoft.com/office/drawing/2014/main" id="{F52F745B-628D-41A7-956C-5E10B20BF46B}"/>
              </a:ext>
            </a:extLst>
          </p:cNvPr>
          <p:cNvSpPr txBox="1"/>
          <p:nvPr>
            <p:custDataLst>
              <p:tags r:id="rId10"/>
            </p:custDataLst>
          </p:nvPr>
        </p:nvSpPr>
        <p:spPr>
          <a:xfrm>
            <a:off x="347472" y="289372"/>
            <a:ext cx="11521440" cy="847718"/>
          </a:xfrm>
          <a:prstGeom prst="rect">
            <a:avLst/>
          </a:prstGeom>
        </p:spPr>
        <p:txBody>
          <a:bodyPr vert="horz" lIns="36000" tIns="36000" rIns="36000" bIns="72000" rtlCol="0" anchor="ctr" anchorCtr="0">
            <a:noAutofit/>
          </a:bodyPr>
          <a:lst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a:lstStyle>
          <a:p>
            <a:pPr marL="0" indent="0"/>
            <a:r>
              <a:rPr lang="en-US" i="1">
                <a:solidFill>
                  <a:schemeClr val="bg1"/>
                </a:solidFill>
              </a:rPr>
              <a:t>How</a:t>
            </a:r>
            <a:r>
              <a:rPr lang="en-US">
                <a:solidFill>
                  <a:schemeClr val="bg1"/>
                </a:solidFill>
              </a:rPr>
              <a:t> to regulate AI is an ongoing topic of discussion, research and policy; but there is much that we can agree upon</a:t>
            </a:r>
          </a:p>
        </p:txBody>
      </p:sp>
      <p:sp>
        <p:nvSpPr>
          <p:cNvPr id="1045" name="TextBox 1044">
            <a:extLst>
              <a:ext uri="{FF2B5EF4-FFF2-40B4-BE49-F238E27FC236}">
                <a16:creationId xmlns:a16="http://schemas.microsoft.com/office/drawing/2014/main" id="{DFA54F7E-D301-E57E-231F-602C2FF18A59}"/>
              </a:ext>
            </a:extLst>
          </p:cNvPr>
          <p:cNvSpPr txBox="1"/>
          <p:nvPr>
            <p:custDataLst>
              <p:tags r:id="rId11"/>
            </p:custDataLst>
          </p:nvPr>
        </p:nvSpPr>
        <p:spPr bwMode="gray">
          <a:xfrm>
            <a:off x="6191011" y="1473917"/>
            <a:ext cx="5495528" cy="405683"/>
          </a:xfrm>
          <a:prstGeom prst="rect">
            <a:avLst/>
          </a:prstGeom>
          <a:noFill/>
        </p:spPr>
        <p:txBody>
          <a:bodyPr wrap="square" lIns="36000" tIns="36000" rIns="36000" bIns="91440" rtlCol="0" anchor="b">
            <a:spAutoFit/>
          </a:bodyPr>
          <a:lstStyle/>
          <a:p>
            <a:pPr marL="0" indent="0">
              <a:spcBef>
                <a:spcPct val="0"/>
              </a:spcBef>
              <a:buNone/>
            </a:pPr>
            <a:r>
              <a:rPr lang="en-US" sz="1800" b="1">
                <a:solidFill>
                  <a:schemeClr val="bg1"/>
                </a:solidFill>
              </a:rPr>
              <a:t>But there is still disagreement on…</a:t>
            </a:r>
          </a:p>
        </p:txBody>
      </p:sp>
      <p:grpSp>
        <p:nvGrpSpPr>
          <p:cNvPr id="3" name="Group 2">
            <a:extLst>
              <a:ext uri="{FF2B5EF4-FFF2-40B4-BE49-F238E27FC236}">
                <a16:creationId xmlns:a16="http://schemas.microsoft.com/office/drawing/2014/main" id="{E52C6707-68EE-7009-A47E-8403B83092FE}"/>
              </a:ext>
            </a:extLst>
          </p:cNvPr>
          <p:cNvGrpSpPr/>
          <p:nvPr>
            <p:custDataLst>
              <p:tags r:id="rId12"/>
            </p:custDataLst>
          </p:nvPr>
        </p:nvGrpSpPr>
        <p:grpSpPr>
          <a:xfrm>
            <a:off x="330200" y="1473917"/>
            <a:ext cx="5359400" cy="5146905"/>
            <a:chOff x="330200" y="1473917"/>
            <a:chExt cx="5359400" cy="5146905"/>
          </a:xfrm>
        </p:grpSpPr>
        <p:sp>
          <p:nvSpPr>
            <p:cNvPr id="35" name="btfpBulletedList400100">
              <a:extLst>
                <a:ext uri="{FF2B5EF4-FFF2-40B4-BE49-F238E27FC236}">
                  <a16:creationId xmlns:a16="http://schemas.microsoft.com/office/drawing/2014/main" id="{788336FC-BAEB-1A6F-72A8-2600F7A8A1B7}"/>
                </a:ext>
              </a:extLst>
            </p:cNvPr>
            <p:cNvSpPr txBox="1"/>
            <p:nvPr>
              <p:custDataLst>
                <p:tags r:id="rId19"/>
              </p:custDataLst>
            </p:nvPr>
          </p:nvSpPr>
          <p:spPr bwMode="gray">
            <a:xfrm>
              <a:off x="368300" y="2030957"/>
              <a:ext cx="5321300" cy="3520964"/>
            </a:xfrm>
            <a:prstGeom prst="rect">
              <a:avLst/>
            </a:prstGeom>
            <a:noFill/>
          </p:spPr>
          <p:txBody>
            <a:bodyPr vert="horz" wrap="square" lIns="411480" tIns="36576" rIns="36576" bIns="36576" rtlCol="0">
              <a:spAutoFit/>
            </a:bodyPr>
            <a:lstStyle/>
            <a:p>
              <a:pPr marL="0" indent="0">
                <a:spcBef>
                  <a:spcPts val="2400"/>
                </a:spcBef>
                <a:buNone/>
              </a:pPr>
              <a:r>
                <a:rPr lang="en-AU" sz="1200" b="1"/>
                <a:t>There is, today, a range of known risks associated with AI that</a:t>
              </a:r>
              <a:br>
                <a:rPr lang="en-AU" sz="1200" b="1"/>
              </a:br>
              <a:r>
                <a:rPr lang="en-AU" sz="1200" b="1"/>
                <a:t>we can start to address. Bias, discrimination, accessibility, reliability, trustworthiness, and transparency</a:t>
              </a:r>
            </a:p>
            <a:p>
              <a:pPr marL="0" indent="0">
                <a:spcBef>
                  <a:spcPts val="2400"/>
                </a:spcBef>
                <a:buNone/>
              </a:pPr>
              <a:r>
                <a:rPr lang="en-AU" sz="1200" b="1"/>
                <a:t>We must also invest much more into understanding the longer-term and catastrophic risks that AI poses.</a:t>
              </a:r>
              <a:r>
                <a:rPr lang="en-AU" sz="1200"/>
                <a:t> </a:t>
              </a:r>
            </a:p>
            <a:p>
              <a:pPr marL="0" indent="0">
                <a:spcBef>
                  <a:spcPts val="2400"/>
                </a:spcBef>
                <a:buNone/>
              </a:pPr>
              <a:r>
                <a:rPr lang="en-AU" sz="1200" b="1"/>
                <a:t>We must develop new </a:t>
              </a:r>
              <a:r>
                <a:rPr lang="en-AU" sz="1200" b="1" i="1"/>
                <a:t>tools </a:t>
              </a:r>
              <a:r>
                <a:rPr lang="en-AU" sz="1200" b="1"/>
                <a:t>for assessing, monitoring, and mitigating risks associated with AI. </a:t>
              </a:r>
            </a:p>
            <a:p>
              <a:pPr marL="0" indent="0">
                <a:spcBef>
                  <a:spcPts val="2400"/>
                </a:spcBef>
                <a:buNone/>
              </a:pPr>
              <a:r>
                <a:rPr lang="en-AU" sz="1200" b="1"/>
                <a:t>There is a need to develop, at minimum, voluntary standards that will assist organizations in addressing known risks. </a:t>
              </a:r>
            </a:p>
            <a:p>
              <a:pPr marL="0" indent="0">
                <a:spcBef>
                  <a:spcPts val="2400"/>
                </a:spcBef>
                <a:buNone/>
              </a:pPr>
              <a:r>
                <a:rPr lang="en-AU" sz="1200" b="1"/>
                <a:t>There are certain applications of AI that can create substantial risk of harm and controls need to be implemented to prevent this from occurring. </a:t>
              </a:r>
              <a:endParaRPr lang="en-AU" sz="1200"/>
            </a:p>
          </p:txBody>
        </p:sp>
        <p:sp>
          <p:nvSpPr>
            <p:cNvPr id="1036" name="btfpHBCheckCross829812">
              <a:extLst>
                <a:ext uri="{FF2B5EF4-FFF2-40B4-BE49-F238E27FC236}">
                  <a16:creationId xmlns:a16="http://schemas.microsoft.com/office/drawing/2014/main" id="{5F8B9E16-944F-C72D-C0FB-3C9A1C662D64}"/>
                </a:ext>
              </a:extLst>
            </p:cNvPr>
            <p:cNvSpPr>
              <a:spLocks noChangeAspect="1"/>
            </p:cNvSpPr>
            <p:nvPr>
              <p:custDataLst>
                <p:tags r:id="rId20"/>
              </p:custDataLst>
            </p:nvPr>
          </p:nvSpPr>
          <p:spPr bwMode="gray">
            <a:xfrm>
              <a:off x="368300" y="2065608"/>
              <a:ext cx="343568" cy="343568"/>
            </a:xfrm>
            <a:prstGeom prst="rect">
              <a:avLst/>
            </a:prstGeom>
            <a:blipFill>
              <a:blip r:embed="rId43"/>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400" err="1">
                <a:solidFill>
                  <a:schemeClr val="tx1"/>
                </a:solidFill>
              </a:endParaRPr>
            </a:p>
          </p:txBody>
        </p:sp>
        <p:sp>
          <p:nvSpPr>
            <p:cNvPr id="1037" name="btfpHBCheckCross829812">
              <a:extLst>
                <a:ext uri="{FF2B5EF4-FFF2-40B4-BE49-F238E27FC236}">
                  <a16:creationId xmlns:a16="http://schemas.microsoft.com/office/drawing/2014/main" id="{52FD38EC-E4AD-28BF-5CC1-E56607100C70}"/>
                </a:ext>
              </a:extLst>
            </p:cNvPr>
            <p:cNvSpPr>
              <a:spLocks noChangeAspect="1"/>
            </p:cNvSpPr>
            <p:nvPr>
              <p:custDataLst>
                <p:tags r:id="rId21"/>
              </p:custDataLst>
            </p:nvPr>
          </p:nvSpPr>
          <p:spPr bwMode="gray">
            <a:xfrm>
              <a:off x="368300" y="2911390"/>
              <a:ext cx="343568" cy="343568"/>
            </a:xfrm>
            <a:prstGeom prst="rect">
              <a:avLst/>
            </a:prstGeom>
            <a:blipFill>
              <a:blip r:embed="rId43"/>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400" err="1">
                <a:solidFill>
                  <a:schemeClr val="tx1"/>
                </a:solidFill>
              </a:endParaRPr>
            </a:p>
          </p:txBody>
        </p:sp>
        <p:sp>
          <p:nvSpPr>
            <p:cNvPr id="1038" name="btfpHBCheckCross829812">
              <a:extLst>
                <a:ext uri="{FF2B5EF4-FFF2-40B4-BE49-F238E27FC236}">
                  <a16:creationId xmlns:a16="http://schemas.microsoft.com/office/drawing/2014/main" id="{161382A6-8232-A3FB-4517-37B9DCD0D312}"/>
                </a:ext>
              </a:extLst>
            </p:cNvPr>
            <p:cNvSpPr>
              <a:spLocks noChangeAspect="1"/>
            </p:cNvSpPr>
            <p:nvPr>
              <p:custDataLst>
                <p:tags r:id="rId22"/>
              </p:custDataLst>
            </p:nvPr>
          </p:nvSpPr>
          <p:spPr bwMode="gray">
            <a:xfrm>
              <a:off x="368300" y="3577457"/>
              <a:ext cx="343568" cy="343568"/>
            </a:xfrm>
            <a:prstGeom prst="rect">
              <a:avLst/>
            </a:prstGeom>
            <a:blipFill>
              <a:blip r:embed="rId43"/>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400" err="1">
                <a:solidFill>
                  <a:schemeClr val="tx1"/>
                </a:solidFill>
              </a:endParaRPr>
            </a:p>
          </p:txBody>
        </p:sp>
        <p:sp>
          <p:nvSpPr>
            <p:cNvPr id="1039" name="btfpHBCheckCross829812">
              <a:extLst>
                <a:ext uri="{FF2B5EF4-FFF2-40B4-BE49-F238E27FC236}">
                  <a16:creationId xmlns:a16="http://schemas.microsoft.com/office/drawing/2014/main" id="{EC63D61A-4CA5-D4D1-A319-6DDC5B793BFF}"/>
                </a:ext>
              </a:extLst>
            </p:cNvPr>
            <p:cNvSpPr>
              <a:spLocks noChangeAspect="1"/>
            </p:cNvSpPr>
            <p:nvPr>
              <p:custDataLst>
                <p:tags r:id="rId23"/>
              </p:custDataLst>
            </p:nvPr>
          </p:nvSpPr>
          <p:spPr bwMode="gray">
            <a:xfrm>
              <a:off x="368300" y="4260930"/>
              <a:ext cx="343568" cy="343568"/>
            </a:xfrm>
            <a:prstGeom prst="rect">
              <a:avLst/>
            </a:prstGeom>
            <a:blipFill>
              <a:blip r:embed="rId43"/>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400" err="1">
                <a:solidFill>
                  <a:schemeClr val="tx1"/>
                </a:solidFill>
              </a:endParaRPr>
            </a:p>
          </p:txBody>
        </p:sp>
        <p:sp>
          <p:nvSpPr>
            <p:cNvPr id="1040" name="btfpHBCheckCross829812">
              <a:extLst>
                <a:ext uri="{FF2B5EF4-FFF2-40B4-BE49-F238E27FC236}">
                  <a16:creationId xmlns:a16="http://schemas.microsoft.com/office/drawing/2014/main" id="{F5260345-D987-3145-C4FF-77B8DE2F161D}"/>
                </a:ext>
              </a:extLst>
            </p:cNvPr>
            <p:cNvSpPr>
              <a:spLocks noChangeAspect="1"/>
            </p:cNvSpPr>
            <p:nvPr>
              <p:custDataLst>
                <p:tags r:id="rId24"/>
              </p:custDataLst>
            </p:nvPr>
          </p:nvSpPr>
          <p:spPr bwMode="gray">
            <a:xfrm>
              <a:off x="368300" y="4900819"/>
              <a:ext cx="343568" cy="343568"/>
            </a:xfrm>
            <a:prstGeom prst="rect">
              <a:avLst/>
            </a:prstGeom>
            <a:blipFill>
              <a:blip r:embed="rId43"/>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400" err="1">
                <a:solidFill>
                  <a:schemeClr val="tx1"/>
                </a:solidFill>
              </a:endParaRPr>
            </a:p>
          </p:txBody>
        </p:sp>
        <p:sp>
          <p:nvSpPr>
            <p:cNvPr id="1043" name="TextBox 1042">
              <a:extLst>
                <a:ext uri="{FF2B5EF4-FFF2-40B4-BE49-F238E27FC236}">
                  <a16:creationId xmlns:a16="http://schemas.microsoft.com/office/drawing/2014/main" id="{B098D13C-5775-CE2F-9CC5-0ECDCD7FC253}"/>
                </a:ext>
              </a:extLst>
            </p:cNvPr>
            <p:cNvSpPr txBox="1"/>
            <p:nvPr>
              <p:custDataLst>
                <p:tags r:id="rId25"/>
              </p:custDataLst>
            </p:nvPr>
          </p:nvSpPr>
          <p:spPr bwMode="gray">
            <a:xfrm>
              <a:off x="330200" y="1473917"/>
              <a:ext cx="4531360" cy="405683"/>
            </a:xfrm>
            <a:prstGeom prst="rect">
              <a:avLst/>
            </a:prstGeom>
            <a:noFill/>
          </p:spPr>
          <p:txBody>
            <a:bodyPr wrap="square" lIns="36000" tIns="36000" rIns="36000" bIns="91440" rtlCol="0" anchor="b">
              <a:spAutoFit/>
            </a:bodyPr>
            <a:lstStyle/>
            <a:p>
              <a:pPr marL="0" indent="0">
                <a:spcBef>
                  <a:spcPct val="0"/>
                </a:spcBef>
                <a:buNone/>
              </a:pPr>
              <a:r>
                <a:rPr lang="en-US" sz="1800" b="1">
                  <a:solidFill>
                    <a:schemeClr val="bg1"/>
                  </a:solidFill>
                </a:rPr>
                <a:t>There is broad agreement that…</a:t>
              </a:r>
            </a:p>
          </p:txBody>
        </p:sp>
        <p:grpSp>
          <p:nvGrpSpPr>
            <p:cNvPr id="9" name="btfpConclusionArrow262325">
              <a:extLst>
                <a:ext uri="{FF2B5EF4-FFF2-40B4-BE49-F238E27FC236}">
                  <a16:creationId xmlns:a16="http://schemas.microsoft.com/office/drawing/2014/main" id="{12300000-9DD0-5730-9623-3E117F56B1C9}"/>
                </a:ext>
              </a:extLst>
            </p:cNvPr>
            <p:cNvGrpSpPr/>
            <p:nvPr>
              <p:custDataLst>
                <p:tags r:id="rId26"/>
              </p:custDataLst>
            </p:nvPr>
          </p:nvGrpSpPr>
          <p:grpSpPr>
            <a:xfrm>
              <a:off x="330200" y="5549688"/>
              <a:ext cx="5359400" cy="1071134"/>
              <a:chOff x="-711496" y="909638"/>
              <a:chExt cx="11531600" cy="1071134"/>
            </a:xfrm>
          </p:grpSpPr>
          <p:sp>
            <p:nvSpPr>
              <p:cNvPr id="5" name="btfpConclusionArrowText262325">
                <a:extLst>
                  <a:ext uri="{FF2B5EF4-FFF2-40B4-BE49-F238E27FC236}">
                    <a16:creationId xmlns:a16="http://schemas.microsoft.com/office/drawing/2014/main" id="{D8AB3900-5D7F-DAD6-06B6-E4431800668A}"/>
                  </a:ext>
                </a:extLst>
              </p:cNvPr>
              <p:cNvSpPr txBox="1"/>
              <p:nvPr>
                <p:custDataLst>
                  <p:tags r:id="rId27"/>
                </p:custDataLst>
              </p:nvPr>
            </p:nvSpPr>
            <p:spPr bwMode="gray">
              <a:xfrm>
                <a:off x="-711496" y="1270001"/>
                <a:ext cx="11531600" cy="710771"/>
              </a:xfrm>
              <a:prstGeom prst="rect">
                <a:avLst/>
              </a:prstGeom>
              <a:noFill/>
            </p:spPr>
            <p:txBody>
              <a:bodyPr vert="horz" wrap="square" lIns="36036" tIns="36036" rIns="36036" bIns="180181" rtlCol="0" anchor="ctr">
                <a:spAutoFit/>
              </a:bodyPr>
              <a:lstStyle/>
              <a:p>
                <a:pPr marL="0" indent="0" algn="ctr">
                  <a:spcBef>
                    <a:spcPct val="0"/>
                  </a:spcBef>
                  <a:buNone/>
                </a:pPr>
                <a:r>
                  <a:rPr lang="en-AU" sz="1600" b="1">
                    <a:solidFill>
                      <a:srgbClr val="CC0000"/>
                    </a:solidFill>
                  </a:rPr>
                  <a:t>Highly likely to be addressed by national policies in the near- to medium-term</a:t>
                </a:r>
              </a:p>
            </p:txBody>
          </p:sp>
          <p:sp>
            <p:nvSpPr>
              <p:cNvPr id="6" name="btfpConclusionArrowPointer262325">
                <a:extLst>
                  <a:ext uri="{FF2B5EF4-FFF2-40B4-BE49-F238E27FC236}">
                    <a16:creationId xmlns:a16="http://schemas.microsoft.com/office/drawing/2014/main" id="{7462D126-3E7C-A58B-FCA5-0D652235EB2B}"/>
                  </a:ext>
                </a:extLst>
              </p:cNvPr>
              <p:cNvSpPr/>
              <p:nvPr>
                <p:custDataLst>
                  <p:tags r:id="rId28"/>
                </p:custDataLst>
              </p:nvPr>
            </p:nvSpPr>
            <p:spPr bwMode="gray">
              <a:xfrm>
                <a:off x="4123851" y="909638"/>
                <a:ext cx="1860905"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7" name="btfpConclusionArrowLineLeft262325">
                <a:extLst>
                  <a:ext uri="{FF2B5EF4-FFF2-40B4-BE49-F238E27FC236}">
                    <a16:creationId xmlns:a16="http://schemas.microsoft.com/office/drawing/2014/main" id="{3181E1EB-869C-0E1E-0AD8-84761DE4CC7D}"/>
                  </a:ext>
                </a:extLst>
              </p:cNvPr>
              <p:cNvCxnSpPr/>
              <p:nvPr>
                <p:custDataLst>
                  <p:tags r:id="rId29"/>
                </p:custDataLst>
              </p:nvPr>
            </p:nvCxnSpPr>
            <p:spPr bwMode="gray">
              <a:xfrm>
                <a:off x="-711496" y="1149999"/>
                <a:ext cx="5021438"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 name="btfpConclusionArrowLineRight262325">
                <a:extLst>
                  <a:ext uri="{FF2B5EF4-FFF2-40B4-BE49-F238E27FC236}">
                    <a16:creationId xmlns:a16="http://schemas.microsoft.com/office/drawing/2014/main" id="{929FCFFF-1095-0E2E-6E6E-F90A69A6A097}"/>
                  </a:ext>
                </a:extLst>
              </p:cNvPr>
              <p:cNvCxnSpPr/>
              <p:nvPr>
                <p:custDataLst>
                  <p:tags r:id="rId30"/>
                </p:custDataLst>
              </p:nvPr>
            </p:nvCxnSpPr>
            <p:spPr bwMode="gray">
              <a:xfrm>
                <a:off x="5798666" y="1149999"/>
                <a:ext cx="5021438"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sp>
        <p:nvSpPr>
          <p:cNvPr id="10" name="btfpHBCheckCross208042">
            <a:extLst>
              <a:ext uri="{FF2B5EF4-FFF2-40B4-BE49-F238E27FC236}">
                <a16:creationId xmlns:a16="http://schemas.microsoft.com/office/drawing/2014/main" id="{5A3DAECC-913C-E28A-85B2-BE805EA86B1F}"/>
              </a:ext>
            </a:extLst>
          </p:cNvPr>
          <p:cNvSpPr>
            <a:spLocks noChangeAspect="1"/>
          </p:cNvSpPr>
          <p:nvPr>
            <p:custDataLst>
              <p:tags r:id="rId13"/>
            </p:custDataLst>
          </p:nvPr>
        </p:nvSpPr>
        <p:spPr bwMode="gray">
          <a:xfrm>
            <a:off x="6244352" y="3175799"/>
            <a:ext cx="343568" cy="343568"/>
          </a:xfrm>
          <a:prstGeom prst="rect">
            <a:avLst/>
          </a:prstGeom>
          <a:blipFill>
            <a:blip r:embed="rId42"/>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400" err="1">
              <a:solidFill>
                <a:schemeClr val="tx1"/>
              </a:solidFill>
            </a:endParaRPr>
          </a:p>
        </p:txBody>
      </p:sp>
      <p:grpSp>
        <p:nvGrpSpPr>
          <p:cNvPr id="11" name="btfpConclusionArrow262325">
            <a:extLst>
              <a:ext uri="{FF2B5EF4-FFF2-40B4-BE49-F238E27FC236}">
                <a16:creationId xmlns:a16="http://schemas.microsoft.com/office/drawing/2014/main" id="{F7A7567A-CF6D-4F12-019C-C19BB3326259}"/>
              </a:ext>
            </a:extLst>
          </p:cNvPr>
          <p:cNvGrpSpPr/>
          <p:nvPr>
            <p:custDataLst>
              <p:tags r:id="rId14"/>
            </p:custDataLst>
          </p:nvPr>
        </p:nvGrpSpPr>
        <p:grpSpPr>
          <a:xfrm>
            <a:off x="6587920" y="5561055"/>
            <a:ext cx="5359400" cy="1071134"/>
            <a:chOff x="-711496" y="909638"/>
            <a:chExt cx="11531600" cy="1071134"/>
          </a:xfrm>
        </p:grpSpPr>
        <p:sp>
          <p:nvSpPr>
            <p:cNvPr id="12" name="btfpConclusionArrowText262325">
              <a:extLst>
                <a:ext uri="{FF2B5EF4-FFF2-40B4-BE49-F238E27FC236}">
                  <a16:creationId xmlns:a16="http://schemas.microsoft.com/office/drawing/2014/main" id="{316C031B-EE10-868D-ABE7-C752191809B0}"/>
                </a:ext>
              </a:extLst>
            </p:cNvPr>
            <p:cNvSpPr txBox="1"/>
            <p:nvPr>
              <p:custDataLst>
                <p:tags r:id="rId15"/>
              </p:custDataLst>
            </p:nvPr>
          </p:nvSpPr>
          <p:spPr bwMode="gray">
            <a:xfrm>
              <a:off x="-711496" y="1270001"/>
              <a:ext cx="11531600" cy="710771"/>
            </a:xfrm>
            <a:prstGeom prst="rect">
              <a:avLst/>
            </a:prstGeom>
            <a:noFill/>
          </p:spPr>
          <p:txBody>
            <a:bodyPr vert="horz" wrap="square" lIns="36036" tIns="36036" rIns="36036" bIns="180181" rtlCol="0" anchor="ctr">
              <a:spAutoFit/>
            </a:bodyPr>
            <a:lstStyle/>
            <a:p>
              <a:pPr marL="0" indent="0" algn="ctr">
                <a:spcBef>
                  <a:spcPct val="0"/>
                </a:spcBef>
                <a:buNone/>
              </a:pPr>
              <a:r>
                <a:rPr lang="en-AU" sz="1600" b="1">
                  <a:solidFill>
                    <a:srgbClr val="CC0000"/>
                  </a:solidFill>
                </a:rPr>
                <a:t>Ongoing topics of discussion among world leaders and regulatory bodies</a:t>
              </a:r>
            </a:p>
          </p:txBody>
        </p:sp>
        <p:sp>
          <p:nvSpPr>
            <p:cNvPr id="13" name="btfpConclusionArrowPointer262325">
              <a:extLst>
                <a:ext uri="{FF2B5EF4-FFF2-40B4-BE49-F238E27FC236}">
                  <a16:creationId xmlns:a16="http://schemas.microsoft.com/office/drawing/2014/main" id="{060A769B-7CC3-37D2-D8D0-C505E00BEED9}"/>
                </a:ext>
              </a:extLst>
            </p:cNvPr>
            <p:cNvSpPr/>
            <p:nvPr>
              <p:custDataLst>
                <p:tags r:id="rId16"/>
              </p:custDataLst>
            </p:nvPr>
          </p:nvSpPr>
          <p:spPr bwMode="gray">
            <a:xfrm>
              <a:off x="4123851" y="909638"/>
              <a:ext cx="1860905" cy="360362"/>
            </a:xfrm>
            <a:prstGeom prst="downArrow">
              <a:avLst>
                <a:gd name="adj1" fmla="val 50000"/>
                <a:gd name="adj2" fmla="val 70000"/>
              </a:avLst>
            </a:prstGeom>
            <a:noFill/>
            <a:ln w="9525" cmpd="sng">
              <a:solidFill>
                <a:srgbClr val="CC0000"/>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14" name="btfpConclusionArrowLineLeft262325">
              <a:extLst>
                <a:ext uri="{FF2B5EF4-FFF2-40B4-BE49-F238E27FC236}">
                  <a16:creationId xmlns:a16="http://schemas.microsoft.com/office/drawing/2014/main" id="{B8AED71F-AE74-A0BF-6682-52C4C0CC98C5}"/>
                </a:ext>
              </a:extLst>
            </p:cNvPr>
            <p:cNvCxnSpPr/>
            <p:nvPr>
              <p:custDataLst>
                <p:tags r:id="rId17"/>
              </p:custDataLst>
            </p:nvPr>
          </p:nvCxnSpPr>
          <p:spPr bwMode="gray">
            <a:xfrm>
              <a:off x="-711496" y="1149999"/>
              <a:ext cx="5021438"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nclusionArrowLineRight262325">
              <a:extLst>
                <a:ext uri="{FF2B5EF4-FFF2-40B4-BE49-F238E27FC236}">
                  <a16:creationId xmlns:a16="http://schemas.microsoft.com/office/drawing/2014/main" id="{41D8F974-6C3E-580D-27FE-E0E876089075}"/>
                </a:ext>
              </a:extLst>
            </p:cNvPr>
            <p:cNvCxnSpPr/>
            <p:nvPr>
              <p:custDataLst>
                <p:tags r:id="rId18"/>
              </p:custDataLst>
            </p:nvPr>
          </p:nvCxnSpPr>
          <p:spPr bwMode="gray">
            <a:xfrm>
              <a:off x="5798666" y="1149999"/>
              <a:ext cx="5021438" cy="0"/>
            </a:xfrm>
            <a:prstGeom prst="line">
              <a:avLst/>
            </a:prstGeom>
            <a:ln w="9525" cap="flat" cmpd="sng">
              <a:solidFill>
                <a:srgbClr val="CC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04885342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0" presetClass="entr" presetSubtype="0" dur="50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nodeType="clickPar">
                      <p:stCondLst>
                        <p:cond delay="indefinite"/>
                      </p:stCondLst>
                      <p:childTnLst>
                        <p:par>
                          <p:cTn id="9" fill="hold">
                            <p:stCondLst>
                              <p:cond delay="0"/>
                            </p:stCondLst>
                            <p:childTnLst>
                              <p:par>
                                <p:cTn id="10" presetID="10" presetClass="entr" presetSubtype="0" dur="500" fill="hold" grpId="0"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ntr" presetSubtype="0" dur="500" fill="hold" grpId="0" nodeType="withEffect">
                                  <p:stCondLst>
                                    <p:cond delay="0"/>
                                  </p:stCondLst>
                                  <p:childTnLst>
                                    <p:set>
                                      <p:cBhvr>
                                        <p:cTn id="14" dur="1" fill="hold">
                                          <p:stCondLst>
                                            <p:cond delay="0"/>
                                          </p:stCondLst>
                                        </p:cTn>
                                        <p:tgtEl>
                                          <p:spTgt spid="1041"/>
                                        </p:tgtEl>
                                        <p:attrNameLst>
                                          <p:attrName>style.visibility</p:attrName>
                                        </p:attrNameLst>
                                      </p:cBhvr>
                                      <p:to>
                                        <p:strVal val="visible"/>
                                      </p:to>
                                    </p:set>
                                    <p:animEffect transition="in" filter="fade">
                                      <p:cBhvr>
                                        <p:cTn id="15" dur="500"/>
                                        <p:tgtEl>
                                          <p:spTgt spid="1041"/>
                                        </p:tgtEl>
                                      </p:cBhvr>
                                    </p:animEffect>
                                  </p:childTnLst>
                                </p:cTn>
                              </p:par>
                              <p:par>
                                <p:cTn id="16" presetID="10" presetClass="entr" presetSubtype="0" dur="500" fill="hold" grpId="0" nodeType="withEffect">
                                  <p:stCondLst>
                                    <p:cond delay="0"/>
                                  </p:stCondLst>
                                  <p:childTnLst>
                                    <p:set>
                                      <p:cBhvr>
                                        <p:cTn id="17" dur="1" fill="hold">
                                          <p:stCondLst>
                                            <p:cond delay="0"/>
                                          </p:stCondLst>
                                        </p:cTn>
                                        <p:tgtEl>
                                          <p:spTgt spid="1042"/>
                                        </p:tgtEl>
                                        <p:attrNameLst>
                                          <p:attrName>style.visibility</p:attrName>
                                        </p:attrNameLst>
                                      </p:cBhvr>
                                      <p:to>
                                        <p:strVal val="visible"/>
                                      </p:to>
                                    </p:set>
                                    <p:animEffect transition="in" filter="fade">
                                      <p:cBhvr>
                                        <p:cTn id="18" dur="500"/>
                                        <p:tgtEl>
                                          <p:spTgt spid="1042"/>
                                        </p:tgtEl>
                                      </p:cBhvr>
                                    </p:animEffect>
                                  </p:childTnLst>
                                </p:cTn>
                              </p:par>
                              <p:par>
                                <p:cTn id="19" presetID="10" presetClass="entr" presetSubtype="0" dur="500" fill="hold" grpId="0" nodeType="withEffect">
                                  <p:stCondLst>
                                    <p:cond delay="0"/>
                                  </p:stCondLst>
                                  <p:childTnLst>
                                    <p:set>
                                      <p:cBhvr>
                                        <p:cTn id="20" dur="1" fill="hold">
                                          <p:stCondLst>
                                            <p:cond delay="0"/>
                                          </p:stCondLst>
                                        </p:cTn>
                                        <p:tgtEl>
                                          <p:spTgt spid="1045"/>
                                        </p:tgtEl>
                                        <p:attrNameLst>
                                          <p:attrName>style.visibility</p:attrName>
                                        </p:attrNameLst>
                                      </p:cBhvr>
                                      <p:to>
                                        <p:strVal val="visible"/>
                                      </p:to>
                                    </p:set>
                                    <p:animEffect transition="in" filter="fade">
                                      <p:cBhvr>
                                        <p:cTn id="21" dur="500"/>
                                        <p:tgtEl>
                                          <p:spTgt spid="1045"/>
                                        </p:tgtEl>
                                      </p:cBhvr>
                                    </p:animEffect>
                                  </p:childTnLst>
                                </p:cTn>
                              </p:par>
                              <p:par>
                                <p:cTn id="22" presetID="10" presetClass="entr" presetSubtype="0" dur="50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10" presetClass="entr" presetSubtype="0" dur="50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1041" grpId="0" animBg="1"/>
      <p:bldP spid="1042" grpId="0" animBg="1"/>
      <p:bldP spid="1045" grpId="0"/>
      <p:bldP spid="1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7" name="Picture 1046" descr="A red lines on a black background&#10;&#10;Description automatically generated">
            <a:extLst>
              <a:ext uri="{FF2B5EF4-FFF2-40B4-BE49-F238E27FC236}">
                <a16:creationId xmlns:a16="http://schemas.microsoft.com/office/drawing/2014/main" id="{1F5BC426-8C1A-25E8-33B0-24198B597F0F}"/>
              </a:ext>
            </a:extLst>
          </p:cNvPr>
          <p:cNvPicPr>
            <a:picLocks noChangeAspect="1"/>
          </p:cNvPicPr>
          <p:nvPr>
            <p:custDataLst>
              <p:tags r:id="rId2"/>
            </p:custDataLst>
          </p:nvPr>
        </p:nvPicPr>
        <p:blipFill>
          <a:blip r:embed="rId28">
            <a:extLst>
              <a:ext uri="{28A0092B-C50C-407E-A947-70E740481C1C}">
                <a14:useLocalDpi xmlns:a14="http://schemas.microsoft.com/office/drawing/2010/main" val="0"/>
              </a:ext>
            </a:extLst>
          </a:blip>
          <a:srcRect t="-16" b="76884"/>
          <a:stretch>
            <a:fillRect/>
          </a:stretch>
        </p:blipFill>
        <p:spPr>
          <a:xfrm>
            <a:off x="0" y="0"/>
            <a:ext cx="12192000" cy="1879600"/>
          </a:xfrm>
          <a:prstGeom prst="rect">
            <a:avLst/>
          </a:prstGeom>
        </p:spPr>
      </p:pic>
      <p:sp>
        <p:nvSpPr>
          <p:cNvPr id="1032" name="Rectangle 1031">
            <a:extLst>
              <a:ext uri="{FF2B5EF4-FFF2-40B4-BE49-F238E27FC236}">
                <a16:creationId xmlns:a16="http://schemas.microsoft.com/office/drawing/2014/main" id="{8E1C1EBC-5FB6-16A2-F469-5B4CA9302C6E}"/>
              </a:ext>
            </a:extLst>
          </p:cNvPr>
          <p:cNvSpPr/>
          <p:nvPr>
            <p:custDataLst>
              <p:tags r:id="rId3"/>
            </p:custDataLst>
          </p:nvPr>
        </p:nvSpPr>
        <p:spPr bwMode="gray">
          <a:xfrm>
            <a:off x="0" y="0"/>
            <a:ext cx="12192000" cy="1879600"/>
          </a:xfrm>
          <a:prstGeom prst="rect">
            <a:avLst/>
          </a:prstGeom>
          <a:solidFill>
            <a:srgbClr val="000000">
              <a:alpha val="65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endParaRPr>
          </a:p>
        </p:txBody>
      </p:sp>
      <p:grpSp>
        <p:nvGrpSpPr>
          <p:cNvPr id="63" name="btfpColumnIndicatorGroup2">
            <a:extLst>
              <a:ext uri="{FF2B5EF4-FFF2-40B4-BE49-F238E27FC236}">
                <a16:creationId xmlns:a16="http://schemas.microsoft.com/office/drawing/2014/main" id="{7017DB0D-F929-D05B-6889-D4FFE12E98E4}"/>
              </a:ext>
            </a:extLst>
          </p:cNvPr>
          <p:cNvGrpSpPr/>
          <p:nvPr>
            <p:custDataLst>
              <p:tags r:id="rId4"/>
            </p:custDataLst>
          </p:nvPr>
        </p:nvGrpSpPr>
        <p:grpSpPr>
          <a:xfrm>
            <a:off x="0" y="6926580"/>
            <a:ext cx="12192000" cy="137160"/>
            <a:chOff x="0" y="6926580"/>
            <a:chExt cx="12192000" cy="137160"/>
          </a:xfrm>
        </p:grpSpPr>
        <p:sp>
          <p:nvSpPr>
            <p:cNvPr id="60" name="btfpColumnGapBlocker283755">
              <a:extLst>
                <a:ext uri="{FF2B5EF4-FFF2-40B4-BE49-F238E27FC236}">
                  <a16:creationId xmlns:a16="http://schemas.microsoft.com/office/drawing/2014/main" id="{27DBCFCE-E6C6-D032-4766-47005325DBE3}"/>
                </a:ext>
              </a:extLst>
            </p:cNvPr>
            <p:cNvSpPr/>
            <p:nvPr>
              <p:custDataLst>
                <p:tags r:id="rId22"/>
              </p:custDataLst>
            </p:nvPr>
          </p:nvSpPr>
          <p:spPr bwMode="gray">
            <a:xfrm>
              <a:off x="11861800" y="692658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57" name="btfpColumnGapBlocker162520">
              <a:extLst>
                <a:ext uri="{FF2B5EF4-FFF2-40B4-BE49-F238E27FC236}">
                  <a16:creationId xmlns:a16="http://schemas.microsoft.com/office/drawing/2014/main" id="{96FF6BB7-34B0-2AAF-58C7-86D12A4AA129}"/>
                </a:ext>
              </a:extLst>
            </p:cNvPr>
            <p:cNvSpPr/>
            <p:nvPr>
              <p:custDataLst>
                <p:tags r:id="rId23"/>
              </p:custDataLst>
            </p:nvPr>
          </p:nvSpPr>
          <p:spPr bwMode="gray">
            <a:xfrm>
              <a:off x="0" y="692658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55" name="btfpColumnIndicator214455">
              <a:extLst>
                <a:ext uri="{FF2B5EF4-FFF2-40B4-BE49-F238E27FC236}">
                  <a16:creationId xmlns:a16="http://schemas.microsoft.com/office/drawing/2014/main" id="{324A5D71-D5D5-F445-F5F1-ADAD92CA11B8}"/>
                </a:ext>
              </a:extLst>
            </p:cNvPr>
            <p:cNvCxnSpPr/>
            <p:nvPr>
              <p:custDataLst>
                <p:tags r:id="rId24"/>
              </p:custDataLst>
            </p:nvPr>
          </p:nvCxnSpPr>
          <p:spPr bwMode="gray">
            <a:xfrm flipH="1" flipV="1">
              <a:off x="11861800"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3" name="btfpColumnIndicator538653">
              <a:extLst>
                <a:ext uri="{FF2B5EF4-FFF2-40B4-BE49-F238E27FC236}">
                  <a16:creationId xmlns:a16="http://schemas.microsoft.com/office/drawing/2014/main" id="{B09D0BDE-0A59-D686-0595-50E9C5C80034}"/>
                </a:ext>
              </a:extLst>
            </p:cNvPr>
            <p:cNvCxnSpPr/>
            <p:nvPr>
              <p:custDataLst>
                <p:tags r:id="rId25"/>
              </p:custDataLst>
            </p:nvPr>
          </p:nvCxnSpPr>
          <p:spPr bwMode="gray">
            <a:xfrm flipH="1" flipV="1">
              <a:off x="330200"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61" name="btfpColumnIndicatorGroup1">
            <a:extLst>
              <a:ext uri="{FF2B5EF4-FFF2-40B4-BE49-F238E27FC236}">
                <a16:creationId xmlns:a16="http://schemas.microsoft.com/office/drawing/2014/main" id="{8C09F7F6-3F40-4B6B-47E6-912D8A47855A}"/>
              </a:ext>
            </a:extLst>
          </p:cNvPr>
          <p:cNvGrpSpPr/>
          <p:nvPr>
            <p:custDataLst>
              <p:tags r:id="rId5"/>
            </p:custDataLst>
          </p:nvPr>
        </p:nvGrpSpPr>
        <p:grpSpPr>
          <a:xfrm>
            <a:off x="0" y="-205740"/>
            <a:ext cx="12192000" cy="137160"/>
            <a:chOff x="0" y="-205740"/>
            <a:chExt cx="12192000" cy="137160"/>
          </a:xfrm>
        </p:grpSpPr>
        <p:sp>
          <p:nvSpPr>
            <p:cNvPr id="59" name="btfpColumnGapBlocker389464">
              <a:extLst>
                <a:ext uri="{FF2B5EF4-FFF2-40B4-BE49-F238E27FC236}">
                  <a16:creationId xmlns:a16="http://schemas.microsoft.com/office/drawing/2014/main" id="{D3042634-882A-5FC1-477F-97F72234BFC1}"/>
                </a:ext>
              </a:extLst>
            </p:cNvPr>
            <p:cNvSpPr/>
            <p:nvPr>
              <p:custDataLst>
                <p:tags r:id="rId18"/>
              </p:custDataLst>
            </p:nvPr>
          </p:nvSpPr>
          <p:spPr bwMode="gray">
            <a:xfrm>
              <a:off x="11861800" y="-20574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sp>
          <p:nvSpPr>
            <p:cNvPr id="56" name="btfpColumnGapBlocker119738">
              <a:extLst>
                <a:ext uri="{FF2B5EF4-FFF2-40B4-BE49-F238E27FC236}">
                  <a16:creationId xmlns:a16="http://schemas.microsoft.com/office/drawing/2014/main" id="{7314D0BE-A431-926B-F5D1-82057CFD2581}"/>
                </a:ext>
              </a:extLst>
            </p:cNvPr>
            <p:cNvSpPr/>
            <p:nvPr>
              <p:custDataLst>
                <p:tags r:id="rId19"/>
              </p:custDataLst>
            </p:nvPr>
          </p:nvSpPr>
          <p:spPr bwMode="gray">
            <a:xfrm>
              <a:off x="0" y="-20574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54" name="btfpColumnIndicator924073">
              <a:extLst>
                <a:ext uri="{FF2B5EF4-FFF2-40B4-BE49-F238E27FC236}">
                  <a16:creationId xmlns:a16="http://schemas.microsoft.com/office/drawing/2014/main" id="{9AC6B021-8F4B-803E-FB48-20634F468D73}"/>
                </a:ext>
              </a:extLst>
            </p:cNvPr>
            <p:cNvCxnSpPr/>
            <p:nvPr>
              <p:custDataLst>
                <p:tags r:id="rId20"/>
              </p:custDataLst>
            </p:nvPr>
          </p:nvCxnSpPr>
          <p:spPr bwMode="gray">
            <a:xfrm flipH="1" flipV="1">
              <a:off x="11861800"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2" name="btfpColumnIndicator700115">
              <a:extLst>
                <a:ext uri="{FF2B5EF4-FFF2-40B4-BE49-F238E27FC236}">
                  <a16:creationId xmlns:a16="http://schemas.microsoft.com/office/drawing/2014/main" id="{33E16772-8187-5D8D-137A-4437818F689A}"/>
                </a:ext>
              </a:extLst>
            </p:cNvPr>
            <p:cNvCxnSpPr/>
            <p:nvPr>
              <p:custDataLst>
                <p:tags r:id="rId21"/>
              </p:custDataLst>
            </p:nvPr>
          </p:nvCxnSpPr>
          <p:spPr bwMode="gray">
            <a:xfrm flipH="1" flipV="1">
              <a:off x="330200"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1034" name="Title 1">
            <a:extLst>
              <a:ext uri="{FF2B5EF4-FFF2-40B4-BE49-F238E27FC236}">
                <a16:creationId xmlns:a16="http://schemas.microsoft.com/office/drawing/2014/main" id="{F52F745B-628D-41A7-956C-5E10B20BF46B}"/>
              </a:ext>
            </a:extLst>
          </p:cNvPr>
          <p:cNvSpPr txBox="1"/>
          <p:nvPr>
            <p:custDataLst>
              <p:tags r:id="rId6"/>
            </p:custDataLst>
          </p:nvPr>
        </p:nvSpPr>
        <p:spPr>
          <a:xfrm>
            <a:off x="347472" y="289372"/>
            <a:ext cx="11521440" cy="847718"/>
          </a:xfrm>
          <a:prstGeom prst="rect">
            <a:avLst/>
          </a:prstGeom>
        </p:spPr>
        <p:txBody>
          <a:bodyPr vert="horz" lIns="36000" tIns="36000" rIns="36000" bIns="72000" rtlCol="0" anchor="ctr" anchorCtr="0">
            <a:noAutofit/>
          </a:bodyPr>
          <a:lst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a:lstStyle>
          <a:p>
            <a:pPr marL="0" indent="0"/>
            <a:r>
              <a:rPr lang="en-AU">
                <a:solidFill>
                  <a:schemeClr val="bg1"/>
                </a:solidFill>
              </a:rPr>
              <a:t>Even without major new breakthroughs, the capabilities of AI (both good and bad) are set to increase further through increased autonomy and embodiment</a:t>
            </a:r>
          </a:p>
        </p:txBody>
      </p:sp>
      <p:sp>
        <p:nvSpPr>
          <p:cNvPr id="1043" name="TextBox 1042">
            <a:extLst>
              <a:ext uri="{FF2B5EF4-FFF2-40B4-BE49-F238E27FC236}">
                <a16:creationId xmlns:a16="http://schemas.microsoft.com/office/drawing/2014/main" id="{B098D13C-5775-CE2F-9CC5-0ECDCD7FC253}"/>
              </a:ext>
            </a:extLst>
          </p:cNvPr>
          <p:cNvSpPr txBox="1"/>
          <p:nvPr>
            <p:custDataLst>
              <p:tags r:id="rId7"/>
            </p:custDataLst>
          </p:nvPr>
        </p:nvSpPr>
        <p:spPr bwMode="gray">
          <a:xfrm>
            <a:off x="330200" y="1473917"/>
            <a:ext cx="4531360" cy="405683"/>
          </a:xfrm>
          <a:prstGeom prst="rect">
            <a:avLst/>
          </a:prstGeom>
          <a:noFill/>
        </p:spPr>
        <p:txBody>
          <a:bodyPr wrap="square" lIns="36000" tIns="36000" rIns="36000" bIns="91440" rtlCol="0" anchor="b">
            <a:spAutoFit/>
          </a:bodyPr>
          <a:lstStyle/>
          <a:p>
            <a:pPr marL="0" indent="0">
              <a:spcBef>
                <a:spcPct val="0"/>
              </a:spcBef>
              <a:buNone/>
            </a:pPr>
            <a:r>
              <a:rPr lang="en-US" sz="1800" b="1">
                <a:solidFill>
                  <a:schemeClr val="bg1"/>
                </a:solidFill>
              </a:rPr>
              <a:t>Embodiment</a:t>
            </a:r>
          </a:p>
        </p:txBody>
      </p:sp>
      <p:sp>
        <p:nvSpPr>
          <p:cNvPr id="1045" name="TextBox 1044">
            <a:extLst>
              <a:ext uri="{FF2B5EF4-FFF2-40B4-BE49-F238E27FC236}">
                <a16:creationId xmlns:a16="http://schemas.microsoft.com/office/drawing/2014/main" id="{DFA54F7E-D301-E57E-231F-602C2FF18A59}"/>
              </a:ext>
            </a:extLst>
          </p:cNvPr>
          <p:cNvSpPr txBox="1"/>
          <p:nvPr>
            <p:custDataLst>
              <p:tags r:id="rId8"/>
            </p:custDataLst>
          </p:nvPr>
        </p:nvSpPr>
        <p:spPr bwMode="gray">
          <a:xfrm>
            <a:off x="6191011" y="1473917"/>
            <a:ext cx="5495528" cy="405683"/>
          </a:xfrm>
          <a:prstGeom prst="rect">
            <a:avLst/>
          </a:prstGeom>
          <a:noFill/>
        </p:spPr>
        <p:txBody>
          <a:bodyPr wrap="square" lIns="36000" tIns="36000" rIns="36000" bIns="91440" rtlCol="0" anchor="b">
            <a:spAutoFit/>
          </a:bodyPr>
          <a:lstStyle/>
          <a:p>
            <a:pPr marL="0" indent="0">
              <a:spcBef>
                <a:spcPct val="0"/>
              </a:spcBef>
              <a:buNone/>
            </a:pPr>
            <a:r>
              <a:rPr lang="en-US" sz="1800" b="1">
                <a:solidFill>
                  <a:schemeClr val="bg1"/>
                </a:solidFill>
              </a:rPr>
              <a:t>Autonomy</a:t>
            </a:r>
          </a:p>
        </p:txBody>
      </p:sp>
      <p:sp>
        <p:nvSpPr>
          <p:cNvPr id="2" name="btfpBulletedList871724">
            <a:extLst>
              <a:ext uri="{FF2B5EF4-FFF2-40B4-BE49-F238E27FC236}">
                <a16:creationId xmlns:a16="http://schemas.microsoft.com/office/drawing/2014/main" id="{1DE4BB51-DA22-3AF9-BFB9-30DC06AB40EF}"/>
              </a:ext>
            </a:extLst>
          </p:cNvPr>
          <p:cNvSpPr txBox="1"/>
          <p:nvPr>
            <p:custDataLst>
              <p:tags r:id="rId9"/>
            </p:custDataLst>
          </p:nvPr>
        </p:nvSpPr>
        <p:spPr bwMode="gray">
          <a:xfrm>
            <a:off x="330200" y="2145901"/>
            <a:ext cx="5495528" cy="1519253"/>
          </a:xfrm>
          <a:prstGeom prst="rect">
            <a:avLst/>
          </a:prstGeom>
          <a:noFill/>
        </p:spPr>
        <p:txBody>
          <a:bodyPr vert="horz" wrap="square" lIns="36000" tIns="36000" rIns="36000" bIns="36000" rtlCol="0">
            <a:spAutoFit/>
          </a:bodyPr>
          <a:lstStyle/>
          <a:p>
            <a:pPr>
              <a:spcBef>
                <a:spcPts val="600"/>
              </a:spcBef>
            </a:pPr>
            <a:r>
              <a:rPr lang="en-AU" sz="1200"/>
              <a:t>The extent to which an AI is </a:t>
            </a:r>
            <a:r>
              <a:rPr lang="en-AU" sz="1200" b="1"/>
              <a:t>virtually or physically connected and able to interact with the real world</a:t>
            </a:r>
            <a:endParaRPr lang="en-AU" sz="1200"/>
          </a:p>
          <a:p>
            <a:pPr>
              <a:spcBef>
                <a:spcPts val="600"/>
              </a:spcBef>
            </a:pPr>
            <a:r>
              <a:rPr lang="en-AU" sz="1200"/>
              <a:t>General purpose AIs can be </a:t>
            </a:r>
            <a:r>
              <a:rPr lang="en-AU" sz="1200" b="1"/>
              <a:t>trivially connected to both digital and physical </a:t>
            </a:r>
            <a:r>
              <a:rPr lang="en-AU" sz="1200"/>
              <a:t>systems via APIs</a:t>
            </a:r>
          </a:p>
          <a:p>
            <a:pPr>
              <a:spcBef>
                <a:spcPts val="600"/>
              </a:spcBef>
            </a:pPr>
            <a:r>
              <a:rPr lang="en-AU" sz="1200"/>
              <a:t>This can occur </a:t>
            </a:r>
            <a:r>
              <a:rPr lang="en-AU" sz="1200" b="1"/>
              <a:t>even when this was not their original purpose </a:t>
            </a:r>
            <a:r>
              <a:rPr lang="en-AU" sz="1200"/>
              <a:t>and even when this is not a capability that was deliberately implemented by their creators.</a:t>
            </a:r>
          </a:p>
        </p:txBody>
      </p:sp>
      <p:pic>
        <p:nvPicPr>
          <p:cNvPr id="3" name="Picture 2">
            <a:extLst>
              <a:ext uri="{FF2B5EF4-FFF2-40B4-BE49-F238E27FC236}">
                <a16:creationId xmlns:a16="http://schemas.microsoft.com/office/drawing/2014/main" id="{937A66C9-4FC4-76A7-AB23-13E913DF4116}"/>
              </a:ext>
            </a:extLst>
          </p:cNvPr>
          <p:cNvPicPr>
            <a:picLocks noChangeAspect="1"/>
          </p:cNvPicPr>
          <p:nvPr>
            <p:custDataLst>
              <p:tags r:id="rId10"/>
            </p:custDataLst>
          </p:nvPr>
        </p:nvPicPr>
        <p:blipFill>
          <a:blip r:embed="rId29"/>
          <a:stretch>
            <a:fillRect/>
          </a:stretch>
        </p:blipFill>
        <p:spPr>
          <a:xfrm>
            <a:off x="306178" y="4107041"/>
            <a:ext cx="1633537" cy="1401488"/>
          </a:xfrm>
          <a:prstGeom prst="rect">
            <a:avLst/>
          </a:prstGeom>
          <a:ln>
            <a:solidFill>
              <a:schemeClr val="bg2"/>
            </a:solidFill>
          </a:ln>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D7247338-EBCD-A0B3-2922-479BFDFBDEE7}"/>
              </a:ext>
            </a:extLst>
          </p:cNvPr>
          <p:cNvPicPr>
            <a:picLocks noChangeAspect="1"/>
          </p:cNvPicPr>
          <p:nvPr>
            <p:custDataLst>
              <p:tags r:id="rId11"/>
            </p:custDataLst>
          </p:nvPr>
        </p:nvPicPr>
        <p:blipFill>
          <a:blip r:embed="rId30"/>
          <a:stretch>
            <a:fillRect/>
          </a:stretch>
        </p:blipFill>
        <p:spPr>
          <a:xfrm>
            <a:off x="1479287" y="4397263"/>
            <a:ext cx="1807532" cy="1571568"/>
          </a:xfrm>
          <a:prstGeom prst="rect">
            <a:avLst/>
          </a:prstGeom>
          <a:ln>
            <a:solidFill>
              <a:schemeClr val="bg2"/>
            </a:solidFill>
          </a:ln>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615A9190-E862-6762-7A44-668559D00360}"/>
              </a:ext>
            </a:extLst>
          </p:cNvPr>
          <p:cNvPicPr>
            <a:picLocks noChangeAspect="1"/>
          </p:cNvPicPr>
          <p:nvPr>
            <p:custDataLst>
              <p:tags r:id="rId12"/>
            </p:custDataLst>
          </p:nvPr>
        </p:nvPicPr>
        <p:blipFill>
          <a:blip r:embed="rId31"/>
          <a:stretch>
            <a:fillRect/>
          </a:stretch>
        </p:blipFill>
        <p:spPr>
          <a:xfrm>
            <a:off x="357604" y="4857564"/>
            <a:ext cx="1633538" cy="1571568"/>
          </a:xfrm>
          <a:prstGeom prst="rect">
            <a:avLst/>
          </a:prstGeom>
          <a:ln>
            <a:solidFill>
              <a:schemeClr val="bg2"/>
            </a:solidFill>
          </a:ln>
          <a:effectLst>
            <a:outerShdw blurRad="50800" dist="38100" dir="2700000" algn="tl" rotWithShape="0">
              <a:prstClr val="black">
                <a:alpha val="40000"/>
              </a:prstClr>
            </a:outerShdw>
          </a:effectLst>
        </p:spPr>
      </p:pic>
      <p:sp>
        <p:nvSpPr>
          <p:cNvPr id="6" name="btfpCallout658222">
            <a:extLst>
              <a:ext uri="{FF2B5EF4-FFF2-40B4-BE49-F238E27FC236}">
                <a16:creationId xmlns:a16="http://schemas.microsoft.com/office/drawing/2014/main" id="{F8346462-8F7E-0630-09DA-BB716D7743D1}"/>
              </a:ext>
            </a:extLst>
          </p:cNvPr>
          <p:cNvSpPr/>
          <p:nvPr>
            <p:custDataLst>
              <p:tags r:id="rId13"/>
            </p:custDataLst>
          </p:nvPr>
        </p:nvSpPr>
        <p:spPr bwMode="gray">
          <a:xfrm>
            <a:off x="4192292" y="4549968"/>
            <a:ext cx="1998720" cy="1571567"/>
          </a:xfrm>
          <a:prstGeom prst="wedgeRectCallout">
            <a:avLst>
              <a:gd name="adj1" fmla="val -93644"/>
              <a:gd name="adj2" fmla="val -11331"/>
            </a:avLst>
          </a:prstGeom>
          <a:solidFill>
            <a:srgbClr val="FFFFFF"/>
          </a:solidFill>
          <a:ln w="1905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ct val="0"/>
              </a:spcBef>
              <a:buNone/>
            </a:pPr>
            <a:r>
              <a:rPr lang="en-AU" sz="1200">
                <a:solidFill>
                  <a:srgbClr val="5C5C5C"/>
                </a:solidFill>
              </a:rPr>
              <a:t>Note that all of these examples were developed by independent third-parties, and that ChatGPT was not explicitly set up to have access to these tools.</a:t>
            </a:r>
          </a:p>
        </p:txBody>
      </p:sp>
      <p:sp>
        <p:nvSpPr>
          <p:cNvPr id="7" name="btfpBulletedList871724">
            <a:extLst>
              <a:ext uri="{FF2B5EF4-FFF2-40B4-BE49-F238E27FC236}">
                <a16:creationId xmlns:a16="http://schemas.microsoft.com/office/drawing/2014/main" id="{AD55D3B1-D799-2551-174C-BDABCC35784A}"/>
              </a:ext>
            </a:extLst>
          </p:cNvPr>
          <p:cNvSpPr txBox="1"/>
          <p:nvPr>
            <p:custDataLst>
              <p:tags r:id="rId14"/>
            </p:custDataLst>
          </p:nvPr>
        </p:nvSpPr>
        <p:spPr bwMode="gray">
          <a:xfrm>
            <a:off x="6361510" y="2145901"/>
            <a:ext cx="5495528" cy="1334587"/>
          </a:xfrm>
          <a:prstGeom prst="rect">
            <a:avLst/>
          </a:prstGeom>
          <a:noFill/>
        </p:spPr>
        <p:txBody>
          <a:bodyPr vert="horz" wrap="square" lIns="36000" tIns="36000" rIns="36000" bIns="36000" rtlCol="0">
            <a:spAutoFit/>
          </a:bodyPr>
          <a:lstStyle/>
          <a:p>
            <a:r>
              <a:rPr lang="en-AU" sz="1200"/>
              <a:t>AI that can </a:t>
            </a:r>
            <a:r>
              <a:rPr lang="en-AU" sz="1200" b="1"/>
              <a:t>think and plan independently </a:t>
            </a:r>
            <a:r>
              <a:rPr lang="en-AU" sz="1200"/>
              <a:t>without direct input or guidance from a human</a:t>
            </a:r>
          </a:p>
          <a:p>
            <a:r>
              <a:rPr lang="en-AU" sz="1200"/>
              <a:t>Approaches to increasing autonomy beyond ‘raw model’ capabilities are not as straightforward, but advances in </a:t>
            </a:r>
            <a:r>
              <a:rPr lang="en-AU" sz="1200" b="1"/>
              <a:t>prompt engineering</a:t>
            </a:r>
            <a:r>
              <a:rPr lang="en-AU" sz="1200"/>
              <a:t>, </a:t>
            </a:r>
            <a:r>
              <a:rPr lang="en-AU" sz="1200" b="1"/>
              <a:t>virtual memory</a:t>
            </a:r>
            <a:r>
              <a:rPr lang="en-AU" sz="1200"/>
              <a:t>, and </a:t>
            </a:r>
            <a:r>
              <a:rPr lang="en-AU" sz="1200" b="1"/>
              <a:t>agent-based approaches </a:t>
            </a:r>
            <a:r>
              <a:rPr lang="en-AU" sz="1200"/>
              <a:t>have been highly successful and are still rapidly evolving.</a:t>
            </a:r>
          </a:p>
        </p:txBody>
      </p:sp>
      <p:sp>
        <p:nvSpPr>
          <p:cNvPr id="9" name="btfpBulletedList418830">
            <a:extLst>
              <a:ext uri="{FF2B5EF4-FFF2-40B4-BE49-F238E27FC236}">
                <a16:creationId xmlns:a16="http://schemas.microsoft.com/office/drawing/2014/main" id="{581CD63B-2A78-373E-AB1C-6231AD154D26}"/>
              </a:ext>
            </a:extLst>
          </p:cNvPr>
          <p:cNvSpPr txBox="1"/>
          <p:nvPr>
            <p:custDataLst>
              <p:tags r:id="rId15"/>
            </p:custDataLst>
          </p:nvPr>
        </p:nvSpPr>
        <p:spPr bwMode="gray">
          <a:xfrm>
            <a:off x="7466331" y="3557958"/>
            <a:ext cx="4395467" cy="2288694"/>
          </a:xfrm>
          <a:prstGeom prst="rect">
            <a:avLst/>
          </a:prstGeom>
          <a:noFill/>
        </p:spPr>
        <p:txBody>
          <a:bodyPr vert="horz" wrap="square" lIns="36000" tIns="36000" rIns="36000" bIns="36000" rtlCol="0">
            <a:spAutoFit/>
          </a:bodyPr>
          <a:lstStyle/>
          <a:p>
            <a:r>
              <a:rPr lang="en-AU" sz="1200"/>
              <a:t>Input-output prompts</a:t>
            </a:r>
          </a:p>
          <a:p>
            <a:r>
              <a:rPr lang="en-AU" sz="1200"/>
              <a:t>Chain of Thought </a:t>
            </a:r>
          </a:p>
          <a:p>
            <a:r>
              <a:rPr lang="en-AU" sz="1200"/>
              <a:t>Self-consistency with Chain-of Thought</a:t>
            </a:r>
          </a:p>
          <a:p>
            <a:r>
              <a:rPr lang="en-AU" sz="1200"/>
              <a:t>Tree of thought</a:t>
            </a:r>
          </a:p>
          <a:p>
            <a:r>
              <a:rPr lang="en-AU" sz="1200"/>
              <a:t>Agent-based approaches</a:t>
            </a:r>
          </a:p>
          <a:p>
            <a:r>
              <a:rPr lang="en-AU" sz="1200"/>
              <a:t>Meta-prompting</a:t>
            </a:r>
          </a:p>
          <a:p>
            <a:r>
              <a:rPr lang="en-AU" sz="1200"/>
              <a:t>…</a:t>
            </a:r>
          </a:p>
        </p:txBody>
      </p:sp>
      <p:sp>
        <p:nvSpPr>
          <p:cNvPr id="10" name="Arrow: Down 9">
            <a:extLst>
              <a:ext uri="{FF2B5EF4-FFF2-40B4-BE49-F238E27FC236}">
                <a16:creationId xmlns:a16="http://schemas.microsoft.com/office/drawing/2014/main" id="{8F3284A9-309C-137F-54AA-1A32424413B7}"/>
              </a:ext>
            </a:extLst>
          </p:cNvPr>
          <p:cNvSpPr/>
          <p:nvPr>
            <p:custDataLst>
              <p:tags r:id="rId16"/>
            </p:custDataLst>
          </p:nvPr>
        </p:nvSpPr>
        <p:spPr bwMode="gray">
          <a:xfrm>
            <a:off x="6844352" y="3568889"/>
            <a:ext cx="577949" cy="2176466"/>
          </a:xfrm>
          <a:prstGeom prst="down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sp>
        <p:nvSpPr>
          <p:cNvPr id="11" name="btfpBulletedList871724">
            <a:extLst>
              <a:ext uri="{FF2B5EF4-FFF2-40B4-BE49-F238E27FC236}">
                <a16:creationId xmlns:a16="http://schemas.microsoft.com/office/drawing/2014/main" id="{A0D7B74A-DE08-F5C3-7486-C9B70EEA6673}"/>
              </a:ext>
            </a:extLst>
          </p:cNvPr>
          <p:cNvSpPr txBox="1"/>
          <p:nvPr>
            <p:custDataLst>
              <p:tags r:id="rId17"/>
            </p:custDataLst>
          </p:nvPr>
        </p:nvSpPr>
        <p:spPr bwMode="gray">
          <a:xfrm>
            <a:off x="6361510" y="5933735"/>
            <a:ext cx="5495528" cy="626701"/>
          </a:xfrm>
          <a:prstGeom prst="rect">
            <a:avLst/>
          </a:prstGeom>
          <a:noFill/>
        </p:spPr>
        <p:txBody>
          <a:bodyPr vert="horz" wrap="square" lIns="36000" tIns="36000" rIns="36000" bIns="36000" rtlCol="0">
            <a:spAutoFit/>
          </a:bodyPr>
          <a:lstStyle/>
          <a:p>
            <a:r>
              <a:rPr lang="en-AU" sz="1200"/>
              <a:t>Note that these approaches are increasing the ability of AI to set goals, create a plan, and execute that plan </a:t>
            </a:r>
            <a:r>
              <a:rPr lang="en-AU" sz="1200" b="1"/>
              <a:t>completely independently </a:t>
            </a:r>
            <a:r>
              <a:rPr lang="en-AU" sz="1200"/>
              <a:t>of any improvements in the underlying model.</a:t>
            </a:r>
            <a:endParaRPr lang="en-AU" sz="1200" b="1"/>
          </a:p>
        </p:txBody>
      </p:sp>
    </p:spTree>
    <p:custDataLst>
      <p:tags r:id="rId1"/>
    </p:custDataLst>
    <p:extLst>
      <p:ext uri="{BB962C8B-B14F-4D97-AF65-F5344CB8AC3E}">
        <p14:creationId xmlns:p14="http://schemas.microsoft.com/office/powerpoint/2010/main" val="327202068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btfpColumnIndicatorGroup2">
            <a:extLst>
              <a:ext uri="{FF2B5EF4-FFF2-40B4-BE49-F238E27FC236}">
                <a16:creationId xmlns:a16="http://schemas.microsoft.com/office/drawing/2014/main" id="{5034235A-1F7D-6E35-5960-726AF1717A3D}"/>
              </a:ext>
            </a:extLst>
          </p:cNvPr>
          <p:cNvGrpSpPr/>
          <p:nvPr>
            <p:custDataLst>
              <p:tags r:id="rId2"/>
            </p:custDataLst>
          </p:nvPr>
        </p:nvGrpSpPr>
        <p:grpSpPr>
          <a:xfrm>
            <a:off x="0" y="6926580"/>
            <a:ext cx="12192000" cy="137160"/>
            <a:chOff x="0" y="6926580"/>
            <a:chExt cx="12192000" cy="137160"/>
          </a:xfrm>
        </p:grpSpPr>
        <p:sp>
          <p:nvSpPr>
            <p:cNvPr id="10" name="btfpColumnGapBlocker193161">
              <a:extLst>
                <a:ext uri="{FF2B5EF4-FFF2-40B4-BE49-F238E27FC236}">
                  <a16:creationId xmlns:a16="http://schemas.microsoft.com/office/drawing/2014/main" id="{628039A6-7A1F-2D65-D9B7-B7265BB38069}"/>
                </a:ext>
              </a:extLst>
            </p:cNvPr>
            <p:cNvSpPr/>
            <p:nvPr>
              <p:custDataLst>
                <p:tags r:id="rId48"/>
              </p:custDataLst>
            </p:nvPr>
          </p:nvSpPr>
          <p:spPr bwMode="gray">
            <a:xfrm>
              <a:off x="11861800" y="692658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sp>
          <p:nvSpPr>
            <p:cNvPr id="8" name="btfpColumnGapBlocker953810">
              <a:extLst>
                <a:ext uri="{FF2B5EF4-FFF2-40B4-BE49-F238E27FC236}">
                  <a16:creationId xmlns:a16="http://schemas.microsoft.com/office/drawing/2014/main" id="{F3931B7B-78C7-892C-C435-86887E492D24}"/>
                </a:ext>
              </a:extLst>
            </p:cNvPr>
            <p:cNvSpPr/>
            <p:nvPr>
              <p:custDataLst>
                <p:tags r:id="rId49"/>
              </p:custDataLst>
            </p:nvPr>
          </p:nvSpPr>
          <p:spPr bwMode="gray">
            <a:xfrm>
              <a:off x="0" y="692658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6" name="btfpColumnIndicator660971">
              <a:extLst>
                <a:ext uri="{FF2B5EF4-FFF2-40B4-BE49-F238E27FC236}">
                  <a16:creationId xmlns:a16="http://schemas.microsoft.com/office/drawing/2014/main" id="{57988279-7834-66F5-82DB-3F68F2CA5F6B}"/>
                </a:ext>
              </a:extLst>
            </p:cNvPr>
            <p:cNvCxnSpPr/>
            <p:nvPr>
              <p:custDataLst>
                <p:tags r:id="rId50"/>
              </p:custDataLst>
            </p:nvPr>
          </p:nvCxnSpPr>
          <p:spPr bwMode="gray">
            <a:xfrm flipH="1" flipV="1">
              <a:off x="11861800"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374050">
              <a:extLst>
                <a:ext uri="{FF2B5EF4-FFF2-40B4-BE49-F238E27FC236}">
                  <a16:creationId xmlns:a16="http://schemas.microsoft.com/office/drawing/2014/main" id="{C3650908-AA67-9595-110F-BFDE1747E738}"/>
                </a:ext>
              </a:extLst>
            </p:cNvPr>
            <p:cNvCxnSpPr/>
            <p:nvPr>
              <p:custDataLst>
                <p:tags r:id="rId51"/>
              </p:custDataLst>
            </p:nvPr>
          </p:nvCxnSpPr>
          <p:spPr bwMode="gray">
            <a:xfrm flipH="1" flipV="1">
              <a:off x="330200"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D875EE7E-1887-3D7F-B4C7-6521A47DB433}"/>
              </a:ext>
            </a:extLst>
          </p:cNvPr>
          <p:cNvGrpSpPr/>
          <p:nvPr>
            <p:custDataLst>
              <p:tags r:id="rId3"/>
            </p:custDataLst>
          </p:nvPr>
        </p:nvGrpSpPr>
        <p:grpSpPr>
          <a:xfrm>
            <a:off x="0" y="-205740"/>
            <a:ext cx="12192000" cy="137160"/>
            <a:chOff x="0" y="-205740"/>
            <a:chExt cx="12192000" cy="137160"/>
          </a:xfrm>
        </p:grpSpPr>
        <p:sp>
          <p:nvSpPr>
            <p:cNvPr id="9" name="btfpColumnGapBlocker563686">
              <a:extLst>
                <a:ext uri="{FF2B5EF4-FFF2-40B4-BE49-F238E27FC236}">
                  <a16:creationId xmlns:a16="http://schemas.microsoft.com/office/drawing/2014/main" id="{61FE2DA2-B621-8D82-0FC3-2D594A8852AE}"/>
                </a:ext>
              </a:extLst>
            </p:cNvPr>
            <p:cNvSpPr/>
            <p:nvPr>
              <p:custDataLst>
                <p:tags r:id="rId44"/>
              </p:custDataLst>
            </p:nvPr>
          </p:nvSpPr>
          <p:spPr bwMode="gray">
            <a:xfrm>
              <a:off x="11861800" y="-20574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sp>
          <p:nvSpPr>
            <p:cNvPr id="7" name="btfpColumnGapBlocker712697">
              <a:extLst>
                <a:ext uri="{FF2B5EF4-FFF2-40B4-BE49-F238E27FC236}">
                  <a16:creationId xmlns:a16="http://schemas.microsoft.com/office/drawing/2014/main" id="{4DD35AF9-8A55-7296-47FC-C181008FA32C}"/>
                </a:ext>
              </a:extLst>
            </p:cNvPr>
            <p:cNvSpPr/>
            <p:nvPr>
              <p:custDataLst>
                <p:tags r:id="rId45"/>
              </p:custDataLst>
            </p:nvPr>
          </p:nvSpPr>
          <p:spPr bwMode="gray">
            <a:xfrm>
              <a:off x="0" y="-20574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5" name="btfpColumnIndicator736264">
              <a:extLst>
                <a:ext uri="{FF2B5EF4-FFF2-40B4-BE49-F238E27FC236}">
                  <a16:creationId xmlns:a16="http://schemas.microsoft.com/office/drawing/2014/main" id="{58A15DD1-F7A4-A678-C579-25FFFB39A18E}"/>
                </a:ext>
              </a:extLst>
            </p:cNvPr>
            <p:cNvCxnSpPr/>
            <p:nvPr>
              <p:custDataLst>
                <p:tags r:id="rId46"/>
              </p:custDataLst>
            </p:nvPr>
          </p:nvCxnSpPr>
          <p:spPr bwMode="gray">
            <a:xfrm flipH="1" flipV="1">
              <a:off x="11861800"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610445">
              <a:extLst>
                <a:ext uri="{FF2B5EF4-FFF2-40B4-BE49-F238E27FC236}">
                  <a16:creationId xmlns:a16="http://schemas.microsoft.com/office/drawing/2014/main" id="{FE9A5ACB-E605-4F70-FD42-322FBBBBCFCD}"/>
                </a:ext>
              </a:extLst>
            </p:cNvPr>
            <p:cNvCxnSpPr/>
            <p:nvPr>
              <p:custDataLst>
                <p:tags r:id="rId47"/>
              </p:custDataLst>
            </p:nvPr>
          </p:nvCxnSpPr>
          <p:spPr bwMode="gray">
            <a:xfrm flipH="1" flipV="1">
              <a:off x="330200"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42" name="btfpColumnHeaderBoxText513265">
            <a:extLst>
              <a:ext uri="{FF2B5EF4-FFF2-40B4-BE49-F238E27FC236}">
                <a16:creationId xmlns:a16="http://schemas.microsoft.com/office/drawing/2014/main" id="{4B139C31-0B55-D84F-925F-C0B6F588BE7E}"/>
              </a:ext>
            </a:extLst>
          </p:cNvPr>
          <p:cNvSpPr txBox="1"/>
          <p:nvPr>
            <p:custDataLst>
              <p:tags r:id="rId4"/>
            </p:custDataLst>
          </p:nvPr>
        </p:nvSpPr>
        <p:spPr bwMode="gray">
          <a:xfrm>
            <a:off x="330199" y="2332546"/>
            <a:ext cx="1315104" cy="318997"/>
          </a:xfrm>
          <a:prstGeom prst="rect">
            <a:avLst/>
          </a:prstGeom>
          <a:noFill/>
        </p:spPr>
        <p:txBody>
          <a:bodyPr vert="horz" wrap="none" lIns="36036" tIns="36036" rIns="36036" bIns="36036" rtlCol="0" anchor="b">
            <a:spAutoFit/>
          </a:bodyPr>
          <a:lstStyle/>
          <a:p>
            <a:pPr marL="0" indent="0">
              <a:spcBef>
                <a:spcPct val="0"/>
              </a:spcBef>
              <a:buNone/>
            </a:pPr>
            <a:r>
              <a:rPr lang="en-AU" sz="1600" b="1">
                <a:solidFill>
                  <a:srgbClr val="973B74"/>
                </a:solidFill>
              </a:rPr>
              <a:t>Embodiment</a:t>
            </a:r>
          </a:p>
        </p:txBody>
      </p:sp>
      <p:sp>
        <p:nvSpPr>
          <p:cNvPr id="49" name="btfpColumnHeaderBoxText513265">
            <a:extLst>
              <a:ext uri="{FF2B5EF4-FFF2-40B4-BE49-F238E27FC236}">
                <a16:creationId xmlns:a16="http://schemas.microsoft.com/office/drawing/2014/main" id="{1ECA8101-21D1-D26C-494F-06CC973602A5}"/>
              </a:ext>
            </a:extLst>
          </p:cNvPr>
          <p:cNvSpPr txBox="1"/>
          <p:nvPr>
            <p:custDataLst>
              <p:tags r:id="rId5"/>
            </p:custDataLst>
          </p:nvPr>
        </p:nvSpPr>
        <p:spPr bwMode="gray">
          <a:xfrm>
            <a:off x="3814034" y="6007164"/>
            <a:ext cx="1085874" cy="318997"/>
          </a:xfrm>
          <a:prstGeom prst="rect">
            <a:avLst/>
          </a:prstGeom>
          <a:noFill/>
        </p:spPr>
        <p:txBody>
          <a:bodyPr vert="horz" wrap="none" lIns="36036" tIns="36036" rIns="36036" bIns="36036" rtlCol="0" anchor="b">
            <a:spAutoFit/>
          </a:bodyPr>
          <a:lstStyle/>
          <a:p>
            <a:pPr marL="0" indent="0">
              <a:spcBef>
                <a:spcPct val="0"/>
              </a:spcBef>
              <a:buNone/>
            </a:pPr>
            <a:r>
              <a:rPr lang="en-AU" sz="1600" b="1">
                <a:solidFill>
                  <a:srgbClr val="973B74"/>
                </a:solidFill>
              </a:rPr>
              <a:t>Autonomy</a:t>
            </a:r>
          </a:p>
        </p:txBody>
      </p:sp>
      <p:sp>
        <p:nvSpPr>
          <p:cNvPr id="13" name="Title 1">
            <a:extLst>
              <a:ext uri="{FF2B5EF4-FFF2-40B4-BE49-F238E27FC236}">
                <a16:creationId xmlns:a16="http://schemas.microsoft.com/office/drawing/2014/main" id="{197F7601-CFFE-AA01-BE27-4D37F18F978E}"/>
              </a:ext>
            </a:extLst>
          </p:cNvPr>
          <p:cNvSpPr txBox="1"/>
          <p:nvPr>
            <p:custDataLst>
              <p:tags r:id="rId6"/>
            </p:custDataLst>
          </p:nvPr>
        </p:nvSpPr>
        <p:spPr>
          <a:xfrm>
            <a:off x="347472" y="-1326068"/>
            <a:ext cx="11521440" cy="847718"/>
          </a:xfrm>
          <a:prstGeom prst="rect">
            <a:avLst/>
          </a:prstGeom>
        </p:spPr>
        <p:txBody>
          <a:bodyPr vert="horz" lIns="36000" tIns="36000" rIns="36000" bIns="72000" rtlCol="0" anchor="ctr" anchorCtr="0">
            <a:noAutofit/>
          </a:bodyPr>
          <a:lst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a:lstStyle>
          <a:p>
            <a:pPr marL="0" indent="0"/>
            <a:endParaRPr lang="en-GB"/>
          </a:p>
        </p:txBody>
      </p:sp>
      <p:cxnSp>
        <p:nvCxnSpPr>
          <p:cNvPr id="16" name="Straight Arrow Connector 15">
            <a:extLst>
              <a:ext uri="{FF2B5EF4-FFF2-40B4-BE49-F238E27FC236}">
                <a16:creationId xmlns:a16="http://schemas.microsoft.com/office/drawing/2014/main" id="{FFB91F53-6593-910B-FD24-B80740725C9D}"/>
              </a:ext>
            </a:extLst>
          </p:cNvPr>
          <p:cNvCxnSpPr/>
          <p:nvPr>
            <p:custDataLst>
              <p:tags r:id="rId7"/>
            </p:custDataLst>
          </p:nvPr>
        </p:nvCxnSpPr>
        <p:spPr bwMode="gray">
          <a:xfrm flipH="1" flipV="1">
            <a:off x="1843830" y="1380172"/>
            <a:ext cx="0" cy="3354388"/>
          </a:xfrm>
          <a:prstGeom prst="straightConnector1">
            <a:avLst/>
          </a:prstGeom>
          <a:ln w="19050" cap="flat" cmpd="sng" algn="ctr">
            <a:solidFill>
              <a:srgbClr val="D9ABC6"/>
            </a:solidFill>
            <a:prstDash val="solid"/>
            <a:miter lim="800000"/>
            <a:headEnd type="none" w="med" len="med"/>
            <a:tailEnd type="triangle" w="med" len="lg"/>
          </a:ln>
        </p:spPr>
        <p:style>
          <a:lnRef idx="1">
            <a:schemeClr val="accent1"/>
          </a:lnRef>
          <a:fillRef idx="0">
            <a:schemeClr val="accent1"/>
          </a:fillRef>
          <a:effectRef idx="0">
            <a:schemeClr val="accent1"/>
          </a:effectRef>
          <a:fontRef idx="minor">
            <a:schemeClr val="tx1"/>
          </a:fontRef>
        </p:style>
      </p:cxnSp>
      <p:grpSp>
        <p:nvGrpSpPr>
          <p:cNvPr id="111" name="btfpIcon554680">
            <a:extLst>
              <a:ext uri="{FF2B5EF4-FFF2-40B4-BE49-F238E27FC236}">
                <a16:creationId xmlns:a16="http://schemas.microsoft.com/office/drawing/2014/main" id="{E10F2A7A-2366-73DE-4AE6-3B18CCB3F9F6}"/>
              </a:ext>
            </a:extLst>
          </p:cNvPr>
          <p:cNvGrpSpPr>
            <a:grpSpLocks noChangeAspect="1"/>
          </p:cNvGrpSpPr>
          <p:nvPr>
            <p:custDataLst>
              <p:tags r:id="rId8"/>
            </p:custDataLst>
          </p:nvPr>
        </p:nvGrpSpPr>
        <p:grpSpPr>
          <a:xfrm>
            <a:off x="330200" y="1381760"/>
            <a:ext cx="924746" cy="924746"/>
            <a:chOff x="330200" y="1270000"/>
            <a:chExt cx="924746" cy="924746"/>
          </a:xfrm>
        </p:grpSpPr>
        <p:sp>
          <p:nvSpPr>
            <p:cNvPr id="110" name="btfpIconCircle554680">
              <a:extLst>
                <a:ext uri="{FF2B5EF4-FFF2-40B4-BE49-F238E27FC236}">
                  <a16:creationId xmlns:a16="http://schemas.microsoft.com/office/drawing/2014/main" id="{19447711-64D2-C890-C57B-916CF1B62107}"/>
                </a:ext>
              </a:extLst>
            </p:cNvPr>
            <p:cNvSpPr/>
            <p:nvPr>
              <p:custDataLst>
                <p:tags r:id="rId42"/>
              </p:custDataLst>
            </p:nvPr>
          </p:nvSpPr>
          <p:spPr bwMode="gray">
            <a:xfrm>
              <a:off x="330200" y="1270000"/>
              <a:ext cx="924746" cy="924746"/>
            </a:xfrm>
            <a:prstGeom prst="ellipse">
              <a:avLst/>
            </a:prstGeom>
            <a:gradFill>
              <a:gsLst>
                <a:gs pos="100000">
                  <a:schemeClr val="accent6"/>
                </a:gs>
                <a:gs pos="0">
                  <a:schemeClr val="accent3"/>
                </a:gs>
              </a:gsLst>
              <a:lin ang="0" scaled="1"/>
            </a:gra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pic>
          <p:nvPicPr>
            <p:cNvPr id="109" name="btfpIconLines554680">
              <a:extLst>
                <a:ext uri="{FF2B5EF4-FFF2-40B4-BE49-F238E27FC236}">
                  <a16:creationId xmlns:a16="http://schemas.microsoft.com/office/drawing/2014/main" id="{939EEBC8-8C39-94F9-D4F2-2B6D68237282}"/>
                </a:ext>
              </a:extLst>
            </p:cNvPr>
            <p:cNvPicPr/>
            <p:nvPr>
              <p:custDataLst>
                <p:tags r:id="rId43"/>
              </p:custDataLst>
            </p:nvPr>
          </p:nvPicPr>
          <p:blipFill>
            <a:blip r:embed="rId54"/>
            <a:stretch>
              <a:fillRect/>
            </a:stretch>
          </p:blipFill>
          <p:spPr>
            <a:xfrm>
              <a:off x="330200" y="1270000"/>
              <a:ext cx="924746" cy="924746"/>
            </a:xfrm>
            <a:prstGeom prst="rect">
              <a:avLst/>
            </a:prstGeom>
          </p:spPr>
        </p:pic>
      </p:grpSp>
      <p:grpSp>
        <p:nvGrpSpPr>
          <p:cNvPr id="116" name="btfpIcon148857">
            <a:extLst>
              <a:ext uri="{FF2B5EF4-FFF2-40B4-BE49-F238E27FC236}">
                <a16:creationId xmlns:a16="http://schemas.microsoft.com/office/drawing/2014/main" id="{A67D5246-769B-485B-B3D5-A9D8AD954B9C}"/>
              </a:ext>
            </a:extLst>
          </p:cNvPr>
          <p:cNvGrpSpPr>
            <a:grpSpLocks noChangeAspect="1"/>
          </p:cNvGrpSpPr>
          <p:nvPr>
            <p:custDataLst>
              <p:tags r:id="rId9"/>
            </p:custDataLst>
          </p:nvPr>
        </p:nvGrpSpPr>
        <p:grpSpPr>
          <a:xfrm>
            <a:off x="2769611" y="5544791"/>
            <a:ext cx="924746" cy="924746"/>
            <a:chOff x="4562792" y="5364295"/>
            <a:chExt cx="924746" cy="924746"/>
          </a:xfrm>
        </p:grpSpPr>
        <p:sp>
          <p:nvSpPr>
            <p:cNvPr id="115" name="btfpIconCircle148857">
              <a:extLst>
                <a:ext uri="{FF2B5EF4-FFF2-40B4-BE49-F238E27FC236}">
                  <a16:creationId xmlns:a16="http://schemas.microsoft.com/office/drawing/2014/main" id="{57602FC1-1A69-7A14-152A-55F87E981D8A}"/>
                </a:ext>
              </a:extLst>
            </p:cNvPr>
            <p:cNvSpPr/>
            <p:nvPr>
              <p:custDataLst>
                <p:tags r:id="rId40"/>
              </p:custDataLst>
            </p:nvPr>
          </p:nvSpPr>
          <p:spPr bwMode="gray">
            <a:xfrm>
              <a:off x="4562792" y="5364295"/>
              <a:ext cx="924746" cy="924746"/>
            </a:xfrm>
            <a:prstGeom prst="ellipse">
              <a:avLst/>
            </a:prstGeom>
            <a:gradFill>
              <a:gsLst>
                <a:gs pos="100000">
                  <a:schemeClr val="accent6"/>
                </a:gs>
                <a:gs pos="0">
                  <a:schemeClr val="accent3"/>
                </a:gs>
              </a:gsLst>
              <a:lin ang="0" scaled="1"/>
            </a:gra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pic>
          <p:nvPicPr>
            <p:cNvPr id="114" name="btfpIconLines148857">
              <a:extLst>
                <a:ext uri="{FF2B5EF4-FFF2-40B4-BE49-F238E27FC236}">
                  <a16:creationId xmlns:a16="http://schemas.microsoft.com/office/drawing/2014/main" id="{F162E334-6410-C2DE-9A92-25A65C057857}"/>
                </a:ext>
              </a:extLst>
            </p:cNvPr>
            <p:cNvPicPr/>
            <p:nvPr>
              <p:custDataLst>
                <p:tags r:id="rId41"/>
              </p:custDataLst>
            </p:nvPr>
          </p:nvPicPr>
          <p:blipFill>
            <a:blip r:embed="rId55"/>
            <a:stretch>
              <a:fillRect/>
            </a:stretch>
          </p:blipFill>
          <p:spPr>
            <a:xfrm>
              <a:off x="4562792" y="5364295"/>
              <a:ext cx="924746" cy="924746"/>
            </a:xfrm>
            <a:prstGeom prst="rect">
              <a:avLst/>
            </a:prstGeom>
          </p:spPr>
        </p:pic>
      </p:grpSp>
      <p:cxnSp>
        <p:nvCxnSpPr>
          <p:cNvPr id="17" name="Straight Arrow Connector 16">
            <a:extLst>
              <a:ext uri="{FF2B5EF4-FFF2-40B4-BE49-F238E27FC236}">
                <a16:creationId xmlns:a16="http://schemas.microsoft.com/office/drawing/2014/main" id="{FDAFD14A-64D2-D37B-5DB6-72ADAE99191C}"/>
              </a:ext>
            </a:extLst>
          </p:cNvPr>
          <p:cNvCxnSpPr/>
          <p:nvPr>
            <p:custDataLst>
              <p:tags r:id="rId10"/>
            </p:custDataLst>
          </p:nvPr>
        </p:nvCxnSpPr>
        <p:spPr bwMode="gray">
          <a:xfrm>
            <a:off x="3814034" y="5982908"/>
            <a:ext cx="7331486" cy="0"/>
          </a:xfrm>
          <a:prstGeom prst="straightConnector1">
            <a:avLst/>
          </a:prstGeom>
          <a:ln w="19050" cap="flat" cmpd="sng" algn="ctr">
            <a:solidFill>
              <a:srgbClr val="D9ABC6"/>
            </a:solidFill>
            <a:prstDash val="solid"/>
            <a:miter lim="800000"/>
            <a:headEnd type="none" w="med" len="med"/>
            <a:tailEnd type="triangle" w="med" len="lg"/>
          </a:ln>
        </p:spPr>
        <p:style>
          <a:lnRef idx="1">
            <a:schemeClr val="accent1"/>
          </a:lnRef>
          <a:fillRef idx="0">
            <a:schemeClr val="accent1"/>
          </a:fillRef>
          <a:effectRef idx="0">
            <a:schemeClr val="accent1"/>
          </a:effectRef>
          <a:fontRef idx="minor">
            <a:schemeClr val="tx1"/>
          </a:fontRef>
        </p:style>
      </p:cxnSp>
      <p:sp>
        <p:nvSpPr>
          <p:cNvPr id="27" name="btfpBulletedList325848">
            <a:extLst>
              <a:ext uri="{FF2B5EF4-FFF2-40B4-BE49-F238E27FC236}">
                <a16:creationId xmlns:a16="http://schemas.microsoft.com/office/drawing/2014/main" id="{D99F80BC-CA20-2943-9CE8-12D5B38C87DB}"/>
              </a:ext>
            </a:extLst>
          </p:cNvPr>
          <p:cNvSpPr txBox="1"/>
          <p:nvPr>
            <p:custDataLst>
              <p:tags r:id="rId11"/>
            </p:custDataLst>
          </p:nvPr>
        </p:nvSpPr>
        <p:spPr bwMode="gray">
          <a:xfrm>
            <a:off x="2273951" y="4340317"/>
            <a:ext cx="1484231" cy="503590"/>
          </a:xfrm>
          <a:prstGeom prst="rect">
            <a:avLst/>
          </a:prstGeom>
          <a:noFill/>
        </p:spPr>
        <p:txBody>
          <a:bodyPr vert="horz" wrap="square" lIns="36000" tIns="36000" rIns="36000" bIns="36000" rtlCol="0">
            <a:spAutoFit/>
          </a:bodyPr>
          <a:lstStyle/>
          <a:p>
            <a:pPr marL="0" indent="0" algn="r">
              <a:spcBef>
                <a:spcPct val="0"/>
              </a:spcBef>
              <a:buNone/>
            </a:pPr>
            <a:r>
              <a:rPr lang="en-AU" sz="1000" b="1"/>
              <a:t>Closed-system</a:t>
            </a:r>
          </a:p>
          <a:p>
            <a:pPr marL="0" indent="0" algn="r">
              <a:spcBef>
                <a:spcPct val="0"/>
              </a:spcBef>
              <a:buNone/>
            </a:pPr>
            <a:r>
              <a:rPr lang="en-AU" sz="900"/>
              <a:t>AI can only interact directly with humans</a:t>
            </a:r>
          </a:p>
        </p:txBody>
      </p:sp>
      <p:sp>
        <p:nvSpPr>
          <p:cNvPr id="28" name="btfpBulletedList325848">
            <a:extLst>
              <a:ext uri="{FF2B5EF4-FFF2-40B4-BE49-F238E27FC236}">
                <a16:creationId xmlns:a16="http://schemas.microsoft.com/office/drawing/2014/main" id="{CFC886DD-1CAC-D576-D043-7CD475DD0F14}"/>
              </a:ext>
            </a:extLst>
          </p:cNvPr>
          <p:cNvSpPr txBox="1"/>
          <p:nvPr>
            <p:custDataLst>
              <p:tags r:id="rId12"/>
            </p:custDataLst>
          </p:nvPr>
        </p:nvSpPr>
        <p:spPr bwMode="gray">
          <a:xfrm>
            <a:off x="1966101" y="2786385"/>
            <a:ext cx="1792083" cy="919088"/>
          </a:xfrm>
          <a:prstGeom prst="rect">
            <a:avLst/>
          </a:prstGeom>
          <a:noFill/>
        </p:spPr>
        <p:txBody>
          <a:bodyPr vert="horz" wrap="square" lIns="36000" tIns="36000" rIns="36000" bIns="36000" rtlCol="0">
            <a:spAutoFit/>
          </a:bodyPr>
          <a:lstStyle/>
          <a:p>
            <a:pPr marL="0" indent="0" algn="r">
              <a:spcBef>
                <a:spcPct val="0"/>
              </a:spcBef>
              <a:buNone/>
            </a:pPr>
            <a:r>
              <a:rPr lang="en-AU" sz="1000" b="1"/>
              <a:t>Digital interactivity</a:t>
            </a:r>
          </a:p>
          <a:p>
            <a:pPr marL="0" indent="0" algn="r">
              <a:spcBef>
                <a:spcPct val="0"/>
              </a:spcBef>
              <a:buNone/>
            </a:pPr>
            <a:r>
              <a:rPr lang="en-AU" sz="900"/>
              <a:t>AI is able to interact digitally with the world, e.g., via browsing the internet, sending emails, or connecting / controlling other digital systems via API</a:t>
            </a:r>
          </a:p>
        </p:txBody>
      </p:sp>
      <p:sp>
        <p:nvSpPr>
          <p:cNvPr id="29" name="btfpBulletedList325848">
            <a:extLst>
              <a:ext uri="{FF2B5EF4-FFF2-40B4-BE49-F238E27FC236}">
                <a16:creationId xmlns:a16="http://schemas.microsoft.com/office/drawing/2014/main" id="{5CF3A038-72C6-93E3-ED80-1716C960F77A}"/>
              </a:ext>
            </a:extLst>
          </p:cNvPr>
          <p:cNvSpPr txBox="1"/>
          <p:nvPr>
            <p:custDataLst>
              <p:tags r:id="rId13"/>
            </p:custDataLst>
          </p:nvPr>
        </p:nvSpPr>
        <p:spPr bwMode="gray">
          <a:xfrm>
            <a:off x="1858899" y="1592347"/>
            <a:ext cx="1899284" cy="919088"/>
          </a:xfrm>
          <a:prstGeom prst="rect">
            <a:avLst/>
          </a:prstGeom>
          <a:noFill/>
        </p:spPr>
        <p:txBody>
          <a:bodyPr vert="horz" wrap="square" lIns="36000" tIns="36000" rIns="36000" bIns="36000" rtlCol="0">
            <a:spAutoFit/>
          </a:bodyPr>
          <a:lstStyle/>
          <a:p>
            <a:pPr marL="0" indent="0" algn="r">
              <a:spcBef>
                <a:spcPct val="0"/>
              </a:spcBef>
              <a:buNone/>
            </a:pPr>
            <a:r>
              <a:rPr lang="en-AU" sz="1000" b="1"/>
              <a:t>Physical interactivity</a:t>
            </a:r>
          </a:p>
          <a:p>
            <a:pPr marL="0" indent="0" algn="r">
              <a:spcBef>
                <a:spcPct val="0"/>
              </a:spcBef>
              <a:buNone/>
            </a:pPr>
            <a:r>
              <a:rPr lang="en-AU" sz="900"/>
              <a:t>AI is able to interact with the world physically, either via remote control of robotics (e.g., ChatGPT for Robotics) or by being embedded in physical objects</a:t>
            </a:r>
          </a:p>
        </p:txBody>
      </p:sp>
      <p:sp>
        <p:nvSpPr>
          <p:cNvPr id="30" name="btfpBulletedList325848">
            <a:extLst>
              <a:ext uri="{FF2B5EF4-FFF2-40B4-BE49-F238E27FC236}">
                <a16:creationId xmlns:a16="http://schemas.microsoft.com/office/drawing/2014/main" id="{F990CC95-1BF1-EA5A-0EC4-44F54D92F0CF}"/>
              </a:ext>
            </a:extLst>
          </p:cNvPr>
          <p:cNvSpPr txBox="1"/>
          <p:nvPr>
            <p:custDataLst>
              <p:tags r:id="rId14"/>
            </p:custDataLst>
          </p:nvPr>
        </p:nvSpPr>
        <p:spPr bwMode="gray">
          <a:xfrm>
            <a:off x="3757030" y="4860882"/>
            <a:ext cx="1579791" cy="642090"/>
          </a:xfrm>
          <a:prstGeom prst="rect">
            <a:avLst/>
          </a:prstGeom>
          <a:noFill/>
        </p:spPr>
        <p:txBody>
          <a:bodyPr vert="horz" wrap="square" lIns="36000" tIns="36000" rIns="36000" bIns="36000" rtlCol="0">
            <a:spAutoFit/>
          </a:bodyPr>
          <a:lstStyle/>
          <a:p>
            <a:pPr marL="0" indent="0">
              <a:spcBef>
                <a:spcPct val="0"/>
              </a:spcBef>
              <a:buNone/>
            </a:pPr>
            <a:r>
              <a:rPr lang="en-AU" sz="1000" b="1"/>
              <a:t>Task-constrained</a:t>
            </a:r>
          </a:p>
          <a:p>
            <a:pPr marL="0" indent="0">
              <a:spcBef>
                <a:spcPct val="0"/>
              </a:spcBef>
              <a:buNone/>
            </a:pPr>
            <a:r>
              <a:rPr lang="en-AU" sz="900"/>
              <a:t>AI can complete only a limited set of pre-defined tasks</a:t>
            </a:r>
            <a:endParaRPr lang="en-AU" sz="800"/>
          </a:p>
        </p:txBody>
      </p:sp>
      <p:sp>
        <p:nvSpPr>
          <p:cNvPr id="31" name="btfpBulletedList325848">
            <a:extLst>
              <a:ext uri="{FF2B5EF4-FFF2-40B4-BE49-F238E27FC236}">
                <a16:creationId xmlns:a16="http://schemas.microsoft.com/office/drawing/2014/main" id="{96FD6095-0D17-F8BF-0D19-9095D1207E58}"/>
              </a:ext>
            </a:extLst>
          </p:cNvPr>
          <p:cNvSpPr txBox="1"/>
          <p:nvPr>
            <p:custDataLst>
              <p:tags r:id="rId15"/>
            </p:custDataLst>
          </p:nvPr>
        </p:nvSpPr>
        <p:spPr bwMode="gray">
          <a:xfrm>
            <a:off x="6190677" y="4860885"/>
            <a:ext cx="2359163" cy="780589"/>
          </a:xfrm>
          <a:prstGeom prst="rect">
            <a:avLst/>
          </a:prstGeom>
          <a:noFill/>
        </p:spPr>
        <p:txBody>
          <a:bodyPr vert="horz" wrap="square" lIns="36000" tIns="36000" rIns="36000" bIns="36000" rtlCol="0">
            <a:spAutoFit/>
          </a:bodyPr>
          <a:lstStyle/>
          <a:p>
            <a:pPr marL="0" indent="0" algn="ctr">
              <a:spcBef>
                <a:spcPct val="0"/>
              </a:spcBef>
              <a:buNone/>
            </a:pPr>
            <a:r>
              <a:rPr lang="en-AU" sz="1000" b="1"/>
              <a:t>Goal-oriented planning</a:t>
            </a:r>
          </a:p>
          <a:p>
            <a:pPr marL="0" indent="0" algn="ctr">
              <a:spcBef>
                <a:spcPct val="0"/>
              </a:spcBef>
              <a:buNone/>
            </a:pPr>
            <a:r>
              <a:rPr lang="en-AU" sz="900"/>
              <a:t>AI is able to pursue arbitrary and more complex goals by planning and executing multiple steps, potentially taking advantage of increasing levels of embodiment</a:t>
            </a:r>
            <a:endParaRPr lang="en-AU" sz="800"/>
          </a:p>
        </p:txBody>
      </p:sp>
      <p:sp>
        <p:nvSpPr>
          <p:cNvPr id="32" name="btfpBulletedList325848">
            <a:extLst>
              <a:ext uri="{FF2B5EF4-FFF2-40B4-BE49-F238E27FC236}">
                <a16:creationId xmlns:a16="http://schemas.microsoft.com/office/drawing/2014/main" id="{436D6F12-BC25-D1BA-CEE8-630777AAA9C5}"/>
              </a:ext>
            </a:extLst>
          </p:cNvPr>
          <p:cNvSpPr txBox="1"/>
          <p:nvPr>
            <p:custDataLst>
              <p:tags r:id="rId16"/>
            </p:custDataLst>
          </p:nvPr>
        </p:nvSpPr>
        <p:spPr bwMode="gray">
          <a:xfrm>
            <a:off x="9131890" y="4860885"/>
            <a:ext cx="1759305" cy="780589"/>
          </a:xfrm>
          <a:prstGeom prst="rect">
            <a:avLst/>
          </a:prstGeom>
          <a:noFill/>
        </p:spPr>
        <p:txBody>
          <a:bodyPr vert="horz" wrap="square" lIns="36000" tIns="36000" rIns="36000" bIns="36000" rtlCol="0">
            <a:spAutoFit/>
          </a:bodyPr>
          <a:lstStyle/>
          <a:p>
            <a:pPr marL="0" indent="0" algn="r">
              <a:spcBef>
                <a:spcPct val="0"/>
              </a:spcBef>
              <a:buNone/>
            </a:pPr>
            <a:r>
              <a:rPr lang="en-AU" sz="1000" b="1"/>
              <a:t>Self-learning</a:t>
            </a:r>
          </a:p>
          <a:p>
            <a:pPr marL="0" indent="0" algn="r">
              <a:spcBef>
                <a:spcPct val="0"/>
              </a:spcBef>
              <a:buNone/>
            </a:pPr>
            <a:r>
              <a:rPr lang="en-AU" sz="900"/>
              <a:t>AI is able to continuously learn and adapt behaviour to achieve its goals based on the results of interactivity with the world. </a:t>
            </a:r>
            <a:endParaRPr lang="en-AU" sz="800"/>
          </a:p>
        </p:txBody>
      </p:sp>
      <p:grpSp>
        <p:nvGrpSpPr>
          <p:cNvPr id="24" name="Group 23">
            <a:extLst>
              <a:ext uri="{FF2B5EF4-FFF2-40B4-BE49-F238E27FC236}">
                <a16:creationId xmlns:a16="http://schemas.microsoft.com/office/drawing/2014/main" id="{516E9C2C-5C05-EF43-0DF3-A2687C6EE066}"/>
              </a:ext>
            </a:extLst>
          </p:cNvPr>
          <p:cNvGrpSpPr/>
          <p:nvPr>
            <p:custDataLst>
              <p:tags r:id="rId17"/>
            </p:custDataLst>
          </p:nvPr>
        </p:nvGrpSpPr>
        <p:grpSpPr>
          <a:xfrm>
            <a:off x="3814034" y="1592347"/>
            <a:ext cx="3548349" cy="1623992"/>
            <a:chOff x="3814034" y="1592347"/>
            <a:chExt cx="3548349" cy="1623992"/>
          </a:xfrm>
        </p:grpSpPr>
        <p:sp>
          <p:nvSpPr>
            <p:cNvPr id="21" name="Rectangle 20">
              <a:extLst>
                <a:ext uri="{FF2B5EF4-FFF2-40B4-BE49-F238E27FC236}">
                  <a16:creationId xmlns:a16="http://schemas.microsoft.com/office/drawing/2014/main" id="{CED2DBBB-9F3F-0E4D-23C3-229C7DEACDDC}"/>
                </a:ext>
              </a:extLst>
            </p:cNvPr>
            <p:cNvSpPr/>
            <p:nvPr>
              <p:custDataLst>
                <p:tags r:id="rId37"/>
              </p:custDataLst>
            </p:nvPr>
          </p:nvSpPr>
          <p:spPr bwMode="gray">
            <a:xfrm>
              <a:off x="3814034" y="1592347"/>
              <a:ext cx="3548349" cy="1623992"/>
            </a:xfrm>
            <a:prstGeom prst="rect">
              <a:avLst/>
            </a:prstGeom>
            <a:solidFill>
              <a:srgbClr val="B4B4B4"/>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800" err="1">
                <a:solidFill>
                  <a:srgbClr val="000000"/>
                </a:solidFill>
              </a:endParaRPr>
            </a:p>
          </p:txBody>
        </p:sp>
        <p:sp>
          <p:nvSpPr>
            <p:cNvPr id="34" name="TextBox 33">
              <a:extLst>
                <a:ext uri="{FF2B5EF4-FFF2-40B4-BE49-F238E27FC236}">
                  <a16:creationId xmlns:a16="http://schemas.microsoft.com/office/drawing/2014/main" id="{57EC8011-294A-0926-2ED1-0AE5590EA3D9}"/>
                </a:ext>
              </a:extLst>
            </p:cNvPr>
            <p:cNvSpPr txBox="1"/>
            <p:nvPr>
              <p:custDataLst>
                <p:tags r:id="rId38"/>
              </p:custDataLst>
            </p:nvPr>
          </p:nvSpPr>
          <p:spPr bwMode="gray">
            <a:xfrm>
              <a:off x="3814034" y="1613449"/>
              <a:ext cx="3548349" cy="261610"/>
            </a:xfrm>
            <a:prstGeom prst="rect">
              <a:avLst/>
            </a:prstGeom>
            <a:noFill/>
          </p:spPr>
          <p:txBody>
            <a:bodyPr wrap="square" lIns="91440" tIns="45720" rIns="91440" bIns="45720" rtlCol="0">
              <a:spAutoFit/>
            </a:bodyPr>
            <a:lstStyle/>
            <a:p>
              <a:pPr marL="0" indent="0">
                <a:buNone/>
              </a:pPr>
              <a:r>
                <a:rPr lang="en-US" sz="1100" b="1"/>
                <a:t>Low </a:t>
              </a:r>
              <a:r>
                <a:rPr lang="en-US" sz="1100"/>
                <a:t>autonomy; </a:t>
              </a:r>
              <a:r>
                <a:rPr lang="en-US" sz="1100" b="1"/>
                <a:t>High </a:t>
              </a:r>
              <a:r>
                <a:rPr lang="en-US" sz="1100"/>
                <a:t>embodiment</a:t>
              </a:r>
              <a:endParaRPr lang="en-AU" sz="1100" err="1"/>
            </a:p>
          </p:txBody>
        </p:sp>
        <p:sp>
          <p:nvSpPr>
            <p:cNvPr id="52" name="TextBox 51">
              <a:extLst>
                <a:ext uri="{FF2B5EF4-FFF2-40B4-BE49-F238E27FC236}">
                  <a16:creationId xmlns:a16="http://schemas.microsoft.com/office/drawing/2014/main" id="{26F7542C-55BE-FFFF-9933-92B1E785DCBA}"/>
                </a:ext>
              </a:extLst>
            </p:cNvPr>
            <p:cNvSpPr txBox="1"/>
            <p:nvPr>
              <p:custDataLst>
                <p:tags r:id="rId39"/>
              </p:custDataLst>
            </p:nvPr>
          </p:nvSpPr>
          <p:spPr bwMode="gray">
            <a:xfrm>
              <a:off x="4436149" y="2082476"/>
              <a:ext cx="2304121" cy="665173"/>
            </a:xfrm>
            <a:prstGeom prst="rect">
              <a:avLst/>
            </a:prstGeom>
            <a:noFill/>
          </p:spPr>
          <p:txBody>
            <a:bodyPr wrap="square" lIns="36000" tIns="36000" rIns="36000" bIns="36000" rtlCol="0" anchor="t">
              <a:spAutoFit/>
            </a:bodyPr>
            <a:lstStyle/>
            <a:p>
              <a:pPr marL="0" indent="0" algn="ctr">
                <a:spcBef>
                  <a:spcPts val="300"/>
                </a:spcBef>
                <a:buNone/>
              </a:pPr>
              <a:r>
                <a:rPr lang="en-US" sz="1200" u="sng"/>
                <a:t>Examples</a:t>
              </a:r>
            </a:p>
            <a:p>
              <a:pPr marL="0" indent="0" algn="ctr">
                <a:spcBef>
                  <a:spcPts val="300"/>
                </a:spcBef>
                <a:buNone/>
              </a:pPr>
              <a:r>
                <a:rPr lang="en-US" sz="1200" b="1"/>
                <a:t>Self-driving cars, traditional AI in robotics, Industry 4.0</a:t>
              </a:r>
              <a:endParaRPr lang="en-AU" sz="1200" b="1"/>
            </a:p>
          </p:txBody>
        </p:sp>
      </p:grpSp>
      <p:grpSp>
        <p:nvGrpSpPr>
          <p:cNvPr id="14" name="Group 13">
            <a:extLst>
              <a:ext uri="{FF2B5EF4-FFF2-40B4-BE49-F238E27FC236}">
                <a16:creationId xmlns:a16="http://schemas.microsoft.com/office/drawing/2014/main" id="{9086934F-02EB-7190-EC47-0C147F714288}"/>
              </a:ext>
            </a:extLst>
          </p:cNvPr>
          <p:cNvGrpSpPr/>
          <p:nvPr>
            <p:custDataLst>
              <p:tags r:id="rId18"/>
            </p:custDataLst>
          </p:nvPr>
        </p:nvGrpSpPr>
        <p:grpSpPr>
          <a:xfrm>
            <a:off x="3814034" y="3216340"/>
            <a:ext cx="3548349" cy="1623993"/>
            <a:chOff x="3814034" y="3216340"/>
            <a:chExt cx="3548349" cy="1623993"/>
          </a:xfrm>
        </p:grpSpPr>
        <p:sp>
          <p:nvSpPr>
            <p:cNvPr id="20" name="Rectangle 19">
              <a:extLst>
                <a:ext uri="{FF2B5EF4-FFF2-40B4-BE49-F238E27FC236}">
                  <a16:creationId xmlns:a16="http://schemas.microsoft.com/office/drawing/2014/main" id="{A88C707B-6CD6-6F32-91B7-CB0F93E01B20}"/>
                </a:ext>
              </a:extLst>
            </p:cNvPr>
            <p:cNvSpPr/>
            <p:nvPr>
              <p:custDataLst>
                <p:tags r:id="rId34"/>
              </p:custDataLst>
            </p:nvPr>
          </p:nvSpPr>
          <p:spPr bwMode="gray">
            <a:xfrm>
              <a:off x="3814034" y="3216341"/>
              <a:ext cx="3548349" cy="1623992"/>
            </a:xfrm>
            <a:prstGeom prst="rect">
              <a:avLst/>
            </a:prstGeom>
            <a:solidFill>
              <a:srgbClr val="D6D6D6"/>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800" err="1">
                <a:solidFill>
                  <a:srgbClr val="000000"/>
                </a:solidFill>
              </a:endParaRPr>
            </a:p>
          </p:txBody>
        </p:sp>
        <p:sp>
          <p:nvSpPr>
            <p:cNvPr id="33" name="TextBox 32">
              <a:extLst>
                <a:ext uri="{FF2B5EF4-FFF2-40B4-BE49-F238E27FC236}">
                  <a16:creationId xmlns:a16="http://schemas.microsoft.com/office/drawing/2014/main" id="{481C2B1E-DEED-D3D5-9A44-82CCCB19BD9F}"/>
                </a:ext>
              </a:extLst>
            </p:cNvPr>
            <p:cNvSpPr txBox="1"/>
            <p:nvPr>
              <p:custDataLst>
                <p:tags r:id="rId35"/>
              </p:custDataLst>
            </p:nvPr>
          </p:nvSpPr>
          <p:spPr bwMode="gray">
            <a:xfrm>
              <a:off x="3814034" y="3216340"/>
              <a:ext cx="3548349" cy="261610"/>
            </a:xfrm>
            <a:prstGeom prst="rect">
              <a:avLst/>
            </a:prstGeom>
            <a:noFill/>
          </p:spPr>
          <p:txBody>
            <a:bodyPr wrap="square" lIns="91440" tIns="45720" rIns="91440" bIns="45720" rtlCol="0">
              <a:spAutoFit/>
            </a:bodyPr>
            <a:lstStyle/>
            <a:p>
              <a:pPr marL="0" indent="0">
                <a:buNone/>
              </a:pPr>
              <a:r>
                <a:rPr lang="en-US" sz="1100" b="1"/>
                <a:t>Low </a:t>
              </a:r>
              <a:r>
                <a:rPr lang="en-US" sz="1100"/>
                <a:t>autonomy; </a:t>
              </a:r>
              <a:r>
                <a:rPr lang="en-US" sz="1100" b="1"/>
                <a:t>Low </a:t>
              </a:r>
              <a:r>
                <a:rPr lang="en-US" sz="1100"/>
                <a:t>embodiment</a:t>
              </a:r>
              <a:endParaRPr lang="en-AU" sz="1100" err="1"/>
            </a:p>
          </p:txBody>
        </p:sp>
        <p:sp>
          <p:nvSpPr>
            <p:cNvPr id="53" name="TextBox 52">
              <a:extLst>
                <a:ext uri="{FF2B5EF4-FFF2-40B4-BE49-F238E27FC236}">
                  <a16:creationId xmlns:a16="http://schemas.microsoft.com/office/drawing/2014/main" id="{581BFDC6-D2E5-8FF2-C06C-E6018D8B4A99}"/>
                </a:ext>
              </a:extLst>
            </p:cNvPr>
            <p:cNvSpPr txBox="1"/>
            <p:nvPr>
              <p:custDataLst>
                <p:tags r:id="rId36"/>
              </p:custDataLst>
            </p:nvPr>
          </p:nvSpPr>
          <p:spPr bwMode="gray">
            <a:xfrm>
              <a:off x="4436149" y="3769618"/>
              <a:ext cx="2304121" cy="665173"/>
            </a:xfrm>
            <a:prstGeom prst="rect">
              <a:avLst/>
            </a:prstGeom>
            <a:noFill/>
          </p:spPr>
          <p:txBody>
            <a:bodyPr wrap="square" lIns="36000" tIns="36000" rIns="36000" bIns="36000" rtlCol="0" anchor="t">
              <a:spAutoFit/>
            </a:bodyPr>
            <a:lstStyle/>
            <a:p>
              <a:pPr marL="0" indent="0" algn="ctr">
                <a:spcBef>
                  <a:spcPts val="300"/>
                </a:spcBef>
                <a:buNone/>
              </a:pPr>
              <a:r>
                <a:rPr lang="en-US" sz="1200" u="sng"/>
                <a:t>Examples</a:t>
              </a:r>
            </a:p>
            <a:p>
              <a:pPr marL="0" indent="0" algn="ctr">
                <a:spcBef>
                  <a:spcPts val="300"/>
                </a:spcBef>
                <a:buNone/>
              </a:pPr>
              <a:r>
                <a:rPr lang="en-US" sz="1200" b="1"/>
                <a:t>AlphaGo, Image Recognition, Dall-E 3</a:t>
              </a:r>
              <a:endParaRPr lang="en-AU" sz="1200" b="1"/>
            </a:p>
          </p:txBody>
        </p:sp>
      </p:grpSp>
      <p:grpSp>
        <p:nvGrpSpPr>
          <p:cNvPr id="26" name="Group 25">
            <a:extLst>
              <a:ext uri="{FF2B5EF4-FFF2-40B4-BE49-F238E27FC236}">
                <a16:creationId xmlns:a16="http://schemas.microsoft.com/office/drawing/2014/main" id="{D0CF15B7-FE32-1B69-68C2-2940C6C328C6}"/>
              </a:ext>
            </a:extLst>
          </p:cNvPr>
          <p:cNvGrpSpPr/>
          <p:nvPr>
            <p:custDataLst>
              <p:tags r:id="rId19"/>
            </p:custDataLst>
          </p:nvPr>
        </p:nvGrpSpPr>
        <p:grpSpPr>
          <a:xfrm>
            <a:off x="7362383" y="3216341"/>
            <a:ext cx="3548349" cy="1623992"/>
            <a:chOff x="7362383" y="3216341"/>
            <a:chExt cx="3548349" cy="1623992"/>
          </a:xfrm>
        </p:grpSpPr>
        <p:sp>
          <p:nvSpPr>
            <p:cNvPr id="23" name="Rectangle 22">
              <a:extLst>
                <a:ext uri="{FF2B5EF4-FFF2-40B4-BE49-F238E27FC236}">
                  <a16:creationId xmlns:a16="http://schemas.microsoft.com/office/drawing/2014/main" id="{2B588584-7A50-B7E9-6CEB-C3D9E9F8668C}"/>
                </a:ext>
              </a:extLst>
            </p:cNvPr>
            <p:cNvSpPr/>
            <p:nvPr>
              <p:custDataLst>
                <p:tags r:id="rId31"/>
              </p:custDataLst>
            </p:nvPr>
          </p:nvSpPr>
          <p:spPr bwMode="gray">
            <a:xfrm>
              <a:off x="7362383" y="3216341"/>
              <a:ext cx="3548349" cy="1623992"/>
            </a:xfrm>
            <a:prstGeom prst="rect">
              <a:avLst/>
            </a:prstGeom>
            <a:solidFill>
              <a:srgbClr val="B4B4B4"/>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800" err="1">
                <a:solidFill>
                  <a:srgbClr val="000000"/>
                </a:solidFill>
              </a:endParaRPr>
            </a:p>
          </p:txBody>
        </p:sp>
        <p:sp>
          <p:nvSpPr>
            <p:cNvPr id="56" name="TextBox 55">
              <a:extLst>
                <a:ext uri="{FF2B5EF4-FFF2-40B4-BE49-F238E27FC236}">
                  <a16:creationId xmlns:a16="http://schemas.microsoft.com/office/drawing/2014/main" id="{268C5C06-6BC2-5BE3-C8F9-943DF9DFD8E8}"/>
                </a:ext>
              </a:extLst>
            </p:cNvPr>
            <p:cNvSpPr txBox="1"/>
            <p:nvPr>
              <p:custDataLst>
                <p:tags r:id="rId32"/>
              </p:custDataLst>
            </p:nvPr>
          </p:nvSpPr>
          <p:spPr bwMode="gray">
            <a:xfrm>
              <a:off x="7425432" y="3769618"/>
              <a:ext cx="2304122" cy="665173"/>
            </a:xfrm>
            <a:prstGeom prst="rect">
              <a:avLst/>
            </a:prstGeom>
            <a:noFill/>
          </p:spPr>
          <p:txBody>
            <a:bodyPr wrap="square" lIns="36000" tIns="36000" rIns="36000" bIns="36000" rtlCol="0" anchor="t">
              <a:spAutoFit/>
            </a:bodyPr>
            <a:lstStyle/>
            <a:p>
              <a:pPr marL="0" indent="0" algn="ctr">
                <a:spcBef>
                  <a:spcPts val="300"/>
                </a:spcBef>
                <a:buNone/>
              </a:pPr>
              <a:r>
                <a:rPr lang="en-US" sz="1200" u="sng"/>
                <a:t>Examples</a:t>
              </a:r>
            </a:p>
            <a:p>
              <a:pPr marL="0" indent="0" algn="ctr">
                <a:spcBef>
                  <a:spcPts val="300"/>
                </a:spcBef>
                <a:buNone/>
              </a:pPr>
              <a:r>
                <a:rPr lang="en-US" sz="1200" b="1" err="1"/>
                <a:t>ChatGPT, Bard, PaLM, Llama etc. </a:t>
              </a:r>
              <a:r>
                <a:rPr lang="en-US" sz="1050" b="1"/>
                <a:t>(with prompting techniques)</a:t>
              </a:r>
              <a:endParaRPr lang="en-AU" sz="1200" b="1"/>
            </a:p>
          </p:txBody>
        </p:sp>
        <p:sp>
          <p:nvSpPr>
            <p:cNvPr id="57" name="TextBox 56">
              <a:extLst>
                <a:ext uri="{FF2B5EF4-FFF2-40B4-BE49-F238E27FC236}">
                  <a16:creationId xmlns:a16="http://schemas.microsoft.com/office/drawing/2014/main" id="{D543ECD6-A98D-F2DA-1029-21D6B23A4226}"/>
                </a:ext>
              </a:extLst>
            </p:cNvPr>
            <p:cNvSpPr txBox="1"/>
            <p:nvPr>
              <p:custDataLst>
                <p:tags r:id="rId33"/>
              </p:custDataLst>
            </p:nvPr>
          </p:nvSpPr>
          <p:spPr bwMode="gray">
            <a:xfrm>
              <a:off x="7362383" y="3229721"/>
              <a:ext cx="3548349" cy="261610"/>
            </a:xfrm>
            <a:prstGeom prst="rect">
              <a:avLst/>
            </a:prstGeom>
            <a:noFill/>
          </p:spPr>
          <p:txBody>
            <a:bodyPr wrap="square" lIns="91440" tIns="45720" rIns="91440" bIns="45720" rtlCol="0">
              <a:spAutoFit/>
            </a:bodyPr>
            <a:lstStyle/>
            <a:p>
              <a:pPr marL="0" indent="0" algn="r">
                <a:buNone/>
              </a:pPr>
              <a:r>
                <a:rPr lang="en-US" sz="1100" b="1"/>
                <a:t>High </a:t>
              </a:r>
              <a:r>
                <a:rPr lang="en-US" sz="1100"/>
                <a:t>autonomy; </a:t>
              </a:r>
              <a:r>
                <a:rPr lang="en-US" sz="1100" b="1"/>
                <a:t>Low </a:t>
              </a:r>
              <a:r>
                <a:rPr lang="en-US" sz="1100"/>
                <a:t>embodiment</a:t>
              </a:r>
              <a:endParaRPr lang="en-AU" sz="1100"/>
            </a:p>
          </p:txBody>
        </p:sp>
      </p:grpSp>
      <p:grpSp>
        <p:nvGrpSpPr>
          <p:cNvPr id="25" name="Group 24">
            <a:extLst>
              <a:ext uri="{FF2B5EF4-FFF2-40B4-BE49-F238E27FC236}">
                <a16:creationId xmlns:a16="http://schemas.microsoft.com/office/drawing/2014/main" id="{C56C2B6A-70AE-742C-932B-65032DA0F54E}"/>
              </a:ext>
            </a:extLst>
          </p:cNvPr>
          <p:cNvGrpSpPr/>
          <p:nvPr>
            <p:custDataLst>
              <p:tags r:id="rId20"/>
            </p:custDataLst>
          </p:nvPr>
        </p:nvGrpSpPr>
        <p:grpSpPr>
          <a:xfrm>
            <a:off x="7362383" y="1592347"/>
            <a:ext cx="4499417" cy="1623992"/>
            <a:chOff x="7362383" y="1592347"/>
            <a:chExt cx="4499417" cy="1623992"/>
          </a:xfrm>
        </p:grpSpPr>
        <p:sp>
          <p:nvSpPr>
            <p:cNvPr id="22" name="Rectangle 21">
              <a:extLst>
                <a:ext uri="{FF2B5EF4-FFF2-40B4-BE49-F238E27FC236}">
                  <a16:creationId xmlns:a16="http://schemas.microsoft.com/office/drawing/2014/main" id="{288BEB46-9784-0BE6-16CE-25148D373EEB}"/>
                </a:ext>
              </a:extLst>
            </p:cNvPr>
            <p:cNvSpPr/>
            <p:nvPr>
              <p:custDataLst>
                <p:tags r:id="rId26"/>
              </p:custDataLst>
            </p:nvPr>
          </p:nvSpPr>
          <p:spPr bwMode="gray">
            <a:xfrm>
              <a:off x="7362383" y="1592347"/>
              <a:ext cx="3548349" cy="1623992"/>
            </a:xfrm>
            <a:prstGeom prst="rect">
              <a:avLst/>
            </a:prstGeom>
            <a:solidFill>
              <a:srgbClr val="333333"/>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800" err="1">
                <a:solidFill>
                  <a:srgbClr val="FFFFFF"/>
                </a:solidFill>
              </a:endParaRPr>
            </a:p>
          </p:txBody>
        </p:sp>
        <p:sp>
          <p:nvSpPr>
            <p:cNvPr id="18" name="Freeform: Shape 17">
              <a:extLst>
                <a:ext uri="{FF2B5EF4-FFF2-40B4-BE49-F238E27FC236}">
                  <a16:creationId xmlns:a16="http://schemas.microsoft.com/office/drawing/2014/main" id="{96911770-D5E2-8B4F-6F5A-AAF440DEAE52}"/>
                </a:ext>
              </a:extLst>
            </p:cNvPr>
            <p:cNvSpPr/>
            <p:nvPr>
              <p:custDataLst>
                <p:tags r:id="rId27"/>
              </p:custDataLst>
            </p:nvPr>
          </p:nvSpPr>
          <p:spPr bwMode="gray">
            <a:xfrm>
              <a:off x="8788830" y="1592347"/>
              <a:ext cx="2121902" cy="1620534"/>
            </a:xfrm>
            <a:custGeom>
              <a:avLst/>
              <a:gdLst>
                <a:gd name="connsiteX0" fmla="*/ 670 w 1930006"/>
                <a:gd name="connsiteY0" fmla="*/ 0 h 1444696"/>
                <a:gd name="connsiteX1" fmla="*/ 1930006 w 1930006"/>
                <a:gd name="connsiteY1" fmla="*/ 0 h 1444696"/>
                <a:gd name="connsiteX2" fmla="*/ 1930006 w 1930006"/>
                <a:gd name="connsiteY2" fmla="*/ 1411012 h 1444696"/>
                <a:gd name="connsiteX3" fmla="*/ 1910258 w 1930006"/>
                <a:gd name="connsiteY3" fmla="*/ 1415588 h 1444696"/>
                <a:gd name="connsiteX4" fmla="*/ 1589848 w 1930006"/>
                <a:gd name="connsiteY4" fmla="*/ 1444696 h 1444696"/>
                <a:gd name="connsiteX5" fmla="*/ 0 w 1930006"/>
                <a:gd name="connsiteY5" fmla="*/ 11964 h 1444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0005" h="1444696">
                  <a:moveTo>
                    <a:pt x="670" y="0"/>
                  </a:moveTo>
                  <a:lnTo>
                    <a:pt x="1930006" y="0"/>
                  </a:lnTo>
                  <a:lnTo>
                    <a:pt x="1930006" y="1411012"/>
                  </a:lnTo>
                  <a:lnTo>
                    <a:pt x="1910258" y="1415588"/>
                  </a:lnTo>
                  <a:cubicBezTo>
                    <a:pt x="1806763" y="1434673"/>
                    <a:pt x="1699604" y="1444696"/>
                    <a:pt x="1589848" y="1444696"/>
                  </a:cubicBezTo>
                  <a:cubicBezTo>
                    <a:pt x="711799" y="1444696"/>
                    <a:pt x="0" y="803240"/>
                    <a:pt x="0" y="11964"/>
                  </a:cubicBezTo>
                  <a:close/>
                </a:path>
              </a:pathLst>
            </a:custGeom>
            <a:solidFill>
              <a:srgbClr val="CC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800" err="1">
                <a:solidFill>
                  <a:srgbClr val="FFFFFF"/>
                </a:solidFill>
              </a:endParaRPr>
            </a:p>
          </p:txBody>
        </p:sp>
        <p:sp>
          <p:nvSpPr>
            <p:cNvPr id="54" name="TextBox 53">
              <a:extLst>
                <a:ext uri="{FF2B5EF4-FFF2-40B4-BE49-F238E27FC236}">
                  <a16:creationId xmlns:a16="http://schemas.microsoft.com/office/drawing/2014/main" id="{C86C8B8A-6A27-3567-DA95-B4F18EE4137C}"/>
                </a:ext>
              </a:extLst>
            </p:cNvPr>
            <p:cNvSpPr txBox="1"/>
            <p:nvPr>
              <p:custDataLst>
                <p:tags r:id="rId28"/>
              </p:custDataLst>
            </p:nvPr>
          </p:nvSpPr>
          <p:spPr bwMode="gray">
            <a:xfrm>
              <a:off x="7362383" y="1613449"/>
              <a:ext cx="3548349" cy="261610"/>
            </a:xfrm>
            <a:prstGeom prst="rect">
              <a:avLst/>
            </a:prstGeom>
            <a:noFill/>
          </p:spPr>
          <p:txBody>
            <a:bodyPr wrap="square" lIns="91440" tIns="45720" rIns="91440" bIns="45720" rtlCol="0">
              <a:spAutoFit/>
            </a:bodyPr>
            <a:lstStyle/>
            <a:p>
              <a:pPr marL="0" indent="0" algn="r">
                <a:buNone/>
              </a:pPr>
              <a:r>
                <a:rPr lang="en-US" sz="1100" b="1">
                  <a:solidFill>
                    <a:schemeClr val="bg1"/>
                  </a:solidFill>
                </a:rPr>
                <a:t>High </a:t>
              </a:r>
              <a:r>
                <a:rPr lang="en-US" sz="1100">
                  <a:solidFill>
                    <a:schemeClr val="bg1"/>
                  </a:solidFill>
                </a:rPr>
                <a:t>autonomy; </a:t>
              </a:r>
              <a:r>
                <a:rPr lang="en-US" sz="1100" b="1">
                  <a:solidFill>
                    <a:schemeClr val="bg1"/>
                  </a:solidFill>
                </a:rPr>
                <a:t>High </a:t>
              </a:r>
              <a:r>
                <a:rPr lang="en-US" sz="1100">
                  <a:solidFill>
                    <a:schemeClr val="bg1"/>
                  </a:solidFill>
                </a:rPr>
                <a:t>embodiment</a:t>
              </a:r>
              <a:endParaRPr lang="en-AU" sz="1100" err="1">
                <a:solidFill>
                  <a:schemeClr val="bg1"/>
                </a:solidFill>
              </a:endParaRPr>
            </a:p>
          </p:txBody>
        </p:sp>
        <p:sp>
          <p:nvSpPr>
            <p:cNvPr id="55" name="TextBox 54">
              <a:extLst>
                <a:ext uri="{FF2B5EF4-FFF2-40B4-BE49-F238E27FC236}">
                  <a16:creationId xmlns:a16="http://schemas.microsoft.com/office/drawing/2014/main" id="{A4B10FDE-87A4-881D-CA71-93C4290A621E}"/>
                </a:ext>
              </a:extLst>
            </p:cNvPr>
            <p:cNvSpPr txBox="1"/>
            <p:nvPr>
              <p:custDataLst>
                <p:tags r:id="rId29"/>
              </p:custDataLst>
            </p:nvPr>
          </p:nvSpPr>
          <p:spPr bwMode="gray">
            <a:xfrm>
              <a:off x="7425431" y="2082476"/>
              <a:ext cx="2457539" cy="665173"/>
            </a:xfrm>
            <a:prstGeom prst="rect">
              <a:avLst/>
            </a:prstGeom>
            <a:noFill/>
          </p:spPr>
          <p:txBody>
            <a:bodyPr wrap="square" lIns="36000" tIns="36000" rIns="36000" bIns="36000" rtlCol="0" anchor="t">
              <a:spAutoFit/>
            </a:bodyPr>
            <a:lstStyle/>
            <a:p>
              <a:pPr marL="0" indent="0" algn="ctr">
                <a:spcBef>
                  <a:spcPts val="300"/>
                </a:spcBef>
                <a:buNone/>
              </a:pPr>
              <a:r>
                <a:rPr lang="en-US" sz="1200" u="sng">
                  <a:solidFill>
                    <a:schemeClr val="bg1"/>
                  </a:solidFill>
                </a:rPr>
                <a:t>Examples</a:t>
              </a:r>
            </a:p>
            <a:p>
              <a:pPr marL="0" indent="0" algn="ctr">
                <a:spcBef>
                  <a:spcPts val="300"/>
                </a:spcBef>
                <a:buNone/>
              </a:pPr>
              <a:r>
                <a:rPr lang="en-US" sz="1200" b="1" err="1">
                  <a:solidFill>
                    <a:schemeClr val="bg1"/>
                  </a:solidFill>
                </a:rPr>
                <a:t>ChatGPT for Robotics,</a:t>
              </a:r>
              <a:br>
                <a:rPr lang="en-US" sz="1200" b="1" err="1">
                  <a:solidFill>
                    <a:schemeClr val="bg1"/>
                  </a:solidFill>
                </a:rPr>
              </a:br>
              <a:r>
                <a:rPr lang="en-US" sz="1200" b="1" err="1">
                  <a:solidFill>
                    <a:schemeClr val="bg1"/>
                  </a:solidFill>
                </a:rPr>
                <a:t>ChatGPT with ability to call APIs</a:t>
              </a:r>
              <a:endParaRPr lang="en-AU" sz="1200" b="1">
                <a:solidFill>
                  <a:schemeClr val="bg1"/>
                </a:solidFill>
              </a:endParaRPr>
            </a:p>
          </p:txBody>
        </p:sp>
        <p:sp>
          <p:nvSpPr>
            <p:cNvPr id="19" name="btfpCallout104822">
              <a:extLst>
                <a:ext uri="{FF2B5EF4-FFF2-40B4-BE49-F238E27FC236}">
                  <a16:creationId xmlns:a16="http://schemas.microsoft.com/office/drawing/2014/main" id="{B392A128-0270-BB9F-61B9-00EB9C5A29A4}"/>
                </a:ext>
              </a:extLst>
            </p:cNvPr>
            <p:cNvSpPr/>
            <p:nvPr>
              <p:custDataLst>
                <p:tags r:id="rId30"/>
              </p:custDataLst>
            </p:nvPr>
          </p:nvSpPr>
          <p:spPr bwMode="gray">
            <a:xfrm>
              <a:off x="11049717" y="1830376"/>
              <a:ext cx="812083" cy="490048"/>
            </a:xfrm>
            <a:prstGeom prst="wedgeRectCallout">
              <a:avLst>
                <a:gd name="adj1" fmla="val -82813"/>
                <a:gd name="adj2" fmla="val -24247"/>
              </a:avLst>
            </a:prstGeom>
            <a:solidFill>
              <a:srgbClr val="FFFFFF"/>
            </a:solidFill>
            <a:ln w="190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lgn="ctr">
                <a:spcBef>
                  <a:spcPct val="0"/>
                </a:spcBef>
                <a:buNone/>
              </a:pPr>
              <a:r>
                <a:rPr lang="en-AU" b="1">
                  <a:solidFill>
                    <a:srgbClr val="CC0000"/>
                  </a:solidFill>
                </a:rPr>
                <a:t>Highest risk</a:t>
              </a:r>
            </a:p>
          </p:txBody>
        </p:sp>
      </p:grpSp>
      <p:sp>
        <p:nvSpPr>
          <p:cNvPr id="66" name="Rectangle 65">
            <a:extLst>
              <a:ext uri="{FF2B5EF4-FFF2-40B4-BE49-F238E27FC236}">
                <a16:creationId xmlns:a16="http://schemas.microsoft.com/office/drawing/2014/main" id="{832895CA-F06E-5612-15EB-FD87CF345E79}"/>
              </a:ext>
            </a:extLst>
          </p:cNvPr>
          <p:cNvSpPr/>
          <p:nvPr>
            <p:custDataLst>
              <p:tags r:id="rId21"/>
            </p:custDataLst>
          </p:nvPr>
        </p:nvSpPr>
        <p:spPr bwMode="gray">
          <a:xfrm>
            <a:off x="3814034" y="1592347"/>
            <a:ext cx="7096698" cy="3247986"/>
          </a:xfrm>
          <a:prstGeom prst="rect">
            <a:avLst/>
          </a:prstGeom>
          <a:noFill/>
          <a:ln w="9525">
            <a:solidFill>
              <a:schemeClr val="tx1"/>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800" err="1">
              <a:solidFill>
                <a:schemeClr val="tx1"/>
              </a:solidFill>
            </a:endParaRPr>
          </a:p>
        </p:txBody>
      </p:sp>
      <p:pic>
        <p:nvPicPr>
          <p:cNvPr id="121" name="Picture 120" descr="A red lines on a black background&#10;&#10;Description automatically generated">
            <a:extLst>
              <a:ext uri="{FF2B5EF4-FFF2-40B4-BE49-F238E27FC236}">
                <a16:creationId xmlns:a16="http://schemas.microsoft.com/office/drawing/2014/main" id="{823C1C61-394E-AD68-0631-A09374183898}"/>
              </a:ext>
            </a:extLst>
          </p:cNvPr>
          <p:cNvPicPr>
            <a:picLocks noChangeAspect="1"/>
          </p:cNvPicPr>
          <p:nvPr>
            <p:custDataLst>
              <p:tags r:id="rId22"/>
            </p:custDataLst>
          </p:nvPr>
        </p:nvPicPr>
        <p:blipFill>
          <a:blip r:embed="rId56">
            <a:extLst>
              <a:ext uri="{28A0092B-C50C-407E-A947-70E740481C1C}">
                <a14:useLocalDpi xmlns:a14="http://schemas.microsoft.com/office/drawing/2010/main" val="0"/>
              </a:ext>
            </a:extLst>
          </a:blip>
          <a:srcRect t="-15" b="84405"/>
          <a:stretch>
            <a:fillRect/>
          </a:stretch>
        </p:blipFill>
        <p:spPr>
          <a:xfrm>
            <a:off x="0" y="0"/>
            <a:ext cx="12192000" cy="1268413"/>
          </a:xfrm>
          <a:prstGeom prst="rect">
            <a:avLst/>
          </a:prstGeom>
        </p:spPr>
      </p:pic>
      <p:sp>
        <p:nvSpPr>
          <p:cNvPr id="122" name="Rectangle 121">
            <a:extLst>
              <a:ext uri="{FF2B5EF4-FFF2-40B4-BE49-F238E27FC236}">
                <a16:creationId xmlns:a16="http://schemas.microsoft.com/office/drawing/2014/main" id="{F050A61F-E5B1-A09E-9D30-244561C10010}"/>
              </a:ext>
            </a:extLst>
          </p:cNvPr>
          <p:cNvSpPr/>
          <p:nvPr>
            <p:custDataLst>
              <p:tags r:id="rId23"/>
            </p:custDataLst>
          </p:nvPr>
        </p:nvSpPr>
        <p:spPr bwMode="gray">
          <a:xfrm>
            <a:off x="0" y="0"/>
            <a:ext cx="12192000" cy="1268413"/>
          </a:xfrm>
          <a:prstGeom prst="rect">
            <a:avLst/>
          </a:prstGeom>
          <a:solidFill>
            <a:srgbClr val="000000">
              <a:alpha val="50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FFFFFF"/>
              </a:solidFill>
            </a:endParaRPr>
          </a:p>
        </p:txBody>
      </p:sp>
      <p:sp>
        <p:nvSpPr>
          <p:cNvPr id="123" name="Title 1">
            <a:extLst>
              <a:ext uri="{FF2B5EF4-FFF2-40B4-BE49-F238E27FC236}">
                <a16:creationId xmlns:a16="http://schemas.microsoft.com/office/drawing/2014/main" id="{7BE1D87D-AEA9-E565-902D-4DFD8FEDD366}"/>
              </a:ext>
            </a:extLst>
          </p:cNvPr>
          <p:cNvSpPr txBox="1"/>
          <p:nvPr>
            <p:custDataLst>
              <p:tags r:id="rId24"/>
            </p:custDataLst>
          </p:nvPr>
        </p:nvSpPr>
        <p:spPr>
          <a:xfrm>
            <a:off x="347472" y="289372"/>
            <a:ext cx="11521440" cy="847718"/>
          </a:xfrm>
          <a:prstGeom prst="rect">
            <a:avLst/>
          </a:prstGeom>
        </p:spPr>
        <p:txBody>
          <a:bodyPr vert="horz" lIns="36000" tIns="36000" rIns="36000" bIns="72000" rtlCol="0" anchor="ctr" anchorCtr="0">
            <a:noAutofit/>
          </a:bodyPr>
          <a:lst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a:lstStyle>
          <a:p>
            <a:pPr marL="0" indent="0"/>
            <a:endParaRPr lang="en-US">
              <a:solidFill>
                <a:schemeClr val="bg1"/>
              </a:solidFill>
            </a:endParaRPr>
          </a:p>
        </p:txBody>
      </p:sp>
      <p:sp>
        <p:nvSpPr>
          <p:cNvPr id="15" name="Title 1">
            <a:extLst>
              <a:ext uri="{FF2B5EF4-FFF2-40B4-BE49-F238E27FC236}">
                <a16:creationId xmlns:a16="http://schemas.microsoft.com/office/drawing/2014/main" id="{0D2556A5-F793-E8C6-00BF-CCA703E31E16}"/>
              </a:ext>
            </a:extLst>
          </p:cNvPr>
          <p:cNvSpPr txBox="1"/>
          <p:nvPr>
            <p:custDataLst>
              <p:tags r:id="rId25"/>
            </p:custDataLst>
          </p:nvPr>
        </p:nvSpPr>
        <p:spPr>
          <a:xfrm>
            <a:off x="499872" y="441772"/>
            <a:ext cx="11521440" cy="847718"/>
          </a:xfrm>
          <a:prstGeom prst="rect">
            <a:avLst/>
          </a:prstGeom>
        </p:spPr>
        <p:txBody>
          <a:bodyPr vert="horz" lIns="36000" tIns="36000" rIns="36000" bIns="72000" rtlCol="0" anchor="ctr" anchorCtr="0">
            <a:noAutofit/>
          </a:bodyPr>
          <a:lst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a:lstStyle>
          <a:p>
            <a:pPr marL="0" indent="0"/>
            <a:r>
              <a:rPr lang="en-US">
                <a:solidFill>
                  <a:schemeClr val="bg1"/>
                </a:solidFill>
              </a:rPr>
              <a:t>The highest levels of risk arise when AI is both autonomous and embodied</a:t>
            </a:r>
            <a:endParaRPr lang="en-AU">
              <a:solidFill>
                <a:schemeClr val="bg1"/>
              </a:solidFill>
            </a:endParaRPr>
          </a:p>
        </p:txBody>
      </p:sp>
    </p:spTree>
    <p:custDataLst>
      <p:tags r:id="rId1"/>
    </p:custDataLst>
    <p:extLst>
      <p:ext uri="{BB962C8B-B14F-4D97-AF65-F5344CB8AC3E}">
        <p14:creationId xmlns:p14="http://schemas.microsoft.com/office/powerpoint/2010/main" val="193360917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0" presetClass="entr" presetSubtype="0" dur="50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nodeType="clickPar">
                      <p:stCondLst>
                        <p:cond delay="indefinite"/>
                      </p:stCondLst>
                      <p:childTnLst>
                        <p:par>
                          <p:cTn id="9" fill="hold">
                            <p:stCondLst>
                              <p:cond delay="0"/>
                            </p:stCondLst>
                            <p:childTnLst>
                              <p:par>
                                <p:cTn id="10" presetID="10" presetClass="entr" presetSubtype="0" dur="50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nodeType="clickPar">
                      <p:stCondLst>
                        <p:cond delay="indefinite"/>
                      </p:stCondLst>
                      <p:childTnLst>
                        <p:par>
                          <p:cTn id="14" fill="hold">
                            <p:stCondLst>
                              <p:cond delay="0"/>
                            </p:stCondLst>
                            <p:childTnLst>
                              <p:par>
                                <p:cTn id="15" presetID="10" presetClass="entr" presetSubtype="0" dur="500"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childTnLst>
                    </p:cTn>
                  </p:par>
                  <p:par>
                    <p:cTn id="18" fill="hold" nodeType="clickPar">
                      <p:stCondLst>
                        <p:cond delay="indefinite"/>
                      </p:stCondLst>
                      <p:childTnLst>
                        <p:par>
                          <p:cTn id="19" fill="hold">
                            <p:stCondLst>
                              <p:cond delay="0"/>
                            </p:stCondLst>
                            <p:childTnLst>
                              <p:par>
                                <p:cTn id="20" presetID="10" presetClass="entr" presetSubtype="0" dur="500" fill="hold" nodeType="click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btfpColumnIndicatorGroup2">
            <a:extLst>
              <a:ext uri="{FF2B5EF4-FFF2-40B4-BE49-F238E27FC236}">
                <a16:creationId xmlns:a16="http://schemas.microsoft.com/office/drawing/2014/main" id="{C6C32EA8-F1DE-76CF-F617-793EFB9D34C4}"/>
              </a:ext>
            </a:extLst>
          </p:cNvPr>
          <p:cNvGrpSpPr/>
          <p:nvPr>
            <p:custDataLst>
              <p:tags r:id="rId2"/>
            </p:custDataLst>
          </p:nvPr>
        </p:nvGrpSpPr>
        <p:grpSpPr>
          <a:xfrm>
            <a:off x="0" y="6926580"/>
            <a:ext cx="12192000" cy="137160"/>
            <a:chOff x="0" y="6926580"/>
            <a:chExt cx="12192000" cy="137160"/>
          </a:xfrm>
        </p:grpSpPr>
        <p:sp>
          <p:nvSpPr>
            <p:cNvPr id="88" name="btfpColumnGapBlocker434638">
              <a:extLst>
                <a:ext uri="{FF2B5EF4-FFF2-40B4-BE49-F238E27FC236}">
                  <a16:creationId xmlns:a16="http://schemas.microsoft.com/office/drawing/2014/main" id="{4C31C090-FDF0-F9BD-65F6-D12278E66B10}"/>
                </a:ext>
              </a:extLst>
            </p:cNvPr>
            <p:cNvSpPr/>
            <p:nvPr>
              <p:custDataLst>
                <p:tags r:id="rId31"/>
              </p:custDataLst>
            </p:nvPr>
          </p:nvSpPr>
          <p:spPr bwMode="gray">
            <a:xfrm>
              <a:off x="11861801" y="6926580"/>
              <a:ext cx="330199"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sp>
          <p:nvSpPr>
            <p:cNvPr id="86" name="btfpColumnGapBlocker242277">
              <a:extLst>
                <a:ext uri="{FF2B5EF4-FFF2-40B4-BE49-F238E27FC236}">
                  <a16:creationId xmlns:a16="http://schemas.microsoft.com/office/drawing/2014/main" id="{EB383729-11E1-FD8C-8F1A-237EB7361EF0}"/>
                </a:ext>
              </a:extLst>
            </p:cNvPr>
            <p:cNvSpPr/>
            <p:nvPr>
              <p:custDataLst>
                <p:tags r:id="rId32"/>
              </p:custDataLst>
            </p:nvPr>
          </p:nvSpPr>
          <p:spPr bwMode="gray">
            <a:xfrm>
              <a:off x="9849776" y="6926580"/>
              <a:ext cx="540545"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84" name="btfpColumnIndicator110321">
              <a:extLst>
                <a:ext uri="{FF2B5EF4-FFF2-40B4-BE49-F238E27FC236}">
                  <a16:creationId xmlns:a16="http://schemas.microsoft.com/office/drawing/2014/main" id="{04C2E435-5298-ED6F-2A73-F3D4AB91247C}"/>
                </a:ext>
              </a:extLst>
            </p:cNvPr>
            <p:cNvCxnSpPr/>
            <p:nvPr>
              <p:custDataLst>
                <p:tags r:id="rId33"/>
              </p:custDataLst>
            </p:nvPr>
          </p:nvCxnSpPr>
          <p:spPr bwMode="gray">
            <a:xfrm flipH="1" flipV="1">
              <a:off x="11861801"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7" name="btfpColumnIndicator672184">
              <a:extLst>
                <a:ext uri="{FF2B5EF4-FFF2-40B4-BE49-F238E27FC236}">
                  <a16:creationId xmlns:a16="http://schemas.microsoft.com/office/drawing/2014/main" id="{D53830E7-F15F-8EA2-8997-F4E4D8ED13BD}"/>
                </a:ext>
              </a:extLst>
            </p:cNvPr>
            <p:cNvCxnSpPr/>
            <p:nvPr>
              <p:custDataLst>
                <p:tags r:id="rId34"/>
              </p:custDataLst>
            </p:nvPr>
          </p:nvCxnSpPr>
          <p:spPr bwMode="gray">
            <a:xfrm flipH="1" flipV="1">
              <a:off x="10390321"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5" name="btfpColumnGapBlocker693411">
              <a:extLst>
                <a:ext uri="{FF2B5EF4-FFF2-40B4-BE49-F238E27FC236}">
                  <a16:creationId xmlns:a16="http://schemas.microsoft.com/office/drawing/2014/main" id="{205C2B58-9977-FB54-E51A-ACB84AE8867F}"/>
                </a:ext>
              </a:extLst>
            </p:cNvPr>
            <p:cNvSpPr/>
            <p:nvPr>
              <p:custDataLst>
                <p:tags r:id="rId35"/>
              </p:custDataLst>
            </p:nvPr>
          </p:nvSpPr>
          <p:spPr bwMode="gray">
            <a:xfrm>
              <a:off x="7837753" y="6926580"/>
              <a:ext cx="540543"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63" name="btfpColumnIndicator698537">
              <a:extLst>
                <a:ext uri="{FF2B5EF4-FFF2-40B4-BE49-F238E27FC236}">
                  <a16:creationId xmlns:a16="http://schemas.microsoft.com/office/drawing/2014/main" id="{F03E22E9-35EC-3521-0B27-71536BD3155F}"/>
                </a:ext>
              </a:extLst>
            </p:cNvPr>
            <p:cNvCxnSpPr/>
            <p:nvPr>
              <p:custDataLst>
                <p:tags r:id="rId36"/>
              </p:custDataLst>
            </p:nvPr>
          </p:nvCxnSpPr>
          <p:spPr bwMode="gray">
            <a:xfrm flipH="1" flipV="1">
              <a:off x="9849776"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1" name="btfpColumnIndicator981010">
              <a:extLst>
                <a:ext uri="{FF2B5EF4-FFF2-40B4-BE49-F238E27FC236}">
                  <a16:creationId xmlns:a16="http://schemas.microsoft.com/office/drawing/2014/main" id="{6DC36ED1-6F18-5026-EEC0-3057B6F8C389}"/>
                </a:ext>
              </a:extLst>
            </p:cNvPr>
            <p:cNvCxnSpPr/>
            <p:nvPr>
              <p:custDataLst>
                <p:tags r:id="rId37"/>
              </p:custDataLst>
            </p:nvPr>
          </p:nvCxnSpPr>
          <p:spPr bwMode="gray">
            <a:xfrm flipH="1" flipV="1">
              <a:off x="8378296"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9" name="btfpColumnGapBlocker217697">
              <a:extLst>
                <a:ext uri="{FF2B5EF4-FFF2-40B4-BE49-F238E27FC236}">
                  <a16:creationId xmlns:a16="http://schemas.microsoft.com/office/drawing/2014/main" id="{F5AD4643-E534-71C4-F0D3-8FD7B72D0359}"/>
                </a:ext>
              </a:extLst>
            </p:cNvPr>
            <p:cNvSpPr/>
            <p:nvPr>
              <p:custDataLst>
                <p:tags r:id="rId38"/>
              </p:custDataLst>
            </p:nvPr>
          </p:nvSpPr>
          <p:spPr bwMode="gray">
            <a:xfrm>
              <a:off x="5825729" y="6926580"/>
              <a:ext cx="540543"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57" name="btfpColumnIndicator125909">
              <a:extLst>
                <a:ext uri="{FF2B5EF4-FFF2-40B4-BE49-F238E27FC236}">
                  <a16:creationId xmlns:a16="http://schemas.microsoft.com/office/drawing/2014/main" id="{F6306155-6823-E855-4673-02058331764D}"/>
                </a:ext>
              </a:extLst>
            </p:cNvPr>
            <p:cNvCxnSpPr/>
            <p:nvPr>
              <p:custDataLst>
                <p:tags r:id="rId39"/>
              </p:custDataLst>
            </p:nvPr>
          </p:nvCxnSpPr>
          <p:spPr bwMode="gray">
            <a:xfrm flipH="1" flipV="1">
              <a:off x="7837753"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5" name="btfpColumnIndicator308438">
              <a:extLst>
                <a:ext uri="{FF2B5EF4-FFF2-40B4-BE49-F238E27FC236}">
                  <a16:creationId xmlns:a16="http://schemas.microsoft.com/office/drawing/2014/main" id="{F439DBBB-A30D-87C6-C861-4E4E68FFD1E9}"/>
                </a:ext>
              </a:extLst>
            </p:cNvPr>
            <p:cNvCxnSpPr/>
            <p:nvPr>
              <p:custDataLst>
                <p:tags r:id="rId40"/>
              </p:custDataLst>
            </p:nvPr>
          </p:nvCxnSpPr>
          <p:spPr bwMode="gray">
            <a:xfrm flipH="1" flipV="1">
              <a:off x="6366272"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3" name="btfpColumnGapBlocker654198">
              <a:extLst>
                <a:ext uri="{FF2B5EF4-FFF2-40B4-BE49-F238E27FC236}">
                  <a16:creationId xmlns:a16="http://schemas.microsoft.com/office/drawing/2014/main" id="{67E3BD65-65E9-37DA-D674-908E9A9DB631}"/>
                </a:ext>
              </a:extLst>
            </p:cNvPr>
            <p:cNvSpPr/>
            <p:nvPr>
              <p:custDataLst>
                <p:tags r:id="rId41"/>
              </p:custDataLst>
            </p:nvPr>
          </p:nvSpPr>
          <p:spPr bwMode="gray">
            <a:xfrm>
              <a:off x="3813704" y="6926580"/>
              <a:ext cx="540544"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51" name="btfpColumnIndicator671201">
              <a:extLst>
                <a:ext uri="{FF2B5EF4-FFF2-40B4-BE49-F238E27FC236}">
                  <a16:creationId xmlns:a16="http://schemas.microsoft.com/office/drawing/2014/main" id="{8FE00E95-33DC-F9E7-E096-8675ADFA2FDB}"/>
                </a:ext>
              </a:extLst>
            </p:cNvPr>
            <p:cNvCxnSpPr/>
            <p:nvPr>
              <p:custDataLst>
                <p:tags r:id="rId42"/>
              </p:custDataLst>
            </p:nvPr>
          </p:nvCxnSpPr>
          <p:spPr bwMode="gray">
            <a:xfrm flipH="1" flipV="1">
              <a:off x="5825729"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9" name="btfpColumnIndicator447088">
              <a:extLst>
                <a:ext uri="{FF2B5EF4-FFF2-40B4-BE49-F238E27FC236}">
                  <a16:creationId xmlns:a16="http://schemas.microsoft.com/office/drawing/2014/main" id="{897D8DC1-3FDC-1FE0-A174-599F82D4CEDF}"/>
                </a:ext>
              </a:extLst>
            </p:cNvPr>
            <p:cNvCxnSpPr/>
            <p:nvPr>
              <p:custDataLst>
                <p:tags r:id="rId43"/>
              </p:custDataLst>
            </p:nvPr>
          </p:nvCxnSpPr>
          <p:spPr bwMode="gray">
            <a:xfrm flipH="1" flipV="1">
              <a:off x="4354248"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7" name="btfpColumnGapBlocker113207">
              <a:extLst>
                <a:ext uri="{FF2B5EF4-FFF2-40B4-BE49-F238E27FC236}">
                  <a16:creationId xmlns:a16="http://schemas.microsoft.com/office/drawing/2014/main" id="{2ED40E6E-7B30-BD20-3F65-94CD08C97E96}"/>
                </a:ext>
              </a:extLst>
            </p:cNvPr>
            <p:cNvSpPr/>
            <p:nvPr>
              <p:custDataLst>
                <p:tags r:id="rId44"/>
              </p:custDataLst>
            </p:nvPr>
          </p:nvSpPr>
          <p:spPr bwMode="gray">
            <a:xfrm>
              <a:off x="1801680" y="6926580"/>
              <a:ext cx="540544"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45" name="btfpColumnIndicator931434">
              <a:extLst>
                <a:ext uri="{FF2B5EF4-FFF2-40B4-BE49-F238E27FC236}">
                  <a16:creationId xmlns:a16="http://schemas.microsoft.com/office/drawing/2014/main" id="{2489F2A3-9233-5BAC-77F3-9259A0C81D94}"/>
                </a:ext>
              </a:extLst>
            </p:cNvPr>
            <p:cNvCxnSpPr/>
            <p:nvPr>
              <p:custDataLst>
                <p:tags r:id="rId45"/>
              </p:custDataLst>
            </p:nvPr>
          </p:nvCxnSpPr>
          <p:spPr bwMode="gray">
            <a:xfrm flipH="1" flipV="1">
              <a:off x="3813704"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3" name="btfpColumnIndicator594651">
              <a:extLst>
                <a:ext uri="{FF2B5EF4-FFF2-40B4-BE49-F238E27FC236}">
                  <a16:creationId xmlns:a16="http://schemas.microsoft.com/office/drawing/2014/main" id="{9D98D239-847A-D827-8FB7-4491E0E23DAF}"/>
                </a:ext>
              </a:extLst>
            </p:cNvPr>
            <p:cNvCxnSpPr/>
            <p:nvPr>
              <p:custDataLst>
                <p:tags r:id="rId46"/>
              </p:custDataLst>
            </p:nvPr>
          </p:nvCxnSpPr>
          <p:spPr bwMode="gray">
            <a:xfrm flipH="1" flipV="1">
              <a:off x="2342224"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1" name="btfpColumnGapBlocker919583">
              <a:extLst>
                <a:ext uri="{FF2B5EF4-FFF2-40B4-BE49-F238E27FC236}">
                  <a16:creationId xmlns:a16="http://schemas.microsoft.com/office/drawing/2014/main" id="{F0CAE4DC-2060-EAE7-18D5-21540FB477BE}"/>
                </a:ext>
              </a:extLst>
            </p:cNvPr>
            <p:cNvSpPr/>
            <p:nvPr>
              <p:custDataLst>
                <p:tags r:id="rId47"/>
              </p:custDataLst>
            </p:nvPr>
          </p:nvSpPr>
          <p:spPr bwMode="gray">
            <a:xfrm>
              <a:off x="0" y="692658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39" name="btfpColumnIndicator584705">
              <a:extLst>
                <a:ext uri="{FF2B5EF4-FFF2-40B4-BE49-F238E27FC236}">
                  <a16:creationId xmlns:a16="http://schemas.microsoft.com/office/drawing/2014/main" id="{7F6148CC-43F1-F8F1-4067-9396FB4F200C}"/>
                </a:ext>
              </a:extLst>
            </p:cNvPr>
            <p:cNvCxnSpPr/>
            <p:nvPr>
              <p:custDataLst>
                <p:tags r:id="rId48"/>
              </p:custDataLst>
            </p:nvPr>
          </p:nvCxnSpPr>
          <p:spPr bwMode="gray">
            <a:xfrm flipH="1" flipV="1">
              <a:off x="1801680"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282682">
              <a:extLst>
                <a:ext uri="{FF2B5EF4-FFF2-40B4-BE49-F238E27FC236}">
                  <a16:creationId xmlns:a16="http://schemas.microsoft.com/office/drawing/2014/main" id="{A82970C6-9A3A-F90F-F273-1DF9F9055920}"/>
                </a:ext>
              </a:extLst>
            </p:cNvPr>
            <p:cNvCxnSpPr/>
            <p:nvPr>
              <p:custDataLst>
                <p:tags r:id="rId49"/>
              </p:custDataLst>
            </p:nvPr>
          </p:nvCxnSpPr>
          <p:spPr bwMode="gray">
            <a:xfrm flipH="1" flipV="1">
              <a:off x="330200"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89" name="btfpColumnIndicatorGroup1">
            <a:extLst>
              <a:ext uri="{FF2B5EF4-FFF2-40B4-BE49-F238E27FC236}">
                <a16:creationId xmlns:a16="http://schemas.microsoft.com/office/drawing/2014/main" id="{A3B792D8-F42D-02B8-0E3C-E1775879E350}"/>
              </a:ext>
            </a:extLst>
          </p:cNvPr>
          <p:cNvGrpSpPr/>
          <p:nvPr>
            <p:custDataLst>
              <p:tags r:id="rId3"/>
            </p:custDataLst>
          </p:nvPr>
        </p:nvGrpSpPr>
        <p:grpSpPr>
          <a:xfrm>
            <a:off x="0" y="-205740"/>
            <a:ext cx="12192000" cy="137160"/>
            <a:chOff x="0" y="-205740"/>
            <a:chExt cx="12192000" cy="137160"/>
          </a:xfrm>
        </p:grpSpPr>
        <p:sp>
          <p:nvSpPr>
            <p:cNvPr id="87" name="btfpColumnGapBlocker731494">
              <a:extLst>
                <a:ext uri="{FF2B5EF4-FFF2-40B4-BE49-F238E27FC236}">
                  <a16:creationId xmlns:a16="http://schemas.microsoft.com/office/drawing/2014/main" id="{0C7C6A3E-237A-A609-895A-4FB9ED2655F3}"/>
                </a:ext>
              </a:extLst>
            </p:cNvPr>
            <p:cNvSpPr/>
            <p:nvPr>
              <p:custDataLst>
                <p:tags r:id="rId12"/>
              </p:custDataLst>
            </p:nvPr>
          </p:nvSpPr>
          <p:spPr bwMode="gray">
            <a:xfrm>
              <a:off x="11861801" y="-205740"/>
              <a:ext cx="330199"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sp>
          <p:nvSpPr>
            <p:cNvPr id="85" name="btfpColumnGapBlocker815635">
              <a:extLst>
                <a:ext uri="{FF2B5EF4-FFF2-40B4-BE49-F238E27FC236}">
                  <a16:creationId xmlns:a16="http://schemas.microsoft.com/office/drawing/2014/main" id="{3F2D5ADF-38AA-4164-3B59-EDDA0DD616A5}"/>
                </a:ext>
              </a:extLst>
            </p:cNvPr>
            <p:cNvSpPr/>
            <p:nvPr>
              <p:custDataLst>
                <p:tags r:id="rId13"/>
              </p:custDataLst>
            </p:nvPr>
          </p:nvSpPr>
          <p:spPr bwMode="gray">
            <a:xfrm>
              <a:off x="9849776" y="-205740"/>
              <a:ext cx="540545"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68" name="btfpColumnIndicator743746">
              <a:extLst>
                <a:ext uri="{FF2B5EF4-FFF2-40B4-BE49-F238E27FC236}">
                  <a16:creationId xmlns:a16="http://schemas.microsoft.com/office/drawing/2014/main" id="{BDADA808-1C85-9B7B-E6A4-E7D4D8A46EBC}"/>
                </a:ext>
              </a:extLst>
            </p:cNvPr>
            <p:cNvCxnSpPr/>
            <p:nvPr>
              <p:custDataLst>
                <p:tags r:id="rId14"/>
              </p:custDataLst>
            </p:nvPr>
          </p:nvCxnSpPr>
          <p:spPr bwMode="gray">
            <a:xfrm flipH="1" flipV="1">
              <a:off x="11861801"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6" name="btfpColumnIndicator235949">
              <a:extLst>
                <a:ext uri="{FF2B5EF4-FFF2-40B4-BE49-F238E27FC236}">
                  <a16:creationId xmlns:a16="http://schemas.microsoft.com/office/drawing/2014/main" id="{F7272E14-46DD-0268-7BAF-84EEFA9CA67B}"/>
                </a:ext>
              </a:extLst>
            </p:cNvPr>
            <p:cNvCxnSpPr/>
            <p:nvPr>
              <p:custDataLst>
                <p:tags r:id="rId15"/>
              </p:custDataLst>
            </p:nvPr>
          </p:nvCxnSpPr>
          <p:spPr bwMode="gray">
            <a:xfrm flipH="1" flipV="1">
              <a:off x="10390321"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4" name="btfpColumnGapBlocker382861">
              <a:extLst>
                <a:ext uri="{FF2B5EF4-FFF2-40B4-BE49-F238E27FC236}">
                  <a16:creationId xmlns:a16="http://schemas.microsoft.com/office/drawing/2014/main" id="{2E2B328D-1794-1087-6855-0089E3367D4D}"/>
                </a:ext>
              </a:extLst>
            </p:cNvPr>
            <p:cNvSpPr/>
            <p:nvPr>
              <p:custDataLst>
                <p:tags r:id="rId16"/>
              </p:custDataLst>
            </p:nvPr>
          </p:nvSpPr>
          <p:spPr bwMode="gray">
            <a:xfrm>
              <a:off x="7837753" y="-205740"/>
              <a:ext cx="540543"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62" name="btfpColumnIndicator432764">
              <a:extLst>
                <a:ext uri="{FF2B5EF4-FFF2-40B4-BE49-F238E27FC236}">
                  <a16:creationId xmlns:a16="http://schemas.microsoft.com/office/drawing/2014/main" id="{A3950AC2-CFCB-9712-B2F6-AA60BFFC42E7}"/>
                </a:ext>
              </a:extLst>
            </p:cNvPr>
            <p:cNvCxnSpPr/>
            <p:nvPr>
              <p:custDataLst>
                <p:tags r:id="rId17"/>
              </p:custDataLst>
            </p:nvPr>
          </p:nvCxnSpPr>
          <p:spPr bwMode="gray">
            <a:xfrm flipH="1" flipV="1">
              <a:off x="9849776"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0" name="btfpColumnIndicator741173">
              <a:extLst>
                <a:ext uri="{FF2B5EF4-FFF2-40B4-BE49-F238E27FC236}">
                  <a16:creationId xmlns:a16="http://schemas.microsoft.com/office/drawing/2014/main" id="{4D4641C2-1E02-78F6-9C74-D1D40658F201}"/>
                </a:ext>
              </a:extLst>
            </p:cNvPr>
            <p:cNvCxnSpPr/>
            <p:nvPr>
              <p:custDataLst>
                <p:tags r:id="rId18"/>
              </p:custDataLst>
            </p:nvPr>
          </p:nvCxnSpPr>
          <p:spPr bwMode="gray">
            <a:xfrm flipH="1" flipV="1">
              <a:off x="8378296"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8" name="btfpColumnGapBlocker609527">
              <a:extLst>
                <a:ext uri="{FF2B5EF4-FFF2-40B4-BE49-F238E27FC236}">
                  <a16:creationId xmlns:a16="http://schemas.microsoft.com/office/drawing/2014/main" id="{CB30D570-278B-EC8F-FA84-B8367B983A7F}"/>
                </a:ext>
              </a:extLst>
            </p:cNvPr>
            <p:cNvSpPr/>
            <p:nvPr>
              <p:custDataLst>
                <p:tags r:id="rId19"/>
              </p:custDataLst>
            </p:nvPr>
          </p:nvSpPr>
          <p:spPr bwMode="gray">
            <a:xfrm>
              <a:off x="5825729" y="-205740"/>
              <a:ext cx="540543"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56" name="btfpColumnIndicator408211">
              <a:extLst>
                <a:ext uri="{FF2B5EF4-FFF2-40B4-BE49-F238E27FC236}">
                  <a16:creationId xmlns:a16="http://schemas.microsoft.com/office/drawing/2014/main" id="{831431A8-5DE0-A1F9-4F73-5A598C4B6F97}"/>
                </a:ext>
              </a:extLst>
            </p:cNvPr>
            <p:cNvCxnSpPr/>
            <p:nvPr>
              <p:custDataLst>
                <p:tags r:id="rId20"/>
              </p:custDataLst>
            </p:nvPr>
          </p:nvCxnSpPr>
          <p:spPr bwMode="gray">
            <a:xfrm flipH="1" flipV="1">
              <a:off x="7837753"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4" name="btfpColumnIndicator627454">
              <a:extLst>
                <a:ext uri="{FF2B5EF4-FFF2-40B4-BE49-F238E27FC236}">
                  <a16:creationId xmlns:a16="http://schemas.microsoft.com/office/drawing/2014/main" id="{0EE69A56-3DA5-F6C0-CA05-E97C2434C077}"/>
                </a:ext>
              </a:extLst>
            </p:cNvPr>
            <p:cNvCxnSpPr/>
            <p:nvPr>
              <p:custDataLst>
                <p:tags r:id="rId21"/>
              </p:custDataLst>
            </p:nvPr>
          </p:nvCxnSpPr>
          <p:spPr bwMode="gray">
            <a:xfrm flipH="1" flipV="1">
              <a:off x="6366272"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2" name="btfpColumnGapBlocker994036">
              <a:extLst>
                <a:ext uri="{FF2B5EF4-FFF2-40B4-BE49-F238E27FC236}">
                  <a16:creationId xmlns:a16="http://schemas.microsoft.com/office/drawing/2014/main" id="{A2417BFD-253C-EB3A-A8DF-C9327BAD1C8C}"/>
                </a:ext>
              </a:extLst>
            </p:cNvPr>
            <p:cNvSpPr/>
            <p:nvPr>
              <p:custDataLst>
                <p:tags r:id="rId22"/>
              </p:custDataLst>
            </p:nvPr>
          </p:nvSpPr>
          <p:spPr bwMode="gray">
            <a:xfrm>
              <a:off x="3813704" y="-205740"/>
              <a:ext cx="540544"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50" name="btfpColumnIndicator930930">
              <a:extLst>
                <a:ext uri="{FF2B5EF4-FFF2-40B4-BE49-F238E27FC236}">
                  <a16:creationId xmlns:a16="http://schemas.microsoft.com/office/drawing/2014/main" id="{125879B4-9ED2-42B2-D126-AFBD358A5C60}"/>
                </a:ext>
              </a:extLst>
            </p:cNvPr>
            <p:cNvCxnSpPr/>
            <p:nvPr>
              <p:custDataLst>
                <p:tags r:id="rId23"/>
              </p:custDataLst>
            </p:nvPr>
          </p:nvCxnSpPr>
          <p:spPr bwMode="gray">
            <a:xfrm flipH="1" flipV="1">
              <a:off x="5825729"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8" name="btfpColumnIndicator667760">
              <a:extLst>
                <a:ext uri="{FF2B5EF4-FFF2-40B4-BE49-F238E27FC236}">
                  <a16:creationId xmlns:a16="http://schemas.microsoft.com/office/drawing/2014/main" id="{E54FC158-C71C-54E3-6705-95606897F11B}"/>
                </a:ext>
              </a:extLst>
            </p:cNvPr>
            <p:cNvCxnSpPr/>
            <p:nvPr>
              <p:custDataLst>
                <p:tags r:id="rId24"/>
              </p:custDataLst>
            </p:nvPr>
          </p:nvCxnSpPr>
          <p:spPr bwMode="gray">
            <a:xfrm flipH="1" flipV="1">
              <a:off x="4354248"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6" name="btfpColumnGapBlocker641980">
              <a:extLst>
                <a:ext uri="{FF2B5EF4-FFF2-40B4-BE49-F238E27FC236}">
                  <a16:creationId xmlns:a16="http://schemas.microsoft.com/office/drawing/2014/main" id="{4FC0F697-72F9-A9C2-C743-7249691251D3}"/>
                </a:ext>
              </a:extLst>
            </p:cNvPr>
            <p:cNvSpPr/>
            <p:nvPr>
              <p:custDataLst>
                <p:tags r:id="rId25"/>
              </p:custDataLst>
            </p:nvPr>
          </p:nvSpPr>
          <p:spPr bwMode="gray">
            <a:xfrm>
              <a:off x="1801680" y="-205740"/>
              <a:ext cx="540544"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44" name="btfpColumnIndicator329595">
              <a:extLst>
                <a:ext uri="{FF2B5EF4-FFF2-40B4-BE49-F238E27FC236}">
                  <a16:creationId xmlns:a16="http://schemas.microsoft.com/office/drawing/2014/main" id="{7EE91807-BDE1-4F6D-AFD9-6B35190FECB5}"/>
                </a:ext>
              </a:extLst>
            </p:cNvPr>
            <p:cNvCxnSpPr/>
            <p:nvPr>
              <p:custDataLst>
                <p:tags r:id="rId26"/>
              </p:custDataLst>
            </p:nvPr>
          </p:nvCxnSpPr>
          <p:spPr bwMode="gray">
            <a:xfrm flipH="1" flipV="1">
              <a:off x="3813704"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2" name="btfpColumnIndicator746861">
              <a:extLst>
                <a:ext uri="{FF2B5EF4-FFF2-40B4-BE49-F238E27FC236}">
                  <a16:creationId xmlns:a16="http://schemas.microsoft.com/office/drawing/2014/main" id="{C66D91F0-D84D-03B6-4332-457FEE61F3A9}"/>
                </a:ext>
              </a:extLst>
            </p:cNvPr>
            <p:cNvCxnSpPr/>
            <p:nvPr>
              <p:custDataLst>
                <p:tags r:id="rId27"/>
              </p:custDataLst>
            </p:nvPr>
          </p:nvCxnSpPr>
          <p:spPr bwMode="gray">
            <a:xfrm flipH="1" flipV="1">
              <a:off x="2342224"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0" name="btfpColumnGapBlocker123227">
              <a:extLst>
                <a:ext uri="{FF2B5EF4-FFF2-40B4-BE49-F238E27FC236}">
                  <a16:creationId xmlns:a16="http://schemas.microsoft.com/office/drawing/2014/main" id="{9892CDA9-D535-D453-8A22-ECB1B8FEFC0B}"/>
                </a:ext>
              </a:extLst>
            </p:cNvPr>
            <p:cNvSpPr/>
            <p:nvPr>
              <p:custDataLst>
                <p:tags r:id="rId28"/>
              </p:custDataLst>
            </p:nvPr>
          </p:nvSpPr>
          <p:spPr bwMode="gray">
            <a:xfrm>
              <a:off x="0" y="-20574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38" name="btfpColumnIndicator550956">
              <a:extLst>
                <a:ext uri="{FF2B5EF4-FFF2-40B4-BE49-F238E27FC236}">
                  <a16:creationId xmlns:a16="http://schemas.microsoft.com/office/drawing/2014/main" id="{E4DB47F9-DAA2-7F30-ECEE-B0A1489400F9}"/>
                </a:ext>
              </a:extLst>
            </p:cNvPr>
            <p:cNvCxnSpPr/>
            <p:nvPr>
              <p:custDataLst>
                <p:tags r:id="rId29"/>
              </p:custDataLst>
            </p:nvPr>
          </p:nvCxnSpPr>
          <p:spPr bwMode="gray">
            <a:xfrm flipH="1" flipV="1">
              <a:off x="1801680"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768954">
              <a:extLst>
                <a:ext uri="{FF2B5EF4-FFF2-40B4-BE49-F238E27FC236}">
                  <a16:creationId xmlns:a16="http://schemas.microsoft.com/office/drawing/2014/main" id="{70FB9062-0D64-6DEA-A41E-2DE068594CF2}"/>
                </a:ext>
              </a:extLst>
            </p:cNvPr>
            <p:cNvCxnSpPr/>
            <p:nvPr>
              <p:custDataLst>
                <p:tags r:id="rId30"/>
              </p:custDataLst>
            </p:nvPr>
          </p:nvCxnSpPr>
          <p:spPr bwMode="gray">
            <a:xfrm flipH="1" flipV="1">
              <a:off x="330200"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pic>
        <p:nvPicPr>
          <p:cNvPr id="69" name="btfpPhotoGeneric969687" descr="A picture containing curtain&#10;&#10;Description automatically generated">
            <a:extLst>
              <a:ext uri="{FF2B5EF4-FFF2-40B4-BE49-F238E27FC236}">
                <a16:creationId xmlns:a16="http://schemas.microsoft.com/office/drawing/2014/main" id="{0452D396-5C89-419C-B3D4-42928E6B1E8A}"/>
              </a:ext>
            </a:extLst>
          </p:cNvPr>
          <p:cNvPicPr>
            <a:picLocks noChangeAspect="1"/>
          </p:cNvPicPr>
          <p:nvPr>
            <p:custDataLst>
              <p:tags r:id="rId4"/>
            </p:custDataLst>
          </p:nvPr>
        </p:nvPicPr>
        <p:blipFill>
          <a:blip r:embed="rId52">
            <a:extLst>
              <a:ext uri="{28A0092B-C50C-407E-A947-70E740481C1C}">
                <a14:useLocalDpi xmlns:a14="http://schemas.microsoft.com/office/drawing/2010/main" val="0"/>
              </a:ext>
            </a:extLst>
          </a:blip>
          <a:stretch>
            <a:fillRect/>
          </a:stretch>
        </p:blipFill>
        <p:spPr>
          <a:xfrm>
            <a:off x="48" y="-63"/>
            <a:ext cx="12192000" cy="6851904"/>
          </a:xfrm>
          <a:prstGeom prst="rect">
            <a:avLst/>
          </a:prstGeom>
        </p:spPr>
      </p:pic>
      <p:sp>
        <p:nvSpPr>
          <p:cNvPr id="21" name="Rectangle 20">
            <a:extLst>
              <a:ext uri="{FF2B5EF4-FFF2-40B4-BE49-F238E27FC236}">
                <a16:creationId xmlns:a16="http://schemas.microsoft.com/office/drawing/2014/main" id="{751A1445-4EDE-8CE9-EAFD-82FB012CFD62}"/>
              </a:ext>
            </a:extLst>
          </p:cNvPr>
          <p:cNvSpPr/>
          <p:nvPr>
            <p:custDataLst>
              <p:tags r:id="rId5"/>
            </p:custDataLst>
          </p:nvPr>
        </p:nvSpPr>
        <p:spPr bwMode="gray">
          <a:xfrm>
            <a:off x="0" y="0"/>
            <a:ext cx="12191944" cy="6851841"/>
          </a:xfrm>
          <a:prstGeom prst="rect">
            <a:avLst/>
          </a:prstGeom>
          <a:gradFill>
            <a:gsLst>
              <a:gs pos="0">
                <a:srgbClr val="341428">
                  <a:alpha val="76000"/>
                </a:srgbClr>
              </a:gs>
              <a:gs pos="100000">
                <a:schemeClr val="tx1">
                  <a:alpha val="0"/>
                </a:schemeClr>
              </a:gs>
            </a:gsLst>
            <a:lin ang="0" scaled="0"/>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 name="Rectangle 10">
            <a:extLst>
              <a:ext uri="{FF2B5EF4-FFF2-40B4-BE49-F238E27FC236}">
                <a16:creationId xmlns:a16="http://schemas.microsoft.com/office/drawing/2014/main" id="{74204BD9-C25E-501C-7175-0D7232D7FACA}"/>
              </a:ext>
            </a:extLst>
          </p:cNvPr>
          <p:cNvSpPr/>
          <p:nvPr>
            <p:custDataLst>
              <p:tags r:id="rId6"/>
            </p:custDataLst>
          </p:nvPr>
        </p:nvSpPr>
        <p:spPr bwMode="gray">
          <a:xfrm>
            <a:off x="0" y="-2632"/>
            <a:ext cx="12192000" cy="1271045"/>
          </a:xfrm>
          <a:prstGeom prst="rect">
            <a:avLst/>
          </a:prstGeom>
          <a:solidFill>
            <a:schemeClr val="tx1">
              <a:alpha val="50000"/>
            </a:schemeClr>
          </a:solidFill>
          <a:ln w="222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36000" rIns="216000" bIns="36000" numCol="1" spcCol="0" rtlCol="0" fromWordArt="0" anchor="ctr" anchorCtr="0" forceAA="0" compatLnSpc="1">
            <a:prstTxWarp prst="textNoShape">
              <a:avLst/>
            </a:prstTxWarp>
            <a:noAutofit/>
          </a:bodyPr>
          <a:lstStyle/>
          <a:p>
            <a:pPr marL="0" indent="0" algn="ctr">
              <a:buNone/>
            </a:pPr>
            <a:endParaRPr lang="en-GB" sz="1800">
              <a:solidFill>
                <a:schemeClr val="accent3">
                  <a:lumMod val="40000"/>
                  <a:lumOff val="60000"/>
                </a:schemeClr>
              </a:solidFill>
            </a:endParaRPr>
          </a:p>
        </p:txBody>
      </p:sp>
      <p:sp>
        <p:nvSpPr>
          <p:cNvPr id="2" name="btfpLayoutConfig" hidden="1"/>
          <p:cNvSpPr txBox="1"/>
          <p:nvPr>
            <p:custDataLst>
              <p:tags r:id="rId7"/>
            </p:custDataLst>
          </p:nvPr>
        </p:nvSpPr>
        <p:spPr bwMode="gray">
          <a:xfrm>
            <a:off x="12700" y="12700"/>
            <a:ext cx="870999" cy="88092"/>
          </a:xfrm>
          <a:prstGeom prst="rect">
            <a:avLst/>
          </a:prstGeom>
          <a:noFill/>
        </p:spPr>
        <p:txBody>
          <a:bodyPr vert="horz" wrap="none" lIns="36000" tIns="36000" rIns="36000" bIns="36000" rtlCol="0">
            <a:spAutoFit/>
          </a:bodyPr>
          <a:lstStyle/>
          <a:p>
            <a:pPr marL="0" marR="0" lvl="0" indent="0" algn="l" defTabSz="711200" rtl="0" eaLnBrk="1" fontAlgn="auto" latinLnBrk="0" hangingPunct="1">
              <a:lnSpc>
                <a:spcPct val="100000"/>
              </a:lnSpc>
              <a:spcBef>
                <a:spcPts val="1200"/>
              </a:spcBef>
              <a:spcAft>
                <a:spcPct val="0"/>
              </a:spcAft>
              <a:buClrTx/>
              <a:buSzTx/>
              <a:buFontTx/>
              <a:buNone/>
              <a:defRPr/>
            </a:pPr>
            <a:r>
              <a:rPr kumimoji="0" lang="en-US" sz="100" b="0" i="0" u="none" strike="noStrike" kern="1200" cap="none" spc="0" normalizeH="0" baseline="0" noProof="0">
                <a:ln>
                  <a:noFill/>
                </a:ln>
                <a:solidFill>
                  <a:srgbClr val="FFFFFF">
                    <a:alpha val="0"/>
                  </a:srgbClr>
                </a:solidFill>
                <a:effectLst/>
                <a:uLnTx/>
                <a:uFillTx/>
                <a:latin typeface="Arial"/>
                <a:ea typeface="+mn-ea"/>
                <a:cs typeface="+mn-cs"/>
              </a:rPr>
              <a:t>overall_0_132011176315479915 columns_3_132520266039573175 3_1_132011176286867435 4_0_132520266175197694 21_0_132520267728240593 </a:t>
            </a:r>
          </a:p>
        </p:txBody>
      </p:sp>
      <p:sp>
        <p:nvSpPr>
          <p:cNvPr id="10" name="Title 1">
            <a:extLst>
              <a:ext uri="{FF2B5EF4-FFF2-40B4-BE49-F238E27FC236}">
                <a16:creationId xmlns:a16="http://schemas.microsoft.com/office/drawing/2014/main" id="{FF22C02F-493E-B460-957C-D538D4221C0C}"/>
              </a:ext>
            </a:extLst>
          </p:cNvPr>
          <p:cNvSpPr txBox="1"/>
          <p:nvPr>
            <p:custDataLst>
              <p:tags r:id="rId8"/>
            </p:custDataLst>
          </p:nvPr>
        </p:nvSpPr>
        <p:spPr>
          <a:xfrm>
            <a:off x="467617" y="193541"/>
            <a:ext cx="11355683" cy="1330238"/>
          </a:xfrm>
          <a:prstGeom prst="rect">
            <a:avLst/>
          </a:prstGeom>
        </p:spPr>
        <p:txBody>
          <a:bodyPr vert="horz" lIns="36000" tIns="36000" rIns="36000" bIns="72000" rtlCol="0" anchor="t">
            <a:noAutofit/>
          </a:bodyPr>
          <a:lstStyle>
            <a:lvl1pPr algn="l" defTabSz="711200" rtl="0" eaLnBrk="1" latinLnBrk="0" hangingPunct="1">
              <a:lnSpc>
                <a:spcPct val="100000"/>
              </a:lnSpc>
              <a:spcBef>
                <a:spcPct val="0"/>
              </a:spcBef>
              <a:buNone/>
              <a:defRPr sz="3000" kern="120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ct val="0"/>
              </a:spcAft>
              <a:buClrTx/>
              <a:buSzTx/>
              <a:buFontTx/>
              <a:buNone/>
              <a:defRPr/>
            </a:pPr>
            <a:r>
              <a:rPr kumimoji="0" lang="en-GB" sz="2800" b="1" i="0" u="none" strike="noStrike" kern="1200" cap="none" spc="0" normalizeH="0" baseline="0" noProof="0">
                <a:ln>
                  <a:noFill/>
                </a:ln>
                <a:solidFill>
                  <a:schemeClr val="accent3"/>
                </a:solidFill>
                <a:effectLst/>
                <a:uLnTx/>
                <a:uFillTx/>
                <a:latin typeface="Arial"/>
                <a:ea typeface="+mj-ea"/>
                <a:cs typeface="+mj-cs"/>
              </a:rPr>
              <a:t>Current status of global AI regulation: </a:t>
            </a:r>
            <a:br>
              <a:rPr kumimoji="0" lang="en-GB" sz="2800" b="1" i="0" u="none" strike="noStrike" kern="1200" cap="none" spc="0" normalizeH="0" baseline="0" noProof="0">
                <a:ln>
                  <a:noFill/>
                </a:ln>
                <a:solidFill>
                  <a:schemeClr val="accent3"/>
                </a:solidFill>
                <a:effectLst/>
                <a:uLnTx/>
                <a:uFillTx/>
                <a:latin typeface="Arial"/>
                <a:ea typeface="+mj-ea"/>
                <a:cs typeface="+mj-cs"/>
              </a:rPr>
            </a:br>
            <a:r>
              <a:rPr kumimoji="0" lang="en-GB" sz="2800" i="0" u="none" strike="noStrike" kern="1200" cap="none" spc="0" normalizeH="0" baseline="0" noProof="0">
                <a:ln>
                  <a:noFill/>
                </a:ln>
                <a:solidFill>
                  <a:schemeClr val="bg1"/>
                </a:solidFill>
                <a:effectLst/>
                <a:uLnTx/>
                <a:uFillTx/>
                <a:latin typeface="Arial"/>
                <a:ea typeface="+mj-ea"/>
                <a:cs typeface="+mj-cs"/>
              </a:rPr>
              <a:t>Patchy, complicated, divergent, incomplete</a:t>
            </a:r>
          </a:p>
        </p:txBody>
      </p:sp>
      <p:sp>
        <p:nvSpPr>
          <p:cNvPr id="13" name="TextBox 12">
            <a:extLst>
              <a:ext uri="{FF2B5EF4-FFF2-40B4-BE49-F238E27FC236}">
                <a16:creationId xmlns:a16="http://schemas.microsoft.com/office/drawing/2014/main" id="{DD6FE47D-5598-1FED-A393-D40B4F6119A7}"/>
              </a:ext>
            </a:extLst>
          </p:cNvPr>
          <p:cNvSpPr txBox="1"/>
          <p:nvPr>
            <p:custDataLst>
              <p:tags r:id="rId9"/>
            </p:custDataLst>
          </p:nvPr>
        </p:nvSpPr>
        <p:spPr bwMode="gray">
          <a:xfrm>
            <a:off x="1318661" y="1700549"/>
            <a:ext cx="10543138" cy="4801314"/>
          </a:xfrm>
          <a:prstGeom prst="rect">
            <a:avLst/>
          </a:prstGeom>
          <a:noFill/>
        </p:spPr>
        <p:txBody>
          <a:bodyPr wrap="square">
            <a:spAutoFit/>
          </a:bodyPr>
          <a:lstStyle/>
          <a:p>
            <a:pPr marL="0" indent="0">
              <a:spcBef>
                <a:spcPts val="3600"/>
              </a:spcBef>
              <a:buNone/>
              <a:defRPr/>
            </a:pPr>
            <a:r>
              <a:rPr lang="en-US" sz="1800">
                <a:solidFill>
                  <a:schemeClr val="bg1">
                    <a:lumMod val="85000"/>
                  </a:schemeClr>
                </a:solidFill>
                <a:latin typeface="Arial"/>
                <a:ea typeface="+mj-ea"/>
                <a:cs typeface="+mj-cs"/>
              </a:rPr>
              <a:t>While global </a:t>
            </a:r>
            <a:r>
              <a:rPr kumimoji="0" lang="en-US" sz="1800" i="0" u="none" strike="noStrike" kern="1200" cap="none" spc="0" normalizeH="0" baseline="0" noProof="0">
                <a:ln>
                  <a:noFill/>
                </a:ln>
                <a:solidFill>
                  <a:schemeClr val="bg1">
                    <a:lumMod val="85000"/>
                  </a:schemeClr>
                </a:solidFill>
                <a:effectLst/>
                <a:uLnTx/>
                <a:uFillTx/>
                <a:latin typeface="Arial"/>
                <a:ea typeface="+mj-ea"/>
                <a:cs typeface="+mj-cs"/>
              </a:rPr>
              <a:t>regulators have started formulating new AI regulation, these are still in </a:t>
            </a:r>
            <a:r>
              <a:rPr kumimoji="0" lang="en-US" sz="1800" b="1" i="0" u="none" strike="noStrike" kern="1200" cap="none" spc="0" normalizeH="0" baseline="0" noProof="0">
                <a:ln>
                  <a:noFill/>
                </a:ln>
                <a:solidFill>
                  <a:schemeClr val="bg1"/>
                </a:solidFill>
                <a:effectLst/>
                <a:uLnTx/>
                <a:uFillTx/>
                <a:latin typeface="Arial"/>
                <a:ea typeface="+mj-ea"/>
                <a:cs typeface="+mj-cs"/>
              </a:rPr>
              <a:t>early stages of development</a:t>
            </a:r>
            <a:r>
              <a:rPr kumimoji="0" lang="en-US" sz="1800" i="0" u="none" strike="noStrike" kern="1200" cap="none" spc="0" normalizeH="0" baseline="0" noProof="0">
                <a:ln>
                  <a:noFill/>
                </a:ln>
                <a:solidFill>
                  <a:schemeClr val="bg1">
                    <a:lumMod val="85000"/>
                  </a:schemeClr>
                </a:solidFill>
                <a:effectLst/>
                <a:uLnTx/>
                <a:uFillTx/>
                <a:latin typeface="Arial"/>
                <a:ea typeface="+mj-ea"/>
                <a:cs typeface="+mj-cs"/>
              </a:rPr>
              <a:t>, and </a:t>
            </a:r>
            <a:r>
              <a:rPr kumimoji="0" lang="en-GB" sz="1800" i="0" u="none" strike="noStrike" kern="1200" cap="none" spc="0" normalizeH="0" baseline="0" noProof="0">
                <a:ln>
                  <a:noFill/>
                </a:ln>
                <a:solidFill>
                  <a:schemeClr val="bg1">
                    <a:lumMod val="85000"/>
                  </a:schemeClr>
                </a:solidFill>
                <a:effectLst/>
                <a:uLnTx/>
                <a:uFillTx/>
                <a:latin typeface="Arial"/>
                <a:ea typeface="+mj-ea"/>
                <a:cs typeface="+mj-cs"/>
              </a:rPr>
              <a:t>with </a:t>
            </a:r>
            <a:r>
              <a:rPr kumimoji="0" lang="en-GB" sz="1800" b="1" i="0" u="none" strike="noStrike" kern="1200" cap="none" spc="0" normalizeH="0" baseline="0" noProof="0">
                <a:ln>
                  <a:noFill/>
                </a:ln>
                <a:solidFill>
                  <a:schemeClr val="bg1"/>
                </a:solidFill>
                <a:effectLst/>
                <a:uLnTx/>
                <a:uFillTx/>
                <a:latin typeface="Arial"/>
                <a:ea typeface="+mj-ea"/>
                <a:cs typeface="+mj-cs"/>
              </a:rPr>
              <a:t>significant uncertainty in the approach that will be taken</a:t>
            </a:r>
            <a:endParaRPr lang="en-CA" sz="1800" b="1">
              <a:solidFill>
                <a:schemeClr val="bg1"/>
              </a:solidFill>
              <a:latin typeface="Arial"/>
              <a:ea typeface="+mj-ea"/>
              <a:cs typeface="+mj-cs"/>
            </a:endParaRPr>
          </a:p>
          <a:p>
            <a:pPr marL="0" indent="0">
              <a:spcBef>
                <a:spcPts val="3600"/>
              </a:spcBef>
              <a:buNone/>
              <a:defRPr/>
            </a:pPr>
            <a:r>
              <a:rPr lang="en-GB" sz="1800">
                <a:solidFill>
                  <a:schemeClr val="bg1">
                    <a:lumMod val="85000"/>
                  </a:schemeClr>
                </a:solidFill>
                <a:latin typeface="Arial"/>
                <a:ea typeface="+mj-ea"/>
                <a:cs typeface="+mj-cs"/>
              </a:rPr>
              <a:t>For example, the EU is aiming for a</a:t>
            </a:r>
            <a:r>
              <a:rPr lang="en-GB" sz="1800" b="1">
                <a:solidFill>
                  <a:schemeClr val="bg1"/>
                </a:solidFill>
                <a:latin typeface="Arial"/>
                <a:ea typeface="+mj-ea"/>
                <a:cs typeface="+mj-cs"/>
              </a:rPr>
              <a:t> single, legally binding AI rulebook</a:t>
            </a:r>
            <a:r>
              <a:rPr kumimoji="0" lang="en-GB" sz="1800" i="0" u="none" strike="noStrike" kern="1200" cap="none" spc="0" normalizeH="0" baseline="0" noProof="0">
                <a:ln>
                  <a:noFill/>
                </a:ln>
                <a:solidFill>
                  <a:schemeClr val="bg1">
                    <a:lumMod val="85000"/>
                  </a:schemeClr>
                </a:solidFill>
                <a:effectLst/>
                <a:uLnTx/>
                <a:uFillTx/>
                <a:latin typeface="Arial"/>
                <a:ea typeface="+mj-ea"/>
                <a:cs typeface="+mj-cs"/>
              </a:rPr>
              <a:t>, while in the US, AI guidelines are still </a:t>
            </a:r>
            <a:r>
              <a:rPr lang="en-GB" sz="1800" b="1">
                <a:solidFill>
                  <a:schemeClr val="bg1"/>
                </a:solidFill>
                <a:latin typeface="Arial"/>
                <a:ea typeface="+mj-ea"/>
                <a:cs typeface="+mj-cs"/>
              </a:rPr>
              <a:t>voluntary</a:t>
            </a:r>
            <a:r>
              <a:rPr kumimoji="0" lang="en-GB" sz="1800" i="0" u="none" strike="noStrike" kern="1200" cap="none" spc="0" normalizeH="0" baseline="0" noProof="0">
                <a:ln>
                  <a:noFill/>
                </a:ln>
                <a:solidFill>
                  <a:schemeClr val="bg1">
                    <a:lumMod val="85000"/>
                  </a:schemeClr>
                </a:solidFill>
                <a:effectLst/>
                <a:uLnTx/>
                <a:uFillTx/>
                <a:latin typeface="Arial"/>
                <a:ea typeface="+mj-ea"/>
                <a:cs typeface="+mj-cs"/>
              </a:rPr>
              <a:t>.  </a:t>
            </a:r>
            <a:r>
              <a:rPr lang="en-GB" sz="1800">
                <a:solidFill>
                  <a:schemeClr val="bg1">
                    <a:lumMod val="85000"/>
                  </a:schemeClr>
                </a:solidFill>
                <a:latin typeface="Arial"/>
                <a:ea typeface="+mj-ea"/>
                <a:cs typeface="+mj-cs"/>
              </a:rPr>
              <a:t>The US Executive Order creates new urgency for regulation particularly around the most capable models and highest risk use cases, but how this will translate into regulation and how similar this will be to the EU AI Act is still unclear</a:t>
            </a:r>
            <a:endParaRPr kumimoji="0" lang="en-GB" sz="1800" i="0" u="none" strike="noStrike" kern="1200" cap="none" spc="0" normalizeH="0" baseline="0" noProof="0">
              <a:ln>
                <a:noFill/>
              </a:ln>
              <a:solidFill>
                <a:schemeClr val="bg1">
                  <a:lumMod val="85000"/>
                </a:schemeClr>
              </a:solidFill>
              <a:effectLst/>
              <a:uLnTx/>
              <a:uFillTx/>
              <a:latin typeface="Arial"/>
              <a:ea typeface="+mj-ea"/>
              <a:cs typeface="+mj-cs"/>
            </a:endParaRPr>
          </a:p>
          <a:p>
            <a:pPr marL="0" indent="0">
              <a:spcBef>
                <a:spcPts val="3600"/>
              </a:spcBef>
              <a:buNone/>
              <a:defRPr/>
            </a:pPr>
            <a:r>
              <a:rPr kumimoji="0" lang="en-GB" sz="1800" i="0" u="none" strike="noStrike" kern="1200" cap="none" spc="0" normalizeH="0" baseline="0" noProof="0">
                <a:ln>
                  <a:noFill/>
                </a:ln>
                <a:solidFill>
                  <a:schemeClr val="bg1">
                    <a:lumMod val="85000"/>
                  </a:schemeClr>
                </a:solidFill>
                <a:effectLst/>
                <a:uLnTx/>
                <a:uFillTx/>
                <a:latin typeface="Arial"/>
                <a:ea typeface="+mj-ea"/>
                <a:cs typeface="+mj-cs"/>
              </a:rPr>
              <a:t>The uncertainty in the regulatory landscape, in combination with the rapidly evolving nature of AI technology, is </a:t>
            </a:r>
            <a:r>
              <a:rPr lang="en-GB" sz="1800" b="1">
                <a:solidFill>
                  <a:schemeClr val="bg1"/>
                </a:solidFill>
                <a:latin typeface="Arial"/>
                <a:ea typeface="+mj-ea"/>
                <a:cs typeface="+mj-cs"/>
              </a:rPr>
              <a:t>forcing Risk functions to start developing risk frameworks without much regulatory guidance</a:t>
            </a:r>
          </a:p>
          <a:p>
            <a:pPr marL="0" indent="0">
              <a:spcBef>
                <a:spcPts val="3600"/>
              </a:spcBef>
              <a:buNone/>
              <a:defRPr/>
            </a:pPr>
            <a:r>
              <a:rPr lang="en-GB" sz="1800" b="1">
                <a:solidFill>
                  <a:schemeClr val="bg1"/>
                </a:solidFill>
                <a:latin typeface="Arial"/>
                <a:ea typeface="+mj-ea"/>
                <a:cs typeface="+mj-cs"/>
              </a:rPr>
              <a:t>International organizations like the OECD are trying to set global standards</a:t>
            </a:r>
            <a:r>
              <a:rPr lang="en-GB" sz="1800">
                <a:solidFill>
                  <a:schemeClr val="bg1"/>
                </a:solidFill>
                <a:latin typeface="Arial"/>
                <a:ea typeface="+mj-ea"/>
                <a:cs typeface="+mj-cs"/>
              </a:rPr>
              <a:t> and most countries have indicated a need and desire for regulatory cooperation</a:t>
            </a:r>
            <a:r>
              <a:rPr kumimoji="0" lang="en-GB" sz="1800" i="0" u="none" strike="noStrike" kern="1200" cap="none" spc="0" normalizeH="0" baseline="0" noProof="0">
                <a:ln>
                  <a:noFill/>
                </a:ln>
                <a:solidFill>
                  <a:schemeClr val="bg1">
                    <a:lumMod val="85000"/>
                  </a:schemeClr>
                </a:solidFill>
                <a:effectLst/>
                <a:uLnTx/>
                <a:uFillTx/>
                <a:latin typeface="Arial"/>
                <a:ea typeface="+mj-ea"/>
                <a:cs typeface="+mj-cs"/>
              </a:rPr>
              <a:t>; however, these efforts are still in their infancy and are unlikely to </a:t>
            </a:r>
            <a:r>
              <a:rPr lang="en-GB" sz="1800">
                <a:solidFill>
                  <a:schemeClr val="bg1">
                    <a:lumMod val="85000"/>
                  </a:schemeClr>
                </a:solidFill>
                <a:latin typeface="Arial"/>
                <a:ea typeface="+mj-ea"/>
                <a:cs typeface="+mj-cs"/>
              </a:rPr>
              <a:t>lead to </a:t>
            </a:r>
            <a:r>
              <a:rPr kumimoji="0" lang="en-GB" sz="1800" i="0" u="none" strike="noStrike" kern="1200" cap="none" spc="0" normalizeH="0" baseline="0" noProof="0">
                <a:ln>
                  <a:noFill/>
                </a:ln>
                <a:solidFill>
                  <a:schemeClr val="bg1">
                    <a:lumMod val="85000"/>
                  </a:schemeClr>
                </a:solidFill>
                <a:effectLst/>
                <a:uLnTx/>
                <a:uFillTx/>
                <a:latin typeface="Arial"/>
                <a:ea typeface="+mj-ea"/>
                <a:cs typeface="+mj-cs"/>
              </a:rPr>
              <a:t>harmonization in the near term</a:t>
            </a:r>
          </a:p>
        </p:txBody>
      </p:sp>
      <p:pic>
        <p:nvPicPr>
          <p:cNvPr id="3" name="Picture 2">
            <a:extLst>
              <a:ext uri="{FF2B5EF4-FFF2-40B4-BE49-F238E27FC236}">
                <a16:creationId xmlns:a16="http://schemas.microsoft.com/office/drawing/2014/main" id="{F455C54B-66D8-D3F3-BF6B-90E795CE8F5D}"/>
              </a:ext>
            </a:extLst>
          </p:cNvPr>
          <p:cNvPicPr>
            <a:picLocks noChangeAspect="1"/>
          </p:cNvPicPr>
          <p:nvPr>
            <p:custDataLst>
              <p:tags r:id="rId10"/>
            </p:custDataLst>
          </p:nvPr>
        </p:nvPicPr>
        <p:blipFill>
          <a:blip r:embed="rId53">
            <a:alphaModFix amt="77000"/>
            <a:lum bright="22000" contrast="-78000"/>
          </a:blip>
          <a:stretch>
            <a:fillRect/>
          </a:stretch>
        </p:blipFill>
        <p:spPr>
          <a:xfrm>
            <a:off x="249293" y="1730628"/>
            <a:ext cx="1162050" cy="4664711"/>
          </a:xfrm>
          <a:prstGeom prst="rect">
            <a:avLst/>
          </a:prstGeom>
        </p:spPr>
      </p:pic>
      <p:pic>
        <p:nvPicPr>
          <p:cNvPr id="4" name="Picture 3">
            <a:extLst>
              <a:ext uri="{FF2B5EF4-FFF2-40B4-BE49-F238E27FC236}">
                <a16:creationId xmlns:a16="http://schemas.microsoft.com/office/drawing/2014/main" id="{E5829B97-84D6-5FC3-10EC-030F813E2F14}"/>
              </a:ext>
            </a:extLst>
          </p:cNvPr>
          <p:cNvPicPr>
            <a:picLocks noChangeAspect="1"/>
          </p:cNvPicPr>
          <p:nvPr>
            <p:custDataLst>
              <p:tags r:id="rId11"/>
            </p:custDataLst>
          </p:nvPr>
        </p:nvPicPr>
        <p:blipFill>
          <a:blip r:embed="rId54">
            <a:lum bright="-21000"/>
          </a:blip>
          <a:stretch>
            <a:fillRect/>
          </a:stretch>
        </p:blipFill>
        <p:spPr>
          <a:xfrm>
            <a:off x="231220" y="1726761"/>
            <a:ext cx="1171575" cy="4674873"/>
          </a:xfrm>
          <a:prstGeom prst="rect">
            <a:avLst/>
          </a:prstGeom>
        </p:spPr>
      </p:pic>
    </p:spTree>
    <p:custDataLst>
      <p:tags r:id="rId1"/>
    </p:custDataLst>
    <p:extLst>
      <p:ext uri="{BB962C8B-B14F-4D97-AF65-F5344CB8AC3E}">
        <p14:creationId xmlns:p14="http://schemas.microsoft.com/office/powerpoint/2010/main" val="2103102751"/>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0" name="btfpColumnIndicatorGroup2">
            <a:extLst>
              <a:ext uri="{FF2B5EF4-FFF2-40B4-BE49-F238E27FC236}">
                <a16:creationId xmlns:a16="http://schemas.microsoft.com/office/drawing/2014/main" id="{F92A956C-3290-0322-B25E-CEA3F575DA1A}"/>
              </a:ext>
            </a:extLst>
          </p:cNvPr>
          <p:cNvGrpSpPr/>
          <p:nvPr>
            <p:custDataLst>
              <p:tags r:id="rId2"/>
            </p:custDataLst>
          </p:nvPr>
        </p:nvGrpSpPr>
        <p:grpSpPr>
          <a:xfrm>
            <a:off x="0" y="6926580"/>
            <a:ext cx="12192000" cy="137160"/>
            <a:chOff x="0" y="6926580"/>
            <a:chExt cx="12192000" cy="137160"/>
          </a:xfrm>
        </p:grpSpPr>
        <p:sp>
          <p:nvSpPr>
            <p:cNvPr id="15" name="btfpColumnGapBlocker449158">
              <a:extLst>
                <a:ext uri="{FF2B5EF4-FFF2-40B4-BE49-F238E27FC236}">
                  <a16:creationId xmlns:a16="http://schemas.microsoft.com/office/drawing/2014/main" id="{E8185F29-9457-D037-CAD2-4A55D750E8E8}"/>
                </a:ext>
              </a:extLst>
            </p:cNvPr>
            <p:cNvSpPr/>
            <p:nvPr>
              <p:custDataLst>
                <p:tags r:id="rId335"/>
              </p:custDataLst>
            </p:nvPr>
          </p:nvSpPr>
          <p:spPr bwMode="gray">
            <a:xfrm>
              <a:off x="11861800" y="692658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sp>
          <p:nvSpPr>
            <p:cNvPr id="8" name="btfpColumnGapBlocker702995">
              <a:extLst>
                <a:ext uri="{FF2B5EF4-FFF2-40B4-BE49-F238E27FC236}">
                  <a16:creationId xmlns:a16="http://schemas.microsoft.com/office/drawing/2014/main" id="{0F2B428B-01E6-538B-5DBD-A8911C67D3B1}"/>
                </a:ext>
              </a:extLst>
            </p:cNvPr>
            <p:cNvSpPr/>
            <p:nvPr>
              <p:custDataLst>
                <p:tags r:id="rId336"/>
              </p:custDataLst>
            </p:nvPr>
          </p:nvSpPr>
          <p:spPr bwMode="gray">
            <a:xfrm>
              <a:off x="0" y="692658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6" name="btfpColumnIndicator926276">
              <a:extLst>
                <a:ext uri="{FF2B5EF4-FFF2-40B4-BE49-F238E27FC236}">
                  <a16:creationId xmlns:a16="http://schemas.microsoft.com/office/drawing/2014/main" id="{CB9F5893-6A6F-93B0-F298-B9363D56B646}"/>
                </a:ext>
              </a:extLst>
            </p:cNvPr>
            <p:cNvCxnSpPr/>
            <p:nvPr>
              <p:custDataLst>
                <p:tags r:id="rId337"/>
              </p:custDataLst>
            </p:nvPr>
          </p:nvCxnSpPr>
          <p:spPr bwMode="gray">
            <a:xfrm flipH="1" flipV="1">
              <a:off x="11861800"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744042">
              <a:extLst>
                <a:ext uri="{FF2B5EF4-FFF2-40B4-BE49-F238E27FC236}">
                  <a16:creationId xmlns:a16="http://schemas.microsoft.com/office/drawing/2014/main" id="{442C8C1E-C420-FBDF-C2AB-67CDA3A6B16D}"/>
                </a:ext>
              </a:extLst>
            </p:cNvPr>
            <p:cNvCxnSpPr/>
            <p:nvPr>
              <p:custDataLst>
                <p:tags r:id="rId338"/>
              </p:custDataLst>
            </p:nvPr>
          </p:nvCxnSpPr>
          <p:spPr bwMode="gray">
            <a:xfrm flipH="1" flipV="1">
              <a:off x="330200"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49" name="btfpColumnIndicatorGroup1">
            <a:extLst>
              <a:ext uri="{FF2B5EF4-FFF2-40B4-BE49-F238E27FC236}">
                <a16:creationId xmlns:a16="http://schemas.microsoft.com/office/drawing/2014/main" id="{B16E6B72-84A7-3D27-962F-F5EAC27DB7E0}"/>
              </a:ext>
            </a:extLst>
          </p:cNvPr>
          <p:cNvGrpSpPr/>
          <p:nvPr>
            <p:custDataLst>
              <p:tags r:id="rId3"/>
            </p:custDataLst>
          </p:nvPr>
        </p:nvGrpSpPr>
        <p:grpSpPr>
          <a:xfrm>
            <a:off x="0" y="-205740"/>
            <a:ext cx="12192000" cy="137160"/>
            <a:chOff x="0" y="-205740"/>
            <a:chExt cx="12192000" cy="137160"/>
          </a:xfrm>
        </p:grpSpPr>
        <p:sp>
          <p:nvSpPr>
            <p:cNvPr id="12" name="btfpColumnGapBlocker942112">
              <a:extLst>
                <a:ext uri="{FF2B5EF4-FFF2-40B4-BE49-F238E27FC236}">
                  <a16:creationId xmlns:a16="http://schemas.microsoft.com/office/drawing/2014/main" id="{413373BF-0F18-BC65-FEBE-B5424D131200}"/>
                </a:ext>
              </a:extLst>
            </p:cNvPr>
            <p:cNvSpPr/>
            <p:nvPr>
              <p:custDataLst>
                <p:tags r:id="rId331"/>
              </p:custDataLst>
            </p:nvPr>
          </p:nvSpPr>
          <p:spPr bwMode="gray">
            <a:xfrm>
              <a:off x="11861800" y="-20574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sp>
          <p:nvSpPr>
            <p:cNvPr id="7" name="btfpColumnGapBlocker647933">
              <a:extLst>
                <a:ext uri="{FF2B5EF4-FFF2-40B4-BE49-F238E27FC236}">
                  <a16:creationId xmlns:a16="http://schemas.microsoft.com/office/drawing/2014/main" id="{8E411825-43B8-5F3E-FFA1-4A3440FA45F4}"/>
                </a:ext>
              </a:extLst>
            </p:cNvPr>
            <p:cNvSpPr/>
            <p:nvPr>
              <p:custDataLst>
                <p:tags r:id="rId332"/>
              </p:custDataLst>
            </p:nvPr>
          </p:nvSpPr>
          <p:spPr bwMode="gray">
            <a:xfrm>
              <a:off x="0" y="-20574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5" name="btfpColumnIndicator799974">
              <a:extLst>
                <a:ext uri="{FF2B5EF4-FFF2-40B4-BE49-F238E27FC236}">
                  <a16:creationId xmlns:a16="http://schemas.microsoft.com/office/drawing/2014/main" id="{97F89B5B-9C67-360A-ABC6-5F1D801FE99F}"/>
                </a:ext>
              </a:extLst>
            </p:cNvPr>
            <p:cNvCxnSpPr/>
            <p:nvPr>
              <p:custDataLst>
                <p:tags r:id="rId333"/>
              </p:custDataLst>
            </p:nvPr>
          </p:nvCxnSpPr>
          <p:spPr bwMode="gray">
            <a:xfrm flipH="1" flipV="1">
              <a:off x="11861800"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Indicator678172">
              <a:extLst>
                <a:ext uri="{FF2B5EF4-FFF2-40B4-BE49-F238E27FC236}">
                  <a16:creationId xmlns:a16="http://schemas.microsoft.com/office/drawing/2014/main" id="{A93D35AC-FCEC-81B8-E4D1-66EB629C8E5F}"/>
                </a:ext>
              </a:extLst>
            </p:cNvPr>
            <p:cNvCxnSpPr/>
            <p:nvPr>
              <p:custDataLst>
                <p:tags r:id="rId334"/>
              </p:custDataLst>
            </p:nvPr>
          </p:nvCxnSpPr>
          <p:spPr bwMode="gray">
            <a:xfrm flipH="1" flipV="1">
              <a:off x="330200"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91895DE8-4ED1-AC63-0C2B-CDE7B31C9419}"/>
              </a:ext>
            </a:extLst>
          </p:cNvPr>
          <p:cNvSpPr>
            <a:spLocks noGrp="1"/>
          </p:cNvSpPr>
          <p:nvPr>
            <p:ph type="title"/>
            <p:custDataLst>
              <p:tags r:id="rId4"/>
            </p:custDataLst>
          </p:nvPr>
        </p:nvSpPr>
        <p:spPr/>
        <p:txBody>
          <a:bodyPr/>
          <a:lstStyle/>
          <a:p>
            <a:endParaRPr lang="en-US"/>
          </a:p>
        </p:txBody>
      </p:sp>
      <p:pic>
        <p:nvPicPr>
          <p:cNvPr id="13" name="btfpPhotoGeneric442375">
            <a:extLst>
              <a:ext uri="{FF2B5EF4-FFF2-40B4-BE49-F238E27FC236}">
                <a16:creationId xmlns:a16="http://schemas.microsoft.com/office/drawing/2014/main" id="{6413BC93-4BA1-63C9-6DB8-D0E249B9F339}"/>
              </a:ext>
            </a:extLst>
          </p:cNvPr>
          <p:cNvPicPr>
            <a:picLocks noChangeAspect="1"/>
          </p:cNvPicPr>
          <p:nvPr>
            <p:custDataLst>
              <p:tags r:id="rId5"/>
            </p:custDataLst>
          </p:nvPr>
        </p:nvPicPr>
        <p:blipFill>
          <a:blip r:embed="rId341">
            <a:extLst>
              <a:ext uri="{28A0092B-C50C-407E-A947-70E740481C1C}">
                <a14:useLocalDpi xmlns:a14="http://schemas.microsoft.com/office/drawing/2010/main" val="0"/>
              </a:ext>
            </a:extLst>
          </a:blip>
          <a:srcRect t="72088" b="9421"/>
          <a:stretch>
            <a:fillRect/>
          </a:stretch>
        </p:blipFill>
        <p:spPr>
          <a:xfrm flipH="1" flipV="1">
            <a:off x="-7625" y="6989"/>
            <a:ext cx="12191989" cy="1268527"/>
          </a:xfrm>
          <a:prstGeom prst="rect">
            <a:avLst/>
          </a:prstGeom>
          <a:ln>
            <a:noFill/>
          </a:ln>
        </p:spPr>
      </p:pic>
      <p:sp>
        <p:nvSpPr>
          <p:cNvPr id="14" name="Title 1">
            <a:extLst>
              <a:ext uri="{FF2B5EF4-FFF2-40B4-BE49-F238E27FC236}">
                <a16:creationId xmlns:a16="http://schemas.microsoft.com/office/drawing/2014/main" id="{AAB63625-9258-4EE6-659B-4134E5BACC27}"/>
              </a:ext>
            </a:extLst>
          </p:cNvPr>
          <p:cNvSpPr txBox="1"/>
          <p:nvPr>
            <p:custDataLst>
              <p:tags r:id="rId6"/>
            </p:custDataLst>
          </p:nvPr>
        </p:nvSpPr>
        <p:spPr>
          <a:xfrm>
            <a:off x="339725" y="89413"/>
            <a:ext cx="11522075" cy="876687"/>
          </a:xfrm>
          <a:prstGeom prst="rect">
            <a:avLst/>
          </a:prstGeom>
        </p:spPr>
        <p:txBody>
          <a:bodyPr vert="horz" lIns="36000" tIns="36000" rIns="36000" bIns="72000" rtlCol="0" anchor="b">
            <a:noAutofit/>
          </a:bodyPr>
          <a:lst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a:lstStyle>
          <a:p>
            <a:pPr marL="0" indent="0"/>
            <a:r>
              <a:rPr lang="en-US" altLang="zh-CN" sz="2800">
                <a:solidFill>
                  <a:srgbClr val="FFFFFF"/>
                </a:solidFill>
              </a:rPr>
              <a:t>Policies and regulations around AI are evolving rapidly across the globe</a:t>
            </a:r>
          </a:p>
        </p:txBody>
      </p:sp>
      <p:grpSp>
        <p:nvGrpSpPr>
          <p:cNvPr id="16" name="btfpStatusSticker652429">
            <a:extLst>
              <a:ext uri="{FF2B5EF4-FFF2-40B4-BE49-F238E27FC236}">
                <a16:creationId xmlns:a16="http://schemas.microsoft.com/office/drawing/2014/main" id="{A4C2B273-9AAB-D935-3FC6-6943D8A01ACD}"/>
              </a:ext>
            </a:extLst>
          </p:cNvPr>
          <p:cNvGrpSpPr/>
          <p:nvPr>
            <p:custDataLst>
              <p:tags r:id="rId7"/>
            </p:custDataLst>
          </p:nvPr>
        </p:nvGrpSpPr>
        <p:grpSpPr>
          <a:xfrm>
            <a:off x="9367078" y="955344"/>
            <a:ext cx="2494722" cy="235611"/>
            <a:chOff x="-4813627" y="876300"/>
            <a:chExt cx="2494722" cy="235611"/>
          </a:xfrm>
        </p:grpSpPr>
        <p:sp>
          <p:nvSpPr>
            <p:cNvPr id="17" name="btfpStatusStickerText652429">
              <a:extLst>
                <a:ext uri="{FF2B5EF4-FFF2-40B4-BE49-F238E27FC236}">
                  <a16:creationId xmlns:a16="http://schemas.microsoft.com/office/drawing/2014/main" id="{CE04EA7A-EFDC-38E5-90C2-16411B2F8F1B}"/>
                </a:ext>
              </a:extLst>
            </p:cNvPr>
            <p:cNvSpPr txBox="1"/>
            <p:nvPr>
              <p:custDataLst>
                <p:tags r:id="rId329"/>
              </p:custDataLst>
            </p:nvPr>
          </p:nvSpPr>
          <p:spPr bwMode="gray">
            <a:xfrm>
              <a:off x="-4813627" y="876300"/>
              <a:ext cx="2494722" cy="235611"/>
            </a:xfrm>
            <a:prstGeom prst="rect">
              <a:avLst/>
            </a:prstGeom>
            <a:noFill/>
          </p:spPr>
          <p:txBody>
            <a:bodyPr vert="horz" wrap="none" lIns="72073" tIns="25226" rIns="0" bIns="25226" rtlCol="0" anchor="t">
              <a:spAutoFit/>
            </a:bodyPr>
            <a:lstStyle/>
            <a:p>
              <a:pPr marL="0" indent="0" algn="r">
                <a:spcBef>
                  <a:spcPct val="0"/>
                </a:spcBef>
                <a:buNone/>
              </a:pPr>
              <a:r>
                <a:rPr lang="en-AU" sz="1200" b="1" cap="all" spc="450">
                  <a:solidFill>
                    <a:schemeClr val="bg1"/>
                  </a:solidFill>
                </a:rPr>
                <a:t>AT DeCEMBER 2023</a:t>
              </a:r>
            </a:p>
          </p:txBody>
        </p:sp>
        <p:cxnSp>
          <p:nvCxnSpPr>
            <p:cNvPr id="18" name="btfpStatusStickerLine652429">
              <a:extLst>
                <a:ext uri="{FF2B5EF4-FFF2-40B4-BE49-F238E27FC236}">
                  <a16:creationId xmlns:a16="http://schemas.microsoft.com/office/drawing/2014/main" id="{B35DAFDC-2AFD-36D0-70AC-28FC4EBAFDFD}"/>
                </a:ext>
              </a:extLst>
            </p:cNvPr>
            <p:cNvCxnSpPr/>
            <p:nvPr>
              <p:custDataLst>
                <p:tags r:id="rId330"/>
              </p:custDataLst>
            </p:nvPr>
          </p:nvCxnSpPr>
          <p:spPr bwMode="gray">
            <a:xfrm rot="720000" flipH="1">
              <a:off x="-4813627" y="876300"/>
              <a:ext cx="0" cy="235611"/>
            </a:xfrm>
            <a:prstGeom prst="line">
              <a:avLst/>
            </a:prstGeom>
            <a:ln w="19050" cap="flat" cmpd="sng">
              <a:solidFill>
                <a:schemeClr val="bg1"/>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F6F5E134-AE94-99D1-2A7C-004498772A4B}"/>
              </a:ext>
            </a:extLst>
          </p:cNvPr>
          <p:cNvGrpSpPr/>
          <p:nvPr>
            <p:custDataLst>
              <p:tags r:id="rId8"/>
            </p:custDataLst>
          </p:nvPr>
        </p:nvGrpSpPr>
        <p:grpSpPr>
          <a:xfrm>
            <a:off x="5443954" y="3218328"/>
            <a:ext cx="162787" cy="205001"/>
            <a:chOff x="2582863" y="2765426"/>
            <a:chExt cx="1271588" cy="1873250"/>
          </a:xfrm>
        </p:grpSpPr>
        <p:grpSp>
          <p:nvGrpSpPr>
            <p:cNvPr id="20" name="Group 19">
              <a:extLst>
                <a:ext uri="{FF2B5EF4-FFF2-40B4-BE49-F238E27FC236}">
                  <a16:creationId xmlns:a16="http://schemas.microsoft.com/office/drawing/2014/main" id="{F28D71D7-92AB-90F7-C0FA-901885BA921B}"/>
                </a:ext>
              </a:extLst>
            </p:cNvPr>
            <p:cNvGrpSpPr/>
            <p:nvPr>
              <p:custDataLst>
                <p:tags r:id="rId322"/>
              </p:custDataLst>
            </p:nvPr>
          </p:nvGrpSpPr>
          <p:grpSpPr>
            <a:xfrm>
              <a:off x="2646363" y="2765426"/>
              <a:ext cx="1208088" cy="1873250"/>
              <a:chOff x="2646363" y="2765426"/>
              <a:chExt cx="1208088" cy="1873250"/>
            </a:xfrm>
          </p:grpSpPr>
          <p:sp>
            <p:nvSpPr>
              <p:cNvPr id="25" name="Freeform 6">
                <a:extLst>
                  <a:ext uri="{FF2B5EF4-FFF2-40B4-BE49-F238E27FC236}">
                    <a16:creationId xmlns:a16="http://schemas.microsoft.com/office/drawing/2014/main" id="{F7B5E244-42D7-CE6B-DCB8-870A67BD18AF}"/>
                  </a:ext>
                </a:extLst>
              </p:cNvPr>
              <p:cNvSpPr/>
              <p:nvPr>
                <p:custDataLst>
                  <p:tags r:id="rId327"/>
                </p:custDataLst>
              </p:nvPr>
            </p:nvSpPr>
            <p:spPr bwMode="auto">
              <a:xfrm>
                <a:off x="2646363" y="3040063"/>
                <a:ext cx="1208088" cy="1598613"/>
              </a:xfrm>
              <a:custGeom>
                <a:avLst/>
                <a:gdLst>
                  <a:gd name="T0" fmla="*/ 467 w 761"/>
                  <a:gd name="T1" fmla="*/ 83 h 1007"/>
                  <a:gd name="T2" fmla="*/ 544 w 761"/>
                  <a:gd name="T3" fmla="*/ 143 h 1007"/>
                  <a:gd name="T4" fmla="*/ 587 w 761"/>
                  <a:gd name="T5" fmla="*/ 154 h 1007"/>
                  <a:gd name="T6" fmla="*/ 622 w 761"/>
                  <a:gd name="T7" fmla="*/ 166 h 1007"/>
                  <a:gd name="T8" fmla="*/ 642 w 761"/>
                  <a:gd name="T9" fmla="*/ 164 h 1007"/>
                  <a:gd name="T10" fmla="*/ 653 w 761"/>
                  <a:gd name="T11" fmla="*/ 177 h 1007"/>
                  <a:gd name="T12" fmla="*/ 668 w 761"/>
                  <a:gd name="T13" fmla="*/ 198 h 1007"/>
                  <a:gd name="T14" fmla="*/ 692 w 761"/>
                  <a:gd name="T15" fmla="*/ 238 h 1007"/>
                  <a:gd name="T16" fmla="*/ 718 w 761"/>
                  <a:gd name="T17" fmla="*/ 277 h 1007"/>
                  <a:gd name="T18" fmla="*/ 730 w 761"/>
                  <a:gd name="T19" fmla="*/ 292 h 1007"/>
                  <a:gd name="T20" fmla="*/ 750 w 761"/>
                  <a:gd name="T21" fmla="*/ 299 h 1007"/>
                  <a:gd name="T22" fmla="*/ 755 w 761"/>
                  <a:gd name="T23" fmla="*/ 297 h 1007"/>
                  <a:gd name="T24" fmla="*/ 747 w 761"/>
                  <a:gd name="T25" fmla="*/ 352 h 1007"/>
                  <a:gd name="T26" fmla="*/ 726 w 761"/>
                  <a:gd name="T27" fmla="*/ 403 h 1007"/>
                  <a:gd name="T28" fmla="*/ 667 w 761"/>
                  <a:gd name="T29" fmla="*/ 474 h 1007"/>
                  <a:gd name="T30" fmla="*/ 649 w 761"/>
                  <a:gd name="T31" fmla="*/ 505 h 1007"/>
                  <a:gd name="T32" fmla="*/ 653 w 761"/>
                  <a:gd name="T33" fmla="*/ 513 h 1007"/>
                  <a:gd name="T34" fmla="*/ 642 w 761"/>
                  <a:gd name="T35" fmla="*/ 525 h 1007"/>
                  <a:gd name="T36" fmla="*/ 633 w 761"/>
                  <a:gd name="T37" fmla="*/ 554 h 1007"/>
                  <a:gd name="T38" fmla="*/ 615 w 761"/>
                  <a:gd name="T39" fmla="*/ 559 h 1007"/>
                  <a:gd name="T40" fmla="*/ 604 w 761"/>
                  <a:gd name="T41" fmla="*/ 550 h 1007"/>
                  <a:gd name="T42" fmla="*/ 608 w 761"/>
                  <a:gd name="T43" fmla="*/ 531 h 1007"/>
                  <a:gd name="T44" fmla="*/ 590 w 761"/>
                  <a:gd name="T45" fmla="*/ 547 h 1007"/>
                  <a:gd name="T46" fmla="*/ 581 w 761"/>
                  <a:gd name="T47" fmla="*/ 560 h 1007"/>
                  <a:gd name="T48" fmla="*/ 567 w 761"/>
                  <a:gd name="T49" fmla="*/ 579 h 1007"/>
                  <a:gd name="T50" fmla="*/ 561 w 761"/>
                  <a:gd name="T51" fmla="*/ 620 h 1007"/>
                  <a:gd name="T52" fmla="*/ 556 w 761"/>
                  <a:gd name="T53" fmla="*/ 651 h 1007"/>
                  <a:gd name="T54" fmla="*/ 559 w 761"/>
                  <a:gd name="T55" fmla="*/ 688 h 1007"/>
                  <a:gd name="T56" fmla="*/ 567 w 761"/>
                  <a:gd name="T57" fmla="*/ 724 h 1007"/>
                  <a:gd name="T58" fmla="*/ 494 w 761"/>
                  <a:gd name="T59" fmla="*/ 739 h 1007"/>
                  <a:gd name="T60" fmla="*/ 451 w 761"/>
                  <a:gd name="T61" fmla="*/ 787 h 1007"/>
                  <a:gd name="T62" fmla="*/ 443 w 761"/>
                  <a:gd name="T63" fmla="*/ 827 h 1007"/>
                  <a:gd name="T64" fmla="*/ 424 w 761"/>
                  <a:gd name="T65" fmla="*/ 850 h 1007"/>
                  <a:gd name="T66" fmla="*/ 380 w 761"/>
                  <a:gd name="T67" fmla="*/ 856 h 1007"/>
                  <a:gd name="T68" fmla="*/ 333 w 761"/>
                  <a:gd name="T69" fmla="*/ 870 h 1007"/>
                  <a:gd name="T70" fmla="*/ 314 w 761"/>
                  <a:gd name="T71" fmla="*/ 905 h 1007"/>
                  <a:gd name="T72" fmla="*/ 317 w 761"/>
                  <a:gd name="T73" fmla="*/ 933 h 1007"/>
                  <a:gd name="T74" fmla="*/ 306 w 761"/>
                  <a:gd name="T75" fmla="*/ 948 h 1007"/>
                  <a:gd name="T76" fmla="*/ 291 w 761"/>
                  <a:gd name="T77" fmla="*/ 964 h 1007"/>
                  <a:gd name="T78" fmla="*/ 271 w 761"/>
                  <a:gd name="T79" fmla="*/ 968 h 1007"/>
                  <a:gd name="T80" fmla="*/ 254 w 761"/>
                  <a:gd name="T81" fmla="*/ 961 h 1007"/>
                  <a:gd name="T82" fmla="*/ 229 w 761"/>
                  <a:gd name="T83" fmla="*/ 961 h 1007"/>
                  <a:gd name="T84" fmla="*/ 196 w 761"/>
                  <a:gd name="T85" fmla="*/ 975 h 1007"/>
                  <a:gd name="T86" fmla="*/ 169 w 761"/>
                  <a:gd name="T87" fmla="*/ 982 h 1007"/>
                  <a:gd name="T88" fmla="*/ 115 w 761"/>
                  <a:gd name="T89" fmla="*/ 1002 h 1007"/>
                  <a:gd name="T90" fmla="*/ 72 w 761"/>
                  <a:gd name="T91" fmla="*/ 928 h 1007"/>
                  <a:gd name="T92" fmla="*/ 32 w 761"/>
                  <a:gd name="T93" fmla="*/ 816 h 1007"/>
                  <a:gd name="T94" fmla="*/ 11 w 761"/>
                  <a:gd name="T95" fmla="*/ 721 h 1007"/>
                  <a:gd name="T96" fmla="*/ 177 w 761"/>
                  <a:gd name="T97" fmla="*/ 653 h 1007"/>
                  <a:gd name="T98" fmla="*/ 296 w 761"/>
                  <a:gd name="T99" fmla="*/ 585 h 1007"/>
                  <a:gd name="T100" fmla="*/ 337 w 761"/>
                  <a:gd name="T101" fmla="*/ 431 h 1007"/>
                  <a:gd name="T102" fmla="*/ 348 w 761"/>
                  <a:gd name="T103" fmla="*/ 349 h 1007"/>
                  <a:gd name="T104" fmla="*/ 323 w 761"/>
                  <a:gd name="T105" fmla="*/ 208 h 1007"/>
                  <a:gd name="T106" fmla="*/ 345 w 761"/>
                  <a:gd name="T107" fmla="*/ 148 h 1007"/>
                  <a:gd name="T108" fmla="*/ 347 w 761"/>
                  <a:gd name="T109" fmla="*/ 120 h 1007"/>
                  <a:gd name="T110" fmla="*/ 371 w 761"/>
                  <a:gd name="T111" fmla="*/ 118 h 1007"/>
                  <a:gd name="T112" fmla="*/ 366 w 761"/>
                  <a:gd name="T113" fmla="*/ 92 h 1007"/>
                  <a:gd name="T114" fmla="*/ 366 w 761"/>
                  <a:gd name="T115" fmla="*/ 66 h 1007"/>
                  <a:gd name="T116" fmla="*/ 369 w 761"/>
                  <a:gd name="T117" fmla="*/ 34 h 1007"/>
                  <a:gd name="T118" fmla="*/ 384 w 761"/>
                  <a:gd name="T119" fmla="*/ 0 h 1007"/>
                  <a:gd name="T120" fmla="*/ 385 w 761"/>
                  <a:gd name="T121" fmla="*/ 12 h 1007"/>
                  <a:gd name="T122" fmla="*/ 402 w 761"/>
                  <a:gd name="T123" fmla="*/ 26 h 1007"/>
                  <a:gd name="T124" fmla="*/ 421 w 761"/>
                  <a:gd name="T125" fmla="*/ 6 h 1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1" h="1006">
                    <a:moveTo>
                      <a:pt x="427" y="0"/>
                    </a:moveTo>
                    <a:lnTo>
                      <a:pt x="428" y="9"/>
                    </a:lnTo>
                    <a:lnTo>
                      <a:pt x="434" y="24"/>
                    </a:lnTo>
                    <a:lnTo>
                      <a:pt x="436" y="26"/>
                    </a:lnTo>
                    <a:lnTo>
                      <a:pt x="436" y="29"/>
                    </a:lnTo>
                    <a:lnTo>
                      <a:pt x="437" y="34"/>
                    </a:lnTo>
                    <a:lnTo>
                      <a:pt x="448" y="58"/>
                    </a:lnTo>
                    <a:lnTo>
                      <a:pt x="451" y="61"/>
                    </a:lnTo>
                    <a:lnTo>
                      <a:pt x="456" y="67"/>
                    </a:lnTo>
                    <a:lnTo>
                      <a:pt x="467" y="83"/>
                    </a:lnTo>
                    <a:lnTo>
                      <a:pt x="470" y="86"/>
                    </a:lnTo>
                    <a:lnTo>
                      <a:pt x="470" y="89"/>
                    </a:lnTo>
                    <a:lnTo>
                      <a:pt x="471" y="92"/>
                    </a:lnTo>
                    <a:lnTo>
                      <a:pt x="480" y="106"/>
                    </a:lnTo>
                    <a:lnTo>
                      <a:pt x="491" y="117"/>
                    </a:lnTo>
                    <a:lnTo>
                      <a:pt x="501" y="124"/>
                    </a:lnTo>
                    <a:lnTo>
                      <a:pt x="504" y="127"/>
                    </a:lnTo>
                    <a:lnTo>
                      <a:pt x="517" y="134"/>
                    </a:lnTo>
                    <a:lnTo>
                      <a:pt x="536" y="138"/>
                    </a:lnTo>
                    <a:lnTo>
                      <a:pt x="544" y="143"/>
                    </a:lnTo>
                    <a:lnTo>
                      <a:pt x="548" y="145"/>
                    </a:lnTo>
                    <a:lnTo>
                      <a:pt x="553" y="146"/>
                    </a:lnTo>
                    <a:lnTo>
                      <a:pt x="554" y="146"/>
                    </a:lnTo>
                    <a:lnTo>
                      <a:pt x="562" y="146"/>
                    </a:lnTo>
                    <a:lnTo>
                      <a:pt x="564" y="146"/>
                    </a:lnTo>
                    <a:lnTo>
                      <a:pt x="567" y="151"/>
                    </a:lnTo>
                    <a:lnTo>
                      <a:pt x="570" y="152"/>
                    </a:lnTo>
                    <a:lnTo>
                      <a:pt x="571" y="154"/>
                    </a:lnTo>
                    <a:lnTo>
                      <a:pt x="575" y="154"/>
                    </a:lnTo>
                    <a:lnTo>
                      <a:pt x="587" y="154"/>
                    </a:lnTo>
                    <a:lnTo>
                      <a:pt x="591" y="154"/>
                    </a:lnTo>
                    <a:lnTo>
                      <a:pt x="596" y="154"/>
                    </a:lnTo>
                    <a:lnTo>
                      <a:pt x="602" y="157"/>
                    </a:lnTo>
                    <a:lnTo>
                      <a:pt x="604" y="158"/>
                    </a:lnTo>
                    <a:lnTo>
                      <a:pt x="605" y="158"/>
                    </a:lnTo>
                    <a:lnTo>
                      <a:pt x="608" y="163"/>
                    </a:lnTo>
                    <a:lnTo>
                      <a:pt x="610" y="164"/>
                    </a:lnTo>
                    <a:lnTo>
                      <a:pt x="613" y="166"/>
                    </a:lnTo>
                    <a:lnTo>
                      <a:pt x="618" y="166"/>
                    </a:lnTo>
                    <a:lnTo>
                      <a:pt x="622" y="166"/>
                    </a:lnTo>
                    <a:lnTo>
                      <a:pt x="627" y="166"/>
                    </a:lnTo>
                    <a:lnTo>
                      <a:pt x="628" y="164"/>
                    </a:lnTo>
                    <a:lnTo>
                      <a:pt x="630" y="163"/>
                    </a:lnTo>
                    <a:lnTo>
                      <a:pt x="630" y="161"/>
                    </a:lnTo>
                    <a:lnTo>
                      <a:pt x="631" y="161"/>
                    </a:lnTo>
                    <a:lnTo>
                      <a:pt x="633" y="161"/>
                    </a:lnTo>
                    <a:lnTo>
                      <a:pt x="638" y="161"/>
                    </a:lnTo>
                    <a:lnTo>
                      <a:pt x="639" y="163"/>
                    </a:lnTo>
                    <a:lnTo>
                      <a:pt x="642" y="163"/>
                    </a:lnTo>
                    <a:lnTo>
                      <a:pt x="642" y="164"/>
                    </a:lnTo>
                    <a:lnTo>
                      <a:pt x="644" y="171"/>
                    </a:lnTo>
                    <a:lnTo>
                      <a:pt x="645" y="171"/>
                    </a:lnTo>
                    <a:lnTo>
                      <a:pt x="647" y="172"/>
                    </a:lnTo>
                    <a:lnTo>
                      <a:pt x="649" y="172"/>
                    </a:lnTo>
                    <a:lnTo>
                      <a:pt x="650" y="174"/>
                    </a:lnTo>
                    <a:lnTo>
                      <a:pt x="652" y="175"/>
                    </a:lnTo>
                    <a:lnTo>
                      <a:pt x="652" y="177"/>
                    </a:lnTo>
                    <a:lnTo>
                      <a:pt x="653" y="174"/>
                    </a:lnTo>
                    <a:lnTo>
                      <a:pt x="653" y="175"/>
                    </a:lnTo>
                    <a:lnTo>
                      <a:pt x="653" y="177"/>
                    </a:lnTo>
                    <a:lnTo>
                      <a:pt x="655" y="177"/>
                    </a:lnTo>
                    <a:lnTo>
                      <a:pt x="655" y="175"/>
                    </a:lnTo>
                    <a:lnTo>
                      <a:pt x="656" y="175"/>
                    </a:lnTo>
                    <a:lnTo>
                      <a:pt x="659" y="178"/>
                    </a:lnTo>
                    <a:lnTo>
                      <a:pt x="659" y="181"/>
                    </a:lnTo>
                    <a:lnTo>
                      <a:pt x="659" y="183"/>
                    </a:lnTo>
                    <a:lnTo>
                      <a:pt x="661" y="185"/>
                    </a:lnTo>
                    <a:lnTo>
                      <a:pt x="661" y="191"/>
                    </a:lnTo>
                    <a:lnTo>
                      <a:pt x="662" y="192"/>
                    </a:lnTo>
                    <a:lnTo>
                      <a:pt x="668" y="198"/>
                    </a:lnTo>
                    <a:lnTo>
                      <a:pt x="671" y="200"/>
                    </a:lnTo>
                    <a:lnTo>
                      <a:pt x="673" y="203"/>
                    </a:lnTo>
                    <a:lnTo>
                      <a:pt x="675" y="208"/>
                    </a:lnTo>
                    <a:lnTo>
                      <a:pt x="676" y="209"/>
                    </a:lnTo>
                    <a:lnTo>
                      <a:pt x="679" y="212"/>
                    </a:lnTo>
                    <a:lnTo>
                      <a:pt x="681" y="215"/>
                    </a:lnTo>
                    <a:lnTo>
                      <a:pt x="681" y="223"/>
                    </a:lnTo>
                    <a:lnTo>
                      <a:pt x="687" y="231"/>
                    </a:lnTo>
                    <a:lnTo>
                      <a:pt x="689" y="235"/>
                    </a:lnTo>
                    <a:lnTo>
                      <a:pt x="692" y="238"/>
                    </a:lnTo>
                    <a:lnTo>
                      <a:pt x="696" y="241"/>
                    </a:lnTo>
                    <a:lnTo>
                      <a:pt x="699" y="245"/>
                    </a:lnTo>
                    <a:lnTo>
                      <a:pt x="702" y="248"/>
                    </a:lnTo>
                    <a:lnTo>
                      <a:pt x="704" y="252"/>
                    </a:lnTo>
                    <a:lnTo>
                      <a:pt x="707" y="263"/>
                    </a:lnTo>
                    <a:lnTo>
                      <a:pt x="708" y="265"/>
                    </a:lnTo>
                    <a:lnTo>
                      <a:pt x="708" y="266"/>
                    </a:lnTo>
                    <a:lnTo>
                      <a:pt x="710" y="268"/>
                    </a:lnTo>
                    <a:lnTo>
                      <a:pt x="715" y="271"/>
                    </a:lnTo>
                    <a:lnTo>
                      <a:pt x="718" y="277"/>
                    </a:lnTo>
                    <a:lnTo>
                      <a:pt x="718" y="280"/>
                    </a:lnTo>
                    <a:lnTo>
                      <a:pt x="719" y="281"/>
                    </a:lnTo>
                    <a:lnTo>
                      <a:pt x="724" y="286"/>
                    </a:lnTo>
                    <a:lnTo>
                      <a:pt x="727" y="288"/>
                    </a:lnTo>
                    <a:lnTo>
                      <a:pt x="729" y="289"/>
                    </a:lnTo>
                    <a:lnTo>
                      <a:pt x="732" y="291"/>
                    </a:lnTo>
                    <a:lnTo>
                      <a:pt x="732" y="292"/>
                    </a:lnTo>
                    <a:lnTo>
                      <a:pt x="732" y="294"/>
                    </a:lnTo>
                    <a:lnTo>
                      <a:pt x="730" y="294"/>
                    </a:lnTo>
                    <a:lnTo>
                      <a:pt x="730" y="292"/>
                    </a:lnTo>
                    <a:lnTo>
                      <a:pt x="730" y="294"/>
                    </a:lnTo>
                    <a:lnTo>
                      <a:pt x="730" y="296"/>
                    </a:lnTo>
                    <a:lnTo>
                      <a:pt x="732" y="296"/>
                    </a:lnTo>
                    <a:lnTo>
                      <a:pt x="733" y="296"/>
                    </a:lnTo>
                    <a:lnTo>
                      <a:pt x="741" y="292"/>
                    </a:lnTo>
                    <a:lnTo>
                      <a:pt x="742" y="294"/>
                    </a:lnTo>
                    <a:lnTo>
                      <a:pt x="747" y="297"/>
                    </a:lnTo>
                    <a:lnTo>
                      <a:pt x="748" y="297"/>
                    </a:lnTo>
                    <a:lnTo>
                      <a:pt x="750" y="297"/>
                    </a:lnTo>
                    <a:lnTo>
                      <a:pt x="750" y="299"/>
                    </a:lnTo>
                    <a:lnTo>
                      <a:pt x="750" y="300"/>
                    </a:lnTo>
                    <a:lnTo>
                      <a:pt x="750" y="302"/>
                    </a:lnTo>
                    <a:lnTo>
                      <a:pt x="752" y="302"/>
                    </a:lnTo>
                    <a:lnTo>
                      <a:pt x="752" y="303"/>
                    </a:lnTo>
                    <a:lnTo>
                      <a:pt x="753" y="303"/>
                    </a:lnTo>
                    <a:lnTo>
                      <a:pt x="753" y="302"/>
                    </a:lnTo>
                    <a:lnTo>
                      <a:pt x="752" y="299"/>
                    </a:lnTo>
                    <a:lnTo>
                      <a:pt x="752" y="297"/>
                    </a:lnTo>
                    <a:lnTo>
                      <a:pt x="753" y="297"/>
                    </a:lnTo>
                    <a:lnTo>
                      <a:pt x="755" y="297"/>
                    </a:lnTo>
                    <a:lnTo>
                      <a:pt x="758" y="299"/>
                    </a:lnTo>
                    <a:lnTo>
                      <a:pt x="759" y="302"/>
                    </a:lnTo>
                    <a:lnTo>
                      <a:pt x="761" y="305"/>
                    </a:lnTo>
                    <a:lnTo>
                      <a:pt x="761" y="309"/>
                    </a:lnTo>
                    <a:lnTo>
                      <a:pt x="759" y="329"/>
                    </a:lnTo>
                    <a:lnTo>
                      <a:pt x="758" y="334"/>
                    </a:lnTo>
                    <a:lnTo>
                      <a:pt x="756" y="339"/>
                    </a:lnTo>
                    <a:lnTo>
                      <a:pt x="752" y="348"/>
                    </a:lnTo>
                    <a:lnTo>
                      <a:pt x="748" y="351"/>
                    </a:lnTo>
                    <a:lnTo>
                      <a:pt x="747" y="352"/>
                    </a:lnTo>
                    <a:lnTo>
                      <a:pt x="745" y="355"/>
                    </a:lnTo>
                    <a:lnTo>
                      <a:pt x="745" y="357"/>
                    </a:lnTo>
                    <a:lnTo>
                      <a:pt x="744" y="363"/>
                    </a:lnTo>
                    <a:lnTo>
                      <a:pt x="744" y="369"/>
                    </a:lnTo>
                    <a:lnTo>
                      <a:pt x="742" y="372"/>
                    </a:lnTo>
                    <a:lnTo>
                      <a:pt x="738" y="374"/>
                    </a:lnTo>
                    <a:lnTo>
                      <a:pt x="738" y="375"/>
                    </a:lnTo>
                    <a:lnTo>
                      <a:pt x="736" y="380"/>
                    </a:lnTo>
                    <a:lnTo>
                      <a:pt x="729" y="392"/>
                    </a:lnTo>
                    <a:lnTo>
                      <a:pt x="726" y="403"/>
                    </a:lnTo>
                    <a:lnTo>
                      <a:pt x="724" y="408"/>
                    </a:lnTo>
                    <a:lnTo>
                      <a:pt x="715" y="425"/>
                    </a:lnTo>
                    <a:lnTo>
                      <a:pt x="713" y="429"/>
                    </a:lnTo>
                    <a:lnTo>
                      <a:pt x="713" y="431"/>
                    </a:lnTo>
                    <a:lnTo>
                      <a:pt x="699" y="439"/>
                    </a:lnTo>
                    <a:lnTo>
                      <a:pt x="696" y="440"/>
                    </a:lnTo>
                    <a:lnTo>
                      <a:pt x="685" y="451"/>
                    </a:lnTo>
                    <a:lnTo>
                      <a:pt x="671" y="466"/>
                    </a:lnTo>
                    <a:lnTo>
                      <a:pt x="668" y="474"/>
                    </a:lnTo>
                    <a:lnTo>
                      <a:pt x="667" y="474"/>
                    </a:lnTo>
                    <a:lnTo>
                      <a:pt x="665" y="476"/>
                    </a:lnTo>
                    <a:lnTo>
                      <a:pt x="664" y="479"/>
                    </a:lnTo>
                    <a:lnTo>
                      <a:pt x="661" y="485"/>
                    </a:lnTo>
                    <a:lnTo>
                      <a:pt x="661" y="486"/>
                    </a:lnTo>
                    <a:lnTo>
                      <a:pt x="661" y="491"/>
                    </a:lnTo>
                    <a:lnTo>
                      <a:pt x="659" y="492"/>
                    </a:lnTo>
                    <a:lnTo>
                      <a:pt x="655" y="499"/>
                    </a:lnTo>
                    <a:lnTo>
                      <a:pt x="655" y="500"/>
                    </a:lnTo>
                    <a:lnTo>
                      <a:pt x="653" y="502"/>
                    </a:lnTo>
                    <a:lnTo>
                      <a:pt x="649" y="505"/>
                    </a:lnTo>
                    <a:lnTo>
                      <a:pt x="649" y="506"/>
                    </a:lnTo>
                    <a:lnTo>
                      <a:pt x="647" y="508"/>
                    </a:lnTo>
                    <a:lnTo>
                      <a:pt x="647" y="510"/>
                    </a:lnTo>
                    <a:lnTo>
                      <a:pt x="649" y="511"/>
                    </a:lnTo>
                    <a:lnTo>
                      <a:pt x="649" y="513"/>
                    </a:lnTo>
                    <a:lnTo>
                      <a:pt x="650" y="513"/>
                    </a:lnTo>
                    <a:lnTo>
                      <a:pt x="652" y="513"/>
                    </a:lnTo>
                    <a:lnTo>
                      <a:pt x="653" y="511"/>
                    </a:lnTo>
                    <a:lnTo>
                      <a:pt x="653" y="510"/>
                    </a:lnTo>
                    <a:lnTo>
                      <a:pt x="653" y="513"/>
                    </a:lnTo>
                    <a:lnTo>
                      <a:pt x="653" y="514"/>
                    </a:lnTo>
                    <a:lnTo>
                      <a:pt x="652" y="516"/>
                    </a:lnTo>
                    <a:lnTo>
                      <a:pt x="649" y="516"/>
                    </a:lnTo>
                    <a:lnTo>
                      <a:pt x="649" y="514"/>
                    </a:lnTo>
                    <a:lnTo>
                      <a:pt x="647" y="514"/>
                    </a:lnTo>
                    <a:lnTo>
                      <a:pt x="647" y="516"/>
                    </a:lnTo>
                    <a:lnTo>
                      <a:pt x="647" y="519"/>
                    </a:lnTo>
                    <a:lnTo>
                      <a:pt x="645" y="522"/>
                    </a:lnTo>
                    <a:lnTo>
                      <a:pt x="642" y="523"/>
                    </a:lnTo>
                    <a:lnTo>
                      <a:pt x="642" y="525"/>
                    </a:lnTo>
                    <a:lnTo>
                      <a:pt x="641" y="526"/>
                    </a:lnTo>
                    <a:lnTo>
                      <a:pt x="639" y="529"/>
                    </a:lnTo>
                    <a:lnTo>
                      <a:pt x="639" y="533"/>
                    </a:lnTo>
                    <a:lnTo>
                      <a:pt x="638" y="537"/>
                    </a:lnTo>
                    <a:lnTo>
                      <a:pt x="636" y="542"/>
                    </a:lnTo>
                    <a:lnTo>
                      <a:pt x="634" y="547"/>
                    </a:lnTo>
                    <a:lnTo>
                      <a:pt x="634" y="548"/>
                    </a:lnTo>
                    <a:lnTo>
                      <a:pt x="634" y="550"/>
                    </a:lnTo>
                    <a:lnTo>
                      <a:pt x="633" y="553"/>
                    </a:lnTo>
                    <a:lnTo>
                      <a:pt x="633" y="554"/>
                    </a:lnTo>
                    <a:lnTo>
                      <a:pt x="631" y="556"/>
                    </a:lnTo>
                    <a:lnTo>
                      <a:pt x="630" y="556"/>
                    </a:lnTo>
                    <a:lnTo>
                      <a:pt x="628" y="557"/>
                    </a:lnTo>
                    <a:lnTo>
                      <a:pt x="628" y="560"/>
                    </a:lnTo>
                    <a:lnTo>
                      <a:pt x="627" y="562"/>
                    </a:lnTo>
                    <a:lnTo>
                      <a:pt x="624" y="562"/>
                    </a:lnTo>
                    <a:lnTo>
                      <a:pt x="621" y="560"/>
                    </a:lnTo>
                    <a:lnTo>
                      <a:pt x="619" y="559"/>
                    </a:lnTo>
                    <a:lnTo>
                      <a:pt x="618" y="559"/>
                    </a:lnTo>
                    <a:lnTo>
                      <a:pt x="615" y="559"/>
                    </a:lnTo>
                    <a:lnTo>
                      <a:pt x="613" y="559"/>
                    </a:lnTo>
                    <a:lnTo>
                      <a:pt x="612" y="560"/>
                    </a:lnTo>
                    <a:lnTo>
                      <a:pt x="610" y="560"/>
                    </a:lnTo>
                    <a:lnTo>
                      <a:pt x="610" y="559"/>
                    </a:lnTo>
                    <a:lnTo>
                      <a:pt x="607" y="557"/>
                    </a:lnTo>
                    <a:lnTo>
                      <a:pt x="605" y="557"/>
                    </a:lnTo>
                    <a:lnTo>
                      <a:pt x="602" y="556"/>
                    </a:lnTo>
                    <a:lnTo>
                      <a:pt x="602" y="553"/>
                    </a:lnTo>
                    <a:lnTo>
                      <a:pt x="604" y="548"/>
                    </a:lnTo>
                    <a:lnTo>
                      <a:pt x="604" y="550"/>
                    </a:lnTo>
                    <a:lnTo>
                      <a:pt x="604" y="551"/>
                    </a:lnTo>
                    <a:lnTo>
                      <a:pt x="605" y="553"/>
                    </a:lnTo>
                    <a:lnTo>
                      <a:pt x="605" y="554"/>
                    </a:lnTo>
                    <a:lnTo>
                      <a:pt x="607" y="551"/>
                    </a:lnTo>
                    <a:lnTo>
                      <a:pt x="605" y="545"/>
                    </a:lnTo>
                    <a:lnTo>
                      <a:pt x="607" y="543"/>
                    </a:lnTo>
                    <a:lnTo>
                      <a:pt x="607" y="540"/>
                    </a:lnTo>
                    <a:lnTo>
                      <a:pt x="608" y="537"/>
                    </a:lnTo>
                    <a:lnTo>
                      <a:pt x="608" y="534"/>
                    </a:lnTo>
                    <a:lnTo>
                      <a:pt x="608" y="531"/>
                    </a:lnTo>
                    <a:lnTo>
                      <a:pt x="605" y="531"/>
                    </a:lnTo>
                    <a:lnTo>
                      <a:pt x="602" y="531"/>
                    </a:lnTo>
                    <a:lnTo>
                      <a:pt x="601" y="531"/>
                    </a:lnTo>
                    <a:lnTo>
                      <a:pt x="598" y="534"/>
                    </a:lnTo>
                    <a:lnTo>
                      <a:pt x="593" y="536"/>
                    </a:lnTo>
                    <a:lnTo>
                      <a:pt x="591" y="536"/>
                    </a:lnTo>
                    <a:lnTo>
                      <a:pt x="591" y="537"/>
                    </a:lnTo>
                    <a:lnTo>
                      <a:pt x="590" y="543"/>
                    </a:lnTo>
                    <a:lnTo>
                      <a:pt x="590" y="545"/>
                    </a:lnTo>
                    <a:lnTo>
                      <a:pt x="590" y="547"/>
                    </a:lnTo>
                    <a:lnTo>
                      <a:pt x="590" y="548"/>
                    </a:lnTo>
                    <a:lnTo>
                      <a:pt x="588" y="548"/>
                    </a:lnTo>
                    <a:lnTo>
                      <a:pt x="585" y="550"/>
                    </a:lnTo>
                    <a:lnTo>
                      <a:pt x="584" y="550"/>
                    </a:lnTo>
                    <a:lnTo>
                      <a:pt x="582" y="551"/>
                    </a:lnTo>
                    <a:lnTo>
                      <a:pt x="581" y="554"/>
                    </a:lnTo>
                    <a:lnTo>
                      <a:pt x="579" y="556"/>
                    </a:lnTo>
                    <a:lnTo>
                      <a:pt x="579" y="557"/>
                    </a:lnTo>
                    <a:lnTo>
                      <a:pt x="579" y="559"/>
                    </a:lnTo>
                    <a:lnTo>
                      <a:pt x="581" y="560"/>
                    </a:lnTo>
                    <a:lnTo>
                      <a:pt x="581" y="562"/>
                    </a:lnTo>
                    <a:lnTo>
                      <a:pt x="579" y="565"/>
                    </a:lnTo>
                    <a:lnTo>
                      <a:pt x="578" y="566"/>
                    </a:lnTo>
                    <a:lnTo>
                      <a:pt x="575" y="568"/>
                    </a:lnTo>
                    <a:lnTo>
                      <a:pt x="573" y="570"/>
                    </a:lnTo>
                    <a:lnTo>
                      <a:pt x="570" y="571"/>
                    </a:lnTo>
                    <a:lnTo>
                      <a:pt x="570" y="573"/>
                    </a:lnTo>
                    <a:lnTo>
                      <a:pt x="568" y="576"/>
                    </a:lnTo>
                    <a:lnTo>
                      <a:pt x="568" y="577"/>
                    </a:lnTo>
                    <a:lnTo>
                      <a:pt x="567" y="579"/>
                    </a:lnTo>
                    <a:lnTo>
                      <a:pt x="565" y="580"/>
                    </a:lnTo>
                    <a:lnTo>
                      <a:pt x="565" y="584"/>
                    </a:lnTo>
                    <a:lnTo>
                      <a:pt x="568" y="588"/>
                    </a:lnTo>
                    <a:lnTo>
                      <a:pt x="568" y="591"/>
                    </a:lnTo>
                    <a:lnTo>
                      <a:pt x="567" y="596"/>
                    </a:lnTo>
                    <a:lnTo>
                      <a:pt x="565" y="602"/>
                    </a:lnTo>
                    <a:lnTo>
                      <a:pt x="565" y="603"/>
                    </a:lnTo>
                    <a:lnTo>
                      <a:pt x="565" y="608"/>
                    </a:lnTo>
                    <a:lnTo>
                      <a:pt x="562" y="614"/>
                    </a:lnTo>
                    <a:lnTo>
                      <a:pt x="561" y="620"/>
                    </a:lnTo>
                    <a:lnTo>
                      <a:pt x="561" y="624"/>
                    </a:lnTo>
                    <a:lnTo>
                      <a:pt x="554" y="634"/>
                    </a:lnTo>
                    <a:lnTo>
                      <a:pt x="553" y="637"/>
                    </a:lnTo>
                    <a:lnTo>
                      <a:pt x="553" y="640"/>
                    </a:lnTo>
                    <a:lnTo>
                      <a:pt x="554" y="642"/>
                    </a:lnTo>
                    <a:lnTo>
                      <a:pt x="554" y="643"/>
                    </a:lnTo>
                    <a:lnTo>
                      <a:pt x="556" y="645"/>
                    </a:lnTo>
                    <a:lnTo>
                      <a:pt x="556" y="647"/>
                    </a:lnTo>
                    <a:lnTo>
                      <a:pt x="556" y="650"/>
                    </a:lnTo>
                    <a:lnTo>
                      <a:pt x="556" y="651"/>
                    </a:lnTo>
                    <a:lnTo>
                      <a:pt x="556" y="653"/>
                    </a:lnTo>
                    <a:lnTo>
                      <a:pt x="554" y="656"/>
                    </a:lnTo>
                    <a:lnTo>
                      <a:pt x="554" y="659"/>
                    </a:lnTo>
                    <a:lnTo>
                      <a:pt x="554" y="662"/>
                    </a:lnTo>
                    <a:lnTo>
                      <a:pt x="559" y="670"/>
                    </a:lnTo>
                    <a:lnTo>
                      <a:pt x="561" y="673"/>
                    </a:lnTo>
                    <a:lnTo>
                      <a:pt x="561" y="676"/>
                    </a:lnTo>
                    <a:lnTo>
                      <a:pt x="561" y="679"/>
                    </a:lnTo>
                    <a:lnTo>
                      <a:pt x="561" y="682"/>
                    </a:lnTo>
                    <a:lnTo>
                      <a:pt x="559" y="688"/>
                    </a:lnTo>
                    <a:lnTo>
                      <a:pt x="559" y="690"/>
                    </a:lnTo>
                    <a:lnTo>
                      <a:pt x="559" y="693"/>
                    </a:lnTo>
                    <a:lnTo>
                      <a:pt x="561" y="699"/>
                    </a:lnTo>
                    <a:lnTo>
                      <a:pt x="562" y="700"/>
                    </a:lnTo>
                    <a:lnTo>
                      <a:pt x="564" y="703"/>
                    </a:lnTo>
                    <a:lnTo>
                      <a:pt x="565" y="707"/>
                    </a:lnTo>
                    <a:lnTo>
                      <a:pt x="564" y="711"/>
                    </a:lnTo>
                    <a:lnTo>
                      <a:pt x="564" y="713"/>
                    </a:lnTo>
                    <a:lnTo>
                      <a:pt x="567" y="721"/>
                    </a:lnTo>
                    <a:lnTo>
                      <a:pt x="567" y="724"/>
                    </a:lnTo>
                    <a:lnTo>
                      <a:pt x="565" y="725"/>
                    </a:lnTo>
                    <a:lnTo>
                      <a:pt x="564" y="727"/>
                    </a:lnTo>
                    <a:lnTo>
                      <a:pt x="559" y="728"/>
                    </a:lnTo>
                    <a:lnTo>
                      <a:pt x="557" y="730"/>
                    </a:lnTo>
                    <a:lnTo>
                      <a:pt x="556" y="731"/>
                    </a:lnTo>
                    <a:lnTo>
                      <a:pt x="554" y="731"/>
                    </a:lnTo>
                    <a:lnTo>
                      <a:pt x="535" y="730"/>
                    </a:lnTo>
                    <a:lnTo>
                      <a:pt x="530" y="731"/>
                    </a:lnTo>
                    <a:lnTo>
                      <a:pt x="507" y="736"/>
                    </a:lnTo>
                    <a:lnTo>
                      <a:pt x="494" y="739"/>
                    </a:lnTo>
                    <a:lnTo>
                      <a:pt x="477" y="748"/>
                    </a:lnTo>
                    <a:lnTo>
                      <a:pt x="471" y="753"/>
                    </a:lnTo>
                    <a:lnTo>
                      <a:pt x="468" y="756"/>
                    </a:lnTo>
                    <a:lnTo>
                      <a:pt x="465" y="758"/>
                    </a:lnTo>
                    <a:lnTo>
                      <a:pt x="465" y="761"/>
                    </a:lnTo>
                    <a:lnTo>
                      <a:pt x="464" y="761"/>
                    </a:lnTo>
                    <a:lnTo>
                      <a:pt x="453" y="773"/>
                    </a:lnTo>
                    <a:lnTo>
                      <a:pt x="451" y="777"/>
                    </a:lnTo>
                    <a:lnTo>
                      <a:pt x="451" y="784"/>
                    </a:lnTo>
                    <a:lnTo>
                      <a:pt x="451" y="787"/>
                    </a:lnTo>
                    <a:lnTo>
                      <a:pt x="451" y="788"/>
                    </a:lnTo>
                    <a:lnTo>
                      <a:pt x="451" y="790"/>
                    </a:lnTo>
                    <a:lnTo>
                      <a:pt x="450" y="793"/>
                    </a:lnTo>
                    <a:lnTo>
                      <a:pt x="450" y="795"/>
                    </a:lnTo>
                    <a:lnTo>
                      <a:pt x="448" y="798"/>
                    </a:lnTo>
                    <a:lnTo>
                      <a:pt x="448" y="804"/>
                    </a:lnTo>
                    <a:lnTo>
                      <a:pt x="448" y="808"/>
                    </a:lnTo>
                    <a:lnTo>
                      <a:pt x="442" y="822"/>
                    </a:lnTo>
                    <a:lnTo>
                      <a:pt x="443" y="824"/>
                    </a:lnTo>
                    <a:lnTo>
                      <a:pt x="443" y="827"/>
                    </a:lnTo>
                    <a:lnTo>
                      <a:pt x="442" y="830"/>
                    </a:lnTo>
                    <a:lnTo>
                      <a:pt x="440" y="831"/>
                    </a:lnTo>
                    <a:lnTo>
                      <a:pt x="436" y="833"/>
                    </a:lnTo>
                    <a:lnTo>
                      <a:pt x="434" y="835"/>
                    </a:lnTo>
                    <a:lnTo>
                      <a:pt x="431" y="841"/>
                    </a:lnTo>
                    <a:lnTo>
                      <a:pt x="431" y="842"/>
                    </a:lnTo>
                    <a:lnTo>
                      <a:pt x="430" y="842"/>
                    </a:lnTo>
                    <a:lnTo>
                      <a:pt x="428" y="842"/>
                    </a:lnTo>
                    <a:lnTo>
                      <a:pt x="424" y="848"/>
                    </a:lnTo>
                    <a:lnTo>
                      <a:pt x="424" y="850"/>
                    </a:lnTo>
                    <a:lnTo>
                      <a:pt x="424" y="851"/>
                    </a:lnTo>
                    <a:lnTo>
                      <a:pt x="424" y="853"/>
                    </a:lnTo>
                    <a:lnTo>
                      <a:pt x="408" y="850"/>
                    </a:lnTo>
                    <a:lnTo>
                      <a:pt x="405" y="850"/>
                    </a:lnTo>
                    <a:lnTo>
                      <a:pt x="403" y="851"/>
                    </a:lnTo>
                    <a:lnTo>
                      <a:pt x="400" y="853"/>
                    </a:lnTo>
                    <a:lnTo>
                      <a:pt x="393" y="851"/>
                    </a:lnTo>
                    <a:lnTo>
                      <a:pt x="391" y="851"/>
                    </a:lnTo>
                    <a:lnTo>
                      <a:pt x="384" y="854"/>
                    </a:lnTo>
                    <a:lnTo>
                      <a:pt x="380" y="856"/>
                    </a:lnTo>
                    <a:lnTo>
                      <a:pt x="356" y="858"/>
                    </a:lnTo>
                    <a:lnTo>
                      <a:pt x="347" y="861"/>
                    </a:lnTo>
                    <a:lnTo>
                      <a:pt x="343" y="861"/>
                    </a:lnTo>
                    <a:lnTo>
                      <a:pt x="342" y="861"/>
                    </a:lnTo>
                    <a:lnTo>
                      <a:pt x="342" y="862"/>
                    </a:lnTo>
                    <a:lnTo>
                      <a:pt x="340" y="862"/>
                    </a:lnTo>
                    <a:lnTo>
                      <a:pt x="337" y="864"/>
                    </a:lnTo>
                    <a:lnTo>
                      <a:pt x="336" y="864"/>
                    </a:lnTo>
                    <a:lnTo>
                      <a:pt x="334" y="865"/>
                    </a:lnTo>
                    <a:lnTo>
                      <a:pt x="333" y="870"/>
                    </a:lnTo>
                    <a:lnTo>
                      <a:pt x="333" y="873"/>
                    </a:lnTo>
                    <a:lnTo>
                      <a:pt x="331" y="875"/>
                    </a:lnTo>
                    <a:lnTo>
                      <a:pt x="329" y="876"/>
                    </a:lnTo>
                    <a:lnTo>
                      <a:pt x="328" y="881"/>
                    </a:lnTo>
                    <a:lnTo>
                      <a:pt x="326" y="882"/>
                    </a:lnTo>
                    <a:lnTo>
                      <a:pt x="319" y="891"/>
                    </a:lnTo>
                    <a:lnTo>
                      <a:pt x="316" y="898"/>
                    </a:lnTo>
                    <a:lnTo>
                      <a:pt x="314" y="901"/>
                    </a:lnTo>
                    <a:lnTo>
                      <a:pt x="314" y="902"/>
                    </a:lnTo>
                    <a:lnTo>
                      <a:pt x="314" y="905"/>
                    </a:lnTo>
                    <a:lnTo>
                      <a:pt x="316" y="909"/>
                    </a:lnTo>
                    <a:lnTo>
                      <a:pt x="319" y="910"/>
                    </a:lnTo>
                    <a:lnTo>
                      <a:pt x="320" y="912"/>
                    </a:lnTo>
                    <a:lnTo>
                      <a:pt x="322" y="915"/>
                    </a:lnTo>
                    <a:lnTo>
                      <a:pt x="322" y="921"/>
                    </a:lnTo>
                    <a:lnTo>
                      <a:pt x="320" y="922"/>
                    </a:lnTo>
                    <a:lnTo>
                      <a:pt x="317" y="928"/>
                    </a:lnTo>
                    <a:lnTo>
                      <a:pt x="317" y="930"/>
                    </a:lnTo>
                    <a:lnTo>
                      <a:pt x="317" y="931"/>
                    </a:lnTo>
                    <a:lnTo>
                      <a:pt x="317" y="933"/>
                    </a:lnTo>
                    <a:lnTo>
                      <a:pt x="319" y="935"/>
                    </a:lnTo>
                    <a:lnTo>
                      <a:pt x="317" y="936"/>
                    </a:lnTo>
                    <a:lnTo>
                      <a:pt x="317" y="938"/>
                    </a:lnTo>
                    <a:lnTo>
                      <a:pt x="314" y="939"/>
                    </a:lnTo>
                    <a:lnTo>
                      <a:pt x="313" y="941"/>
                    </a:lnTo>
                    <a:lnTo>
                      <a:pt x="313" y="944"/>
                    </a:lnTo>
                    <a:lnTo>
                      <a:pt x="311" y="945"/>
                    </a:lnTo>
                    <a:lnTo>
                      <a:pt x="311" y="947"/>
                    </a:lnTo>
                    <a:lnTo>
                      <a:pt x="308" y="948"/>
                    </a:lnTo>
                    <a:lnTo>
                      <a:pt x="306" y="948"/>
                    </a:lnTo>
                    <a:lnTo>
                      <a:pt x="306" y="950"/>
                    </a:lnTo>
                    <a:lnTo>
                      <a:pt x="305" y="951"/>
                    </a:lnTo>
                    <a:lnTo>
                      <a:pt x="305" y="953"/>
                    </a:lnTo>
                    <a:lnTo>
                      <a:pt x="303" y="954"/>
                    </a:lnTo>
                    <a:lnTo>
                      <a:pt x="299" y="959"/>
                    </a:lnTo>
                    <a:lnTo>
                      <a:pt x="296" y="964"/>
                    </a:lnTo>
                    <a:lnTo>
                      <a:pt x="294" y="964"/>
                    </a:lnTo>
                    <a:lnTo>
                      <a:pt x="294" y="961"/>
                    </a:lnTo>
                    <a:lnTo>
                      <a:pt x="292" y="962"/>
                    </a:lnTo>
                    <a:lnTo>
                      <a:pt x="291" y="964"/>
                    </a:lnTo>
                    <a:lnTo>
                      <a:pt x="289" y="965"/>
                    </a:lnTo>
                    <a:lnTo>
                      <a:pt x="288" y="965"/>
                    </a:lnTo>
                    <a:lnTo>
                      <a:pt x="286" y="965"/>
                    </a:lnTo>
                    <a:lnTo>
                      <a:pt x="285" y="965"/>
                    </a:lnTo>
                    <a:lnTo>
                      <a:pt x="283" y="967"/>
                    </a:lnTo>
                    <a:lnTo>
                      <a:pt x="282" y="968"/>
                    </a:lnTo>
                    <a:lnTo>
                      <a:pt x="277" y="968"/>
                    </a:lnTo>
                    <a:lnTo>
                      <a:pt x="274" y="970"/>
                    </a:lnTo>
                    <a:lnTo>
                      <a:pt x="273" y="970"/>
                    </a:lnTo>
                    <a:lnTo>
                      <a:pt x="271" y="968"/>
                    </a:lnTo>
                    <a:lnTo>
                      <a:pt x="270" y="970"/>
                    </a:lnTo>
                    <a:lnTo>
                      <a:pt x="268" y="968"/>
                    </a:lnTo>
                    <a:lnTo>
                      <a:pt x="268" y="970"/>
                    </a:lnTo>
                    <a:lnTo>
                      <a:pt x="263" y="967"/>
                    </a:lnTo>
                    <a:lnTo>
                      <a:pt x="263" y="968"/>
                    </a:lnTo>
                    <a:lnTo>
                      <a:pt x="262" y="965"/>
                    </a:lnTo>
                    <a:lnTo>
                      <a:pt x="262" y="964"/>
                    </a:lnTo>
                    <a:lnTo>
                      <a:pt x="260" y="962"/>
                    </a:lnTo>
                    <a:lnTo>
                      <a:pt x="257" y="961"/>
                    </a:lnTo>
                    <a:lnTo>
                      <a:pt x="254" y="961"/>
                    </a:lnTo>
                    <a:lnTo>
                      <a:pt x="252" y="959"/>
                    </a:lnTo>
                    <a:lnTo>
                      <a:pt x="249" y="961"/>
                    </a:lnTo>
                    <a:lnTo>
                      <a:pt x="245" y="959"/>
                    </a:lnTo>
                    <a:lnTo>
                      <a:pt x="243" y="961"/>
                    </a:lnTo>
                    <a:lnTo>
                      <a:pt x="242" y="961"/>
                    </a:lnTo>
                    <a:lnTo>
                      <a:pt x="240" y="961"/>
                    </a:lnTo>
                    <a:lnTo>
                      <a:pt x="236" y="959"/>
                    </a:lnTo>
                    <a:lnTo>
                      <a:pt x="234" y="959"/>
                    </a:lnTo>
                    <a:lnTo>
                      <a:pt x="231" y="961"/>
                    </a:lnTo>
                    <a:lnTo>
                      <a:pt x="229" y="961"/>
                    </a:lnTo>
                    <a:lnTo>
                      <a:pt x="211" y="964"/>
                    </a:lnTo>
                    <a:lnTo>
                      <a:pt x="203" y="964"/>
                    </a:lnTo>
                    <a:lnTo>
                      <a:pt x="202" y="964"/>
                    </a:lnTo>
                    <a:lnTo>
                      <a:pt x="199" y="967"/>
                    </a:lnTo>
                    <a:lnTo>
                      <a:pt x="197" y="967"/>
                    </a:lnTo>
                    <a:lnTo>
                      <a:pt x="197" y="968"/>
                    </a:lnTo>
                    <a:lnTo>
                      <a:pt x="197" y="970"/>
                    </a:lnTo>
                    <a:lnTo>
                      <a:pt x="197" y="972"/>
                    </a:lnTo>
                    <a:lnTo>
                      <a:pt x="196" y="973"/>
                    </a:lnTo>
                    <a:lnTo>
                      <a:pt x="196" y="975"/>
                    </a:lnTo>
                    <a:lnTo>
                      <a:pt x="194" y="975"/>
                    </a:lnTo>
                    <a:lnTo>
                      <a:pt x="191" y="976"/>
                    </a:lnTo>
                    <a:lnTo>
                      <a:pt x="186" y="976"/>
                    </a:lnTo>
                    <a:lnTo>
                      <a:pt x="182" y="978"/>
                    </a:lnTo>
                    <a:lnTo>
                      <a:pt x="178" y="978"/>
                    </a:lnTo>
                    <a:lnTo>
                      <a:pt x="177" y="979"/>
                    </a:lnTo>
                    <a:lnTo>
                      <a:pt x="175" y="979"/>
                    </a:lnTo>
                    <a:lnTo>
                      <a:pt x="174" y="981"/>
                    </a:lnTo>
                    <a:lnTo>
                      <a:pt x="172" y="981"/>
                    </a:lnTo>
                    <a:lnTo>
                      <a:pt x="169" y="982"/>
                    </a:lnTo>
                    <a:lnTo>
                      <a:pt x="168" y="984"/>
                    </a:lnTo>
                    <a:lnTo>
                      <a:pt x="165" y="987"/>
                    </a:lnTo>
                    <a:lnTo>
                      <a:pt x="165" y="988"/>
                    </a:lnTo>
                    <a:lnTo>
                      <a:pt x="163" y="990"/>
                    </a:lnTo>
                    <a:lnTo>
                      <a:pt x="162" y="991"/>
                    </a:lnTo>
                    <a:lnTo>
                      <a:pt x="159" y="993"/>
                    </a:lnTo>
                    <a:lnTo>
                      <a:pt x="156" y="995"/>
                    </a:lnTo>
                    <a:lnTo>
                      <a:pt x="140" y="995"/>
                    </a:lnTo>
                    <a:lnTo>
                      <a:pt x="132" y="996"/>
                    </a:lnTo>
                    <a:lnTo>
                      <a:pt x="115" y="1002"/>
                    </a:lnTo>
                    <a:lnTo>
                      <a:pt x="108" y="1007"/>
                    </a:lnTo>
                    <a:lnTo>
                      <a:pt x="101" y="991"/>
                    </a:lnTo>
                    <a:lnTo>
                      <a:pt x="95" y="975"/>
                    </a:lnTo>
                    <a:lnTo>
                      <a:pt x="89" y="959"/>
                    </a:lnTo>
                    <a:lnTo>
                      <a:pt x="83" y="942"/>
                    </a:lnTo>
                    <a:lnTo>
                      <a:pt x="80" y="933"/>
                    </a:lnTo>
                    <a:lnTo>
                      <a:pt x="78" y="931"/>
                    </a:lnTo>
                    <a:lnTo>
                      <a:pt x="77" y="930"/>
                    </a:lnTo>
                    <a:lnTo>
                      <a:pt x="74" y="930"/>
                    </a:lnTo>
                    <a:lnTo>
                      <a:pt x="72" y="928"/>
                    </a:lnTo>
                    <a:lnTo>
                      <a:pt x="69" y="921"/>
                    </a:lnTo>
                    <a:lnTo>
                      <a:pt x="66" y="909"/>
                    </a:lnTo>
                    <a:lnTo>
                      <a:pt x="61" y="898"/>
                    </a:lnTo>
                    <a:lnTo>
                      <a:pt x="57" y="885"/>
                    </a:lnTo>
                    <a:lnTo>
                      <a:pt x="54" y="875"/>
                    </a:lnTo>
                    <a:lnTo>
                      <a:pt x="49" y="862"/>
                    </a:lnTo>
                    <a:lnTo>
                      <a:pt x="45" y="851"/>
                    </a:lnTo>
                    <a:lnTo>
                      <a:pt x="40" y="839"/>
                    </a:lnTo>
                    <a:lnTo>
                      <a:pt x="37" y="828"/>
                    </a:lnTo>
                    <a:lnTo>
                      <a:pt x="32" y="816"/>
                    </a:lnTo>
                    <a:lnTo>
                      <a:pt x="27" y="805"/>
                    </a:lnTo>
                    <a:lnTo>
                      <a:pt x="24" y="793"/>
                    </a:lnTo>
                    <a:lnTo>
                      <a:pt x="20" y="780"/>
                    </a:lnTo>
                    <a:lnTo>
                      <a:pt x="15" y="770"/>
                    </a:lnTo>
                    <a:lnTo>
                      <a:pt x="12" y="758"/>
                    </a:lnTo>
                    <a:lnTo>
                      <a:pt x="8" y="747"/>
                    </a:lnTo>
                    <a:lnTo>
                      <a:pt x="3" y="734"/>
                    </a:lnTo>
                    <a:lnTo>
                      <a:pt x="1" y="727"/>
                    </a:lnTo>
                    <a:lnTo>
                      <a:pt x="0" y="725"/>
                    </a:lnTo>
                    <a:lnTo>
                      <a:pt x="11" y="721"/>
                    </a:lnTo>
                    <a:lnTo>
                      <a:pt x="27" y="714"/>
                    </a:lnTo>
                    <a:lnTo>
                      <a:pt x="45" y="707"/>
                    </a:lnTo>
                    <a:lnTo>
                      <a:pt x="60" y="700"/>
                    </a:lnTo>
                    <a:lnTo>
                      <a:pt x="77" y="693"/>
                    </a:lnTo>
                    <a:lnTo>
                      <a:pt x="94" y="687"/>
                    </a:lnTo>
                    <a:lnTo>
                      <a:pt x="111" y="680"/>
                    </a:lnTo>
                    <a:lnTo>
                      <a:pt x="126" y="673"/>
                    </a:lnTo>
                    <a:lnTo>
                      <a:pt x="143" y="666"/>
                    </a:lnTo>
                    <a:lnTo>
                      <a:pt x="160" y="659"/>
                    </a:lnTo>
                    <a:lnTo>
                      <a:pt x="177" y="653"/>
                    </a:lnTo>
                    <a:lnTo>
                      <a:pt x="192" y="645"/>
                    </a:lnTo>
                    <a:lnTo>
                      <a:pt x="209" y="639"/>
                    </a:lnTo>
                    <a:lnTo>
                      <a:pt x="226" y="631"/>
                    </a:lnTo>
                    <a:lnTo>
                      <a:pt x="243" y="625"/>
                    </a:lnTo>
                    <a:lnTo>
                      <a:pt x="259" y="617"/>
                    </a:lnTo>
                    <a:lnTo>
                      <a:pt x="276" y="611"/>
                    </a:lnTo>
                    <a:lnTo>
                      <a:pt x="291" y="605"/>
                    </a:lnTo>
                    <a:lnTo>
                      <a:pt x="294" y="594"/>
                    </a:lnTo>
                    <a:lnTo>
                      <a:pt x="294" y="591"/>
                    </a:lnTo>
                    <a:lnTo>
                      <a:pt x="296" y="585"/>
                    </a:lnTo>
                    <a:lnTo>
                      <a:pt x="299" y="574"/>
                    </a:lnTo>
                    <a:lnTo>
                      <a:pt x="302" y="560"/>
                    </a:lnTo>
                    <a:lnTo>
                      <a:pt x="306" y="545"/>
                    </a:lnTo>
                    <a:lnTo>
                      <a:pt x="311" y="526"/>
                    </a:lnTo>
                    <a:lnTo>
                      <a:pt x="317" y="506"/>
                    </a:lnTo>
                    <a:lnTo>
                      <a:pt x="322" y="488"/>
                    </a:lnTo>
                    <a:lnTo>
                      <a:pt x="326" y="473"/>
                    </a:lnTo>
                    <a:lnTo>
                      <a:pt x="326" y="468"/>
                    </a:lnTo>
                    <a:lnTo>
                      <a:pt x="333" y="448"/>
                    </a:lnTo>
                    <a:lnTo>
                      <a:pt x="337" y="431"/>
                    </a:lnTo>
                    <a:lnTo>
                      <a:pt x="342" y="414"/>
                    </a:lnTo>
                    <a:lnTo>
                      <a:pt x="345" y="400"/>
                    </a:lnTo>
                    <a:lnTo>
                      <a:pt x="348" y="389"/>
                    </a:lnTo>
                    <a:lnTo>
                      <a:pt x="350" y="383"/>
                    </a:lnTo>
                    <a:lnTo>
                      <a:pt x="350" y="380"/>
                    </a:lnTo>
                    <a:lnTo>
                      <a:pt x="351" y="378"/>
                    </a:lnTo>
                    <a:lnTo>
                      <a:pt x="354" y="365"/>
                    </a:lnTo>
                    <a:lnTo>
                      <a:pt x="354" y="363"/>
                    </a:lnTo>
                    <a:lnTo>
                      <a:pt x="353" y="360"/>
                    </a:lnTo>
                    <a:lnTo>
                      <a:pt x="348" y="349"/>
                    </a:lnTo>
                    <a:lnTo>
                      <a:pt x="340" y="335"/>
                    </a:lnTo>
                    <a:lnTo>
                      <a:pt x="333" y="320"/>
                    </a:lnTo>
                    <a:lnTo>
                      <a:pt x="325" y="305"/>
                    </a:lnTo>
                    <a:lnTo>
                      <a:pt x="317" y="289"/>
                    </a:lnTo>
                    <a:lnTo>
                      <a:pt x="311" y="277"/>
                    </a:lnTo>
                    <a:lnTo>
                      <a:pt x="311" y="260"/>
                    </a:lnTo>
                    <a:lnTo>
                      <a:pt x="311" y="241"/>
                    </a:lnTo>
                    <a:lnTo>
                      <a:pt x="311" y="238"/>
                    </a:lnTo>
                    <a:lnTo>
                      <a:pt x="314" y="226"/>
                    </a:lnTo>
                    <a:lnTo>
                      <a:pt x="323" y="208"/>
                    </a:lnTo>
                    <a:lnTo>
                      <a:pt x="326" y="200"/>
                    </a:lnTo>
                    <a:lnTo>
                      <a:pt x="328" y="188"/>
                    </a:lnTo>
                    <a:lnTo>
                      <a:pt x="329" y="185"/>
                    </a:lnTo>
                    <a:lnTo>
                      <a:pt x="331" y="181"/>
                    </a:lnTo>
                    <a:lnTo>
                      <a:pt x="334" y="177"/>
                    </a:lnTo>
                    <a:lnTo>
                      <a:pt x="336" y="174"/>
                    </a:lnTo>
                    <a:lnTo>
                      <a:pt x="339" y="158"/>
                    </a:lnTo>
                    <a:lnTo>
                      <a:pt x="340" y="157"/>
                    </a:lnTo>
                    <a:lnTo>
                      <a:pt x="345" y="149"/>
                    </a:lnTo>
                    <a:lnTo>
                      <a:pt x="345" y="148"/>
                    </a:lnTo>
                    <a:lnTo>
                      <a:pt x="345" y="138"/>
                    </a:lnTo>
                    <a:lnTo>
                      <a:pt x="343" y="135"/>
                    </a:lnTo>
                    <a:lnTo>
                      <a:pt x="342" y="132"/>
                    </a:lnTo>
                    <a:lnTo>
                      <a:pt x="339" y="129"/>
                    </a:lnTo>
                    <a:lnTo>
                      <a:pt x="337" y="127"/>
                    </a:lnTo>
                    <a:lnTo>
                      <a:pt x="336" y="126"/>
                    </a:lnTo>
                    <a:lnTo>
                      <a:pt x="337" y="124"/>
                    </a:lnTo>
                    <a:lnTo>
                      <a:pt x="340" y="123"/>
                    </a:lnTo>
                    <a:lnTo>
                      <a:pt x="345" y="121"/>
                    </a:lnTo>
                    <a:lnTo>
                      <a:pt x="347" y="120"/>
                    </a:lnTo>
                    <a:lnTo>
                      <a:pt x="350" y="118"/>
                    </a:lnTo>
                    <a:lnTo>
                      <a:pt x="353" y="117"/>
                    </a:lnTo>
                    <a:lnTo>
                      <a:pt x="356" y="117"/>
                    </a:lnTo>
                    <a:lnTo>
                      <a:pt x="359" y="117"/>
                    </a:lnTo>
                    <a:lnTo>
                      <a:pt x="362" y="117"/>
                    </a:lnTo>
                    <a:lnTo>
                      <a:pt x="363" y="117"/>
                    </a:lnTo>
                    <a:lnTo>
                      <a:pt x="365" y="117"/>
                    </a:lnTo>
                    <a:lnTo>
                      <a:pt x="366" y="115"/>
                    </a:lnTo>
                    <a:lnTo>
                      <a:pt x="369" y="118"/>
                    </a:lnTo>
                    <a:lnTo>
                      <a:pt x="371" y="118"/>
                    </a:lnTo>
                    <a:lnTo>
                      <a:pt x="382" y="114"/>
                    </a:lnTo>
                    <a:lnTo>
                      <a:pt x="388" y="112"/>
                    </a:lnTo>
                    <a:lnTo>
                      <a:pt x="390" y="109"/>
                    </a:lnTo>
                    <a:lnTo>
                      <a:pt x="385" y="101"/>
                    </a:lnTo>
                    <a:lnTo>
                      <a:pt x="385" y="97"/>
                    </a:lnTo>
                    <a:lnTo>
                      <a:pt x="384" y="92"/>
                    </a:lnTo>
                    <a:lnTo>
                      <a:pt x="380" y="90"/>
                    </a:lnTo>
                    <a:lnTo>
                      <a:pt x="374" y="93"/>
                    </a:lnTo>
                    <a:lnTo>
                      <a:pt x="373" y="93"/>
                    </a:lnTo>
                    <a:lnTo>
                      <a:pt x="366" y="92"/>
                    </a:lnTo>
                    <a:lnTo>
                      <a:pt x="365" y="90"/>
                    </a:lnTo>
                    <a:lnTo>
                      <a:pt x="365" y="89"/>
                    </a:lnTo>
                    <a:lnTo>
                      <a:pt x="366" y="87"/>
                    </a:lnTo>
                    <a:lnTo>
                      <a:pt x="369" y="80"/>
                    </a:lnTo>
                    <a:lnTo>
                      <a:pt x="371" y="78"/>
                    </a:lnTo>
                    <a:lnTo>
                      <a:pt x="371" y="72"/>
                    </a:lnTo>
                    <a:lnTo>
                      <a:pt x="371" y="71"/>
                    </a:lnTo>
                    <a:lnTo>
                      <a:pt x="369" y="69"/>
                    </a:lnTo>
                    <a:lnTo>
                      <a:pt x="368" y="67"/>
                    </a:lnTo>
                    <a:lnTo>
                      <a:pt x="366" y="66"/>
                    </a:lnTo>
                    <a:lnTo>
                      <a:pt x="368" y="58"/>
                    </a:lnTo>
                    <a:lnTo>
                      <a:pt x="366" y="54"/>
                    </a:lnTo>
                    <a:lnTo>
                      <a:pt x="366" y="50"/>
                    </a:lnTo>
                    <a:lnTo>
                      <a:pt x="366" y="49"/>
                    </a:lnTo>
                    <a:lnTo>
                      <a:pt x="368" y="47"/>
                    </a:lnTo>
                    <a:lnTo>
                      <a:pt x="369" y="44"/>
                    </a:lnTo>
                    <a:lnTo>
                      <a:pt x="371" y="41"/>
                    </a:lnTo>
                    <a:lnTo>
                      <a:pt x="371" y="38"/>
                    </a:lnTo>
                    <a:lnTo>
                      <a:pt x="369" y="35"/>
                    </a:lnTo>
                    <a:lnTo>
                      <a:pt x="369" y="34"/>
                    </a:lnTo>
                    <a:lnTo>
                      <a:pt x="369" y="30"/>
                    </a:lnTo>
                    <a:lnTo>
                      <a:pt x="369" y="26"/>
                    </a:lnTo>
                    <a:lnTo>
                      <a:pt x="369" y="24"/>
                    </a:lnTo>
                    <a:lnTo>
                      <a:pt x="369" y="15"/>
                    </a:lnTo>
                    <a:lnTo>
                      <a:pt x="369" y="11"/>
                    </a:lnTo>
                    <a:lnTo>
                      <a:pt x="373" y="8"/>
                    </a:lnTo>
                    <a:lnTo>
                      <a:pt x="376" y="4"/>
                    </a:lnTo>
                    <a:lnTo>
                      <a:pt x="376" y="3"/>
                    </a:lnTo>
                    <a:lnTo>
                      <a:pt x="379" y="1"/>
                    </a:lnTo>
                    <a:lnTo>
                      <a:pt x="384" y="0"/>
                    </a:lnTo>
                    <a:lnTo>
                      <a:pt x="387" y="0"/>
                    </a:lnTo>
                    <a:lnTo>
                      <a:pt x="387" y="1"/>
                    </a:lnTo>
                    <a:lnTo>
                      <a:pt x="390" y="3"/>
                    </a:lnTo>
                    <a:lnTo>
                      <a:pt x="391" y="6"/>
                    </a:lnTo>
                    <a:lnTo>
                      <a:pt x="391" y="12"/>
                    </a:lnTo>
                    <a:lnTo>
                      <a:pt x="393" y="14"/>
                    </a:lnTo>
                    <a:lnTo>
                      <a:pt x="390" y="12"/>
                    </a:lnTo>
                    <a:lnTo>
                      <a:pt x="388" y="12"/>
                    </a:lnTo>
                    <a:lnTo>
                      <a:pt x="387" y="11"/>
                    </a:lnTo>
                    <a:lnTo>
                      <a:pt x="385" y="12"/>
                    </a:lnTo>
                    <a:lnTo>
                      <a:pt x="385" y="14"/>
                    </a:lnTo>
                    <a:lnTo>
                      <a:pt x="387" y="15"/>
                    </a:lnTo>
                    <a:lnTo>
                      <a:pt x="390" y="18"/>
                    </a:lnTo>
                    <a:lnTo>
                      <a:pt x="393" y="27"/>
                    </a:lnTo>
                    <a:lnTo>
                      <a:pt x="396" y="30"/>
                    </a:lnTo>
                    <a:lnTo>
                      <a:pt x="397" y="30"/>
                    </a:lnTo>
                    <a:lnTo>
                      <a:pt x="399" y="30"/>
                    </a:lnTo>
                    <a:lnTo>
                      <a:pt x="400" y="29"/>
                    </a:lnTo>
                    <a:lnTo>
                      <a:pt x="402" y="29"/>
                    </a:lnTo>
                    <a:lnTo>
                      <a:pt x="402" y="26"/>
                    </a:lnTo>
                    <a:lnTo>
                      <a:pt x="405" y="23"/>
                    </a:lnTo>
                    <a:lnTo>
                      <a:pt x="406" y="18"/>
                    </a:lnTo>
                    <a:lnTo>
                      <a:pt x="408" y="18"/>
                    </a:lnTo>
                    <a:lnTo>
                      <a:pt x="411" y="17"/>
                    </a:lnTo>
                    <a:lnTo>
                      <a:pt x="413" y="17"/>
                    </a:lnTo>
                    <a:lnTo>
                      <a:pt x="416" y="12"/>
                    </a:lnTo>
                    <a:lnTo>
                      <a:pt x="419" y="11"/>
                    </a:lnTo>
                    <a:lnTo>
                      <a:pt x="421" y="9"/>
                    </a:lnTo>
                    <a:lnTo>
                      <a:pt x="421" y="8"/>
                    </a:lnTo>
                    <a:lnTo>
                      <a:pt x="421" y="6"/>
                    </a:lnTo>
                    <a:lnTo>
                      <a:pt x="421" y="1"/>
                    </a:lnTo>
                    <a:lnTo>
                      <a:pt x="422" y="0"/>
                    </a:lnTo>
                    <a:lnTo>
                      <a:pt x="427" y="0"/>
                    </a:ln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6" name="Freeform 7">
                <a:extLst>
                  <a:ext uri="{FF2B5EF4-FFF2-40B4-BE49-F238E27FC236}">
                    <a16:creationId xmlns:a16="http://schemas.microsoft.com/office/drawing/2014/main" id="{2E2C9092-985F-5181-A8EB-CB5695F97601}"/>
                  </a:ext>
                </a:extLst>
              </p:cNvPr>
              <p:cNvSpPr/>
              <p:nvPr>
                <p:custDataLst>
                  <p:tags r:id="rId328"/>
                </p:custDataLst>
              </p:nvPr>
            </p:nvSpPr>
            <p:spPr bwMode="auto">
              <a:xfrm>
                <a:off x="3276600" y="2765426"/>
                <a:ext cx="66675" cy="149225"/>
              </a:xfrm>
              <a:custGeom>
                <a:avLst/>
                <a:gdLst>
                  <a:gd name="T0" fmla="*/ 2 w 42"/>
                  <a:gd name="T1" fmla="*/ 34 h 94"/>
                  <a:gd name="T2" fmla="*/ 11 w 42"/>
                  <a:gd name="T3" fmla="*/ 15 h 94"/>
                  <a:gd name="T4" fmla="*/ 13 w 42"/>
                  <a:gd name="T5" fmla="*/ 17 h 94"/>
                  <a:gd name="T6" fmla="*/ 13 w 42"/>
                  <a:gd name="T7" fmla="*/ 22 h 94"/>
                  <a:gd name="T8" fmla="*/ 17 w 42"/>
                  <a:gd name="T9" fmla="*/ 20 h 94"/>
                  <a:gd name="T10" fmla="*/ 20 w 42"/>
                  <a:gd name="T11" fmla="*/ 22 h 94"/>
                  <a:gd name="T12" fmla="*/ 24 w 42"/>
                  <a:gd name="T13" fmla="*/ 22 h 94"/>
                  <a:gd name="T14" fmla="*/ 28 w 42"/>
                  <a:gd name="T15" fmla="*/ 20 h 94"/>
                  <a:gd name="T16" fmla="*/ 31 w 42"/>
                  <a:gd name="T17" fmla="*/ 17 h 94"/>
                  <a:gd name="T18" fmla="*/ 27 w 42"/>
                  <a:gd name="T19" fmla="*/ 17 h 94"/>
                  <a:gd name="T20" fmla="*/ 24 w 42"/>
                  <a:gd name="T21" fmla="*/ 20 h 94"/>
                  <a:gd name="T22" fmla="*/ 24 w 42"/>
                  <a:gd name="T23" fmla="*/ 14 h 94"/>
                  <a:gd name="T24" fmla="*/ 28 w 42"/>
                  <a:gd name="T25" fmla="*/ 12 h 94"/>
                  <a:gd name="T26" fmla="*/ 25 w 42"/>
                  <a:gd name="T27" fmla="*/ 9 h 94"/>
                  <a:gd name="T28" fmla="*/ 25 w 42"/>
                  <a:gd name="T29" fmla="*/ 8 h 94"/>
                  <a:gd name="T30" fmla="*/ 27 w 42"/>
                  <a:gd name="T31" fmla="*/ 2 h 94"/>
                  <a:gd name="T32" fmla="*/ 31 w 42"/>
                  <a:gd name="T33" fmla="*/ 2 h 94"/>
                  <a:gd name="T34" fmla="*/ 33 w 42"/>
                  <a:gd name="T35" fmla="*/ 3 h 94"/>
                  <a:gd name="T36" fmla="*/ 34 w 42"/>
                  <a:gd name="T37" fmla="*/ 5 h 94"/>
                  <a:gd name="T38" fmla="*/ 39 w 42"/>
                  <a:gd name="T39" fmla="*/ 6 h 94"/>
                  <a:gd name="T40" fmla="*/ 40 w 42"/>
                  <a:gd name="T41" fmla="*/ 3 h 94"/>
                  <a:gd name="T42" fmla="*/ 40 w 42"/>
                  <a:gd name="T43" fmla="*/ 8 h 94"/>
                  <a:gd name="T44" fmla="*/ 33 w 42"/>
                  <a:gd name="T45" fmla="*/ 11 h 94"/>
                  <a:gd name="T46" fmla="*/ 33 w 42"/>
                  <a:gd name="T47" fmla="*/ 17 h 94"/>
                  <a:gd name="T48" fmla="*/ 36 w 42"/>
                  <a:gd name="T49" fmla="*/ 17 h 94"/>
                  <a:gd name="T50" fmla="*/ 39 w 42"/>
                  <a:gd name="T51" fmla="*/ 19 h 94"/>
                  <a:gd name="T52" fmla="*/ 34 w 42"/>
                  <a:gd name="T53" fmla="*/ 20 h 94"/>
                  <a:gd name="T54" fmla="*/ 36 w 42"/>
                  <a:gd name="T55" fmla="*/ 25 h 94"/>
                  <a:gd name="T56" fmla="*/ 39 w 42"/>
                  <a:gd name="T57" fmla="*/ 29 h 94"/>
                  <a:gd name="T58" fmla="*/ 34 w 42"/>
                  <a:gd name="T59" fmla="*/ 28 h 94"/>
                  <a:gd name="T60" fmla="*/ 31 w 42"/>
                  <a:gd name="T61" fmla="*/ 25 h 94"/>
                  <a:gd name="T62" fmla="*/ 30 w 42"/>
                  <a:gd name="T63" fmla="*/ 25 h 94"/>
                  <a:gd name="T64" fmla="*/ 28 w 42"/>
                  <a:gd name="T65" fmla="*/ 22 h 94"/>
                  <a:gd name="T66" fmla="*/ 25 w 42"/>
                  <a:gd name="T67" fmla="*/ 28 h 94"/>
                  <a:gd name="T68" fmla="*/ 25 w 42"/>
                  <a:gd name="T69" fmla="*/ 33 h 94"/>
                  <a:gd name="T70" fmla="*/ 27 w 42"/>
                  <a:gd name="T71" fmla="*/ 29 h 94"/>
                  <a:gd name="T72" fmla="*/ 28 w 42"/>
                  <a:gd name="T73" fmla="*/ 33 h 94"/>
                  <a:gd name="T74" fmla="*/ 39 w 42"/>
                  <a:gd name="T75" fmla="*/ 36 h 94"/>
                  <a:gd name="T76" fmla="*/ 33 w 42"/>
                  <a:gd name="T77" fmla="*/ 40 h 94"/>
                  <a:gd name="T78" fmla="*/ 33 w 42"/>
                  <a:gd name="T79" fmla="*/ 43 h 94"/>
                  <a:gd name="T80" fmla="*/ 31 w 42"/>
                  <a:gd name="T81" fmla="*/ 48 h 94"/>
                  <a:gd name="T82" fmla="*/ 33 w 42"/>
                  <a:gd name="T83" fmla="*/ 52 h 94"/>
                  <a:gd name="T84" fmla="*/ 34 w 42"/>
                  <a:gd name="T85" fmla="*/ 56 h 94"/>
                  <a:gd name="T86" fmla="*/ 30 w 42"/>
                  <a:gd name="T87" fmla="*/ 56 h 94"/>
                  <a:gd name="T88" fmla="*/ 28 w 42"/>
                  <a:gd name="T89" fmla="*/ 65 h 94"/>
                  <a:gd name="T90" fmla="*/ 28 w 42"/>
                  <a:gd name="T91" fmla="*/ 71 h 94"/>
                  <a:gd name="T92" fmla="*/ 24 w 42"/>
                  <a:gd name="T93" fmla="*/ 79 h 94"/>
                  <a:gd name="T94" fmla="*/ 20 w 42"/>
                  <a:gd name="T95" fmla="*/ 79 h 94"/>
                  <a:gd name="T96" fmla="*/ 19 w 42"/>
                  <a:gd name="T97" fmla="*/ 91 h 94"/>
                  <a:gd name="T98" fmla="*/ 14 w 42"/>
                  <a:gd name="T99" fmla="*/ 94 h 94"/>
                  <a:gd name="T100" fmla="*/ 11 w 42"/>
                  <a:gd name="T101" fmla="*/ 91 h 94"/>
                  <a:gd name="T102" fmla="*/ 6 w 42"/>
                  <a:gd name="T103" fmla="*/ 89 h 94"/>
                  <a:gd name="T104" fmla="*/ 6 w 42"/>
                  <a:gd name="T105" fmla="*/ 80 h 94"/>
                  <a:gd name="T106" fmla="*/ 9 w 42"/>
                  <a:gd name="T107" fmla="*/ 76 h 94"/>
                  <a:gd name="T108" fmla="*/ 6 w 42"/>
                  <a:gd name="T109" fmla="*/ 70 h 94"/>
                  <a:gd name="T110" fmla="*/ 9 w 42"/>
                  <a:gd name="T111" fmla="*/ 62 h 94"/>
                  <a:gd name="T112" fmla="*/ 9 w 42"/>
                  <a:gd name="T113" fmla="*/ 45 h 94"/>
                  <a:gd name="T114" fmla="*/ 6 w 42"/>
                  <a:gd name="T115"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 h="94">
                    <a:moveTo>
                      <a:pt x="0" y="40"/>
                    </a:moveTo>
                    <a:lnTo>
                      <a:pt x="0" y="39"/>
                    </a:lnTo>
                    <a:lnTo>
                      <a:pt x="2" y="34"/>
                    </a:lnTo>
                    <a:lnTo>
                      <a:pt x="8" y="22"/>
                    </a:lnTo>
                    <a:lnTo>
                      <a:pt x="9" y="17"/>
                    </a:lnTo>
                    <a:lnTo>
                      <a:pt x="11" y="15"/>
                    </a:lnTo>
                    <a:lnTo>
                      <a:pt x="13" y="14"/>
                    </a:lnTo>
                    <a:lnTo>
                      <a:pt x="13" y="15"/>
                    </a:lnTo>
                    <a:lnTo>
                      <a:pt x="13" y="17"/>
                    </a:lnTo>
                    <a:lnTo>
                      <a:pt x="14" y="19"/>
                    </a:lnTo>
                    <a:lnTo>
                      <a:pt x="13" y="20"/>
                    </a:lnTo>
                    <a:lnTo>
                      <a:pt x="13" y="22"/>
                    </a:lnTo>
                    <a:lnTo>
                      <a:pt x="14" y="22"/>
                    </a:lnTo>
                    <a:lnTo>
                      <a:pt x="14" y="20"/>
                    </a:lnTo>
                    <a:lnTo>
                      <a:pt x="17" y="20"/>
                    </a:lnTo>
                    <a:lnTo>
                      <a:pt x="19" y="19"/>
                    </a:lnTo>
                    <a:lnTo>
                      <a:pt x="19" y="20"/>
                    </a:lnTo>
                    <a:lnTo>
                      <a:pt x="20" y="22"/>
                    </a:lnTo>
                    <a:lnTo>
                      <a:pt x="20" y="23"/>
                    </a:lnTo>
                    <a:lnTo>
                      <a:pt x="22" y="22"/>
                    </a:lnTo>
                    <a:lnTo>
                      <a:pt x="24" y="22"/>
                    </a:lnTo>
                    <a:lnTo>
                      <a:pt x="25" y="22"/>
                    </a:lnTo>
                    <a:lnTo>
                      <a:pt x="27" y="20"/>
                    </a:lnTo>
                    <a:lnTo>
                      <a:pt x="28" y="20"/>
                    </a:lnTo>
                    <a:lnTo>
                      <a:pt x="31" y="20"/>
                    </a:lnTo>
                    <a:lnTo>
                      <a:pt x="31" y="19"/>
                    </a:lnTo>
                    <a:lnTo>
                      <a:pt x="31" y="17"/>
                    </a:lnTo>
                    <a:lnTo>
                      <a:pt x="30" y="17"/>
                    </a:lnTo>
                    <a:lnTo>
                      <a:pt x="28" y="17"/>
                    </a:lnTo>
                    <a:lnTo>
                      <a:pt x="27" y="17"/>
                    </a:lnTo>
                    <a:lnTo>
                      <a:pt x="25" y="19"/>
                    </a:lnTo>
                    <a:lnTo>
                      <a:pt x="25" y="20"/>
                    </a:lnTo>
                    <a:lnTo>
                      <a:pt x="24" y="20"/>
                    </a:lnTo>
                    <a:lnTo>
                      <a:pt x="22" y="20"/>
                    </a:lnTo>
                    <a:lnTo>
                      <a:pt x="22" y="19"/>
                    </a:lnTo>
                    <a:lnTo>
                      <a:pt x="24" y="14"/>
                    </a:lnTo>
                    <a:lnTo>
                      <a:pt x="24" y="11"/>
                    </a:lnTo>
                    <a:lnTo>
                      <a:pt x="27" y="14"/>
                    </a:lnTo>
                    <a:lnTo>
                      <a:pt x="28" y="12"/>
                    </a:lnTo>
                    <a:lnTo>
                      <a:pt x="27" y="12"/>
                    </a:lnTo>
                    <a:lnTo>
                      <a:pt x="27" y="11"/>
                    </a:lnTo>
                    <a:lnTo>
                      <a:pt x="25" y="9"/>
                    </a:lnTo>
                    <a:lnTo>
                      <a:pt x="24" y="9"/>
                    </a:lnTo>
                    <a:lnTo>
                      <a:pt x="24" y="8"/>
                    </a:lnTo>
                    <a:lnTo>
                      <a:pt x="25" y="8"/>
                    </a:lnTo>
                    <a:lnTo>
                      <a:pt x="27" y="6"/>
                    </a:lnTo>
                    <a:lnTo>
                      <a:pt x="28" y="5"/>
                    </a:lnTo>
                    <a:lnTo>
                      <a:pt x="27" y="2"/>
                    </a:lnTo>
                    <a:lnTo>
                      <a:pt x="28" y="0"/>
                    </a:lnTo>
                    <a:lnTo>
                      <a:pt x="30" y="3"/>
                    </a:lnTo>
                    <a:lnTo>
                      <a:pt x="31" y="2"/>
                    </a:lnTo>
                    <a:lnTo>
                      <a:pt x="33" y="2"/>
                    </a:lnTo>
                    <a:lnTo>
                      <a:pt x="31" y="3"/>
                    </a:lnTo>
                    <a:lnTo>
                      <a:pt x="33" y="3"/>
                    </a:lnTo>
                    <a:lnTo>
                      <a:pt x="33" y="5"/>
                    </a:lnTo>
                    <a:lnTo>
                      <a:pt x="33" y="3"/>
                    </a:lnTo>
                    <a:lnTo>
                      <a:pt x="34" y="5"/>
                    </a:lnTo>
                    <a:lnTo>
                      <a:pt x="34" y="6"/>
                    </a:lnTo>
                    <a:lnTo>
                      <a:pt x="37" y="6"/>
                    </a:lnTo>
                    <a:lnTo>
                      <a:pt x="39" y="6"/>
                    </a:lnTo>
                    <a:lnTo>
                      <a:pt x="39" y="5"/>
                    </a:lnTo>
                    <a:lnTo>
                      <a:pt x="39" y="3"/>
                    </a:lnTo>
                    <a:lnTo>
                      <a:pt x="40" y="3"/>
                    </a:lnTo>
                    <a:lnTo>
                      <a:pt x="42" y="6"/>
                    </a:lnTo>
                    <a:lnTo>
                      <a:pt x="42" y="8"/>
                    </a:lnTo>
                    <a:lnTo>
                      <a:pt x="40" y="8"/>
                    </a:lnTo>
                    <a:lnTo>
                      <a:pt x="37" y="8"/>
                    </a:lnTo>
                    <a:lnTo>
                      <a:pt x="36" y="8"/>
                    </a:lnTo>
                    <a:lnTo>
                      <a:pt x="33" y="11"/>
                    </a:lnTo>
                    <a:lnTo>
                      <a:pt x="31" y="12"/>
                    </a:lnTo>
                    <a:lnTo>
                      <a:pt x="31" y="14"/>
                    </a:lnTo>
                    <a:lnTo>
                      <a:pt x="33" y="17"/>
                    </a:lnTo>
                    <a:lnTo>
                      <a:pt x="34" y="17"/>
                    </a:lnTo>
                    <a:lnTo>
                      <a:pt x="36" y="19"/>
                    </a:lnTo>
                    <a:lnTo>
                      <a:pt x="36" y="17"/>
                    </a:lnTo>
                    <a:lnTo>
                      <a:pt x="37" y="17"/>
                    </a:lnTo>
                    <a:lnTo>
                      <a:pt x="39" y="17"/>
                    </a:lnTo>
                    <a:lnTo>
                      <a:pt x="39" y="19"/>
                    </a:lnTo>
                    <a:lnTo>
                      <a:pt x="37" y="22"/>
                    </a:lnTo>
                    <a:lnTo>
                      <a:pt x="36" y="20"/>
                    </a:lnTo>
                    <a:lnTo>
                      <a:pt x="34" y="20"/>
                    </a:lnTo>
                    <a:lnTo>
                      <a:pt x="34" y="22"/>
                    </a:lnTo>
                    <a:lnTo>
                      <a:pt x="34" y="23"/>
                    </a:lnTo>
                    <a:lnTo>
                      <a:pt x="36" y="25"/>
                    </a:lnTo>
                    <a:lnTo>
                      <a:pt x="37" y="26"/>
                    </a:lnTo>
                    <a:lnTo>
                      <a:pt x="39" y="26"/>
                    </a:lnTo>
                    <a:lnTo>
                      <a:pt x="39" y="29"/>
                    </a:lnTo>
                    <a:lnTo>
                      <a:pt x="37" y="29"/>
                    </a:lnTo>
                    <a:lnTo>
                      <a:pt x="36" y="28"/>
                    </a:lnTo>
                    <a:lnTo>
                      <a:pt x="34" y="28"/>
                    </a:lnTo>
                    <a:lnTo>
                      <a:pt x="33" y="28"/>
                    </a:lnTo>
                    <a:lnTo>
                      <a:pt x="31" y="26"/>
                    </a:lnTo>
                    <a:lnTo>
                      <a:pt x="31" y="25"/>
                    </a:lnTo>
                    <a:lnTo>
                      <a:pt x="30" y="25"/>
                    </a:lnTo>
                    <a:lnTo>
                      <a:pt x="30" y="26"/>
                    </a:lnTo>
                    <a:lnTo>
                      <a:pt x="30" y="25"/>
                    </a:lnTo>
                    <a:lnTo>
                      <a:pt x="30" y="23"/>
                    </a:lnTo>
                    <a:lnTo>
                      <a:pt x="30" y="22"/>
                    </a:lnTo>
                    <a:lnTo>
                      <a:pt x="28" y="22"/>
                    </a:lnTo>
                    <a:lnTo>
                      <a:pt x="25" y="23"/>
                    </a:lnTo>
                    <a:lnTo>
                      <a:pt x="25" y="26"/>
                    </a:lnTo>
                    <a:lnTo>
                      <a:pt x="25" y="28"/>
                    </a:lnTo>
                    <a:lnTo>
                      <a:pt x="25" y="29"/>
                    </a:lnTo>
                    <a:lnTo>
                      <a:pt x="25" y="31"/>
                    </a:lnTo>
                    <a:lnTo>
                      <a:pt x="25" y="33"/>
                    </a:lnTo>
                    <a:lnTo>
                      <a:pt x="25" y="34"/>
                    </a:lnTo>
                    <a:lnTo>
                      <a:pt x="27" y="31"/>
                    </a:lnTo>
                    <a:lnTo>
                      <a:pt x="27" y="29"/>
                    </a:lnTo>
                    <a:lnTo>
                      <a:pt x="28" y="29"/>
                    </a:lnTo>
                    <a:lnTo>
                      <a:pt x="28" y="31"/>
                    </a:lnTo>
                    <a:lnTo>
                      <a:pt x="28" y="33"/>
                    </a:lnTo>
                    <a:lnTo>
                      <a:pt x="28" y="34"/>
                    </a:lnTo>
                    <a:lnTo>
                      <a:pt x="30" y="36"/>
                    </a:lnTo>
                    <a:lnTo>
                      <a:pt x="39" y="36"/>
                    </a:lnTo>
                    <a:lnTo>
                      <a:pt x="37" y="37"/>
                    </a:lnTo>
                    <a:lnTo>
                      <a:pt x="36" y="39"/>
                    </a:lnTo>
                    <a:lnTo>
                      <a:pt x="33" y="40"/>
                    </a:lnTo>
                    <a:lnTo>
                      <a:pt x="30" y="42"/>
                    </a:lnTo>
                    <a:lnTo>
                      <a:pt x="30" y="45"/>
                    </a:lnTo>
                    <a:lnTo>
                      <a:pt x="33" y="43"/>
                    </a:lnTo>
                    <a:lnTo>
                      <a:pt x="33" y="45"/>
                    </a:lnTo>
                    <a:lnTo>
                      <a:pt x="33" y="46"/>
                    </a:lnTo>
                    <a:lnTo>
                      <a:pt x="31" y="48"/>
                    </a:lnTo>
                    <a:lnTo>
                      <a:pt x="31" y="49"/>
                    </a:lnTo>
                    <a:lnTo>
                      <a:pt x="33" y="51"/>
                    </a:lnTo>
                    <a:lnTo>
                      <a:pt x="33" y="52"/>
                    </a:lnTo>
                    <a:lnTo>
                      <a:pt x="34" y="52"/>
                    </a:lnTo>
                    <a:lnTo>
                      <a:pt x="36" y="54"/>
                    </a:lnTo>
                    <a:lnTo>
                      <a:pt x="34" y="56"/>
                    </a:lnTo>
                    <a:lnTo>
                      <a:pt x="33" y="56"/>
                    </a:lnTo>
                    <a:lnTo>
                      <a:pt x="31" y="56"/>
                    </a:lnTo>
                    <a:lnTo>
                      <a:pt x="30" y="56"/>
                    </a:lnTo>
                    <a:lnTo>
                      <a:pt x="31" y="59"/>
                    </a:lnTo>
                    <a:lnTo>
                      <a:pt x="31" y="62"/>
                    </a:lnTo>
                    <a:lnTo>
                      <a:pt x="28" y="65"/>
                    </a:lnTo>
                    <a:lnTo>
                      <a:pt x="28" y="66"/>
                    </a:lnTo>
                    <a:lnTo>
                      <a:pt x="28" y="68"/>
                    </a:lnTo>
                    <a:lnTo>
                      <a:pt x="28" y="71"/>
                    </a:lnTo>
                    <a:lnTo>
                      <a:pt x="25" y="73"/>
                    </a:lnTo>
                    <a:lnTo>
                      <a:pt x="24" y="76"/>
                    </a:lnTo>
                    <a:lnTo>
                      <a:pt x="24" y="79"/>
                    </a:lnTo>
                    <a:lnTo>
                      <a:pt x="22" y="79"/>
                    </a:lnTo>
                    <a:lnTo>
                      <a:pt x="22" y="76"/>
                    </a:lnTo>
                    <a:lnTo>
                      <a:pt x="20" y="79"/>
                    </a:lnTo>
                    <a:lnTo>
                      <a:pt x="19" y="83"/>
                    </a:lnTo>
                    <a:lnTo>
                      <a:pt x="19" y="88"/>
                    </a:lnTo>
                    <a:lnTo>
                      <a:pt x="19" y="91"/>
                    </a:lnTo>
                    <a:lnTo>
                      <a:pt x="19" y="93"/>
                    </a:lnTo>
                    <a:lnTo>
                      <a:pt x="16" y="94"/>
                    </a:lnTo>
                    <a:lnTo>
                      <a:pt x="14" y="94"/>
                    </a:lnTo>
                    <a:lnTo>
                      <a:pt x="13" y="94"/>
                    </a:lnTo>
                    <a:lnTo>
                      <a:pt x="11" y="93"/>
                    </a:lnTo>
                    <a:lnTo>
                      <a:pt x="11" y="91"/>
                    </a:lnTo>
                    <a:lnTo>
                      <a:pt x="9" y="89"/>
                    </a:lnTo>
                    <a:lnTo>
                      <a:pt x="8" y="89"/>
                    </a:lnTo>
                    <a:lnTo>
                      <a:pt x="6" y="89"/>
                    </a:lnTo>
                    <a:lnTo>
                      <a:pt x="6" y="88"/>
                    </a:lnTo>
                    <a:lnTo>
                      <a:pt x="6" y="82"/>
                    </a:lnTo>
                    <a:lnTo>
                      <a:pt x="6" y="80"/>
                    </a:lnTo>
                    <a:lnTo>
                      <a:pt x="6" y="79"/>
                    </a:lnTo>
                    <a:lnTo>
                      <a:pt x="8" y="77"/>
                    </a:lnTo>
                    <a:lnTo>
                      <a:pt x="9" y="76"/>
                    </a:lnTo>
                    <a:lnTo>
                      <a:pt x="8" y="74"/>
                    </a:lnTo>
                    <a:lnTo>
                      <a:pt x="6" y="71"/>
                    </a:lnTo>
                    <a:lnTo>
                      <a:pt x="6" y="70"/>
                    </a:lnTo>
                    <a:lnTo>
                      <a:pt x="6" y="66"/>
                    </a:lnTo>
                    <a:lnTo>
                      <a:pt x="8" y="63"/>
                    </a:lnTo>
                    <a:lnTo>
                      <a:pt x="9" y="62"/>
                    </a:lnTo>
                    <a:lnTo>
                      <a:pt x="9" y="51"/>
                    </a:lnTo>
                    <a:lnTo>
                      <a:pt x="9" y="48"/>
                    </a:lnTo>
                    <a:lnTo>
                      <a:pt x="9" y="45"/>
                    </a:lnTo>
                    <a:lnTo>
                      <a:pt x="9" y="43"/>
                    </a:lnTo>
                    <a:lnTo>
                      <a:pt x="8" y="39"/>
                    </a:lnTo>
                    <a:lnTo>
                      <a:pt x="6" y="39"/>
                    </a:lnTo>
                    <a:lnTo>
                      <a:pt x="2" y="39"/>
                    </a:lnTo>
                    <a:lnTo>
                      <a:pt x="0" y="40"/>
                    </a:ln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grpSp>
        <p:grpSp>
          <p:nvGrpSpPr>
            <p:cNvPr id="21" name="Group 20">
              <a:extLst>
                <a:ext uri="{FF2B5EF4-FFF2-40B4-BE49-F238E27FC236}">
                  <a16:creationId xmlns:a16="http://schemas.microsoft.com/office/drawing/2014/main" id="{72D620C7-BC16-7FE2-BF94-0A4B1DACFA77}"/>
                </a:ext>
              </a:extLst>
            </p:cNvPr>
            <p:cNvGrpSpPr/>
            <p:nvPr>
              <p:custDataLst>
                <p:tags r:id="rId323"/>
              </p:custDataLst>
            </p:nvPr>
          </p:nvGrpSpPr>
          <p:grpSpPr>
            <a:xfrm>
              <a:off x="2582863" y="2827338"/>
              <a:ext cx="741363" cy="669925"/>
              <a:chOff x="2582863" y="2827338"/>
              <a:chExt cx="741363" cy="669925"/>
            </a:xfrm>
          </p:grpSpPr>
          <p:sp>
            <p:nvSpPr>
              <p:cNvPr id="22" name="Freeform 9">
                <a:extLst>
                  <a:ext uri="{FF2B5EF4-FFF2-40B4-BE49-F238E27FC236}">
                    <a16:creationId xmlns:a16="http://schemas.microsoft.com/office/drawing/2014/main" id="{3FE11114-6DDB-675C-BF11-A16EDA315914}"/>
                  </a:ext>
                </a:extLst>
              </p:cNvPr>
              <p:cNvSpPr/>
              <p:nvPr>
                <p:custDataLst>
                  <p:tags r:id="rId324"/>
                </p:custDataLst>
              </p:nvPr>
            </p:nvSpPr>
            <p:spPr bwMode="auto">
              <a:xfrm>
                <a:off x="3297238" y="2970213"/>
                <a:ext cx="22225" cy="23813"/>
              </a:xfrm>
              <a:custGeom>
                <a:avLst/>
                <a:gdLst>
                  <a:gd name="T0" fmla="*/ 4 w 14"/>
                  <a:gd name="T1" fmla="*/ 0 h 15"/>
                  <a:gd name="T2" fmla="*/ 7 w 14"/>
                  <a:gd name="T3" fmla="*/ 0 h 15"/>
                  <a:gd name="T4" fmla="*/ 9 w 14"/>
                  <a:gd name="T5" fmla="*/ 4 h 15"/>
                  <a:gd name="T6" fmla="*/ 14 w 14"/>
                  <a:gd name="T7" fmla="*/ 5 h 15"/>
                  <a:gd name="T8" fmla="*/ 12 w 14"/>
                  <a:gd name="T9" fmla="*/ 8 h 15"/>
                  <a:gd name="T10" fmla="*/ 11 w 14"/>
                  <a:gd name="T11" fmla="*/ 10 h 15"/>
                  <a:gd name="T12" fmla="*/ 7 w 14"/>
                  <a:gd name="T13" fmla="*/ 11 h 15"/>
                  <a:gd name="T14" fmla="*/ 4 w 14"/>
                  <a:gd name="T15" fmla="*/ 15 h 15"/>
                  <a:gd name="T16" fmla="*/ 3 w 14"/>
                  <a:gd name="T17" fmla="*/ 15 h 15"/>
                  <a:gd name="T18" fmla="*/ 1 w 14"/>
                  <a:gd name="T19" fmla="*/ 15 h 15"/>
                  <a:gd name="T20" fmla="*/ 0 w 14"/>
                  <a:gd name="T21" fmla="*/ 15 h 15"/>
                  <a:gd name="T22" fmla="*/ 0 w 14"/>
                  <a:gd name="T23" fmla="*/ 13 h 15"/>
                  <a:gd name="T24" fmla="*/ 0 w 14"/>
                  <a:gd name="T25" fmla="*/ 10 h 15"/>
                  <a:gd name="T26" fmla="*/ 3 w 14"/>
                  <a:gd name="T27" fmla="*/ 8 h 15"/>
                  <a:gd name="T28" fmla="*/ 3 w 14"/>
                  <a:gd name="T29" fmla="*/ 7 h 15"/>
                  <a:gd name="T30" fmla="*/ 3 w 14"/>
                  <a:gd name="T31" fmla="*/ 5 h 15"/>
                  <a:gd name="T32" fmla="*/ 3 w 14"/>
                  <a:gd name="T33" fmla="*/ 2 h 15"/>
                  <a:gd name="T34" fmla="*/ 4 w 14"/>
                  <a:gd name="T35" fmla="*/ 0 h 15"/>
                  <a:gd name="T36" fmla="*/ 4 w 14"/>
                  <a:gd name="T37" fmla="*/ 10 h 15"/>
                  <a:gd name="T38" fmla="*/ 7 w 14"/>
                  <a:gd name="T39" fmla="*/ 10 h 15"/>
                  <a:gd name="T40" fmla="*/ 7 w 14"/>
                  <a:gd name="T41" fmla="*/ 8 h 15"/>
                  <a:gd name="T42" fmla="*/ 6 w 14"/>
                  <a:gd name="T43" fmla="*/ 7 h 15"/>
                  <a:gd name="T44" fmla="*/ 4 w 14"/>
                  <a:gd name="T45" fmla="*/ 7 h 15"/>
                  <a:gd name="T46" fmla="*/ 4 w 14"/>
                  <a:gd name="T47" fmla="*/ 10 h 15"/>
                  <a:gd name="T48" fmla="*/ 4 w 14"/>
                  <a:gd name="T4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15">
                    <a:moveTo>
                      <a:pt x="4" y="0"/>
                    </a:moveTo>
                    <a:lnTo>
                      <a:pt x="7" y="0"/>
                    </a:lnTo>
                    <a:lnTo>
                      <a:pt x="9" y="4"/>
                    </a:lnTo>
                    <a:lnTo>
                      <a:pt x="14" y="5"/>
                    </a:lnTo>
                    <a:lnTo>
                      <a:pt x="12" y="8"/>
                    </a:lnTo>
                    <a:lnTo>
                      <a:pt x="11" y="10"/>
                    </a:lnTo>
                    <a:lnTo>
                      <a:pt x="7" y="11"/>
                    </a:lnTo>
                    <a:lnTo>
                      <a:pt x="4" y="15"/>
                    </a:lnTo>
                    <a:lnTo>
                      <a:pt x="3" y="15"/>
                    </a:lnTo>
                    <a:lnTo>
                      <a:pt x="1" y="15"/>
                    </a:lnTo>
                    <a:lnTo>
                      <a:pt x="0" y="15"/>
                    </a:lnTo>
                    <a:lnTo>
                      <a:pt x="0" y="13"/>
                    </a:lnTo>
                    <a:lnTo>
                      <a:pt x="0" y="10"/>
                    </a:lnTo>
                    <a:lnTo>
                      <a:pt x="3" y="8"/>
                    </a:lnTo>
                    <a:lnTo>
                      <a:pt x="3" y="7"/>
                    </a:lnTo>
                    <a:lnTo>
                      <a:pt x="3" y="5"/>
                    </a:lnTo>
                    <a:lnTo>
                      <a:pt x="3" y="2"/>
                    </a:lnTo>
                    <a:lnTo>
                      <a:pt x="4" y="0"/>
                    </a:lnTo>
                    <a:lnTo>
                      <a:pt x="4" y="10"/>
                    </a:lnTo>
                    <a:lnTo>
                      <a:pt x="7" y="10"/>
                    </a:lnTo>
                    <a:lnTo>
                      <a:pt x="7" y="8"/>
                    </a:lnTo>
                    <a:lnTo>
                      <a:pt x="6" y="7"/>
                    </a:lnTo>
                    <a:lnTo>
                      <a:pt x="4" y="7"/>
                    </a:lnTo>
                    <a:lnTo>
                      <a:pt x="4" y="10"/>
                    </a:lnTo>
                    <a:lnTo>
                      <a:pt x="4" y="0"/>
                    </a:ln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3" name="Freeform 12">
                <a:extLst>
                  <a:ext uri="{FF2B5EF4-FFF2-40B4-BE49-F238E27FC236}">
                    <a16:creationId xmlns:a16="http://schemas.microsoft.com/office/drawing/2014/main" id="{FB96FEA2-2FE8-47E1-EB8A-1936AC9C93EC}"/>
                  </a:ext>
                </a:extLst>
              </p:cNvPr>
              <p:cNvSpPr/>
              <p:nvPr>
                <p:custDataLst>
                  <p:tags r:id="rId325"/>
                </p:custDataLst>
              </p:nvPr>
            </p:nvSpPr>
            <p:spPr bwMode="auto">
              <a:xfrm>
                <a:off x="2582863" y="2827338"/>
                <a:ext cx="741363" cy="669925"/>
              </a:xfrm>
              <a:custGeom>
                <a:avLst/>
                <a:gdLst>
                  <a:gd name="T0" fmla="*/ 465 w 467"/>
                  <a:gd name="T1" fmla="*/ 83 h 422"/>
                  <a:gd name="T2" fmla="*/ 465 w 467"/>
                  <a:gd name="T3" fmla="*/ 100 h 422"/>
                  <a:gd name="T4" fmla="*/ 461 w 467"/>
                  <a:gd name="T5" fmla="*/ 143 h 422"/>
                  <a:gd name="T6" fmla="*/ 442 w 467"/>
                  <a:gd name="T7" fmla="*/ 163 h 422"/>
                  <a:gd name="T8" fmla="*/ 425 w 467"/>
                  <a:gd name="T9" fmla="*/ 146 h 422"/>
                  <a:gd name="T10" fmla="*/ 427 w 467"/>
                  <a:gd name="T11" fmla="*/ 134 h 422"/>
                  <a:gd name="T12" fmla="*/ 409 w 467"/>
                  <a:gd name="T13" fmla="*/ 160 h 422"/>
                  <a:gd name="T14" fmla="*/ 406 w 467"/>
                  <a:gd name="T15" fmla="*/ 184 h 422"/>
                  <a:gd name="T16" fmla="*/ 409 w 467"/>
                  <a:gd name="T17" fmla="*/ 214 h 422"/>
                  <a:gd name="T18" fmla="*/ 425 w 467"/>
                  <a:gd name="T19" fmla="*/ 231 h 422"/>
                  <a:gd name="T20" fmla="*/ 403 w 467"/>
                  <a:gd name="T21" fmla="*/ 251 h 422"/>
                  <a:gd name="T22" fmla="*/ 377 w 467"/>
                  <a:gd name="T23" fmla="*/ 258 h 422"/>
                  <a:gd name="T24" fmla="*/ 380 w 467"/>
                  <a:gd name="T25" fmla="*/ 291 h 422"/>
                  <a:gd name="T26" fmla="*/ 354 w 467"/>
                  <a:gd name="T27" fmla="*/ 360 h 422"/>
                  <a:gd name="T28" fmla="*/ 303 w 467"/>
                  <a:gd name="T29" fmla="*/ 415 h 422"/>
                  <a:gd name="T30" fmla="*/ 181 w 467"/>
                  <a:gd name="T31" fmla="*/ 397 h 422"/>
                  <a:gd name="T32" fmla="*/ 89 w 467"/>
                  <a:gd name="T33" fmla="*/ 372 h 422"/>
                  <a:gd name="T34" fmla="*/ 43 w 467"/>
                  <a:gd name="T35" fmla="*/ 305 h 422"/>
                  <a:gd name="T36" fmla="*/ 1 w 467"/>
                  <a:gd name="T37" fmla="*/ 242 h 422"/>
                  <a:gd name="T38" fmla="*/ 3 w 467"/>
                  <a:gd name="T39" fmla="*/ 209 h 422"/>
                  <a:gd name="T40" fmla="*/ 12 w 467"/>
                  <a:gd name="T41" fmla="*/ 224 h 422"/>
                  <a:gd name="T42" fmla="*/ 20 w 467"/>
                  <a:gd name="T43" fmla="*/ 232 h 422"/>
                  <a:gd name="T44" fmla="*/ 26 w 467"/>
                  <a:gd name="T45" fmla="*/ 254 h 422"/>
                  <a:gd name="T46" fmla="*/ 37 w 467"/>
                  <a:gd name="T47" fmla="*/ 254 h 422"/>
                  <a:gd name="T48" fmla="*/ 60 w 467"/>
                  <a:gd name="T49" fmla="*/ 257 h 422"/>
                  <a:gd name="T50" fmla="*/ 78 w 467"/>
                  <a:gd name="T51" fmla="*/ 249 h 422"/>
                  <a:gd name="T52" fmla="*/ 92 w 467"/>
                  <a:gd name="T53" fmla="*/ 238 h 422"/>
                  <a:gd name="T54" fmla="*/ 101 w 467"/>
                  <a:gd name="T55" fmla="*/ 229 h 422"/>
                  <a:gd name="T56" fmla="*/ 122 w 467"/>
                  <a:gd name="T57" fmla="*/ 235 h 422"/>
                  <a:gd name="T58" fmla="*/ 140 w 467"/>
                  <a:gd name="T59" fmla="*/ 235 h 422"/>
                  <a:gd name="T60" fmla="*/ 152 w 467"/>
                  <a:gd name="T61" fmla="*/ 234 h 422"/>
                  <a:gd name="T62" fmla="*/ 183 w 467"/>
                  <a:gd name="T63" fmla="*/ 240 h 422"/>
                  <a:gd name="T64" fmla="*/ 194 w 467"/>
                  <a:gd name="T65" fmla="*/ 246 h 422"/>
                  <a:gd name="T66" fmla="*/ 208 w 467"/>
                  <a:gd name="T67" fmla="*/ 245 h 422"/>
                  <a:gd name="T68" fmla="*/ 243 w 467"/>
                  <a:gd name="T69" fmla="*/ 237 h 422"/>
                  <a:gd name="T70" fmla="*/ 265 w 467"/>
                  <a:gd name="T71" fmla="*/ 221 h 422"/>
                  <a:gd name="T72" fmla="*/ 282 w 467"/>
                  <a:gd name="T73" fmla="*/ 203 h 422"/>
                  <a:gd name="T74" fmla="*/ 286 w 467"/>
                  <a:gd name="T75" fmla="*/ 197 h 422"/>
                  <a:gd name="T76" fmla="*/ 285 w 467"/>
                  <a:gd name="T77" fmla="*/ 194 h 422"/>
                  <a:gd name="T78" fmla="*/ 282 w 467"/>
                  <a:gd name="T79" fmla="*/ 183 h 422"/>
                  <a:gd name="T80" fmla="*/ 292 w 467"/>
                  <a:gd name="T81" fmla="*/ 191 h 422"/>
                  <a:gd name="T82" fmla="*/ 299 w 467"/>
                  <a:gd name="T83" fmla="*/ 175 h 422"/>
                  <a:gd name="T84" fmla="*/ 299 w 467"/>
                  <a:gd name="T85" fmla="*/ 161 h 422"/>
                  <a:gd name="T86" fmla="*/ 310 w 467"/>
                  <a:gd name="T87" fmla="*/ 152 h 422"/>
                  <a:gd name="T88" fmla="*/ 340 w 467"/>
                  <a:gd name="T89" fmla="*/ 129 h 422"/>
                  <a:gd name="T90" fmla="*/ 363 w 467"/>
                  <a:gd name="T91" fmla="*/ 105 h 422"/>
                  <a:gd name="T92" fmla="*/ 368 w 467"/>
                  <a:gd name="T93" fmla="*/ 90 h 422"/>
                  <a:gd name="T94" fmla="*/ 377 w 467"/>
                  <a:gd name="T95" fmla="*/ 80 h 422"/>
                  <a:gd name="T96" fmla="*/ 383 w 467"/>
                  <a:gd name="T97" fmla="*/ 64 h 422"/>
                  <a:gd name="T98" fmla="*/ 390 w 467"/>
                  <a:gd name="T99" fmla="*/ 66 h 422"/>
                  <a:gd name="T100" fmla="*/ 406 w 467"/>
                  <a:gd name="T101" fmla="*/ 47 h 422"/>
                  <a:gd name="T102" fmla="*/ 425 w 467"/>
                  <a:gd name="T103" fmla="*/ 34 h 422"/>
                  <a:gd name="T104" fmla="*/ 431 w 467"/>
                  <a:gd name="T105" fmla="*/ 21 h 422"/>
                  <a:gd name="T106" fmla="*/ 434 w 467"/>
                  <a:gd name="T107" fmla="*/ 9 h 422"/>
                  <a:gd name="T108" fmla="*/ 446 w 467"/>
                  <a:gd name="T109" fmla="*/ 12 h 422"/>
                  <a:gd name="T110" fmla="*/ 443 w 467"/>
                  <a:gd name="T111" fmla="*/ 40 h 422"/>
                  <a:gd name="T112" fmla="*/ 450 w 467"/>
                  <a:gd name="T113" fmla="*/ 55 h 422"/>
                  <a:gd name="T114" fmla="*/ 450 w 467"/>
                  <a:gd name="T115" fmla="*/ 100 h 422"/>
                  <a:gd name="T116" fmla="*/ 464 w 467"/>
                  <a:gd name="T117" fmla="*/ 95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7" h="422">
                    <a:moveTo>
                      <a:pt x="456" y="54"/>
                    </a:moveTo>
                    <a:lnTo>
                      <a:pt x="459" y="55"/>
                    </a:lnTo>
                    <a:lnTo>
                      <a:pt x="461" y="57"/>
                    </a:lnTo>
                    <a:lnTo>
                      <a:pt x="462" y="57"/>
                    </a:lnTo>
                    <a:lnTo>
                      <a:pt x="464" y="58"/>
                    </a:lnTo>
                    <a:lnTo>
                      <a:pt x="465" y="66"/>
                    </a:lnTo>
                    <a:lnTo>
                      <a:pt x="465" y="78"/>
                    </a:lnTo>
                    <a:lnTo>
                      <a:pt x="465" y="80"/>
                    </a:lnTo>
                    <a:lnTo>
                      <a:pt x="465" y="83"/>
                    </a:lnTo>
                    <a:lnTo>
                      <a:pt x="464" y="84"/>
                    </a:lnTo>
                    <a:lnTo>
                      <a:pt x="464" y="86"/>
                    </a:lnTo>
                    <a:lnTo>
                      <a:pt x="465" y="87"/>
                    </a:lnTo>
                    <a:lnTo>
                      <a:pt x="465" y="89"/>
                    </a:lnTo>
                    <a:lnTo>
                      <a:pt x="467" y="90"/>
                    </a:lnTo>
                    <a:lnTo>
                      <a:pt x="467" y="92"/>
                    </a:lnTo>
                    <a:lnTo>
                      <a:pt x="467" y="94"/>
                    </a:lnTo>
                    <a:lnTo>
                      <a:pt x="467" y="97"/>
                    </a:lnTo>
                    <a:lnTo>
                      <a:pt x="465" y="100"/>
                    </a:lnTo>
                    <a:lnTo>
                      <a:pt x="465" y="106"/>
                    </a:lnTo>
                    <a:lnTo>
                      <a:pt x="465" y="123"/>
                    </a:lnTo>
                    <a:lnTo>
                      <a:pt x="465" y="124"/>
                    </a:lnTo>
                    <a:lnTo>
                      <a:pt x="467" y="134"/>
                    </a:lnTo>
                    <a:lnTo>
                      <a:pt x="462" y="134"/>
                    </a:lnTo>
                    <a:lnTo>
                      <a:pt x="461" y="135"/>
                    </a:lnTo>
                    <a:lnTo>
                      <a:pt x="461" y="140"/>
                    </a:lnTo>
                    <a:lnTo>
                      <a:pt x="461" y="142"/>
                    </a:lnTo>
                    <a:lnTo>
                      <a:pt x="461" y="143"/>
                    </a:lnTo>
                    <a:lnTo>
                      <a:pt x="459" y="145"/>
                    </a:lnTo>
                    <a:lnTo>
                      <a:pt x="456" y="146"/>
                    </a:lnTo>
                    <a:lnTo>
                      <a:pt x="453" y="151"/>
                    </a:lnTo>
                    <a:lnTo>
                      <a:pt x="451" y="151"/>
                    </a:lnTo>
                    <a:lnTo>
                      <a:pt x="448" y="152"/>
                    </a:lnTo>
                    <a:lnTo>
                      <a:pt x="446" y="152"/>
                    </a:lnTo>
                    <a:lnTo>
                      <a:pt x="445" y="157"/>
                    </a:lnTo>
                    <a:lnTo>
                      <a:pt x="442" y="160"/>
                    </a:lnTo>
                    <a:lnTo>
                      <a:pt x="442" y="163"/>
                    </a:lnTo>
                    <a:lnTo>
                      <a:pt x="440" y="163"/>
                    </a:lnTo>
                    <a:lnTo>
                      <a:pt x="439" y="164"/>
                    </a:lnTo>
                    <a:lnTo>
                      <a:pt x="437" y="164"/>
                    </a:lnTo>
                    <a:lnTo>
                      <a:pt x="436" y="164"/>
                    </a:lnTo>
                    <a:lnTo>
                      <a:pt x="433" y="161"/>
                    </a:lnTo>
                    <a:lnTo>
                      <a:pt x="430" y="152"/>
                    </a:lnTo>
                    <a:lnTo>
                      <a:pt x="427" y="149"/>
                    </a:lnTo>
                    <a:lnTo>
                      <a:pt x="425" y="148"/>
                    </a:lnTo>
                    <a:lnTo>
                      <a:pt x="425" y="146"/>
                    </a:lnTo>
                    <a:lnTo>
                      <a:pt x="427" y="145"/>
                    </a:lnTo>
                    <a:lnTo>
                      <a:pt x="428" y="146"/>
                    </a:lnTo>
                    <a:lnTo>
                      <a:pt x="430" y="146"/>
                    </a:lnTo>
                    <a:lnTo>
                      <a:pt x="433" y="148"/>
                    </a:lnTo>
                    <a:lnTo>
                      <a:pt x="431" y="146"/>
                    </a:lnTo>
                    <a:lnTo>
                      <a:pt x="431" y="140"/>
                    </a:lnTo>
                    <a:lnTo>
                      <a:pt x="430" y="137"/>
                    </a:lnTo>
                    <a:lnTo>
                      <a:pt x="427" y="135"/>
                    </a:lnTo>
                    <a:lnTo>
                      <a:pt x="427" y="134"/>
                    </a:lnTo>
                    <a:lnTo>
                      <a:pt x="424" y="134"/>
                    </a:lnTo>
                    <a:lnTo>
                      <a:pt x="419" y="135"/>
                    </a:lnTo>
                    <a:lnTo>
                      <a:pt x="416" y="137"/>
                    </a:lnTo>
                    <a:lnTo>
                      <a:pt x="416" y="138"/>
                    </a:lnTo>
                    <a:lnTo>
                      <a:pt x="413" y="142"/>
                    </a:lnTo>
                    <a:lnTo>
                      <a:pt x="409" y="145"/>
                    </a:lnTo>
                    <a:lnTo>
                      <a:pt x="409" y="149"/>
                    </a:lnTo>
                    <a:lnTo>
                      <a:pt x="409" y="158"/>
                    </a:lnTo>
                    <a:lnTo>
                      <a:pt x="409" y="160"/>
                    </a:lnTo>
                    <a:lnTo>
                      <a:pt x="409" y="164"/>
                    </a:lnTo>
                    <a:lnTo>
                      <a:pt x="409" y="168"/>
                    </a:lnTo>
                    <a:lnTo>
                      <a:pt x="409" y="169"/>
                    </a:lnTo>
                    <a:lnTo>
                      <a:pt x="411" y="172"/>
                    </a:lnTo>
                    <a:lnTo>
                      <a:pt x="411" y="175"/>
                    </a:lnTo>
                    <a:lnTo>
                      <a:pt x="409" y="178"/>
                    </a:lnTo>
                    <a:lnTo>
                      <a:pt x="408" y="181"/>
                    </a:lnTo>
                    <a:lnTo>
                      <a:pt x="406" y="183"/>
                    </a:lnTo>
                    <a:lnTo>
                      <a:pt x="406" y="184"/>
                    </a:lnTo>
                    <a:lnTo>
                      <a:pt x="406" y="188"/>
                    </a:lnTo>
                    <a:lnTo>
                      <a:pt x="408" y="192"/>
                    </a:lnTo>
                    <a:lnTo>
                      <a:pt x="406" y="200"/>
                    </a:lnTo>
                    <a:lnTo>
                      <a:pt x="408" y="201"/>
                    </a:lnTo>
                    <a:lnTo>
                      <a:pt x="409" y="203"/>
                    </a:lnTo>
                    <a:lnTo>
                      <a:pt x="411" y="205"/>
                    </a:lnTo>
                    <a:lnTo>
                      <a:pt x="411" y="206"/>
                    </a:lnTo>
                    <a:lnTo>
                      <a:pt x="411" y="212"/>
                    </a:lnTo>
                    <a:lnTo>
                      <a:pt x="409" y="214"/>
                    </a:lnTo>
                    <a:lnTo>
                      <a:pt x="406" y="221"/>
                    </a:lnTo>
                    <a:lnTo>
                      <a:pt x="405" y="223"/>
                    </a:lnTo>
                    <a:lnTo>
                      <a:pt x="405" y="224"/>
                    </a:lnTo>
                    <a:lnTo>
                      <a:pt x="406" y="226"/>
                    </a:lnTo>
                    <a:lnTo>
                      <a:pt x="413" y="227"/>
                    </a:lnTo>
                    <a:lnTo>
                      <a:pt x="414" y="227"/>
                    </a:lnTo>
                    <a:lnTo>
                      <a:pt x="420" y="224"/>
                    </a:lnTo>
                    <a:lnTo>
                      <a:pt x="424" y="226"/>
                    </a:lnTo>
                    <a:lnTo>
                      <a:pt x="425" y="231"/>
                    </a:lnTo>
                    <a:lnTo>
                      <a:pt x="425" y="235"/>
                    </a:lnTo>
                    <a:lnTo>
                      <a:pt x="430" y="243"/>
                    </a:lnTo>
                    <a:lnTo>
                      <a:pt x="428" y="246"/>
                    </a:lnTo>
                    <a:lnTo>
                      <a:pt x="422" y="248"/>
                    </a:lnTo>
                    <a:lnTo>
                      <a:pt x="411" y="252"/>
                    </a:lnTo>
                    <a:lnTo>
                      <a:pt x="409" y="252"/>
                    </a:lnTo>
                    <a:lnTo>
                      <a:pt x="406" y="249"/>
                    </a:lnTo>
                    <a:lnTo>
                      <a:pt x="405" y="251"/>
                    </a:lnTo>
                    <a:lnTo>
                      <a:pt x="403" y="251"/>
                    </a:lnTo>
                    <a:lnTo>
                      <a:pt x="402" y="251"/>
                    </a:lnTo>
                    <a:lnTo>
                      <a:pt x="399" y="251"/>
                    </a:lnTo>
                    <a:lnTo>
                      <a:pt x="396" y="251"/>
                    </a:lnTo>
                    <a:lnTo>
                      <a:pt x="393" y="251"/>
                    </a:lnTo>
                    <a:lnTo>
                      <a:pt x="390" y="252"/>
                    </a:lnTo>
                    <a:lnTo>
                      <a:pt x="387" y="254"/>
                    </a:lnTo>
                    <a:lnTo>
                      <a:pt x="385" y="255"/>
                    </a:lnTo>
                    <a:lnTo>
                      <a:pt x="380" y="257"/>
                    </a:lnTo>
                    <a:lnTo>
                      <a:pt x="377" y="258"/>
                    </a:lnTo>
                    <a:lnTo>
                      <a:pt x="376" y="260"/>
                    </a:lnTo>
                    <a:lnTo>
                      <a:pt x="377" y="261"/>
                    </a:lnTo>
                    <a:lnTo>
                      <a:pt x="379" y="263"/>
                    </a:lnTo>
                    <a:lnTo>
                      <a:pt x="382" y="266"/>
                    </a:lnTo>
                    <a:lnTo>
                      <a:pt x="383" y="269"/>
                    </a:lnTo>
                    <a:lnTo>
                      <a:pt x="385" y="272"/>
                    </a:lnTo>
                    <a:lnTo>
                      <a:pt x="385" y="282"/>
                    </a:lnTo>
                    <a:lnTo>
                      <a:pt x="385" y="283"/>
                    </a:lnTo>
                    <a:lnTo>
                      <a:pt x="380" y="291"/>
                    </a:lnTo>
                    <a:lnTo>
                      <a:pt x="379" y="292"/>
                    </a:lnTo>
                    <a:lnTo>
                      <a:pt x="376" y="308"/>
                    </a:lnTo>
                    <a:lnTo>
                      <a:pt x="374" y="311"/>
                    </a:lnTo>
                    <a:lnTo>
                      <a:pt x="371" y="315"/>
                    </a:lnTo>
                    <a:lnTo>
                      <a:pt x="369" y="319"/>
                    </a:lnTo>
                    <a:lnTo>
                      <a:pt x="368" y="322"/>
                    </a:lnTo>
                    <a:lnTo>
                      <a:pt x="366" y="334"/>
                    </a:lnTo>
                    <a:lnTo>
                      <a:pt x="363" y="342"/>
                    </a:lnTo>
                    <a:lnTo>
                      <a:pt x="354" y="360"/>
                    </a:lnTo>
                    <a:lnTo>
                      <a:pt x="351" y="372"/>
                    </a:lnTo>
                    <a:lnTo>
                      <a:pt x="351" y="375"/>
                    </a:lnTo>
                    <a:lnTo>
                      <a:pt x="351" y="394"/>
                    </a:lnTo>
                    <a:lnTo>
                      <a:pt x="351" y="411"/>
                    </a:lnTo>
                    <a:lnTo>
                      <a:pt x="345" y="422"/>
                    </a:lnTo>
                    <a:lnTo>
                      <a:pt x="343" y="422"/>
                    </a:lnTo>
                    <a:lnTo>
                      <a:pt x="329" y="419"/>
                    </a:lnTo>
                    <a:lnTo>
                      <a:pt x="316" y="417"/>
                    </a:lnTo>
                    <a:lnTo>
                      <a:pt x="303" y="415"/>
                    </a:lnTo>
                    <a:lnTo>
                      <a:pt x="289" y="412"/>
                    </a:lnTo>
                    <a:lnTo>
                      <a:pt x="276" y="411"/>
                    </a:lnTo>
                    <a:lnTo>
                      <a:pt x="262" y="409"/>
                    </a:lnTo>
                    <a:lnTo>
                      <a:pt x="249" y="406"/>
                    </a:lnTo>
                    <a:lnTo>
                      <a:pt x="236" y="405"/>
                    </a:lnTo>
                    <a:lnTo>
                      <a:pt x="222" y="403"/>
                    </a:lnTo>
                    <a:lnTo>
                      <a:pt x="208" y="400"/>
                    </a:lnTo>
                    <a:lnTo>
                      <a:pt x="196" y="399"/>
                    </a:lnTo>
                    <a:lnTo>
                      <a:pt x="181" y="397"/>
                    </a:lnTo>
                    <a:lnTo>
                      <a:pt x="168" y="394"/>
                    </a:lnTo>
                    <a:lnTo>
                      <a:pt x="154" y="393"/>
                    </a:lnTo>
                    <a:lnTo>
                      <a:pt x="141" y="391"/>
                    </a:lnTo>
                    <a:lnTo>
                      <a:pt x="128" y="388"/>
                    </a:lnTo>
                    <a:lnTo>
                      <a:pt x="114" y="386"/>
                    </a:lnTo>
                    <a:lnTo>
                      <a:pt x="98" y="383"/>
                    </a:lnTo>
                    <a:lnTo>
                      <a:pt x="97" y="383"/>
                    </a:lnTo>
                    <a:lnTo>
                      <a:pt x="94" y="380"/>
                    </a:lnTo>
                    <a:lnTo>
                      <a:pt x="89" y="372"/>
                    </a:lnTo>
                    <a:lnTo>
                      <a:pt x="85" y="366"/>
                    </a:lnTo>
                    <a:lnTo>
                      <a:pt x="78" y="359"/>
                    </a:lnTo>
                    <a:lnTo>
                      <a:pt x="74" y="351"/>
                    </a:lnTo>
                    <a:lnTo>
                      <a:pt x="69" y="343"/>
                    </a:lnTo>
                    <a:lnTo>
                      <a:pt x="63" y="335"/>
                    </a:lnTo>
                    <a:lnTo>
                      <a:pt x="58" y="328"/>
                    </a:lnTo>
                    <a:lnTo>
                      <a:pt x="54" y="320"/>
                    </a:lnTo>
                    <a:lnTo>
                      <a:pt x="49" y="312"/>
                    </a:lnTo>
                    <a:lnTo>
                      <a:pt x="43" y="305"/>
                    </a:lnTo>
                    <a:lnTo>
                      <a:pt x="38" y="297"/>
                    </a:lnTo>
                    <a:lnTo>
                      <a:pt x="34" y="289"/>
                    </a:lnTo>
                    <a:lnTo>
                      <a:pt x="29" y="283"/>
                    </a:lnTo>
                    <a:lnTo>
                      <a:pt x="23" y="275"/>
                    </a:lnTo>
                    <a:lnTo>
                      <a:pt x="18" y="268"/>
                    </a:lnTo>
                    <a:lnTo>
                      <a:pt x="14" y="260"/>
                    </a:lnTo>
                    <a:lnTo>
                      <a:pt x="8" y="252"/>
                    </a:lnTo>
                    <a:lnTo>
                      <a:pt x="3" y="245"/>
                    </a:lnTo>
                    <a:lnTo>
                      <a:pt x="1" y="242"/>
                    </a:lnTo>
                    <a:lnTo>
                      <a:pt x="1" y="238"/>
                    </a:lnTo>
                    <a:lnTo>
                      <a:pt x="1" y="229"/>
                    </a:lnTo>
                    <a:lnTo>
                      <a:pt x="1" y="226"/>
                    </a:lnTo>
                    <a:lnTo>
                      <a:pt x="0" y="221"/>
                    </a:lnTo>
                    <a:lnTo>
                      <a:pt x="3" y="218"/>
                    </a:lnTo>
                    <a:lnTo>
                      <a:pt x="3" y="214"/>
                    </a:lnTo>
                    <a:lnTo>
                      <a:pt x="1" y="209"/>
                    </a:lnTo>
                    <a:lnTo>
                      <a:pt x="3" y="206"/>
                    </a:lnTo>
                    <a:lnTo>
                      <a:pt x="3" y="209"/>
                    </a:lnTo>
                    <a:lnTo>
                      <a:pt x="6" y="212"/>
                    </a:lnTo>
                    <a:lnTo>
                      <a:pt x="6" y="214"/>
                    </a:lnTo>
                    <a:lnTo>
                      <a:pt x="6" y="221"/>
                    </a:lnTo>
                    <a:lnTo>
                      <a:pt x="6" y="226"/>
                    </a:lnTo>
                    <a:lnTo>
                      <a:pt x="8" y="226"/>
                    </a:lnTo>
                    <a:lnTo>
                      <a:pt x="9" y="224"/>
                    </a:lnTo>
                    <a:lnTo>
                      <a:pt x="11" y="220"/>
                    </a:lnTo>
                    <a:lnTo>
                      <a:pt x="11" y="221"/>
                    </a:lnTo>
                    <a:lnTo>
                      <a:pt x="12" y="224"/>
                    </a:lnTo>
                    <a:lnTo>
                      <a:pt x="12" y="226"/>
                    </a:lnTo>
                    <a:lnTo>
                      <a:pt x="14" y="226"/>
                    </a:lnTo>
                    <a:lnTo>
                      <a:pt x="15" y="226"/>
                    </a:lnTo>
                    <a:lnTo>
                      <a:pt x="15" y="224"/>
                    </a:lnTo>
                    <a:lnTo>
                      <a:pt x="17" y="220"/>
                    </a:lnTo>
                    <a:lnTo>
                      <a:pt x="18" y="218"/>
                    </a:lnTo>
                    <a:lnTo>
                      <a:pt x="21" y="221"/>
                    </a:lnTo>
                    <a:lnTo>
                      <a:pt x="21" y="224"/>
                    </a:lnTo>
                    <a:lnTo>
                      <a:pt x="20" y="232"/>
                    </a:lnTo>
                    <a:lnTo>
                      <a:pt x="20" y="235"/>
                    </a:lnTo>
                    <a:lnTo>
                      <a:pt x="21" y="240"/>
                    </a:lnTo>
                    <a:lnTo>
                      <a:pt x="21" y="242"/>
                    </a:lnTo>
                    <a:lnTo>
                      <a:pt x="21" y="246"/>
                    </a:lnTo>
                    <a:lnTo>
                      <a:pt x="21" y="248"/>
                    </a:lnTo>
                    <a:lnTo>
                      <a:pt x="23" y="249"/>
                    </a:lnTo>
                    <a:lnTo>
                      <a:pt x="23" y="251"/>
                    </a:lnTo>
                    <a:lnTo>
                      <a:pt x="23" y="254"/>
                    </a:lnTo>
                    <a:lnTo>
                      <a:pt x="26" y="254"/>
                    </a:lnTo>
                    <a:lnTo>
                      <a:pt x="31" y="254"/>
                    </a:lnTo>
                    <a:lnTo>
                      <a:pt x="32" y="254"/>
                    </a:lnTo>
                    <a:lnTo>
                      <a:pt x="32" y="255"/>
                    </a:lnTo>
                    <a:lnTo>
                      <a:pt x="34" y="257"/>
                    </a:lnTo>
                    <a:lnTo>
                      <a:pt x="35" y="258"/>
                    </a:lnTo>
                    <a:lnTo>
                      <a:pt x="37" y="257"/>
                    </a:lnTo>
                    <a:lnTo>
                      <a:pt x="35" y="257"/>
                    </a:lnTo>
                    <a:lnTo>
                      <a:pt x="35" y="255"/>
                    </a:lnTo>
                    <a:lnTo>
                      <a:pt x="37" y="254"/>
                    </a:lnTo>
                    <a:lnTo>
                      <a:pt x="43" y="255"/>
                    </a:lnTo>
                    <a:lnTo>
                      <a:pt x="45" y="255"/>
                    </a:lnTo>
                    <a:lnTo>
                      <a:pt x="46" y="257"/>
                    </a:lnTo>
                    <a:lnTo>
                      <a:pt x="49" y="258"/>
                    </a:lnTo>
                    <a:lnTo>
                      <a:pt x="54" y="257"/>
                    </a:lnTo>
                    <a:lnTo>
                      <a:pt x="55" y="257"/>
                    </a:lnTo>
                    <a:lnTo>
                      <a:pt x="57" y="257"/>
                    </a:lnTo>
                    <a:lnTo>
                      <a:pt x="58" y="257"/>
                    </a:lnTo>
                    <a:lnTo>
                      <a:pt x="60" y="257"/>
                    </a:lnTo>
                    <a:lnTo>
                      <a:pt x="61" y="257"/>
                    </a:lnTo>
                    <a:lnTo>
                      <a:pt x="64" y="257"/>
                    </a:lnTo>
                    <a:lnTo>
                      <a:pt x="66" y="255"/>
                    </a:lnTo>
                    <a:lnTo>
                      <a:pt x="69" y="254"/>
                    </a:lnTo>
                    <a:lnTo>
                      <a:pt x="71" y="252"/>
                    </a:lnTo>
                    <a:lnTo>
                      <a:pt x="74" y="252"/>
                    </a:lnTo>
                    <a:lnTo>
                      <a:pt x="75" y="252"/>
                    </a:lnTo>
                    <a:lnTo>
                      <a:pt x="77" y="251"/>
                    </a:lnTo>
                    <a:lnTo>
                      <a:pt x="78" y="249"/>
                    </a:lnTo>
                    <a:lnTo>
                      <a:pt x="80" y="248"/>
                    </a:lnTo>
                    <a:lnTo>
                      <a:pt x="82" y="248"/>
                    </a:lnTo>
                    <a:lnTo>
                      <a:pt x="83" y="248"/>
                    </a:lnTo>
                    <a:lnTo>
                      <a:pt x="85" y="246"/>
                    </a:lnTo>
                    <a:lnTo>
                      <a:pt x="86" y="245"/>
                    </a:lnTo>
                    <a:lnTo>
                      <a:pt x="86" y="243"/>
                    </a:lnTo>
                    <a:lnTo>
                      <a:pt x="89" y="242"/>
                    </a:lnTo>
                    <a:lnTo>
                      <a:pt x="91" y="240"/>
                    </a:lnTo>
                    <a:lnTo>
                      <a:pt x="92" y="238"/>
                    </a:lnTo>
                    <a:lnTo>
                      <a:pt x="94" y="237"/>
                    </a:lnTo>
                    <a:lnTo>
                      <a:pt x="95" y="237"/>
                    </a:lnTo>
                    <a:lnTo>
                      <a:pt x="97" y="235"/>
                    </a:lnTo>
                    <a:lnTo>
                      <a:pt x="98" y="235"/>
                    </a:lnTo>
                    <a:lnTo>
                      <a:pt x="98" y="232"/>
                    </a:lnTo>
                    <a:lnTo>
                      <a:pt x="98" y="231"/>
                    </a:lnTo>
                    <a:lnTo>
                      <a:pt x="98" y="229"/>
                    </a:lnTo>
                    <a:lnTo>
                      <a:pt x="100" y="227"/>
                    </a:lnTo>
                    <a:lnTo>
                      <a:pt x="101" y="229"/>
                    </a:lnTo>
                    <a:lnTo>
                      <a:pt x="103" y="231"/>
                    </a:lnTo>
                    <a:lnTo>
                      <a:pt x="108" y="235"/>
                    </a:lnTo>
                    <a:lnTo>
                      <a:pt x="108" y="237"/>
                    </a:lnTo>
                    <a:lnTo>
                      <a:pt x="108" y="235"/>
                    </a:lnTo>
                    <a:lnTo>
                      <a:pt x="109" y="235"/>
                    </a:lnTo>
                    <a:lnTo>
                      <a:pt x="112" y="235"/>
                    </a:lnTo>
                    <a:lnTo>
                      <a:pt x="115" y="237"/>
                    </a:lnTo>
                    <a:lnTo>
                      <a:pt x="118" y="237"/>
                    </a:lnTo>
                    <a:lnTo>
                      <a:pt x="122" y="235"/>
                    </a:lnTo>
                    <a:lnTo>
                      <a:pt x="123" y="235"/>
                    </a:lnTo>
                    <a:lnTo>
                      <a:pt x="125" y="235"/>
                    </a:lnTo>
                    <a:lnTo>
                      <a:pt x="126" y="235"/>
                    </a:lnTo>
                    <a:lnTo>
                      <a:pt x="134" y="237"/>
                    </a:lnTo>
                    <a:lnTo>
                      <a:pt x="135" y="237"/>
                    </a:lnTo>
                    <a:lnTo>
                      <a:pt x="138" y="235"/>
                    </a:lnTo>
                    <a:lnTo>
                      <a:pt x="138" y="234"/>
                    </a:lnTo>
                    <a:lnTo>
                      <a:pt x="140" y="234"/>
                    </a:lnTo>
                    <a:lnTo>
                      <a:pt x="140" y="235"/>
                    </a:lnTo>
                    <a:lnTo>
                      <a:pt x="143" y="237"/>
                    </a:lnTo>
                    <a:lnTo>
                      <a:pt x="145" y="238"/>
                    </a:lnTo>
                    <a:lnTo>
                      <a:pt x="149" y="237"/>
                    </a:lnTo>
                    <a:lnTo>
                      <a:pt x="151" y="237"/>
                    </a:lnTo>
                    <a:lnTo>
                      <a:pt x="152" y="238"/>
                    </a:lnTo>
                    <a:lnTo>
                      <a:pt x="155" y="238"/>
                    </a:lnTo>
                    <a:lnTo>
                      <a:pt x="154" y="237"/>
                    </a:lnTo>
                    <a:lnTo>
                      <a:pt x="152" y="235"/>
                    </a:lnTo>
                    <a:lnTo>
                      <a:pt x="152" y="234"/>
                    </a:lnTo>
                    <a:lnTo>
                      <a:pt x="155" y="232"/>
                    </a:lnTo>
                    <a:lnTo>
                      <a:pt x="157" y="234"/>
                    </a:lnTo>
                    <a:lnTo>
                      <a:pt x="160" y="235"/>
                    </a:lnTo>
                    <a:lnTo>
                      <a:pt x="162" y="238"/>
                    </a:lnTo>
                    <a:lnTo>
                      <a:pt x="163" y="240"/>
                    </a:lnTo>
                    <a:lnTo>
                      <a:pt x="163" y="242"/>
                    </a:lnTo>
                    <a:lnTo>
                      <a:pt x="169" y="242"/>
                    </a:lnTo>
                    <a:lnTo>
                      <a:pt x="181" y="238"/>
                    </a:lnTo>
                    <a:lnTo>
                      <a:pt x="183" y="240"/>
                    </a:lnTo>
                    <a:lnTo>
                      <a:pt x="185" y="242"/>
                    </a:lnTo>
                    <a:lnTo>
                      <a:pt x="186" y="243"/>
                    </a:lnTo>
                    <a:lnTo>
                      <a:pt x="188" y="242"/>
                    </a:lnTo>
                    <a:lnTo>
                      <a:pt x="189" y="242"/>
                    </a:lnTo>
                    <a:lnTo>
                      <a:pt x="191" y="243"/>
                    </a:lnTo>
                    <a:lnTo>
                      <a:pt x="192" y="243"/>
                    </a:lnTo>
                    <a:lnTo>
                      <a:pt x="192" y="245"/>
                    </a:lnTo>
                    <a:lnTo>
                      <a:pt x="194" y="245"/>
                    </a:lnTo>
                    <a:lnTo>
                      <a:pt x="194" y="246"/>
                    </a:lnTo>
                    <a:lnTo>
                      <a:pt x="196" y="248"/>
                    </a:lnTo>
                    <a:lnTo>
                      <a:pt x="197" y="248"/>
                    </a:lnTo>
                    <a:lnTo>
                      <a:pt x="199" y="248"/>
                    </a:lnTo>
                    <a:lnTo>
                      <a:pt x="200" y="246"/>
                    </a:lnTo>
                    <a:lnTo>
                      <a:pt x="202" y="248"/>
                    </a:lnTo>
                    <a:lnTo>
                      <a:pt x="203" y="248"/>
                    </a:lnTo>
                    <a:lnTo>
                      <a:pt x="206" y="246"/>
                    </a:lnTo>
                    <a:lnTo>
                      <a:pt x="206" y="245"/>
                    </a:lnTo>
                    <a:lnTo>
                      <a:pt x="208" y="245"/>
                    </a:lnTo>
                    <a:lnTo>
                      <a:pt x="209" y="246"/>
                    </a:lnTo>
                    <a:lnTo>
                      <a:pt x="222" y="246"/>
                    </a:lnTo>
                    <a:lnTo>
                      <a:pt x="225" y="246"/>
                    </a:lnTo>
                    <a:lnTo>
                      <a:pt x="225" y="245"/>
                    </a:lnTo>
                    <a:lnTo>
                      <a:pt x="231" y="240"/>
                    </a:lnTo>
                    <a:lnTo>
                      <a:pt x="237" y="240"/>
                    </a:lnTo>
                    <a:lnTo>
                      <a:pt x="239" y="238"/>
                    </a:lnTo>
                    <a:lnTo>
                      <a:pt x="242" y="238"/>
                    </a:lnTo>
                    <a:lnTo>
                      <a:pt x="243" y="237"/>
                    </a:lnTo>
                    <a:lnTo>
                      <a:pt x="246" y="235"/>
                    </a:lnTo>
                    <a:lnTo>
                      <a:pt x="248" y="235"/>
                    </a:lnTo>
                    <a:lnTo>
                      <a:pt x="249" y="235"/>
                    </a:lnTo>
                    <a:lnTo>
                      <a:pt x="251" y="234"/>
                    </a:lnTo>
                    <a:lnTo>
                      <a:pt x="252" y="231"/>
                    </a:lnTo>
                    <a:lnTo>
                      <a:pt x="252" y="229"/>
                    </a:lnTo>
                    <a:lnTo>
                      <a:pt x="254" y="229"/>
                    </a:lnTo>
                    <a:lnTo>
                      <a:pt x="260" y="226"/>
                    </a:lnTo>
                    <a:lnTo>
                      <a:pt x="265" y="221"/>
                    </a:lnTo>
                    <a:lnTo>
                      <a:pt x="266" y="221"/>
                    </a:lnTo>
                    <a:lnTo>
                      <a:pt x="266" y="220"/>
                    </a:lnTo>
                    <a:lnTo>
                      <a:pt x="269" y="220"/>
                    </a:lnTo>
                    <a:lnTo>
                      <a:pt x="273" y="223"/>
                    </a:lnTo>
                    <a:lnTo>
                      <a:pt x="274" y="221"/>
                    </a:lnTo>
                    <a:lnTo>
                      <a:pt x="277" y="218"/>
                    </a:lnTo>
                    <a:lnTo>
                      <a:pt x="279" y="215"/>
                    </a:lnTo>
                    <a:lnTo>
                      <a:pt x="283" y="206"/>
                    </a:lnTo>
                    <a:lnTo>
                      <a:pt x="282" y="203"/>
                    </a:lnTo>
                    <a:lnTo>
                      <a:pt x="282" y="201"/>
                    </a:lnTo>
                    <a:lnTo>
                      <a:pt x="285" y="200"/>
                    </a:lnTo>
                    <a:lnTo>
                      <a:pt x="283" y="200"/>
                    </a:lnTo>
                    <a:lnTo>
                      <a:pt x="283" y="198"/>
                    </a:lnTo>
                    <a:lnTo>
                      <a:pt x="285" y="198"/>
                    </a:lnTo>
                    <a:lnTo>
                      <a:pt x="286" y="200"/>
                    </a:lnTo>
                    <a:lnTo>
                      <a:pt x="288" y="200"/>
                    </a:lnTo>
                    <a:lnTo>
                      <a:pt x="288" y="198"/>
                    </a:lnTo>
                    <a:lnTo>
                      <a:pt x="286" y="197"/>
                    </a:lnTo>
                    <a:lnTo>
                      <a:pt x="285" y="195"/>
                    </a:lnTo>
                    <a:lnTo>
                      <a:pt x="286" y="197"/>
                    </a:lnTo>
                    <a:lnTo>
                      <a:pt x="288" y="197"/>
                    </a:lnTo>
                    <a:lnTo>
                      <a:pt x="289" y="197"/>
                    </a:lnTo>
                    <a:lnTo>
                      <a:pt x="291" y="198"/>
                    </a:lnTo>
                    <a:lnTo>
                      <a:pt x="291" y="195"/>
                    </a:lnTo>
                    <a:lnTo>
                      <a:pt x="289" y="194"/>
                    </a:lnTo>
                    <a:lnTo>
                      <a:pt x="286" y="194"/>
                    </a:lnTo>
                    <a:lnTo>
                      <a:pt x="285" y="194"/>
                    </a:lnTo>
                    <a:lnTo>
                      <a:pt x="279" y="189"/>
                    </a:lnTo>
                    <a:lnTo>
                      <a:pt x="276" y="189"/>
                    </a:lnTo>
                    <a:lnTo>
                      <a:pt x="276" y="188"/>
                    </a:lnTo>
                    <a:lnTo>
                      <a:pt x="277" y="188"/>
                    </a:lnTo>
                    <a:lnTo>
                      <a:pt x="279" y="186"/>
                    </a:lnTo>
                    <a:lnTo>
                      <a:pt x="280" y="186"/>
                    </a:lnTo>
                    <a:lnTo>
                      <a:pt x="280" y="188"/>
                    </a:lnTo>
                    <a:lnTo>
                      <a:pt x="280" y="186"/>
                    </a:lnTo>
                    <a:lnTo>
                      <a:pt x="282" y="183"/>
                    </a:lnTo>
                    <a:lnTo>
                      <a:pt x="283" y="183"/>
                    </a:lnTo>
                    <a:lnTo>
                      <a:pt x="283" y="188"/>
                    </a:lnTo>
                    <a:lnTo>
                      <a:pt x="285" y="191"/>
                    </a:lnTo>
                    <a:lnTo>
                      <a:pt x="288" y="192"/>
                    </a:lnTo>
                    <a:lnTo>
                      <a:pt x="289" y="192"/>
                    </a:lnTo>
                    <a:lnTo>
                      <a:pt x="288" y="191"/>
                    </a:lnTo>
                    <a:lnTo>
                      <a:pt x="289" y="191"/>
                    </a:lnTo>
                    <a:lnTo>
                      <a:pt x="291" y="191"/>
                    </a:lnTo>
                    <a:lnTo>
                      <a:pt x="292" y="191"/>
                    </a:lnTo>
                    <a:lnTo>
                      <a:pt x="292" y="189"/>
                    </a:lnTo>
                    <a:lnTo>
                      <a:pt x="294" y="189"/>
                    </a:lnTo>
                    <a:lnTo>
                      <a:pt x="297" y="180"/>
                    </a:lnTo>
                    <a:lnTo>
                      <a:pt x="295" y="180"/>
                    </a:lnTo>
                    <a:lnTo>
                      <a:pt x="295" y="178"/>
                    </a:lnTo>
                    <a:lnTo>
                      <a:pt x="295" y="177"/>
                    </a:lnTo>
                    <a:lnTo>
                      <a:pt x="297" y="177"/>
                    </a:lnTo>
                    <a:lnTo>
                      <a:pt x="299" y="177"/>
                    </a:lnTo>
                    <a:lnTo>
                      <a:pt x="299" y="175"/>
                    </a:lnTo>
                    <a:lnTo>
                      <a:pt x="299" y="172"/>
                    </a:lnTo>
                    <a:lnTo>
                      <a:pt x="300" y="172"/>
                    </a:lnTo>
                    <a:lnTo>
                      <a:pt x="300" y="171"/>
                    </a:lnTo>
                    <a:lnTo>
                      <a:pt x="299" y="169"/>
                    </a:lnTo>
                    <a:lnTo>
                      <a:pt x="299" y="168"/>
                    </a:lnTo>
                    <a:lnTo>
                      <a:pt x="299" y="166"/>
                    </a:lnTo>
                    <a:lnTo>
                      <a:pt x="299" y="164"/>
                    </a:lnTo>
                    <a:lnTo>
                      <a:pt x="297" y="164"/>
                    </a:lnTo>
                    <a:lnTo>
                      <a:pt x="299" y="161"/>
                    </a:lnTo>
                    <a:lnTo>
                      <a:pt x="303" y="158"/>
                    </a:lnTo>
                    <a:lnTo>
                      <a:pt x="303" y="157"/>
                    </a:lnTo>
                    <a:lnTo>
                      <a:pt x="303" y="155"/>
                    </a:lnTo>
                    <a:lnTo>
                      <a:pt x="305" y="155"/>
                    </a:lnTo>
                    <a:lnTo>
                      <a:pt x="308" y="157"/>
                    </a:lnTo>
                    <a:lnTo>
                      <a:pt x="310" y="157"/>
                    </a:lnTo>
                    <a:lnTo>
                      <a:pt x="310" y="155"/>
                    </a:lnTo>
                    <a:lnTo>
                      <a:pt x="311" y="154"/>
                    </a:lnTo>
                    <a:lnTo>
                      <a:pt x="310" y="152"/>
                    </a:lnTo>
                    <a:lnTo>
                      <a:pt x="320" y="145"/>
                    </a:lnTo>
                    <a:lnTo>
                      <a:pt x="325" y="142"/>
                    </a:lnTo>
                    <a:lnTo>
                      <a:pt x="328" y="138"/>
                    </a:lnTo>
                    <a:lnTo>
                      <a:pt x="329" y="137"/>
                    </a:lnTo>
                    <a:lnTo>
                      <a:pt x="332" y="135"/>
                    </a:lnTo>
                    <a:lnTo>
                      <a:pt x="334" y="134"/>
                    </a:lnTo>
                    <a:lnTo>
                      <a:pt x="337" y="132"/>
                    </a:lnTo>
                    <a:lnTo>
                      <a:pt x="337" y="129"/>
                    </a:lnTo>
                    <a:lnTo>
                      <a:pt x="340" y="129"/>
                    </a:lnTo>
                    <a:lnTo>
                      <a:pt x="348" y="120"/>
                    </a:lnTo>
                    <a:lnTo>
                      <a:pt x="357" y="105"/>
                    </a:lnTo>
                    <a:lnTo>
                      <a:pt x="359" y="103"/>
                    </a:lnTo>
                    <a:lnTo>
                      <a:pt x="359" y="101"/>
                    </a:lnTo>
                    <a:lnTo>
                      <a:pt x="360" y="100"/>
                    </a:lnTo>
                    <a:lnTo>
                      <a:pt x="362" y="100"/>
                    </a:lnTo>
                    <a:lnTo>
                      <a:pt x="363" y="101"/>
                    </a:lnTo>
                    <a:lnTo>
                      <a:pt x="363" y="103"/>
                    </a:lnTo>
                    <a:lnTo>
                      <a:pt x="363" y="105"/>
                    </a:lnTo>
                    <a:lnTo>
                      <a:pt x="362" y="108"/>
                    </a:lnTo>
                    <a:lnTo>
                      <a:pt x="365" y="106"/>
                    </a:lnTo>
                    <a:lnTo>
                      <a:pt x="365" y="105"/>
                    </a:lnTo>
                    <a:lnTo>
                      <a:pt x="365" y="101"/>
                    </a:lnTo>
                    <a:lnTo>
                      <a:pt x="362" y="97"/>
                    </a:lnTo>
                    <a:lnTo>
                      <a:pt x="362" y="95"/>
                    </a:lnTo>
                    <a:lnTo>
                      <a:pt x="365" y="92"/>
                    </a:lnTo>
                    <a:lnTo>
                      <a:pt x="366" y="90"/>
                    </a:lnTo>
                    <a:lnTo>
                      <a:pt x="368" y="90"/>
                    </a:lnTo>
                    <a:lnTo>
                      <a:pt x="368" y="89"/>
                    </a:lnTo>
                    <a:lnTo>
                      <a:pt x="368" y="87"/>
                    </a:lnTo>
                    <a:lnTo>
                      <a:pt x="369" y="86"/>
                    </a:lnTo>
                    <a:lnTo>
                      <a:pt x="369" y="87"/>
                    </a:lnTo>
                    <a:lnTo>
                      <a:pt x="373" y="86"/>
                    </a:lnTo>
                    <a:lnTo>
                      <a:pt x="376" y="80"/>
                    </a:lnTo>
                    <a:lnTo>
                      <a:pt x="376" y="81"/>
                    </a:lnTo>
                    <a:lnTo>
                      <a:pt x="377" y="81"/>
                    </a:lnTo>
                    <a:lnTo>
                      <a:pt x="377" y="80"/>
                    </a:lnTo>
                    <a:lnTo>
                      <a:pt x="379" y="80"/>
                    </a:lnTo>
                    <a:lnTo>
                      <a:pt x="380" y="75"/>
                    </a:lnTo>
                    <a:lnTo>
                      <a:pt x="380" y="74"/>
                    </a:lnTo>
                    <a:lnTo>
                      <a:pt x="382" y="72"/>
                    </a:lnTo>
                    <a:lnTo>
                      <a:pt x="380" y="72"/>
                    </a:lnTo>
                    <a:lnTo>
                      <a:pt x="380" y="71"/>
                    </a:lnTo>
                    <a:lnTo>
                      <a:pt x="382" y="69"/>
                    </a:lnTo>
                    <a:lnTo>
                      <a:pt x="383" y="66"/>
                    </a:lnTo>
                    <a:lnTo>
                      <a:pt x="383" y="64"/>
                    </a:lnTo>
                    <a:lnTo>
                      <a:pt x="385" y="61"/>
                    </a:lnTo>
                    <a:lnTo>
                      <a:pt x="387" y="60"/>
                    </a:lnTo>
                    <a:lnTo>
                      <a:pt x="388" y="60"/>
                    </a:lnTo>
                    <a:lnTo>
                      <a:pt x="387" y="61"/>
                    </a:lnTo>
                    <a:lnTo>
                      <a:pt x="385" y="63"/>
                    </a:lnTo>
                    <a:lnTo>
                      <a:pt x="385" y="64"/>
                    </a:lnTo>
                    <a:lnTo>
                      <a:pt x="385" y="66"/>
                    </a:lnTo>
                    <a:lnTo>
                      <a:pt x="387" y="68"/>
                    </a:lnTo>
                    <a:lnTo>
                      <a:pt x="390" y="66"/>
                    </a:lnTo>
                    <a:lnTo>
                      <a:pt x="391" y="66"/>
                    </a:lnTo>
                    <a:lnTo>
                      <a:pt x="393" y="66"/>
                    </a:lnTo>
                    <a:lnTo>
                      <a:pt x="394" y="64"/>
                    </a:lnTo>
                    <a:lnTo>
                      <a:pt x="396" y="60"/>
                    </a:lnTo>
                    <a:lnTo>
                      <a:pt x="396" y="58"/>
                    </a:lnTo>
                    <a:lnTo>
                      <a:pt x="399" y="55"/>
                    </a:lnTo>
                    <a:lnTo>
                      <a:pt x="400" y="54"/>
                    </a:lnTo>
                    <a:lnTo>
                      <a:pt x="403" y="52"/>
                    </a:lnTo>
                    <a:lnTo>
                      <a:pt x="406" y="47"/>
                    </a:lnTo>
                    <a:lnTo>
                      <a:pt x="406" y="46"/>
                    </a:lnTo>
                    <a:lnTo>
                      <a:pt x="408" y="46"/>
                    </a:lnTo>
                    <a:lnTo>
                      <a:pt x="409" y="46"/>
                    </a:lnTo>
                    <a:lnTo>
                      <a:pt x="411" y="44"/>
                    </a:lnTo>
                    <a:lnTo>
                      <a:pt x="414" y="43"/>
                    </a:lnTo>
                    <a:lnTo>
                      <a:pt x="417" y="40"/>
                    </a:lnTo>
                    <a:lnTo>
                      <a:pt x="424" y="32"/>
                    </a:lnTo>
                    <a:lnTo>
                      <a:pt x="425" y="31"/>
                    </a:lnTo>
                    <a:lnTo>
                      <a:pt x="425" y="34"/>
                    </a:lnTo>
                    <a:lnTo>
                      <a:pt x="424" y="35"/>
                    </a:lnTo>
                    <a:lnTo>
                      <a:pt x="424" y="37"/>
                    </a:lnTo>
                    <a:lnTo>
                      <a:pt x="425" y="37"/>
                    </a:lnTo>
                    <a:lnTo>
                      <a:pt x="425" y="35"/>
                    </a:lnTo>
                    <a:lnTo>
                      <a:pt x="427" y="31"/>
                    </a:lnTo>
                    <a:lnTo>
                      <a:pt x="427" y="29"/>
                    </a:lnTo>
                    <a:lnTo>
                      <a:pt x="427" y="27"/>
                    </a:lnTo>
                    <a:lnTo>
                      <a:pt x="431" y="23"/>
                    </a:lnTo>
                    <a:lnTo>
                      <a:pt x="431" y="21"/>
                    </a:lnTo>
                    <a:lnTo>
                      <a:pt x="433" y="20"/>
                    </a:lnTo>
                    <a:lnTo>
                      <a:pt x="433" y="18"/>
                    </a:lnTo>
                    <a:lnTo>
                      <a:pt x="433" y="17"/>
                    </a:lnTo>
                    <a:lnTo>
                      <a:pt x="433" y="18"/>
                    </a:lnTo>
                    <a:lnTo>
                      <a:pt x="431" y="18"/>
                    </a:lnTo>
                    <a:lnTo>
                      <a:pt x="431" y="20"/>
                    </a:lnTo>
                    <a:lnTo>
                      <a:pt x="430" y="20"/>
                    </a:lnTo>
                    <a:lnTo>
                      <a:pt x="433" y="15"/>
                    </a:lnTo>
                    <a:lnTo>
                      <a:pt x="434" y="9"/>
                    </a:lnTo>
                    <a:lnTo>
                      <a:pt x="436" y="1"/>
                    </a:lnTo>
                    <a:lnTo>
                      <a:pt x="437" y="1"/>
                    </a:lnTo>
                    <a:lnTo>
                      <a:pt x="439" y="0"/>
                    </a:lnTo>
                    <a:lnTo>
                      <a:pt x="443" y="0"/>
                    </a:lnTo>
                    <a:lnTo>
                      <a:pt x="445" y="0"/>
                    </a:lnTo>
                    <a:lnTo>
                      <a:pt x="446" y="4"/>
                    </a:lnTo>
                    <a:lnTo>
                      <a:pt x="446" y="6"/>
                    </a:lnTo>
                    <a:lnTo>
                      <a:pt x="446" y="9"/>
                    </a:lnTo>
                    <a:lnTo>
                      <a:pt x="446" y="12"/>
                    </a:lnTo>
                    <a:lnTo>
                      <a:pt x="446" y="23"/>
                    </a:lnTo>
                    <a:lnTo>
                      <a:pt x="445" y="24"/>
                    </a:lnTo>
                    <a:lnTo>
                      <a:pt x="443" y="27"/>
                    </a:lnTo>
                    <a:lnTo>
                      <a:pt x="443" y="31"/>
                    </a:lnTo>
                    <a:lnTo>
                      <a:pt x="443" y="32"/>
                    </a:lnTo>
                    <a:lnTo>
                      <a:pt x="445" y="35"/>
                    </a:lnTo>
                    <a:lnTo>
                      <a:pt x="446" y="37"/>
                    </a:lnTo>
                    <a:lnTo>
                      <a:pt x="445" y="38"/>
                    </a:lnTo>
                    <a:lnTo>
                      <a:pt x="443" y="40"/>
                    </a:lnTo>
                    <a:lnTo>
                      <a:pt x="443" y="41"/>
                    </a:lnTo>
                    <a:lnTo>
                      <a:pt x="443" y="43"/>
                    </a:lnTo>
                    <a:lnTo>
                      <a:pt x="443" y="49"/>
                    </a:lnTo>
                    <a:lnTo>
                      <a:pt x="443" y="50"/>
                    </a:lnTo>
                    <a:lnTo>
                      <a:pt x="445" y="50"/>
                    </a:lnTo>
                    <a:lnTo>
                      <a:pt x="446" y="50"/>
                    </a:lnTo>
                    <a:lnTo>
                      <a:pt x="448" y="52"/>
                    </a:lnTo>
                    <a:lnTo>
                      <a:pt x="448" y="54"/>
                    </a:lnTo>
                    <a:lnTo>
                      <a:pt x="450" y="55"/>
                    </a:lnTo>
                    <a:lnTo>
                      <a:pt x="451" y="55"/>
                    </a:lnTo>
                    <a:lnTo>
                      <a:pt x="453" y="55"/>
                    </a:lnTo>
                    <a:lnTo>
                      <a:pt x="456" y="54"/>
                    </a:lnTo>
                    <a:lnTo>
                      <a:pt x="454" y="90"/>
                    </a:lnTo>
                    <a:lnTo>
                      <a:pt x="453" y="92"/>
                    </a:lnTo>
                    <a:lnTo>
                      <a:pt x="453" y="95"/>
                    </a:lnTo>
                    <a:lnTo>
                      <a:pt x="453" y="97"/>
                    </a:lnTo>
                    <a:lnTo>
                      <a:pt x="453" y="98"/>
                    </a:lnTo>
                    <a:lnTo>
                      <a:pt x="450" y="100"/>
                    </a:lnTo>
                    <a:lnTo>
                      <a:pt x="450" y="103"/>
                    </a:lnTo>
                    <a:lnTo>
                      <a:pt x="450" y="105"/>
                    </a:lnTo>
                    <a:lnTo>
                      <a:pt x="451" y="105"/>
                    </a:lnTo>
                    <a:lnTo>
                      <a:pt x="453" y="105"/>
                    </a:lnTo>
                    <a:lnTo>
                      <a:pt x="454" y="105"/>
                    </a:lnTo>
                    <a:lnTo>
                      <a:pt x="457" y="101"/>
                    </a:lnTo>
                    <a:lnTo>
                      <a:pt x="461" y="100"/>
                    </a:lnTo>
                    <a:lnTo>
                      <a:pt x="462" y="98"/>
                    </a:lnTo>
                    <a:lnTo>
                      <a:pt x="464" y="95"/>
                    </a:lnTo>
                    <a:lnTo>
                      <a:pt x="459" y="94"/>
                    </a:lnTo>
                    <a:lnTo>
                      <a:pt x="457" y="90"/>
                    </a:lnTo>
                    <a:lnTo>
                      <a:pt x="454" y="90"/>
                    </a:lnTo>
                    <a:lnTo>
                      <a:pt x="456" y="54"/>
                    </a:ln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4" name="Freeform 21">
                <a:extLst>
                  <a:ext uri="{FF2B5EF4-FFF2-40B4-BE49-F238E27FC236}">
                    <a16:creationId xmlns:a16="http://schemas.microsoft.com/office/drawing/2014/main" id="{3C1563A4-F32B-2D01-DBE1-613605FDFC7C}"/>
                  </a:ext>
                </a:extLst>
              </p:cNvPr>
              <p:cNvSpPr/>
              <p:nvPr>
                <p:custDataLst>
                  <p:tags r:id="rId326"/>
                </p:custDataLst>
              </p:nvPr>
            </p:nvSpPr>
            <p:spPr bwMode="auto">
              <a:xfrm>
                <a:off x="3303588" y="2981326"/>
                <a:ext cx="4763" cy="4763"/>
              </a:xfrm>
              <a:custGeom>
                <a:avLst/>
                <a:gdLst>
                  <a:gd name="T0" fmla="*/ 0 w 3"/>
                  <a:gd name="T1" fmla="*/ 3 h 3"/>
                  <a:gd name="T2" fmla="*/ 0 w 3"/>
                  <a:gd name="T3" fmla="*/ 0 h 3"/>
                  <a:gd name="T4" fmla="*/ 2 w 3"/>
                  <a:gd name="T5" fmla="*/ 0 h 3"/>
                  <a:gd name="T6" fmla="*/ 3 w 3"/>
                  <a:gd name="T7" fmla="*/ 1 h 3"/>
                  <a:gd name="T8" fmla="*/ 3 w 3"/>
                  <a:gd name="T9" fmla="*/ 3 h 3"/>
                  <a:gd name="T10" fmla="*/ 0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0" y="3"/>
                    </a:moveTo>
                    <a:lnTo>
                      <a:pt x="0" y="0"/>
                    </a:lnTo>
                    <a:lnTo>
                      <a:pt x="2" y="0"/>
                    </a:lnTo>
                    <a:lnTo>
                      <a:pt x="3" y="1"/>
                    </a:lnTo>
                    <a:lnTo>
                      <a:pt x="3" y="3"/>
                    </a:lnTo>
                    <a:lnTo>
                      <a:pt x="0" y="3"/>
                    </a:ln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grpSp>
      </p:grpSp>
      <p:sp>
        <p:nvSpPr>
          <p:cNvPr id="27" name="Freeform 22">
            <a:extLst>
              <a:ext uri="{FF2B5EF4-FFF2-40B4-BE49-F238E27FC236}">
                <a16:creationId xmlns:a16="http://schemas.microsoft.com/office/drawing/2014/main" id="{1BBECAD0-2D66-6E96-F6DD-319B5D01343C}"/>
              </a:ext>
            </a:extLst>
          </p:cNvPr>
          <p:cNvSpPr/>
          <p:nvPr>
            <p:custDataLst>
              <p:tags r:id="rId9"/>
            </p:custDataLst>
          </p:nvPr>
        </p:nvSpPr>
        <p:spPr bwMode="auto">
          <a:xfrm>
            <a:off x="5767332" y="2983911"/>
            <a:ext cx="587196" cy="616771"/>
          </a:xfrm>
          <a:custGeom>
            <a:avLst/>
            <a:gdLst>
              <a:gd name="T0" fmla="*/ 2620 w 2830"/>
              <a:gd name="T1" fmla="*/ 1013 h 3543"/>
              <a:gd name="T2" fmla="*/ 2377 w 2830"/>
              <a:gd name="T3" fmla="*/ 1149 h 3543"/>
              <a:gd name="T4" fmla="*/ 2293 w 2830"/>
              <a:gd name="T5" fmla="*/ 1291 h 3543"/>
              <a:gd name="T6" fmla="*/ 2006 w 2830"/>
              <a:gd name="T7" fmla="*/ 1280 h 3543"/>
              <a:gd name="T8" fmla="*/ 1933 w 2830"/>
              <a:gd name="T9" fmla="*/ 1283 h 3543"/>
              <a:gd name="T10" fmla="*/ 1754 w 2830"/>
              <a:gd name="T11" fmla="*/ 1321 h 3543"/>
              <a:gd name="T12" fmla="*/ 1523 w 2830"/>
              <a:gd name="T13" fmla="*/ 1224 h 3543"/>
              <a:gd name="T14" fmla="*/ 1234 w 2830"/>
              <a:gd name="T15" fmla="*/ 1090 h 3543"/>
              <a:gd name="T16" fmla="*/ 1185 w 2830"/>
              <a:gd name="T17" fmla="*/ 930 h 3543"/>
              <a:gd name="T18" fmla="*/ 1084 w 2830"/>
              <a:gd name="T19" fmla="*/ 761 h 3543"/>
              <a:gd name="T20" fmla="*/ 1024 w 2830"/>
              <a:gd name="T21" fmla="*/ 567 h 3543"/>
              <a:gd name="T22" fmla="*/ 1163 w 2830"/>
              <a:gd name="T23" fmla="*/ 308 h 3543"/>
              <a:gd name="T24" fmla="*/ 832 w 2830"/>
              <a:gd name="T25" fmla="*/ 180 h 3543"/>
              <a:gd name="T26" fmla="*/ 618 w 2830"/>
              <a:gd name="T27" fmla="*/ 12 h 3543"/>
              <a:gd name="T28" fmla="*/ 459 w 2830"/>
              <a:gd name="T29" fmla="*/ 80 h 3543"/>
              <a:gd name="T30" fmla="*/ 542 w 2830"/>
              <a:gd name="T31" fmla="*/ 211 h 3543"/>
              <a:gd name="T32" fmla="*/ 519 w 2830"/>
              <a:gd name="T33" fmla="*/ 320 h 3543"/>
              <a:gd name="T34" fmla="*/ 598 w 2830"/>
              <a:gd name="T35" fmla="*/ 545 h 3543"/>
              <a:gd name="T36" fmla="*/ 627 w 2830"/>
              <a:gd name="T37" fmla="*/ 719 h 3543"/>
              <a:gd name="T38" fmla="*/ 448 w 2830"/>
              <a:gd name="T39" fmla="*/ 1029 h 3543"/>
              <a:gd name="T40" fmla="*/ 243 w 2830"/>
              <a:gd name="T41" fmla="*/ 1437 h 3543"/>
              <a:gd name="T42" fmla="*/ 72 w 2830"/>
              <a:gd name="T43" fmla="*/ 1602 h 3543"/>
              <a:gd name="T44" fmla="*/ 51 w 2830"/>
              <a:gd name="T45" fmla="*/ 1663 h 3543"/>
              <a:gd name="T46" fmla="*/ 163 w 2830"/>
              <a:gd name="T47" fmla="*/ 1781 h 3543"/>
              <a:gd name="T48" fmla="*/ 139 w 2830"/>
              <a:gd name="T49" fmla="*/ 1840 h 3543"/>
              <a:gd name="T50" fmla="*/ 251 w 2830"/>
              <a:gd name="T51" fmla="*/ 2039 h 3543"/>
              <a:gd name="T52" fmla="*/ 383 w 2830"/>
              <a:gd name="T53" fmla="*/ 1899 h 3543"/>
              <a:gd name="T54" fmla="*/ 436 w 2830"/>
              <a:gd name="T55" fmla="*/ 1851 h 3543"/>
              <a:gd name="T56" fmla="*/ 459 w 2830"/>
              <a:gd name="T57" fmla="*/ 1928 h 3543"/>
              <a:gd name="T58" fmla="*/ 459 w 2830"/>
              <a:gd name="T59" fmla="*/ 2028 h 3543"/>
              <a:gd name="T60" fmla="*/ 451 w 2830"/>
              <a:gd name="T61" fmla="*/ 2207 h 3543"/>
              <a:gd name="T62" fmla="*/ 462 w 2830"/>
              <a:gd name="T63" fmla="*/ 2256 h 3543"/>
              <a:gd name="T64" fmla="*/ 471 w 2830"/>
              <a:gd name="T65" fmla="*/ 2361 h 3543"/>
              <a:gd name="T66" fmla="*/ 501 w 2830"/>
              <a:gd name="T67" fmla="*/ 2535 h 3543"/>
              <a:gd name="T68" fmla="*/ 548 w 2830"/>
              <a:gd name="T69" fmla="*/ 2671 h 3543"/>
              <a:gd name="T70" fmla="*/ 601 w 2830"/>
              <a:gd name="T71" fmla="*/ 2778 h 3543"/>
              <a:gd name="T72" fmla="*/ 647 w 2830"/>
              <a:gd name="T73" fmla="*/ 2982 h 3543"/>
              <a:gd name="T74" fmla="*/ 767 w 2830"/>
              <a:gd name="T75" fmla="*/ 3261 h 3543"/>
              <a:gd name="T76" fmla="*/ 788 w 2830"/>
              <a:gd name="T77" fmla="*/ 3334 h 3543"/>
              <a:gd name="T78" fmla="*/ 915 w 2830"/>
              <a:gd name="T79" fmla="*/ 3535 h 3543"/>
              <a:gd name="T80" fmla="*/ 1058 w 2830"/>
              <a:gd name="T81" fmla="*/ 3342 h 3543"/>
              <a:gd name="T82" fmla="*/ 1134 w 2830"/>
              <a:gd name="T83" fmla="*/ 3088 h 3543"/>
              <a:gd name="T84" fmla="*/ 1164 w 2830"/>
              <a:gd name="T85" fmla="*/ 2845 h 3543"/>
              <a:gd name="T86" fmla="*/ 1237 w 2830"/>
              <a:gd name="T87" fmla="*/ 2624 h 3543"/>
              <a:gd name="T88" fmla="*/ 1368 w 2830"/>
              <a:gd name="T89" fmla="*/ 2503 h 3543"/>
              <a:gd name="T90" fmla="*/ 1588 w 2830"/>
              <a:gd name="T91" fmla="*/ 2273 h 3543"/>
              <a:gd name="T92" fmla="*/ 1659 w 2830"/>
              <a:gd name="T93" fmla="*/ 2152 h 3543"/>
              <a:gd name="T94" fmla="*/ 1805 w 2830"/>
              <a:gd name="T95" fmla="*/ 2081 h 3543"/>
              <a:gd name="T96" fmla="*/ 1919 w 2830"/>
              <a:gd name="T97" fmla="*/ 1847 h 3543"/>
              <a:gd name="T98" fmla="*/ 1975 w 2830"/>
              <a:gd name="T99" fmla="*/ 1927 h 3543"/>
              <a:gd name="T100" fmla="*/ 1999 w 2830"/>
              <a:gd name="T101" fmla="*/ 1934 h 3543"/>
              <a:gd name="T102" fmla="*/ 2010 w 2830"/>
              <a:gd name="T103" fmla="*/ 1794 h 3543"/>
              <a:gd name="T104" fmla="*/ 1987 w 2830"/>
              <a:gd name="T105" fmla="*/ 1600 h 3543"/>
              <a:gd name="T106" fmla="*/ 1990 w 2830"/>
              <a:gd name="T107" fmla="*/ 1460 h 3543"/>
              <a:gd name="T108" fmla="*/ 1987 w 2830"/>
              <a:gd name="T109" fmla="*/ 1351 h 3543"/>
              <a:gd name="T110" fmla="*/ 2078 w 2830"/>
              <a:gd name="T111" fmla="*/ 1371 h 3543"/>
              <a:gd name="T112" fmla="*/ 2311 w 2830"/>
              <a:gd name="T113" fmla="*/ 1497 h 3543"/>
              <a:gd name="T114" fmla="*/ 2249 w 2830"/>
              <a:gd name="T115" fmla="*/ 1630 h 3543"/>
              <a:gd name="T116" fmla="*/ 2287 w 2830"/>
              <a:gd name="T117" fmla="*/ 1723 h 3543"/>
              <a:gd name="T118" fmla="*/ 2397 w 2830"/>
              <a:gd name="T119" fmla="*/ 1885 h 3543"/>
              <a:gd name="T120" fmla="*/ 2449 w 2830"/>
              <a:gd name="T121" fmla="*/ 1642 h 3543"/>
              <a:gd name="T122" fmla="*/ 2588 w 2830"/>
              <a:gd name="T123" fmla="*/ 1446 h 3543"/>
              <a:gd name="T124" fmla="*/ 2771 w 2830"/>
              <a:gd name="T125" fmla="*/ 1231 h 3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30" h="3543">
                <a:moveTo>
                  <a:pt x="2830" y="1149"/>
                </a:moveTo>
                <a:lnTo>
                  <a:pt x="2828" y="1146"/>
                </a:lnTo>
                <a:lnTo>
                  <a:pt x="2823" y="1140"/>
                </a:lnTo>
                <a:lnTo>
                  <a:pt x="2822" y="1137"/>
                </a:lnTo>
                <a:lnTo>
                  <a:pt x="2823" y="1134"/>
                </a:lnTo>
                <a:lnTo>
                  <a:pt x="2826" y="1126"/>
                </a:lnTo>
                <a:lnTo>
                  <a:pt x="2825" y="1121"/>
                </a:lnTo>
                <a:lnTo>
                  <a:pt x="2822" y="1120"/>
                </a:lnTo>
                <a:lnTo>
                  <a:pt x="2816" y="1115"/>
                </a:lnTo>
                <a:lnTo>
                  <a:pt x="2816" y="1113"/>
                </a:lnTo>
                <a:lnTo>
                  <a:pt x="2814" y="1110"/>
                </a:lnTo>
                <a:lnTo>
                  <a:pt x="2813" y="1110"/>
                </a:lnTo>
                <a:lnTo>
                  <a:pt x="2811" y="1110"/>
                </a:lnTo>
                <a:lnTo>
                  <a:pt x="2805" y="1103"/>
                </a:lnTo>
                <a:lnTo>
                  <a:pt x="2802" y="1103"/>
                </a:lnTo>
                <a:lnTo>
                  <a:pt x="2797" y="1104"/>
                </a:lnTo>
                <a:lnTo>
                  <a:pt x="2794" y="1107"/>
                </a:lnTo>
                <a:lnTo>
                  <a:pt x="2791" y="1107"/>
                </a:lnTo>
                <a:lnTo>
                  <a:pt x="2788" y="1107"/>
                </a:lnTo>
                <a:lnTo>
                  <a:pt x="2785" y="1104"/>
                </a:lnTo>
                <a:lnTo>
                  <a:pt x="2783" y="1095"/>
                </a:lnTo>
                <a:lnTo>
                  <a:pt x="2779" y="1089"/>
                </a:lnTo>
                <a:lnTo>
                  <a:pt x="2771" y="1084"/>
                </a:lnTo>
                <a:lnTo>
                  <a:pt x="2765" y="1075"/>
                </a:lnTo>
                <a:lnTo>
                  <a:pt x="2757" y="1073"/>
                </a:lnTo>
                <a:lnTo>
                  <a:pt x="2751" y="1076"/>
                </a:lnTo>
                <a:lnTo>
                  <a:pt x="2748" y="1083"/>
                </a:lnTo>
                <a:lnTo>
                  <a:pt x="2748" y="1089"/>
                </a:lnTo>
                <a:lnTo>
                  <a:pt x="2746" y="1095"/>
                </a:lnTo>
                <a:lnTo>
                  <a:pt x="2745" y="1097"/>
                </a:lnTo>
                <a:lnTo>
                  <a:pt x="2742" y="1089"/>
                </a:lnTo>
                <a:lnTo>
                  <a:pt x="2739" y="1084"/>
                </a:lnTo>
                <a:lnTo>
                  <a:pt x="2742" y="1080"/>
                </a:lnTo>
                <a:lnTo>
                  <a:pt x="2739" y="1073"/>
                </a:lnTo>
                <a:lnTo>
                  <a:pt x="2746" y="1069"/>
                </a:lnTo>
                <a:lnTo>
                  <a:pt x="2756" y="1061"/>
                </a:lnTo>
                <a:lnTo>
                  <a:pt x="2754" y="1055"/>
                </a:lnTo>
                <a:lnTo>
                  <a:pt x="2753" y="1049"/>
                </a:lnTo>
                <a:lnTo>
                  <a:pt x="2748" y="1041"/>
                </a:lnTo>
                <a:lnTo>
                  <a:pt x="2746" y="1039"/>
                </a:lnTo>
                <a:lnTo>
                  <a:pt x="2746" y="1033"/>
                </a:lnTo>
                <a:lnTo>
                  <a:pt x="2745" y="1030"/>
                </a:lnTo>
                <a:lnTo>
                  <a:pt x="2743" y="1029"/>
                </a:lnTo>
                <a:lnTo>
                  <a:pt x="2742" y="1029"/>
                </a:lnTo>
                <a:lnTo>
                  <a:pt x="2740" y="1027"/>
                </a:lnTo>
                <a:lnTo>
                  <a:pt x="2742" y="1026"/>
                </a:lnTo>
                <a:lnTo>
                  <a:pt x="2733" y="1020"/>
                </a:lnTo>
                <a:lnTo>
                  <a:pt x="2731" y="1012"/>
                </a:lnTo>
                <a:lnTo>
                  <a:pt x="2725" y="1015"/>
                </a:lnTo>
                <a:lnTo>
                  <a:pt x="2716" y="1021"/>
                </a:lnTo>
                <a:lnTo>
                  <a:pt x="2714" y="1010"/>
                </a:lnTo>
                <a:lnTo>
                  <a:pt x="2716" y="1009"/>
                </a:lnTo>
                <a:lnTo>
                  <a:pt x="2716" y="1007"/>
                </a:lnTo>
                <a:lnTo>
                  <a:pt x="2717" y="1006"/>
                </a:lnTo>
                <a:lnTo>
                  <a:pt x="2728" y="1003"/>
                </a:lnTo>
                <a:lnTo>
                  <a:pt x="2730" y="1003"/>
                </a:lnTo>
                <a:lnTo>
                  <a:pt x="2731" y="998"/>
                </a:lnTo>
                <a:lnTo>
                  <a:pt x="2733" y="993"/>
                </a:lnTo>
                <a:lnTo>
                  <a:pt x="2733" y="992"/>
                </a:lnTo>
                <a:lnTo>
                  <a:pt x="2731" y="990"/>
                </a:lnTo>
                <a:lnTo>
                  <a:pt x="2730" y="990"/>
                </a:lnTo>
                <a:lnTo>
                  <a:pt x="2728" y="990"/>
                </a:lnTo>
                <a:lnTo>
                  <a:pt x="2727" y="992"/>
                </a:lnTo>
                <a:lnTo>
                  <a:pt x="2723" y="995"/>
                </a:lnTo>
                <a:lnTo>
                  <a:pt x="2720" y="995"/>
                </a:lnTo>
                <a:lnTo>
                  <a:pt x="2717" y="992"/>
                </a:lnTo>
                <a:lnTo>
                  <a:pt x="2714" y="989"/>
                </a:lnTo>
                <a:lnTo>
                  <a:pt x="2714" y="987"/>
                </a:lnTo>
                <a:lnTo>
                  <a:pt x="2712" y="981"/>
                </a:lnTo>
                <a:lnTo>
                  <a:pt x="2711" y="978"/>
                </a:lnTo>
                <a:lnTo>
                  <a:pt x="2705" y="978"/>
                </a:lnTo>
                <a:lnTo>
                  <a:pt x="2699" y="980"/>
                </a:lnTo>
                <a:lnTo>
                  <a:pt x="2693" y="980"/>
                </a:lnTo>
                <a:lnTo>
                  <a:pt x="2683" y="984"/>
                </a:lnTo>
                <a:lnTo>
                  <a:pt x="2677" y="981"/>
                </a:lnTo>
                <a:lnTo>
                  <a:pt x="2676" y="981"/>
                </a:lnTo>
                <a:lnTo>
                  <a:pt x="2672" y="983"/>
                </a:lnTo>
                <a:lnTo>
                  <a:pt x="2672" y="990"/>
                </a:lnTo>
                <a:lnTo>
                  <a:pt x="2669" y="998"/>
                </a:lnTo>
                <a:lnTo>
                  <a:pt x="2663" y="996"/>
                </a:lnTo>
                <a:lnTo>
                  <a:pt x="2657" y="993"/>
                </a:lnTo>
                <a:lnTo>
                  <a:pt x="2656" y="993"/>
                </a:lnTo>
                <a:lnTo>
                  <a:pt x="2654" y="995"/>
                </a:lnTo>
                <a:lnTo>
                  <a:pt x="2654" y="996"/>
                </a:lnTo>
                <a:lnTo>
                  <a:pt x="2654" y="998"/>
                </a:lnTo>
                <a:lnTo>
                  <a:pt x="2651" y="998"/>
                </a:lnTo>
                <a:lnTo>
                  <a:pt x="2649" y="999"/>
                </a:lnTo>
                <a:lnTo>
                  <a:pt x="2651" y="1004"/>
                </a:lnTo>
                <a:lnTo>
                  <a:pt x="2651" y="1007"/>
                </a:lnTo>
                <a:lnTo>
                  <a:pt x="2649" y="1009"/>
                </a:lnTo>
                <a:lnTo>
                  <a:pt x="2646" y="1007"/>
                </a:lnTo>
                <a:lnTo>
                  <a:pt x="2646" y="1009"/>
                </a:lnTo>
                <a:lnTo>
                  <a:pt x="2643" y="1006"/>
                </a:lnTo>
                <a:lnTo>
                  <a:pt x="2643" y="1001"/>
                </a:lnTo>
                <a:lnTo>
                  <a:pt x="2642" y="1003"/>
                </a:lnTo>
                <a:lnTo>
                  <a:pt x="2640" y="1009"/>
                </a:lnTo>
                <a:lnTo>
                  <a:pt x="2637" y="1007"/>
                </a:lnTo>
                <a:lnTo>
                  <a:pt x="2631" y="1007"/>
                </a:lnTo>
                <a:lnTo>
                  <a:pt x="2626" y="1010"/>
                </a:lnTo>
                <a:lnTo>
                  <a:pt x="2628" y="1018"/>
                </a:lnTo>
                <a:lnTo>
                  <a:pt x="2622" y="1017"/>
                </a:lnTo>
                <a:lnTo>
                  <a:pt x="2622" y="1015"/>
                </a:lnTo>
                <a:lnTo>
                  <a:pt x="2620" y="1013"/>
                </a:lnTo>
                <a:lnTo>
                  <a:pt x="2619" y="1012"/>
                </a:lnTo>
                <a:lnTo>
                  <a:pt x="2613" y="1010"/>
                </a:lnTo>
                <a:lnTo>
                  <a:pt x="2609" y="1010"/>
                </a:lnTo>
                <a:lnTo>
                  <a:pt x="2605" y="1007"/>
                </a:lnTo>
                <a:lnTo>
                  <a:pt x="2600" y="1006"/>
                </a:lnTo>
                <a:lnTo>
                  <a:pt x="2597" y="1004"/>
                </a:lnTo>
                <a:lnTo>
                  <a:pt x="2595" y="1004"/>
                </a:lnTo>
                <a:lnTo>
                  <a:pt x="2597" y="1006"/>
                </a:lnTo>
                <a:lnTo>
                  <a:pt x="2598" y="1007"/>
                </a:lnTo>
                <a:lnTo>
                  <a:pt x="2598" y="1009"/>
                </a:lnTo>
                <a:lnTo>
                  <a:pt x="2597" y="1009"/>
                </a:lnTo>
                <a:lnTo>
                  <a:pt x="2589" y="1004"/>
                </a:lnTo>
                <a:lnTo>
                  <a:pt x="2586" y="1003"/>
                </a:lnTo>
                <a:lnTo>
                  <a:pt x="2583" y="1004"/>
                </a:lnTo>
                <a:lnTo>
                  <a:pt x="2582" y="1004"/>
                </a:lnTo>
                <a:lnTo>
                  <a:pt x="2579" y="1004"/>
                </a:lnTo>
                <a:lnTo>
                  <a:pt x="2577" y="1003"/>
                </a:lnTo>
                <a:lnTo>
                  <a:pt x="2579" y="998"/>
                </a:lnTo>
                <a:lnTo>
                  <a:pt x="2577" y="996"/>
                </a:lnTo>
                <a:lnTo>
                  <a:pt x="2572" y="989"/>
                </a:lnTo>
                <a:lnTo>
                  <a:pt x="2568" y="986"/>
                </a:lnTo>
                <a:lnTo>
                  <a:pt x="2565" y="984"/>
                </a:lnTo>
                <a:lnTo>
                  <a:pt x="2562" y="986"/>
                </a:lnTo>
                <a:lnTo>
                  <a:pt x="2560" y="987"/>
                </a:lnTo>
                <a:lnTo>
                  <a:pt x="2555" y="996"/>
                </a:lnTo>
                <a:lnTo>
                  <a:pt x="2554" y="996"/>
                </a:lnTo>
                <a:lnTo>
                  <a:pt x="2552" y="998"/>
                </a:lnTo>
                <a:lnTo>
                  <a:pt x="2549" y="998"/>
                </a:lnTo>
                <a:lnTo>
                  <a:pt x="2545" y="998"/>
                </a:lnTo>
                <a:lnTo>
                  <a:pt x="2542" y="998"/>
                </a:lnTo>
                <a:lnTo>
                  <a:pt x="2540" y="999"/>
                </a:lnTo>
                <a:lnTo>
                  <a:pt x="2539" y="1001"/>
                </a:lnTo>
                <a:lnTo>
                  <a:pt x="2537" y="1004"/>
                </a:lnTo>
                <a:lnTo>
                  <a:pt x="2535" y="1006"/>
                </a:lnTo>
                <a:lnTo>
                  <a:pt x="2531" y="1006"/>
                </a:lnTo>
                <a:lnTo>
                  <a:pt x="2529" y="1012"/>
                </a:lnTo>
                <a:lnTo>
                  <a:pt x="2534" y="1017"/>
                </a:lnTo>
                <a:lnTo>
                  <a:pt x="2537" y="1021"/>
                </a:lnTo>
                <a:lnTo>
                  <a:pt x="2532" y="1027"/>
                </a:lnTo>
                <a:lnTo>
                  <a:pt x="2528" y="1033"/>
                </a:lnTo>
                <a:lnTo>
                  <a:pt x="2520" y="1033"/>
                </a:lnTo>
                <a:lnTo>
                  <a:pt x="2517" y="1038"/>
                </a:lnTo>
                <a:lnTo>
                  <a:pt x="2511" y="1039"/>
                </a:lnTo>
                <a:lnTo>
                  <a:pt x="2506" y="1041"/>
                </a:lnTo>
                <a:lnTo>
                  <a:pt x="2505" y="1043"/>
                </a:lnTo>
                <a:lnTo>
                  <a:pt x="2503" y="1044"/>
                </a:lnTo>
                <a:lnTo>
                  <a:pt x="2502" y="1046"/>
                </a:lnTo>
                <a:lnTo>
                  <a:pt x="2500" y="1044"/>
                </a:lnTo>
                <a:lnTo>
                  <a:pt x="2499" y="1044"/>
                </a:lnTo>
                <a:lnTo>
                  <a:pt x="2495" y="1046"/>
                </a:lnTo>
                <a:lnTo>
                  <a:pt x="2495" y="1047"/>
                </a:lnTo>
                <a:lnTo>
                  <a:pt x="2495" y="1049"/>
                </a:lnTo>
                <a:lnTo>
                  <a:pt x="2495" y="1050"/>
                </a:lnTo>
                <a:lnTo>
                  <a:pt x="2494" y="1050"/>
                </a:lnTo>
                <a:lnTo>
                  <a:pt x="2492" y="1050"/>
                </a:lnTo>
                <a:lnTo>
                  <a:pt x="2491" y="1052"/>
                </a:lnTo>
                <a:lnTo>
                  <a:pt x="2484" y="1055"/>
                </a:lnTo>
                <a:lnTo>
                  <a:pt x="2483" y="1055"/>
                </a:lnTo>
                <a:lnTo>
                  <a:pt x="2477" y="1063"/>
                </a:lnTo>
                <a:lnTo>
                  <a:pt x="2475" y="1063"/>
                </a:lnTo>
                <a:lnTo>
                  <a:pt x="2474" y="1063"/>
                </a:lnTo>
                <a:lnTo>
                  <a:pt x="2472" y="1061"/>
                </a:lnTo>
                <a:lnTo>
                  <a:pt x="2471" y="1063"/>
                </a:lnTo>
                <a:lnTo>
                  <a:pt x="2469" y="1064"/>
                </a:lnTo>
                <a:lnTo>
                  <a:pt x="2468" y="1066"/>
                </a:lnTo>
                <a:lnTo>
                  <a:pt x="2466" y="1066"/>
                </a:lnTo>
                <a:lnTo>
                  <a:pt x="2460" y="1064"/>
                </a:lnTo>
                <a:lnTo>
                  <a:pt x="2451" y="1066"/>
                </a:lnTo>
                <a:lnTo>
                  <a:pt x="2441" y="1072"/>
                </a:lnTo>
                <a:lnTo>
                  <a:pt x="2437" y="1073"/>
                </a:lnTo>
                <a:lnTo>
                  <a:pt x="2432" y="1080"/>
                </a:lnTo>
                <a:lnTo>
                  <a:pt x="2428" y="1081"/>
                </a:lnTo>
                <a:lnTo>
                  <a:pt x="2425" y="1084"/>
                </a:lnTo>
                <a:lnTo>
                  <a:pt x="2421" y="1087"/>
                </a:lnTo>
                <a:lnTo>
                  <a:pt x="2421" y="1092"/>
                </a:lnTo>
                <a:lnTo>
                  <a:pt x="2420" y="1097"/>
                </a:lnTo>
                <a:lnTo>
                  <a:pt x="2418" y="1101"/>
                </a:lnTo>
                <a:lnTo>
                  <a:pt x="2415" y="1103"/>
                </a:lnTo>
                <a:lnTo>
                  <a:pt x="2407" y="1110"/>
                </a:lnTo>
                <a:lnTo>
                  <a:pt x="2404" y="1113"/>
                </a:lnTo>
                <a:lnTo>
                  <a:pt x="2403" y="1115"/>
                </a:lnTo>
                <a:lnTo>
                  <a:pt x="2400" y="1117"/>
                </a:lnTo>
                <a:lnTo>
                  <a:pt x="2397" y="1118"/>
                </a:lnTo>
                <a:lnTo>
                  <a:pt x="2397" y="1120"/>
                </a:lnTo>
                <a:lnTo>
                  <a:pt x="2394" y="1123"/>
                </a:lnTo>
                <a:lnTo>
                  <a:pt x="2392" y="1126"/>
                </a:lnTo>
                <a:lnTo>
                  <a:pt x="2391" y="1126"/>
                </a:lnTo>
                <a:lnTo>
                  <a:pt x="2389" y="1127"/>
                </a:lnTo>
                <a:lnTo>
                  <a:pt x="2388" y="1127"/>
                </a:lnTo>
                <a:lnTo>
                  <a:pt x="2386" y="1127"/>
                </a:lnTo>
                <a:lnTo>
                  <a:pt x="2386" y="1126"/>
                </a:lnTo>
                <a:lnTo>
                  <a:pt x="2386" y="1124"/>
                </a:lnTo>
                <a:lnTo>
                  <a:pt x="2385" y="1126"/>
                </a:lnTo>
                <a:lnTo>
                  <a:pt x="2378" y="1129"/>
                </a:lnTo>
                <a:lnTo>
                  <a:pt x="2375" y="1132"/>
                </a:lnTo>
                <a:lnTo>
                  <a:pt x="2374" y="1135"/>
                </a:lnTo>
                <a:lnTo>
                  <a:pt x="2372" y="1140"/>
                </a:lnTo>
                <a:lnTo>
                  <a:pt x="2372" y="1141"/>
                </a:lnTo>
                <a:lnTo>
                  <a:pt x="2374" y="1143"/>
                </a:lnTo>
                <a:lnTo>
                  <a:pt x="2377" y="1143"/>
                </a:lnTo>
                <a:lnTo>
                  <a:pt x="2378" y="1144"/>
                </a:lnTo>
                <a:lnTo>
                  <a:pt x="2378" y="1146"/>
                </a:lnTo>
                <a:lnTo>
                  <a:pt x="2377" y="1149"/>
                </a:lnTo>
                <a:lnTo>
                  <a:pt x="2377" y="1153"/>
                </a:lnTo>
                <a:lnTo>
                  <a:pt x="2374" y="1157"/>
                </a:lnTo>
                <a:lnTo>
                  <a:pt x="2370" y="1160"/>
                </a:lnTo>
                <a:lnTo>
                  <a:pt x="2367" y="1161"/>
                </a:lnTo>
                <a:lnTo>
                  <a:pt x="2366" y="1161"/>
                </a:lnTo>
                <a:lnTo>
                  <a:pt x="2364" y="1161"/>
                </a:lnTo>
                <a:lnTo>
                  <a:pt x="2361" y="1166"/>
                </a:lnTo>
                <a:lnTo>
                  <a:pt x="2357" y="1168"/>
                </a:lnTo>
                <a:lnTo>
                  <a:pt x="2352" y="1171"/>
                </a:lnTo>
                <a:lnTo>
                  <a:pt x="2351" y="1171"/>
                </a:lnTo>
                <a:lnTo>
                  <a:pt x="2349" y="1168"/>
                </a:lnTo>
                <a:lnTo>
                  <a:pt x="2348" y="1168"/>
                </a:lnTo>
                <a:lnTo>
                  <a:pt x="2348" y="1169"/>
                </a:lnTo>
                <a:lnTo>
                  <a:pt x="2346" y="1171"/>
                </a:lnTo>
                <a:lnTo>
                  <a:pt x="2346" y="1174"/>
                </a:lnTo>
                <a:lnTo>
                  <a:pt x="2344" y="1174"/>
                </a:lnTo>
                <a:lnTo>
                  <a:pt x="2343" y="1172"/>
                </a:lnTo>
                <a:lnTo>
                  <a:pt x="2343" y="1171"/>
                </a:lnTo>
                <a:lnTo>
                  <a:pt x="2341" y="1169"/>
                </a:lnTo>
                <a:lnTo>
                  <a:pt x="2341" y="1174"/>
                </a:lnTo>
                <a:lnTo>
                  <a:pt x="2340" y="1175"/>
                </a:lnTo>
                <a:lnTo>
                  <a:pt x="2338" y="1175"/>
                </a:lnTo>
                <a:lnTo>
                  <a:pt x="2337" y="1172"/>
                </a:lnTo>
                <a:lnTo>
                  <a:pt x="2335" y="1168"/>
                </a:lnTo>
                <a:lnTo>
                  <a:pt x="2334" y="1166"/>
                </a:lnTo>
                <a:lnTo>
                  <a:pt x="2332" y="1168"/>
                </a:lnTo>
                <a:lnTo>
                  <a:pt x="2332" y="1169"/>
                </a:lnTo>
                <a:lnTo>
                  <a:pt x="2332" y="1171"/>
                </a:lnTo>
                <a:lnTo>
                  <a:pt x="2332" y="1172"/>
                </a:lnTo>
                <a:lnTo>
                  <a:pt x="2332" y="1174"/>
                </a:lnTo>
                <a:lnTo>
                  <a:pt x="2330" y="1174"/>
                </a:lnTo>
                <a:lnTo>
                  <a:pt x="2323" y="1172"/>
                </a:lnTo>
                <a:lnTo>
                  <a:pt x="2320" y="1172"/>
                </a:lnTo>
                <a:lnTo>
                  <a:pt x="2317" y="1175"/>
                </a:lnTo>
                <a:lnTo>
                  <a:pt x="2311" y="1181"/>
                </a:lnTo>
                <a:lnTo>
                  <a:pt x="2307" y="1183"/>
                </a:lnTo>
                <a:lnTo>
                  <a:pt x="2306" y="1183"/>
                </a:lnTo>
                <a:lnTo>
                  <a:pt x="2301" y="1183"/>
                </a:lnTo>
                <a:lnTo>
                  <a:pt x="2297" y="1183"/>
                </a:lnTo>
                <a:lnTo>
                  <a:pt x="2295" y="1181"/>
                </a:lnTo>
                <a:lnTo>
                  <a:pt x="2292" y="1180"/>
                </a:lnTo>
                <a:lnTo>
                  <a:pt x="2287" y="1178"/>
                </a:lnTo>
                <a:lnTo>
                  <a:pt x="2275" y="1178"/>
                </a:lnTo>
                <a:lnTo>
                  <a:pt x="2274" y="1184"/>
                </a:lnTo>
                <a:lnTo>
                  <a:pt x="2269" y="1192"/>
                </a:lnTo>
                <a:lnTo>
                  <a:pt x="2269" y="1197"/>
                </a:lnTo>
                <a:lnTo>
                  <a:pt x="2271" y="1206"/>
                </a:lnTo>
                <a:lnTo>
                  <a:pt x="2272" y="1208"/>
                </a:lnTo>
                <a:lnTo>
                  <a:pt x="2275" y="1209"/>
                </a:lnTo>
                <a:lnTo>
                  <a:pt x="2275" y="1212"/>
                </a:lnTo>
                <a:lnTo>
                  <a:pt x="2277" y="1214"/>
                </a:lnTo>
                <a:lnTo>
                  <a:pt x="2280" y="1214"/>
                </a:lnTo>
                <a:lnTo>
                  <a:pt x="2281" y="1215"/>
                </a:lnTo>
                <a:lnTo>
                  <a:pt x="2284" y="1215"/>
                </a:lnTo>
                <a:lnTo>
                  <a:pt x="2286" y="1218"/>
                </a:lnTo>
                <a:lnTo>
                  <a:pt x="2286" y="1220"/>
                </a:lnTo>
                <a:lnTo>
                  <a:pt x="2286" y="1221"/>
                </a:lnTo>
                <a:lnTo>
                  <a:pt x="2289" y="1221"/>
                </a:lnTo>
                <a:lnTo>
                  <a:pt x="2297" y="1218"/>
                </a:lnTo>
                <a:lnTo>
                  <a:pt x="2298" y="1218"/>
                </a:lnTo>
                <a:lnTo>
                  <a:pt x="2303" y="1218"/>
                </a:lnTo>
                <a:lnTo>
                  <a:pt x="2303" y="1217"/>
                </a:lnTo>
                <a:lnTo>
                  <a:pt x="2306" y="1215"/>
                </a:lnTo>
                <a:lnTo>
                  <a:pt x="2307" y="1214"/>
                </a:lnTo>
                <a:lnTo>
                  <a:pt x="2309" y="1217"/>
                </a:lnTo>
                <a:lnTo>
                  <a:pt x="2318" y="1235"/>
                </a:lnTo>
                <a:lnTo>
                  <a:pt x="2318" y="1237"/>
                </a:lnTo>
                <a:lnTo>
                  <a:pt x="2318" y="1238"/>
                </a:lnTo>
                <a:lnTo>
                  <a:pt x="2315" y="1242"/>
                </a:lnTo>
                <a:lnTo>
                  <a:pt x="2314" y="1243"/>
                </a:lnTo>
                <a:lnTo>
                  <a:pt x="2314" y="1245"/>
                </a:lnTo>
                <a:lnTo>
                  <a:pt x="2314" y="1248"/>
                </a:lnTo>
                <a:lnTo>
                  <a:pt x="2312" y="1248"/>
                </a:lnTo>
                <a:lnTo>
                  <a:pt x="2312" y="1249"/>
                </a:lnTo>
                <a:lnTo>
                  <a:pt x="2311" y="1251"/>
                </a:lnTo>
                <a:lnTo>
                  <a:pt x="2311" y="1252"/>
                </a:lnTo>
                <a:lnTo>
                  <a:pt x="2309" y="1254"/>
                </a:lnTo>
                <a:lnTo>
                  <a:pt x="2309" y="1255"/>
                </a:lnTo>
                <a:lnTo>
                  <a:pt x="2309" y="1258"/>
                </a:lnTo>
                <a:lnTo>
                  <a:pt x="2309" y="1260"/>
                </a:lnTo>
                <a:lnTo>
                  <a:pt x="2311" y="1264"/>
                </a:lnTo>
                <a:lnTo>
                  <a:pt x="2315" y="1269"/>
                </a:lnTo>
                <a:lnTo>
                  <a:pt x="2317" y="1274"/>
                </a:lnTo>
                <a:lnTo>
                  <a:pt x="2318" y="1280"/>
                </a:lnTo>
                <a:lnTo>
                  <a:pt x="2318" y="1283"/>
                </a:lnTo>
                <a:lnTo>
                  <a:pt x="2317" y="1286"/>
                </a:lnTo>
                <a:lnTo>
                  <a:pt x="2314" y="1291"/>
                </a:lnTo>
                <a:lnTo>
                  <a:pt x="2307" y="1292"/>
                </a:lnTo>
                <a:lnTo>
                  <a:pt x="2306" y="1291"/>
                </a:lnTo>
                <a:lnTo>
                  <a:pt x="2303" y="1288"/>
                </a:lnTo>
                <a:lnTo>
                  <a:pt x="2301" y="1288"/>
                </a:lnTo>
                <a:lnTo>
                  <a:pt x="2300" y="1288"/>
                </a:lnTo>
                <a:lnTo>
                  <a:pt x="2300" y="1289"/>
                </a:lnTo>
                <a:lnTo>
                  <a:pt x="2300" y="1291"/>
                </a:lnTo>
                <a:lnTo>
                  <a:pt x="2298" y="1292"/>
                </a:lnTo>
                <a:lnTo>
                  <a:pt x="2298" y="1294"/>
                </a:lnTo>
                <a:lnTo>
                  <a:pt x="2300" y="1295"/>
                </a:lnTo>
                <a:lnTo>
                  <a:pt x="2298" y="1297"/>
                </a:lnTo>
                <a:lnTo>
                  <a:pt x="2297" y="1297"/>
                </a:lnTo>
                <a:lnTo>
                  <a:pt x="2295" y="1295"/>
                </a:lnTo>
                <a:lnTo>
                  <a:pt x="2295" y="1294"/>
                </a:lnTo>
                <a:lnTo>
                  <a:pt x="2295" y="1292"/>
                </a:lnTo>
                <a:lnTo>
                  <a:pt x="2293" y="1291"/>
                </a:lnTo>
                <a:lnTo>
                  <a:pt x="2290" y="1291"/>
                </a:lnTo>
                <a:lnTo>
                  <a:pt x="2284" y="1295"/>
                </a:lnTo>
                <a:lnTo>
                  <a:pt x="2281" y="1297"/>
                </a:lnTo>
                <a:lnTo>
                  <a:pt x="2277" y="1298"/>
                </a:lnTo>
                <a:lnTo>
                  <a:pt x="2275" y="1298"/>
                </a:lnTo>
                <a:lnTo>
                  <a:pt x="2271" y="1297"/>
                </a:lnTo>
                <a:lnTo>
                  <a:pt x="2269" y="1297"/>
                </a:lnTo>
                <a:lnTo>
                  <a:pt x="2266" y="1298"/>
                </a:lnTo>
                <a:lnTo>
                  <a:pt x="2264" y="1298"/>
                </a:lnTo>
                <a:lnTo>
                  <a:pt x="2263" y="1297"/>
                </a:lnTo>
                <a:lnTo>
                  <a:pt x="2260" y="1291"/>
                </a:lnTo>
                <a:lnTo>
                  <a:pt x="2260" y="1289"/>
                </a:lnTo>
                <a:lnTo>
                  <a:pt x="2258" y="1289"/>
                </a:lnTo>
                <a:lnTo>
                  <a:pt x="2253" y="1289"/>
                </a:lnTo>
                <a:lnTo>
                  <a:pt x="2252" y="1289"/>
                </a:lnTo>
                <a:lnTo>
                  <a:pt x="2250" y="1291"/>
                </a:lnTo>
                <a:lnTo>
                  <a:pt x="2250" y="1292"/>
                </a:lnTo>
                <a:lnTo>
                  <a:pt x="2249" y="1294"/>
                </a:lnTo>
                <a:lnTo>
                  <a:pt x="2247" y="1297"/>
                </a:lnTo>
                <a:lnTo>
                  <a:pt x="2247" y="1298"/>
                </a:lnTo>
                <a:lnTo>
                  <a:pt x="2246" y="1300"/>
                </a:lnTo>
                <a:lnTo>
                  <a:pt x="2243" y="1300"/>
                </a:lnTo>
                <a:lnTo>
                  <a:pt x="2241" y="1301"/>
                </a:lnTo>
                <a:lnTo>
                  <a:pt x="2240" y="1301"/>
                </a:lnTo>
                <a:lnTo>
                  <a:pt x="2238" y="1300"/>
                </a:lnTo>
                <a:lnTo>
                  <a:pt x="2235" y="1298"/>
                </a:lnTo>
                <a:lnTo>
                  <a:pt x="2232" y="1297"/>
                </a:lnTo>
                <a:lnTo>
                  <a:pt x="2226" y="1297"/>
                </a:lnTo>
                <a:lnTo>
                  <a:pt x="2223" y="1297"/>
                </a:lnTo>
                <a:lnTo>
                  <a:pt x="2220" y="1297"/>
                </a:lnTo>
                <a:lnTo>
                  <a:pt x="2215" y="1300"/>
                </a:lnTo>
                <a:lnTo>
                  <a:pt x="2213" y="1300"/>
                </a:lnTo>
                <a:lnTo>
                  <a:pt x="2207" y="1300"/>
                </a:lnTo>
                <a:lnTo>
                  <a:pt x="2186" y="1301"/>
                </a:lnTo>
                <a:lnTo>
                  <a:pt x="2173" y="1300"/>
                </a:lnTo>
                <a:lnTo>
                  <a:pt x="2163" y="1294"/>
                </a:lnTo>
                <a:lnTo>
                  <a:pt x="2153" y="1286"/>
                </a:lnTo>
                <a:lnTo>
                  <a:pt x="2150" y="1286"/>
                </a:lnTo>
                <a:lnTo>
                  <a:pt x="2149" y="1286"/>
                </a:lnTo>
                <a:lnTo>
                  <a:pt x="2147" y="1288"/>
                </a:lnTo>
                <a:lnTo>
                  <a:pt x="2146" y="1289"/>
                </a:lnTo>
                <a:lnTo>
                  <a:pt x="2144" y="1291"/>
                </a:lnTo>
                <a:lnTo>
                  <a:pt x="2142" y="1291"/>
                </a:lnTo>
                <a:lnTo>
                  <a:pt x="2138" y="1291"/>
                </a:lnTo>
                <a:lnTo>
                  <a:pt x="2136" y="1291"/>
                </a:lnTo>
                <a:lnTo>
                  <a:pt x="2133" y="1294"/>
                </a:lnTo>
                <a:lnTo>
                  <a:pt x="2132" y="1301"/>
                </a:lnTo>
                <a:lnTo>
                  <a:pt x="2129" y="1303"/>
                </a:lnTo>
                <a:lnTo>
                  <a:pt x="2126" y="1305"/>
                </a:lnTo>
                <a:lnTo>
                  <a:pt x="2113" y="1306"/>
                </a:lnTo>
                <a:lnTo>
                  <a:pt x="2107" y="1308"/>
                </a:lnTo>
                <a:lnTo>
                  <a:pt x="2105" y="1308"/>
                </a:lnTo>
                <a:lnTo>
                  <a:pt x="2104" y="1308"/>
                </a:lnTo>
                <a:lnTo>
                  <a:pt x="2102" y="1308"/>
                </a:lnTo>
                <a:lnTo>
                  <a:pt x="2101" y="1306"/>
                </a:lnTo>
                <a:lnTo>
                  <a:pt x="2099" y="1306"/>
                </a:lnTo>
                <a:lnTo>
                  <a:pt x="2099" y="1308"/>
                </a:lnTo>
                <a:lnTo>
                  <a:pt x="2099" y="1309"/>
                </a:lnTo>
                <a:lnTo>
                  <a:pt x="2098" y="1311"/>
                </a:lnTo>
                <a:lnTo>
                  <a:pt x="2096" y="1309"/>
                </a:lnTo>
                <a:lnTo>
                  <a:pt x="2093" y="1309"/>
                </a:lnTo>
                <a:lnTo>
                  <a:pt x="2092" y="1309"/>
                </a:lnTo>
                <a:lnTo>
                  <a:pt x="2086" y="1308"/>
                </a:lnTo>
                <a:lnTo>
                  <a:pt x="2084" y="1306"/>
                </a:lnTo>
                <a:lnTo>
                  <a:pt x="2081" y="1308"/>
                </a:lnTo>
                <a:lnTo>
                  <a:pt x="2078" y="1309"/>
                </a:lnTo>
                <a:lnTo>
                  <a:pt x="2078" y="1308"/>
                </a:lnTo>
                <a:lnTo>
                  <a:pt x="2079" y="1305"/>
                </a:lnTo>
                <a:lnTo>
                  <a:pt x="2079" y="1301"/>
                </a:lnTo>
                <a:lnTo>
                  <a:pt x="2076" y="1300"/>
                </a:lnTo>
                <a:lnTo>
                  <a:pt x="2072" y="1298"/>
                </a:lnTo>
                <a:lnTo>
                  <a:pt x="2069" y="1297"/>
                </a:lnTo>
                <a:lnTo>
                  <a:pt x="2062" y="1298"/>
                </a:lnTo>
                <a:lnTo>
                  <a:pt x="2059" y="1295"/>
                </a:lnTo>
                <a:lnTo>
                  <a:pt x="2055" y="1292"/>
                </a:lnTo>
                <a:lnTo>
                  <a:pt x="2053" y="1291"/>
                </a:lnTo>
                <a:lnTo>
                  <a:pt x="2049" y="1292"/>
                </a:lnTo>
                <a:lnTo>
                  <a:pt x="2047" y="1292"/>
                </a:lnTo>
                <a:lnTo>
                  <a:pt x="2046" y="1292"/>
                </a:lnTo>
                <a:lnTo>
                  <a:pt x="2046" y="1294"/>
                </a:lnTo>
                <a:lnTo>
                  <a:pt x="2044" y="1294"/>
                </a:lnTo>
                <a:lnTo>
                  <a:pt x="2042" y="1295"/>
                </a:lnTo>
                <a:lnTo>
                  <a:pt x="2039" y="1295"/>
                </a:lnTo>
                <a:lnTo>
                  <a:pt x="2038" y="1297"/>
                </a:lnTo>
                <a:lnTo>
                  <a:pt x="2032" y="1295"/>
                </a:lnTo>
                <a:lnTo>
                  <a:pt x="2028" y="1295"/>
                </a:lnTo>
                <a:lnTo>
                  <a:pt x="2027" y="1294"/>
                </a:lnTo>
                <a:lnTo>
                  <a:pt x="2027" y="1291"/>
                </a:lnTo>
                <a:lnTo>
                  <a:pt x="2025" y="1288"/>
                </a:lnTo>
                <a:lnTo>
                  <a:pt x="2024" y="1286"/>
                </a:lnTo>
                <a:lnTo>
                  <a:pt x="2021" y="1283"/>
                </a:lnTo>
                <a:lnTo>
                  <a:pt x="2019" y="1283"/>
                </a:lnTo>
                <a:lnTo>
                  <a:pt x="2018" y="1283"/>
                </a:lnTo>
                <a:lnTo>
                  <a:pt x="2016" y="1283"/>
                </a:lnTo>
                <a:lnTo>
                  <a:pt x="2015" y="1283"/>
                </a:lnTo>
                <a:lnTo>
                  <a:pt x="2013" y="1283"/>
                </a:lnTo>
                <a:lnTo>
                  <a:pt x="2012" y="1281"/>
                </a:lnTo>
                <a:lnTo>
                  <a:pt x="2012" y="1280"/>
                </a:lnTo>
                <a:lnTo>
                  <a:pt x="2012" y="1278"/>
                </a:lnTo>
                <a:lnTo>
                  <a:pt x="2010" y="1275"/>
                </a:lnTo>
                <a:lnTo>
                  <a:pt x="2009" y="1275"/>
                </a:lnTo>
                <a:lnTo>
                  <a:pt x="2007" y="1277"/>
                </a:lnTo>
                <a:lnTo>
                  <a:pt x="2006" y="1280"/>
                </a:lnTo>
                <a:lnTo>
                  <a:pt x="2004" y="1274"/>
                </a:lnTo>
                <a:lnTo>
                  <a:pt x="2004" y="1266"/>
                </a:lnTo>
                <a:lnTo>
                  <a:pt x="2004" y="1263"/>
                </a:lnTo>
                <a:lnTo>
                  <a:pt x="2002" y="1261"/>
                </a:lnTo>
                <a:lnTo>
                  <a:pt x="2001" y="1258"/>
                </a:lnTo>
                <a:lnTo>
                  <a:pt x="1995" y="1255"/>
                </a:lnTo>
                <a:lnTo>
                  <a:pt x="1993" y="1254"/>
                </a:lnTo>
                <a:lnTo>
                  <a:pt x="1995" y="1251"/>
                </a:lnTo>
                <a:lnTo>
                  <a:pt x="1996" y="1246"/>
                </a:lnTo>
                <a:lnTo>
                  <a:pt x="1998" y="1243"/>
                </a:lnTo>
                <a:lnTo>
                  <a:pt x="2001" y="1242"/>
                </a:lnTo>
                <a:lnTo>
                  <a:pt x="2006" y="1240"/>
                </a:lnTo>
                <a:lnTo>
                  <a:pt x="2007" y="1238"/>
                </a:lnTo>
                <a:lnTo>
                  <a:pt x="2009" y="1237"/>
                </a:lnTo>
                <a:lnTo>
                  <a:pt x="2009" y="1234"/>
                </a:lnTo>
                <a:lnTo>
                  <a:pt x="2007" y="1232"/>
                </a:lnTo>
                <a:lnTo>
                  <a:pt x="2006" y="1231"/>
                </a:lnTo>
                <a:lnTo>
                  <a:pt x="2002" y="1227"/>
                </a:lnTo>
                <a:lnTo>
                  <a:pt x="2002" y="1226"/>
                </a:lnTo>
                <a:lnTo>
                  <a:pt x="2001" y="1226"/>
                </a:lnTo>
                <a:lnTo>
                  <a:pt x="1999" y="1224"/>
                </a:lnTo>
                <a:lnTo>
                  <a:pt x="1998" y="1223"/>
                </a:lnTo>
                <a:lnTo>
                  <a:pt x="1996" y="1218"/>
                </a:lnTo>
                <a:lnTo>
                  <a:pt x="1996" y="1215"/>
                </a:lnTo>
                <a:lnTo>
                  <a:pt x="1996" y="1212"/>
                </a:lnTo>
                <a:lnTo>
                  <a:pt x="1996" y="1209"/>
                </a:lnTo>
                <a:lnTo>
                  <a:pt x="1995" y="1208"/>
                </a:lnTo>
                <a:lnTo>
                  <a:pt x="1995" y="1206"/>
                </a:lnTo>
                <a:lnTo>
                  <a:pt x="1995" y="1203"/>
                </a:lnTo>
                <a:lnTo>
                  <a:pt x="1996" y="1200"/>
                </a:lnTo>
                <a:lnTo>
                  <a:pt x="1998" y="1195"/>
                </a:lnTo>
                <a:lnTo>
                  <a:pt x="2001" y="1192"/>
                </a:lnTo>
                <a:lnTo>
                  <a:pt x="2006" y="1169"/>
                </a:lnTo>
                <a:lnTo>
                  <a:pt x="2006" y="1166"/>
                </a:lnTo>
                <a:lnTo>
                  <a:pt x="2006" y="1164"/>
                </a:lnTo>
                <a:lnTo>
                  <a:pt x="2004" y="1163"/>
                </a:lnTo>
                <a:lnTo>
                  <a:pt x="2002" y="1160"/>
                </a:lnTo>
                <a:lnTo>
                  <a:pt x="2001" y="1158"/>
                </a:lnTo>
                <a:lnTo>
                  <a:pt x="2001" y="1155"/>
                </a:lnTo>
                <a:lnTo>
                  <a:pt x="2002" y="1152"/>
                </a:lnTo>
                <a:lnTo>
                  <a:pt x="2002" y="1149"/>
                </a:lnTo>
                <a:lnTo>
                  <a:pt x="2001" y="1147"/>
                </a:lnTo>
                <a:lnTo>
                  <a:pt x="1998" y="1146"/>
                </a:lnTo>
                <a:lnTo>
                  <a:pt x="1993" y="1143"/>
                </a:lnTo>
                <a:lnTo>
                  <a:pt x="1991" y="1141"/>
                </a:lnTo>
                <a:lnTo>
                  <a:pt x="1985" y="1140"/>
                </a:lnTo>
                <a:lnTo>
                  <a:pt x="1984" y="1138"/>
                </a:lnTo>
                <a:lnTo>
                  <a:pt x="1982" y="1135"/>
                </a:lnTo>
                <a:lnTo>
                  <a:pt x="1981" y="1135"/>
                </a:lnTo>
                <a:lnTo>
                  <a:pt x="1976" y="1140"/>
                </a:lnTo>
                <a:lnTo>
                  <a:pt x="1975" y="1141"/>
                </a:lnTo>
                <a:lnTo>
                  <a:pt x="1973" y="1144"/>
                </a:lnTo>
                <a:lnTo>
                  <a:pt x="1972" y="1146"/>
                </a:lnTo>
                <a:lnTo>
                  <a:pt x="1969" y="1144"/>
                </a:lnTo>
                <a:lnTo>
                  <a:pt x="1967" y="1144"/>
                </a:lnTo>
                <a:lnTo>
                  <a:pt x="1961" y="1149"/>
                </a:lnTo>
                <a:lnTo>
                  <a:pt x="1959" y="1150"/>
                </a:lnTo>
                <a:lnTo>
                  <a:pt x="1942" y="1153"/>
                </a:lnTo>
                <a:lnTo>
                  <a:pt x="1939" y="1155"/>
                </a:lnTo>
                <a:lnTo>
                  <a:pt x="1938" y="1155"/>
                </a:lnTo>
                <a:lnTo>
                  <a:pt x="1935" y="1155"/>
                </a:lnTo>
                <a:lnTo>
                  <a:pt x="1933" y="1158"/>
                </a:lnTo>
                <a:lnTo>
                  <a:pt x="1932" y="1161"/>
                </a:lnTo>
                <a:lnTo>
                  <a:pt x="1933" y="1164"/>
                </a:lnTo>
                <a:lnTo>
                  <a:pt x="1935" y="1166"/>
                </a:lnTo>
                <a:lnTo>
                  <a:pt x="1936" y="1168"/>
                </a:lnTo>
                <a:lnTo>
                  <a:pt x="1938" y="1168"/>
                </a:lnTo>
                <a:lnTo>
                  <a:pt x="1939" y="1168"/>
                </a:lnTo>
                <a:lnTo>
                  <a:pt x="1939" y="1169"/>
                </a:lnTo>
                <a:lnTo>
                  <a:pt x="1938" y="1172"/>
                </a:lnTo>
                <a:lnTo>
                  <a:pt x="1938" y="1177"/>
                </a:lnTo>
                <a:lnTo>
                  <a:pt x="1938" y="1180"/>
                </a:lnTo>
                <a:lnTo>
                  <a:pt x="1936" y="1183"/>
                </a:lnTo>
                <a:lnTo>
                  <a:pt x="1933" y="1194"/>
                </a:lnTo>
                <a:lnTo>
                  <a:pt x="1927" y="1206"/>
                </a:lnTo>
                <a:lnTo>
                  <a:pt x="1925" y="1212"/>
                </a:lnTo>
                <a:lnTo>
                  <a:pt x="1925" y="1214"/>
                </a:lnTo>
                <a:lnTo>
                  <a:pt x="1925" y="1217"/>
                </a:lnTo>
                <a:lnTo>
                  <a:pt x="1927" y="1218"/>
                </a:lnTo>
                <a:lnTo>
                  <a:pt x="1927" y="1220"/>
                </a:lnTo>
                <a:lnTo>
                  <a:pt x="1925" y="1220"/>
                </a:lnTo>
                <a:lnTo>
                  <a:pt x="1925" y="1221"/>
                </a:lnTo>
                <a:lnTo>
                  <a:pt x="1924" y="1224"/>
                </a:lnTo>
                <a:lnTo>
                  <a:pt x="1924" y="1226"/>
                </a:lnTo>
                <a:lnTo>
                  <a:pt x="1924" y="1227"/>
                </a:lnTo>
                <a:lnTo>
                  <a:pt x="1924" y="1229"/>
                </a:lnTo>
                <a:lnTo>
                  <a:pt x="1925" y="1232"/>
                </a:lnTo>
                <a:lnTo>
                  <a:pt x="1925" y="1234"/>
                </a:lnTo>
                <a:lnTo>
                  <a:pt x="1925" y="1235"/>
                </a:lnTo>
                <a:lnTo>
                  <a:pt x="1924" y="1242"/>
                </a:lnTo>
                <a:lnTo>
                  <a:pt x="1922" y="1246"/>
                </a:lnTo>
                <a:lnTo>
                  <a:pt x="1921" y="1255"/>
                </a:lnTo>
                <a:lnTo>
                  <a:pt x="1919" y="1258"/>
                </a:lnTo>
                <a:lnTo>
                  <a:pt x="1919" y="1260"/>
                </a:lnTo>
                <a:lnTo>
                  <a:pt x="1921" y="1261"/>
                </a:lnTo>
                <a:lnTo>
                  <a:pt x="1922" y="1263"/>
                </a:lnTo>
                <a:lnTo>
                  <a:pt x="1924" y="1268"/>
                </a:lnTo>
                <a:lnTo>
                  <a:pt x="1925" y="1269"/>
                </a:lnTo>
                <a:lnTo>
                  <a:pt x="1927" y="1269"/>
                </a:lnTo>
                <a:lnTo>
                  <a:pt x="1928" y="1271"/>
                </a:lnTo>
                <a:lnTo>
                  <a:pt x="1930" y="1274"/>
                </a:lnTo>
                <a:lnTo>
                  <a:pt x="1932" y="1278"/>
                </a:lnTo>
                <a:lnTo>
                  <a:pt x="1933" y="1283"/>
                </a:lnTo>
                <a:lnTo>
                  <a:pt x="1935" y="1284"/>
                </a:lnTo>
                <a:lnTo>
                  <a:pt x="1936" y="1288"/>
                </a:lnTo>
                <a:lnTo>
                  <a:pt x="1938" y="1289"/>
                </a:lnTo>
                <a:lnTo>
                  <a:pt x="1938" y="1292"/>
                </a:lnTo>
                <a:lnTo>
                  <a:pt x="1938" y="1297"/>
                </a:lnTo>
                <a:lnTo>
                  <a:pt x="1939" y="1301"/>
                </a:lnTo>
                <a:lnTo>
                  <a:pt x="1939" y="1305"/>
                </a:lnTo>
                <a:lnTo>
                  <a:pt x="1939" y="1306"/>
                </a:lnTo>
                <a:lnTo>
                  <a:pt x="1939" y="1309"/>
                </a:lnTo>
                <a:lnTo>
                  <a:pt x="1936" y="1315"/>
                </a:lnTo>
                <a:lnTo>
                  <a:pt x="1933" y="1324"/>
                </a:lnTo>
                <a:lnTo>
                  <a:pt x="1932" y="1329"/>
                </a:lnTo>
                <a:lnTo>
                  <a:pt x="1930" y="1332"/>
                </a:lnTo>
                <a:lnTo>
                  <a:pt x="1930" y="1334"/>
                </a:lnTo>
                <a:lnTo>
                  <a:pt x="1930" y="1335"/>
                </a:lnTo>
                <a:lnTo>
                  <a:pt x="1930" y="1340"/>
                </a:lnTo>
                <a:lnTo>
                  <a:pt x="1927" y="1346"/>
                </a:lnTo>
                <a:lnTo>
                  <a:pt x="1924" y="1351"/>
                </a:lnTo>
                <a:lnTo>
                  <a:pt x="1921" y="1351"/>
                </a:lnTo>
                <a:lnTo>
                  <a:pt x="1919" y="1349"/>
                </a:lnTo>
                <a:lnTo>
                  <a:pt x="1916" y="1348"/>
                </a:lnTo>
                <a:lnTo>
                  <a:pt x="1914" y="1346"/>
                </a:lnTo>
                <a:lnTo>
                  <a:pt x="1913" y="1345"/>
                </a:lnTo>
                <a:lnTo>
                  <a:pt x="1913" y="1343"/>
                </a:lnTo>
                <a:lnTo>
                  <a:pt x="1913" y="1342"/>
                </a:lnTo>
                <a:lnTo>
                  <a:pt x="1910" y="1340"/>
                </a:lnTo>
                <a:lnTo>
                  <a:pt x="1910" y="1338"/>
                </a:lnTo>
                <a:lnTo>
                  <a:pt x="1908" y="1340"/>
                </a:lnTo>
                <a:lnTo>
                  <a:pt x="1905" y="1343"/>
                </a:lnTo>
                <a:lnTo>
                  <a:pt x="1904" y="1343"/>
                </a:lnTo>
                <a:lnTo>
                  <a:pt x="1902" y="1342"/>
                </a:lnTo>
                <a:lnTo>
                  <a:pt x="1901" y="1340"/>
                </a:lnTo>
                <a:lnTo>
                  <a:pt x="1899" y="1342"/>
                </a:lnTo>
                <a:lnTo>
                  <a:pt x="1898" y="1343"/>
                </a:lnTo>
                <a:lnTo>
                  <a:pt x="1898" y="1346"/>
                </a:lnTo>
                <a:lnTo>
                  <a:pt x="1896" y="1346"/>
                </a:lnTo>
                <a:lnTo>
                  <a:pt x="1895" y="1346"/>
                </a:lnTo>
                <a:lnTo>
                  <a:pt x="1893" y="1345"/>
                </a:lnTo>
                <a:lnTo>
                  <a:pt x="1892" y="1345"/>
                </a:lnTo>
                <a:lnTo>
                  <a:pt x="1890" y="1345"/>
                </a:lnTo>
                <a:lnTo>
                  <a:pt x="1888" y="1346"/>
                </a:lnTo>
                <a:lnTo>
                  <a:pt x="1887" y="1348"/>
                </a:lnTo>
                <a:lnTo>
                  <a:pt x="1882" y="1349"/>
                </a:lnTo>
                <a:lnTo>
                  <a:pt x="1879" y="1349"/>
                </a:lnTo>
                <a:lnTo>
                  <a:pt x="1873" y="1345"/>
                </a:lnTo>
                <a:lnTo>
                  <a:pt x="1870" y="1343"/>
                </a:lnTo>
                <a:lnTo>
                  <a:pt x="1867" y="1343"/>
                </a:lnTo>
                <a:lnTo>
                  <a:pt x="1864" y="1345"/>
                </a:lnTo>
                <a:lnTo>
                  <a:pt x="1861" y="1346"/>
                </a:lnTo>
                <a:lnTo>
                  <a:pt x="1859" y="1348"/>
                </a:lnTo>
                <a:lnTo>
                  <a:pt x="1858" y="1352"/>
                </a:lnTo>
                <a:lnTo>
                  <a:pt x="1856" y="1354"/>
                </a:lnTo>
                <a:lnTo>
                  <a:pt x="1855" y="1354"/>
                </a:lnTo>
                <a:lnTo>
                  <a:pt x="1851" y="1351"/>
                </a:lnTo>
                <a:lnTo>
                  <a:pt x="1850" y="1351"/>
                </a:lnTo>
                <a:lnTo>
                  <a:pt x="1848" y="1349"/>
                </a:lnTo>
                <a:lnTo>
                  <a:pt x="1848" y="1348"/>
                </a:lnTo>
                <a:lnTo>
                  <a:pt x="1847" y="1346"/>
                </a:lnTo>
                <a:lnTo>
                  <a:pt x="1844" y="1348"/>
                </a:lnTo>
                <a:lnTo>
                  <a:pt x="1839" y="1348"/>
                </a:lnTo>
                <a:lnTo>
                  <a:pt x="1836" y="1346"/>
                </a:lnTo>
                <a:lnTo>
                  <a:pt x="1834" y="1343"/>
                </a:lnTo>
                <a:lnTo>
                  <a:pt x="1833" y="1338"/>
                </a:lnTo>
                <a:lnTo>
                  <a:pt x="1831" y="1335"/>
                </a:lnTo>
                <a:lnTo>
                  <a:pt x="1830" y="1329"/>
                </a:lnTo>
                <a:lnTo>
                  <a:pt x="1830" y="1327"/>
                </a:lnTo>
                <a:lnTo>
                  <a:pt x="1830" y="1324"/>
                </a:lnTo>
                <a:lnTo>
                  <a:pt x="1828" y="1324"/>
                </a:lnTo>
                <a:lnTo>
                  <a:pt x="1827" y="1326"/>
                </a:lnTo>
                <a:lnTo>
                  <a:pt x="1824" y="1329"/>
                </a:lnTo>
                <a:lnTo>
                  <a:pt x="1824" y="1331"/>
                </a:lnTo>
                <a:lnTo>
                  <a:pt x="1819" y="1332"/>
                </a:lnTo>
                <a:lnTo>
                  <a:pt x="1818" y="1334"/>
                </a:lnTo>
                <a:lnTo>
                  <a:pt x="1814" y="1335"/>
                </a:lnTo>
                <a:lnTo>
                  <a:pt x="1813" y="1338"/>
                </a:lnTo>
                <a:lnTo>
                  <a:pt x="1811" y="1340"/>
                </a:lnTo>
                <a:lnTo>
                  <a:pt x="1808" y="1342"/>
                </a:lnTo>
                <a:lnTo>
                  <a:pt x="1807" y="1343"/>
                </a:lnTo>
                <a:lnTo>
                  <a:pt x="1805" y="1343"/>
                </a:lnTo>
                <a:lnTo>
                  <a:pt x="1802" y="1342"/>
                </a:lnTo>
                <a:lnTo>
                  <a:pt x="1801" y="1342"/>
                </a:lnTo>
                <a:lnTo>
                  <a:pt x="1799" y="1343"/>
                </a:lnTo>
                <a:lnTo>
                  <a:pt x="1799" y="1345"/>
                </a:lnTo>
                <a:lnTo>
                  <a:pt x="1798" y="1345"/>
                </a:lnTo>
                <a:lnTo>
                  <a:pt x="1796" y="1345"/>
                </a:lnTo>
                <a:lnTo>
                  <a:pt x="1790" y="1340"/>
                </a:lnTo>
                <a:lnTo>
                  <a:pt x="1784" y="1337"/>
                </a:lnTo>
                <a:lnTo>
                  <a:pt x="1781" y="1335"/>
                </a:lnTo>
                <a:lnTo>
                  <a:pt x="1779" y="1334"/>
                </a:lnTo>
                <a:lnTo>
                  <a:pt x="1779" y="1332"/>
                </a:lnTo>
                <a:lnTo>
                  <a:pt x="1778" y="1331"/>
                </a:lnTo>
                <a:lnTo>
                  <a:pt x="1774" y="1331"/>
                </a:lnTo>
                <a:lnTo>
                  <a:pt x="1771" y="1329"/>
                </a:lnTo>
                <a:lnTo>
                  <a:pt x="1767" y="1326"/>
                </a:lnTo>
                <a:lnTo>
                  <a:pt x="1764" y="1324"/>
                </a:lnTo>
                <a:lnTo>
                  <a:pt x="1762" y="1324"/>
                </a:lnTo>
                <a:lnTo>
                  <a:pt x="1761" y="1324"/>
                </a:lnTo>
                <a:lnTo>
                  <a:pt x="1759" y="1324"/>
                </a:lnTo>
                <a:lnTo>
                  <a:pt x="1759" y="1323"/>
                </a:lnTo>
                <a:lnTo>
                  <a:pt x="1759" y="1321"/>
                </a:lnTo>
                <a:lnTo>
                  <a:pt x="1758" y="1321"/>
                </a:lnTo>
                <a:lnTo>
                  <a:pt x="1756" y="1321"/>
                </a:lnTo>
                <a:lnTo>
                  <a:pt x="1754" y="1321"/>
                </a:lnTo>
                <a:lnTo>
                  <a:pt x="1751" y="1323"/>
                </a:lnTo>
                <a:lnTo>
                  <a:pt x="1748" y="1324"/>
                </a:lnTo>
                <a:lnTo>
                  <a:pt x="1747" y="1324"/>
                </a:lnTo>
                <a:lnTo>
                  <a:pt x="1747" y="1323"/>
                </a:lnTo>
                <a:lnTo>
                  <a:pt x="1745" y="1323"/>
                </a:lnTo>
                <a:lnTo>
                  <a:pt x="1744" y="1321"/>
                </a:lnTo>
                <a:lnTo>
                  <a:pt x="1741" y="1321"/>
                </a:lnTo>
                <a:lnTo>
                  <a:pt x="1739" y="1321"/>
                </a:lnTo>
                <a:lnTo>
                  <a:pt x="1733" y="1317"/>
                </a:lnTo>
                <a:lnTo>
                  <a:pt x="1730" y="1315"/>
                </a:lnTo>
                <a:lnTo>
                  <a:pt x="1727" y="1317"/>
                </a:lnTo>
                <a:lnTo>
                  <a:pt x="1725" y="1317"/>
                </a:lnTo>
                <a:lnTo>
                  <a:pt x="1722" y="1318"/>
                </a:lnTo>
                <a:lnTo>
                  <a:pt x="1716" y="1324"/>
                </a:lnTo>
                <a:lnTo>
                  <a:pt x="1714" y="1326"/>
                </a:lnTo>
                <a:lnTo>
                  <a:pt x="1713" y="1326"/>
                </a:lnTo>
                <a:lnTo>
                  <a:pt x="1711" y="1326"/>
                </a:lnTo>
                <a:lnTo>
                  <a:pt x="1711" y="1324"/>
                </a:lnTo>
                <a:lnTo>
                  <a:pt x="1711" y="1323"/>
                </a:lnTo>
                <a:lnTo>
                  <a:pt x="1711" y="1321"/>
                </a:lnTo>
                <a:lnTo>
                  <a:pt x="1710" y="1321"/>
                </a:lnTo>
                <a:lnTo>
                  <a:pt x="1708" y="1323"/>
                </a:lnTo>
                <a:lnTo>
                  <a:pt x="1702" y="1317"/>
                </a:lnTo>
                <a:lnTo>
                  <a:pt x="1700" y="1315"/>
                </a:lnTo>
                <a:lnTo>
                  <a:pt x="1700" y="1311"/>
                </a:lnTo>
                <a:lnTo>
                  <a:pt x="1700" y="1301"/>
                </a:lnTo>
                <a:lnTo>
                  <a:pt x="1700" y="1298"/>
                </a:lnTo>
                <a:lnTo>
                  <a:pt x="1699" y="1297"/>
                </a:lnTo>
                <a:lnTo>
                  <a:pt x="1691" y="1291"/>
                </a:lnTo>
                <a:lnTo>
                  <a:pt x="1690" y="1291"/>
                </a:lnTo>
                <a:lnTo>
                  <a:pt x="1682" y="1294"/>
                </a:lnTo>
                <a:lnTo>
                  <a:pt x="1679" y="1297"/>
                </a:lnTo>
                <a:lnTo>
                  <a:pt x="1674" y="1298"/>
                </a:lnTo>
                <a:lnTo>
                  <a:pt x="1673" y="1300"/>
                </a:lnTo>
                <a:lnTo>
                  <a:pt x="1671" y="1298"/>
                </a:lnTo>
                <a:lnTo>
                  <a:pt x="1670" y="1298"/>
                </a:lnTo>
                <a:lnTo>
                  <a:pt x="1668" y="1300"/>
                </a:lnTo>
                <a:lnTo>
                  <a:pt x="1667" y="1303"/>
                </a:lnTo>
                <a:lnTo>
                  <a:pt x="1665" y="1305"/>
                </a:lnTo>
                <a:lnTo>
                  <a:pt x="1662" y="1305"/>
                </a:lnTo>
                <a:lnTo>
                  <a:pt x="1660" y="1306"/>
                </a:lnTo>
                <a:lnTo>
                  <a:pt x="1651" y="1303"/>
                </a:lnTo>
                <a:lnTo>
                  <a:pt x="1648" y="1300"/>
                </a:lnTo>
                <a:lnTo>
                  <a:pt x="1648" y="1295"/>
                </a:lnTo>
                <a:lnTo>
                  <a:pt x="1648" y="1291"/>
                </a:lnTo>
                <a:lnTo>
                  <a:pt x="1644" y="1289"/>
                </a:lnTo>
                <a:lnTo>
                  <a:pt x="1642" y="1289"/>
                </a:lnTo>
                <a:lnTo>
                  <a:pt x="1636" y="1292"/>
                </a:lnTo>
                <a:lnTo>
                  <a:pt x="1634" y="1292"/>
                </a:lnTo>
                <a:lnTo>
                  <a:pt x="1634" y="1291"/>
                </a:lnTo>
                <a:lnTo>
                  <a:pt x="1634" y="1289"/>
                </a:lnTo>
                <a:lnTo>
                  <a:pt x="1633" y="1288"/>
                </a:lnTo>
                <a:lnTo>
                  <a:pt x="1631" y="1288"/>
                </a:lnTo>
                <a:lnTo>
                  <a:pt x="1630" y="1288"/>
                </a:lnTo>
                <a:lnTo>
                  <a:pt x="1628" y="1286"/>
                </a:lnTo>
                <a:lnTo>
                  <a:pt x="1627" y="1283"/>
                </a:lnTo>
                <a:lnTo>
                  <a:pt x="1627" y="1281"/>
                </a:lnTo>
                <a:lnTo>
                  <a:pt x="1625" y="1278"/>
                </a:lnTo>
                <a:lnTo>
                  <a:pt x="1622" y="1277"/>
                </a:lnTo>
                <a:lnTo>
                  <a:pt x="1617" y="1275"/>
                </a:lnTo>
                <a:lnTo>
                  <a:pt x="1616" y="1274"/>
                </a:lnTo>
                <a:lnTo>
                  <a:pt x="1614" y="1272"/>
                </a:lnTo>
                <a:lnTo>
                  <a:pt x="1613" y="1271"/>
                </a:lnTo>
                <a:lnTo>
                  <a:pt x="1611" y="1272"/>
                </a:lnTo>
                <a:lnTo>
                  <a:pt x="1610" y="1272"/>
                </a:lnTo>
                <a:lnTo>
                  <a:pt x="1610" y="1274"/>
                </a:lnTo>
                <a:lnTo>
                  <a:pt x="1597" y="1269"/>
                </a:lnTo>
                <a:lnTo>
                  <a:pt x="1596" y="1268"/>
                </a:lnTo>
                <a:lnTo>
                  <a:pt x="1596" y="1266"/>
                </a:lnTo>
                <a:lnTo>
                  <a:pt x="1596" y="1263"/>
                </a:lnTo>
                <a:lnTo>
                  <a:pt x="1597" y="1260"/>
                </a:lnTo>
                <a:lnTo>
                  <a:pt x="1599" y="1257"/>
                </a:lnTo>
                <a:lnTo>
                  <a:pt x="1599" y="1252"/>
                </a:lnTo>
                <a:lnTo>
                  <a:pt x="1599" y="1248"/>
                </a:lnTo>
                <a:lnTo>
                  <a:pt x="1599" y="1243"/>
                </a:lnTo>
                <a:lnTo>
                  <a:pt x="1597" y="1238"/>
                </a:lnTo>
                <a:lnTo>
                  <a:pt x="1594" y="1234"/>
                </a:lnTo>
                <a:lnTo>
                  <a:pt x="1591" y="1232"/>
                </a:lnTo>
                <a:lnTo>
                  <a:pt x="1564" y="1226"/>
                </a:lnTo>
                <a:lnTo>
                  <a:pt x="1562" y="1224"/>
                </a:lnTo>
                <a:lnTo>
                  <a:pt x="1559" y="1221"/>
                </a:lnTo>
                <a:lnTo>
                  <a:pt x="1559" y="1220"/>
                </a:lnTo>
                <a:lnTo>
                  <a:pt x="1557" y="1218"/>
                </a:lnTo>
                <a:lnTo>
                  <a:pt x="1554" y="1218"/>
                </a:lnTo>
                <a:lnTo>
                  <a:pt x="1553" y="1218"/>
                </a:lnTo>
                <a:lnTo>
                  <a:pt x="1553" y="1215"/>
                </a:lnTo>
                <a:lnTo>
                  <a:pt x="1551" y="1214"/>
                </a:lnTo>
                <a:lnTo>
                  <a:pt x="1550" y="1214"/>
                </a:lnTo>
                <a:lnTo>
                  <a:pt x="1548" y="1212"/>
                </a:lnTo>
                <a:lnTo>
                  <a:pt x="1546" y="1212"/>
                </a:lnTo>
                <a:lnTo>
                  <a:pt x="1546" y="1209"/>
                </a:lnTo>
                <a:lnTo>
                  <a:pt x="1545" y="1209"/>
                </a:lnTo>
                <a:lnTo>
                  <a:pt x="1543" y="1209"/>
                </a:lnTo>
                <a:lnTo>
                  <a:pt x="1539" y="1217"/>
                </a:lnTo>
                <a:lnTo>
                  <a:pt x="1536" y="1218"/>
                </a:lnTo>
                <a:lnTo>
                  <a:pt x="1533" y="1218"/>
                </a:lnTo>
                <a:lnTo>
                  <a:pt x="1530" y="1218"/>
                </a:lnTo>
                <a:lnTo>
                  <a:pt x="1528" y="1217"/>
                </a:lnTo>
                <a:lnTo>
                  <a:pt x="1527" y="1218"/>
                </a:lnTo>
                <a:lnTo>
                  <a:pt x="1522" y="1218"/>
                </a:lnTo>
                <a:lnTo>
                  <a:pt x="1519" y="1220"/>
                </a:lnTo>
                <a:lnTo>
                  <a:pt x="1520" y="1221"/>
                </a:lnTo>
                <a:lnTo>
                  <a:pt x="1523" y="1224"/>
                </a:lnTo>
                <a:lnTo>
                  <a:pt x="1523" y="1226"/>
                </a:lnTo>
                <a:lnTo>
                  <a:pt x="1523" y="1227"/>
                </a:lnTo>
                <a:lnTo>
                  <a:pt x="1522" y="1229"/>
                </a:lnTo>
                <a:lnTo>
                  <a:pt x="1522" y="1231"/>
                </a:lnTo>
                <a:lnTo>
                  <a:pt x="1520" y="1229"/>
                </a:lnTo>
                <a:lnTo>
                  <a:pt x="1516" y="1227"/>
                </a:lnTo>
                <a:lnTo>
                  <a:pt x="1503" y="1220"/>
                </a:lnTo>
                <a:lnTo>
                  <a:pt x="1496" y="1217"/>
                </a:lnTo>
                <a:lnTo>
                  <a:pt x="1485" y="1215"/>
                </a:lnTo>
                <a:lnTo>
                  <a:pt x="1476" y="1215"/>
                </a:lnTo>
                <a:lnTo>
                  <a:pt x="1474" y="1215"/>
                </a:lnTo>
                <a:lnTo>
                  <a:pt x="1472" y="1217"/>
                </a:lnTo>
                <a:lnTo>
                  <a:pt x="1472" y="1218"/>
                </a:lnTo>
                <a:lnTo>
                  <a:pt x="1472" y="1220"/>
                </a:lnTo>
                <a:lnTo>
                  <a:pt x="1474" y="1221"/>
                </a:lnTo>
                <a:lnTo>
                  <a:pt x="1474" y="1223"/>
                </a:lnTo>
                <a:lnTo>
                  <a:pt x="1474" y="1224"/>
                </a:lnTo>
                <a:lnTo>
                  <a:pt x="1471" y="1229"/>
                </a:lnTo>
                <a:lnTo>
                  <a:pt x="1469" y="1231"/>
                </a:lnTo>
                <a:lnTo>
                  <a:pt x="1468" y="1232"/>
                </a:lnTo>
                <a:lnTo>
                  <a:pt x="1466" y="1232"/>
                </a:lnTo>
                <a:lnTo>
                  <a:pt x="1463" y="1231"/>
                </a:lnTo>
                <a:lnTo>
                  <a:pt x="1463" y="1229"/>
                </a:lnTo>
                <a:lnTo>
                  <a:pt x="1462" y="1227"/>
                </a:lnTo>
                <a:lnTo>
                  <a:pt x="1462" y="1226"/>
                </a:lnTo>
                <a:lnTo>
                  <a:pt x="1460" y="1224"/>
                </a:lnTo>
                <a:lnTo>
                  <a:pt x="1456" y="1220"/>
                </a:lnTo>
                <a:lnTo>
                  <a:pt x="1451" y="1218"/>
                </a:lnTo>
                <a:lnTo>
                  <a:pt x="1440" y="1218"/>
                </a:lnTo>
                <a:lnTo>
                  <a:pt x="1434" y="1217"/>
                </a:lnTo>
                <a:lnTo>
                  <a:pt x="1429" y="1214"/>
                </a:lnTo>
                <a:lnTo>
                  <a:pt x="1426" y="1212"/>
                </a:lnTo>
                <a:lnTo>
                  <a:pt x="1414" y="1212"/>
                </a:lnTo>
                <a:lnTo>
                  <a:pt x="1413" y="1209"/>
                </a:lnTo>
                <a:lnTo>
                  <a:pt x="1411" y="1205"/>
                </a:lnTo>
                <a:lnTo>
                  <a:pt x="1411" y="1195"/>
                </a:lnTo>
                <a:lnTo>
                  <a:pt x="1409" y="1190"/>
                </a:lnTo>
                <a:lnTo>
                  <a:pt x="1408" y="1187"/>
                </a:lnTo>
                <a:lnTo>
                  <a:pt x="1406" y="1186"/>
                </a:lnTo>
                <a:lnTo>
                  <a:pt x="1405" y="1186"/>
                </a:lnTo>
                <a:lnTo>
                  <a:pt x="1392" y="1189"/>
                </a:lnTo>
                <a:lnTo>
                  <a:pt x="1385" y="1190"/>
                </a:lnTo>
                <a:lnTo>
                  <a:pt x="1380" y="1189"/>
                </a:lnTo>
                <a:lnTo>
                  <a:pt x="1376" y="1183"/>
                </a:lnTo>
                <a:lnTo>
                  <a:pt x="1368" y="1178"/>
                </a:lnTo>
                <a:lnTo>
                  <a:pt x="1357" y="1168"/>
                </a:lnTo>
                <a:lnTo>
                  <a:pt x="1352" y="1166"/>
                </a:lnTo>
                <a:lnTo>
                  <a:pt x="1351" y="1164"/>
                </a:lnTo>
                <a:lnTo>
                  <a:pt x="1349" y="1163"/>
                </a:lnTo>
                <a:lnTo>
                  <a:pt x="1346" y="1161"/>
                </a:lnTo>
                <a:lnTo>
                  <a:pt x="1345" y="1160"/>
                </a:lnTo>
                <a:lnTo>
                  <a:pt x="1340" y="1160"/>
                </a:lnTo>
                <a:lnTo>
                  <a:pt x="1337" y="1161"/>
                </a:lnTo>
                <a:lnTo>
                  <a:pt x="1332" y="1166"/>
                </a:lnTo>
                <a:lnTo>
                  <a:pt x="1331" y="1168"/>
                </a:lnTo>
                <a:lnTo>
                  <a:pt x="1328" y="1168"/>
                </a:lnTo>
                <a:lnTo>
                  <a:pt x="1325" y="1166"/>
                </a:lnTo>
                <a:lnTo>
                  <a:pt x="1323" y="1163"/>
                </a:lnTo>
                <a:lnTo>
                  <a:pt x="1317" y="1160"/>
                </a:lnTo>
                <a:lnTo>
                  <a:pt x="1314" y="1155"/>
                </a:lnTo>
                <a:lnTo>
                  <a:pt x="1312" y="1153"/>
                </a:lnTo>
                <a:lnTo>
                  <a:pt x="1309" y="1152"/>
                </a:lnTo>
                <a:lnTo>
                  <a:pt x="1305" y="1152"/>
                </a:lnTo>
                <a:lnTo>
                  <a:pt x="1303" y="1149"/>
                </a:lnTo>
                <a:lnTo>
                  <a:pt x="1302" y="1147"/>
                </a:lnTo>
                <a:lnTo>
                  <a:pt x="1300" y="1146"/>
                </a:lnTo>
                <a:lnTo>
                  <a:pt x="1291" y="1141"/>
                </a:lnTo>
                <a:lnTo>
                  <a:pt x="1289" y="1140"/>
                </a:lnTo>
                <a:lnTo>
                  <a:pt x="1289" y="1138"/>
                </a:lnTo>
                <a:lnTo>
                  <a:pt x="1289" y="1137"/>
                </a:lnTo>
                <a:lnTo>
                  <a:pt x="1288" y="1135"/>
                </a:lnTo>
                <a:lnTo>
                  <a:pt x="1288" y="1134"/>
                </a:lnTo>
                <a:lnTo>
                  <a:pt x="1285" y="1131"/>
                </a:lnTo>
                <a:lnTo>
                  <a:pt x="1283" y="1129"/>
                </a:lnTo>
                <a:lnTo>
                  <a:pt x="1281" y="1127"/>
                </a:lnTo>
                <a:lnTo>
                  <a:pt x="1280" y="1129"/>
                </a:lnTo>
                <a:lnTo>
                  <a:pt x="1278" y="1129"/>
                </a:lnTo>
                <a:lnTo>
                  <a:pt x="1278" y="1131"/>
                </a:lnTo>
                <a:lnTo>
                  <a:pt x="1277" y="1132"/>
                </a:lnTo>
                <a:lnTo>
                  <a:pt x="1277" y="1134"/>
                </a:lnTo>
                <a:lnTo>
                  <a:pt x="1275" y="1134"/>
                </a:lnTo>
                <a:lnTo>
                  <a:pt x="1274" y="1134"/>
                </a:lnTo>
                <a:lnTo>
                  <a:pt x="1274" y="1132"/>
                </a:lnTo>
                <a:lnTo>
                  <a:pt x="1272" y="1131"/>
                </a:lnTo>
                <a:lnTo>
                  <a:pt x="1272" y="1129"/>
                </a:lnTo>
                <a:lnTo>
                  <a:pt x="1274" y="1129"/>
                </a:lnTo>
                <a:lnTo>
                  <a:pt x="1272" y="1126"/>
                </a:lnTo>
                <a:lnTo>
                  <a:pt x="1266" y="1118"/>
                </a:lnTo>
                <a:lnTo>
                  <a:pt x="1265" y="1115"/>
                </a:lnTo>
                <a:lnTo>
                  <a:pt x="1263" y="1107"/>
                </a:lnTo>
                <a:lnTo>
                  <a:pt x="1262" y="1104"/>
                </a:lnTo>
                <a:lnTo>
                  <a:pt x="1259" y="1103"/>
                </a:lnTo>
                <a:lnTo>
                  <a:pt x="1249" y="1101"/>
                </a:lnTo>
                <a:lnTo>
                  <a:pt x="1244" y="1100"/>
                </a:lnTo>
                <a:lnTo>
                  <a:pt x="1244" y="1098"/>
                </a:lnTo>
                <a:lnTo>
                  <a:pt x="1244" y="1097"/>
                </a:lnTo>
                <a:lnTo>
                  <a:pt x="1243" y="1095"/>
                </a:lnTo>
                <a:lnTo>
                  <a:pt x="1241" y="1095"/>
                </a:lnTo>
                <a:lnTo>
                  <a:pt x="1240" y="1095"/>
                </a:lnTo>
                <a:lnTo>
                  <a:pt x="1237" y="1095"/>
                </a:lnTo>
                <a:lnTo>
                  <a:pt x="1235" y="1094"/>
                </a:lnTo>
                <a:lnTo>
                  <a:pt x="1234" y="1092"/>
                </a:lnTo>
                <a:lnTo>
                  <a:pt x="1234" y="1090"/>
                </a:lnTo>
                <a:lnTo>
                  <a:pt x="1234" y="1089"/>
                </a:lnTo>
                <a:lnTo>
                  <a:pt x="1232" y="1087"/>
                </a:lnTo>
                <a:lnTo>
                  <a:pt x="1231" y="1086"/>
                </a:lnTo>
                <a:lnTo>
                  <a:pt x="1228" y="1086"/>
                </a:lnTo>
                <a:lnTo>
                  <a:pt x="1226" y="1086"/>
                </a:lnTo>
                <a:lnTo>
                  <a:pt x="1225" y="1084"/>
                </a:lnTo>
                <a:lnTo>
                  <a:pt x="1220" y="1081"/>
                </a:lnTo>
                <a:lnTo>
                  <a:pt x="1218" y="1080"/>
                </a:lnTo>
                <a:lnTo>
                  <a:pt x="1215" y="1078"/>
                </a:lnTo>
                <a:lnTo>
                  <a:pt x="1214" y="1078"/>
                </a:lnTo>
                <a:lnTo>
                  <a:pt x="1212" y="1076"/>
                </a:lnTo>
                <a:lnTo>
                  <a:pt x="1211" y="1072"/>
                </a:lnTo>
                <a:lnTo>
                  <a:pt x="1209" y="1070"/>
                </a:lnTo>
                <a:lnTo>
                  <a:pt x="1206" y="1070"/>
                </a:lnTo>
                <a:lnTo>
                  <a:pt x="1204" y="1069"/>
                </a:lnTo>
                <a:lnTo>
                  <a:pt x="1203" y="1069"/>
                </a:lnTo>
                <a:lnTo>
                  <a:pt x="1201" y="1067"/>
                </a:lnTo>
                <a:lnTo>
                  <a:pt x="1201" y="1066"/>
                </a:lnTo>
                <a:lnTo>
                  <a:pt x="1203" y="1066"/>
                </a:lnTo>
                <a:lnTo>
                  <a:pt x="1201" y="1064"/>
                </a:lnTo>
                <a:lnTo>
                  <a:pt x="1200" y="1064"/>
                </a:lnTo>
                <a:lnTo>
                  <a:pt x="1198" y="1064"/>
                </a:lnTo>
                <a:lnTo>
                  <a:pt x="1197" y="1066"/>
                </a:lnTo>
                <a:lnTo>
                  <a:pt x="1195" y="1067"/>
                </a:lnTo>
                <a:lnTo>
                  <a:pt x="1195" y="1069"/>
                </a:lnTo>
                <a:lnTo>
                  <a:pt x="1195" y="1078"/>
                </a:lnTo>
                <a:lnTo>
                  <a:pt x="1195" y="1080"/>
                </a:lnTo>
                <a:lnTo>
                  <a:pt x="1194" y="1078"/>
                </a:lnTo>
                <a:lnTo>
                  <a:pt x="1189" y="1072"/>
                </a:lnTo>
                <a:lnTo>
                  <a:pt x="1188" y="1070"/>
                </a:lnTo>
                <a:lnTo>
                  <a:pt x="1186" y="1070"/>
                </a:lnTo>
                <a:lnTo>
                  <a:pt x="1185" y="1072"/>
                </a:lnTo>
                <a:lnTo>
                  <a:pt x="1181" y="1072"/>
                </a:lnTo>
                <a:lnTo>
                  <a:pt x="1180" y="1070"/>
                </a:lnTo>
                <a:lnTo>
                  <a:pt x="1178" y="1069"/>
                </a:lnTo>
                <a:lnTo>
                  <a:pt x="1177" y="1063"/>
                </a:lnTo>
                <a:lnTo>
                  <a:pt x="1175" y="1063"/>
                </a:lnTo>
                <a:lnTo>
                  <a:pt x="1174" y="1063"/>
                </a:lnTo>
                <a:lnTo>
                  <a:pt x="1174" y="1061"/>
                </a:lnTo>
                <a:lnTo>
                  <a:pt x="1172" y="1061"/>
                </a:lnTo>
                <a:lnTo>
                  <a:pt x="1171" y="1058"/>
                </a:lnTo>
                <a:lnTo>
                  <a:pt x="1169" y="1057"/>
                </a:lnTo>
                <a:lnTo>
                  <a:pt x="1166" y="1057"/>
                </a:lnTo>
                <a:lnTo>
                  <a:pt x="1164" y="1055"/>
                </a:lnTo>
                <a:lnTo>
                  <a:pt x="1163" y="1053"/>
                </a:lnTo>
                <a:lnTo>
                  <a:pt x="1160" y="1049"/>
                </a:lnTo>
                <a:lnTo>
                  <a:pt x="1157" y="1047"/>
                </a:lnTo>
                <a:lnTo>
                  <a:pt x="1155" y="1047"/>
                </a:lnTo>
                <a:lnTo>
                  <a:pt x="1154" y="1046"/>
                </a:lnTo>
                <a:lnTo>
                  <a:pt x="1152" y="1044"/>
                </a:lnTo>
                <a:lnTo>
                  <a:pt x="1151" y="1039"/>
                </a:lnTo>
                <a:lnTo>
                  <a:pt x="1151" y="1038"/>
                </a:lnTo>
                <a:lnTo>
                  <a:pt x="1152" y="1035"/>
                </a:lnTo>
                <a:lnTo>
                  <a:pt x="1152" y="1033"/>
                </a:lnTo>
                <a:lnTo>
                  <a:pt x="1154" y="1030"/>
                </a:lnTo>
                <a:lnTo>
                  <a:pt x="1155" y="1029"/>
                </a:lnTo>
                <a:lnTo>
                  <a:pt x="1157" y="1029"/>
                </a:lnTo>
                <a:lnTo>
                  <a:pt x="1158" y="1027"/>
                </a:lnTo>
                <a:lnTo>
                  <a:pt x="1158" y="1026"/>
                </a:lnTo>
                <a:lnTo>
                  <a:pt x="1158" y="1021"/>
                </a:lnTo>
                <a:lnTo>
                  <a:pt x="1158" y="1015"/>
                </a:lnTo>
                <a:lnTo>
                  <a:pt x="1161" y="1010"/>
                </a:lnTo>
                <a:lnTo>
                  <a:pt x="1164" y="1009"/>
                </a:lnTo>
                <a:lnTo>
                  <a:pt x="1166" y="1009"/>
                </a:lnTo>
                <a:lnTo>
                  <a:pt x="1167" y="1009"/>
                </a:lnTo>
                <a:lnTo>
                  <a:pt x="1169" y="1009"/>
                </a:lnTo>
                <a:lnTo>
                  <a:pt x="1171" y="1007"/>
                </a:lnTo>
                <a:lnTo>
                  <a:pt x="1171" y="1006"/>
                </a:lnTo>
                <a:lnTo>
                  <a:pt x="1169" y="999"/>
                </a:lnTo>
                <a:lnTo>
                  <a:pt x="1169" y="998"/>
                </a:lnTo>
                <a:lnTo>
                  <a:pt x="1171" y="998"/>
                </a:lnTo>
                <a:lnTo>
                  <a:pt x="1172" y="999"/>
                </a:lnTo>
                <a:lnTo>
                  <a:pt x="1174" y="999"/>
                </a:lnTo>
                <a:lnTo>
                  <a:pt x="1175" y="992"/>
                </a:lnTo>
                <a:lnTo>
                  <a:pt x="1175" y="989"/>
                </a:lnTo>
                <a:lnTo>
                  <a:pt x="1175" y="986"/>
                </a:lnTo>
                <a:lnTo>
                  <a:pt x="1174" y="986"/>
                </a:lnTo>
                <a:lnTo>
                  <a:pt x="1172" y="986"/>
                </a:lnTo>
                <a:lnTo>
                  <a:pt x="1172" y="984"/>
                </a:lnTo>
                <a:lnTo>
                  <a:pt x="1172" y="978"/>
                </a:lnTo>
                <a:lnTo>
                  <a:pt x="1169" y="975"/>
                </a:lnTo>
                <a:lnTo>
                  <a:pt x="1169" y="972"/>
                </a:lnTo>
                <a:lnTo>
                  <a:pt x="1169" y="970"/>
                </a:lnTo>
                <a:lnTo>
                  <a:pt x="1171" y="969"/>
                </a:lnTo>
                <a:lnTo>
                  <a:pt x="1174" y="969"/>
                </a:lnTo>
                <a:lnTo>
                  <a:pt x="1174" y="967"/>
                </a:lnTo>
                <a:lnTo>
                  <a:pt x="1174" y="966"/>
                </a:lnTo>
                <a:lnTo>
                  <a:pt x="1175" y="964"/>
                </a:lnTo>
                <a:lnTo>
                  <a:pt x="1177" y="963"/>
                </a:lnTo>
                <a:lnTo>
                  <a:pt x="1178" y="961"/>
                </a:lnTo>
                <a:lnTo>
                  <a:pt x="1180" y="960"/>
                </a:lnTo>
                <a:lnTo>
                  <a:pt x="1180" y="958"/>
                </a:lnTo>
                <a:lnTo>
                  <a:pt x="1180" y="957"/>
                </a:lnTo>
                <a:lnTo>
                  <a:pt x="1180" y="955"/>
                </a:lnTo>
                <a:lnTo>
                  <a:pt x="1181" y="955"/>
                </a:lnTo>
                <a:lnTo>
                  <a:pt x="1185" y="952"/>
                </a:lnTo>
                <a:lnTo>
                  <a:pt x="1186" y="949"/>
                </a:lnTo>
                <a:lnTo>
                  <a:pt x="1186" y="946"/>
                </a:lnTo>
                <a:lnTo>
                  <a:pt x="1185" y="943"/>
                </a:lnTo>
                <a:lnTo>
                  <a:pt x="1183" y="939"/>
                </a:lnTo>
                <a:lnTo>
                  <a:pt x="1183" y="936"/>
                </a:lnTo>
                <a:lnTo>
                  <a:pt x="1183" y="933"/>
                </a:lnTo>
                <a:lnTo>
                  <a:pt x="1185" y="930"/>
                </a:lnTo>
                <a:lnTo>
                  <a:pt x="1186" y="927"/>
                </a:lnTo>
                <a:lnTo>
                  <a:pt x="1192" y="926"/>
                </a:lnTo>
                <a:lnTo>
                  <a:pt x="1194" y="924"/>
                </a:lnTo>
                <a:lnTo>
                  <a:pt x="1200" y="917"/>
                </a:lnTo>
                <a:lnTo>
                  <a:pt x="1201" y="913"/>
                </a:lnTo>
                <a:lnTo>
                  <a:pt x="1203" y="909"/>
                </a:lnTo>
                <a:lnTo>
                  <a:pt x="1203" y="906"/>
                </a:lnTo>
                <a:lnTo>
                  <a:pt x="1204" y="906"/>
                </a:lnTo>
                <a:lnTo>
                  <a:pt x="1207" y="906"/>
                </a:lnTo>
                <a:lnTo>
                  <a:pt x="1211" y="904"/>
                </a:lnTo>
                <a:lnTo>
                  <a:pt x="1214" y="901"/>
                </a:lnTo>
                <a:lnTo>
                  <a:pt x="1217" y="898"/>
                </a:lnTo>
                <a:lnTo>
                  <a:pt x="1218" y="896"/>
                </a:lnTo>
                <a:lnTo>
                  <a:pt x="1222" y="892"/>
                </a:lnTo>
                <a:lnTo>
                  <a:pt x="1223" y="890"/>
                </a:lnTo>
                <a:lnTo>
                  <a:pt x="1229" y="886"/>
                </a:lnTo>
                <a:lnTo>
                  <a:pt x="1231" y="881"/>
                </a:lnTo>
                <a:lnTo>
                  <a:pt x="1229" y="878"/>
                </a:lnTo>
                <a:lnTo>
                  <a:pt x="1231" y="876"/>
                </a:lnTo>
                <a:lnTo>
                  <a:pt x="1232" y="875"/>
                </a:lnTo>
                <a:lnTo>
                  <a:pt x="1234" y="873"/>
                </a:lnTo>
                <a:lnTo>
                  <a:pt x="1235" y="875"/>
                </a:lnTo>
                <a:lnTo>
                  <a:pt x="1235" y="876"/>
                </a:lnTo>
                <a:lnTo>
                  <a:pt x="1237" y="878"/>
                </a:lnTo>
                <a:lnTo>
                  <a:pt x="1243" y="875"/>
                </a:lnTo>
                <a:lnTo>
                  <a:pt x="1244" y="875"/>
                </a:lnTo>
                <a:lnTo>
                  <a:pt x="1244" y="873"/>
                </a:lnTo>
                <a:lnTo>
                  <a:pt x="1244" y="872"/>
                </a:lnTo>
                <a:lnTo>
                  <a:pt x="1243" y="867"/>
                </a:lnTo>
                <a:lnTo>
                  <a:pt x="1240" y="865"/>
                </a:lnTo>
                <a:lnTo>
                  <a:pt x="1232" y="864"/>
                </a:lnTo>
                <a:lnTo>
                  <a:pt x="1225" y="859"/>
                </a:lnTo>
                <a:lnTo>
                  <a:pt x="1223" y="858"/>
                </a:lnTo>
                <a:lnTo>
                  <a:pt x="1222" y="856"/>
                </a:lnTo>
                <a:lnTo>
                  <a:pt x="1220" y="852"/>
                </a:lnTo>
                <a:lnTo>
                  <a:pt x="1218" y="850"/>
                </a:lnTo>
                <a:lnTo>
                  <a:pt x="1215" y="849"/>
                </a:lnTo>
                <a:lnTo>
                  <a:pt x="1206" y="843"/>
                </a:lnTo>
                <a:lnTo>
                  <a:pt x="1204" y="841"/>
                </a:lnTo>
                <a:lnTo>
                  <a:pt x="1203" y="841"/>
                </a:lnTo>
                <a:lnTo>
                  <a:pt x="1201" y="843"/>
                </a:lnTo>
                <a:lnTo>
                  <a:pt x="1198" y="843"/>
                </a:lnTo>
                <a:lnTo>
                  <a:pt x="1197" y="841"/>
                </a:lnTo>
                <a:lnTo>
                  <a:pt x="1194" y="839"/>
                </a:lnTo>
                <a:lnTo>
                  <a:pt x="1189" y="838"/>
                </a:lnTo>
                <a:lnTo>
                  <a:pt x="1180" y="832"/>
                </a:lnTo>
                <a:lnTo>
                  <a:pt x="1172" y="829"/>
                </a:lnTo>
                <a:lnTo>
                  <a:pt x="1169" y="829"/>
                </a:lnTo>
                <a:lnTo>
                  <a:pt x="1166" y="830"/>
                </a:lnTo>
                <a:lnTo>
                  <a:pt x="1166" y="827"/>
                </a:lnTo>
                <a:lnTo>
                  <a:pt x="1167" y="825"/>
                </a:lnTo>
                <a:lnTo>
                  <a:pt x="1167" y="824"/>
                </a:lnTo>
                <a:lnTo>
                  <a:pt x="1167" y="821"/>
                </a:lnTo>
                <a:lnTo>
                  <a:pt x="1166" y="819"/>
                </a:lnTo>
                <a:lnTo>
                  <a:pt x="1166" y="818"/>
                </a:lnTo>
                <a:lnTo>
                  <a:pt x="1164" y="816"/>
                </a:lnTo>
                <a:lnTo>
                  <a:pt x="1164" y="815"/>
                </a:lnTo>
                <a:lnTo>
                  <a:pt x="1166" y="815"/>
                </a:lnTo>
                <a:lnTo>
                  <a:pt x="1167" y="815"/>
                </a:lnTo>
                <a:lnTo>
                  <a:pt x="1167" y="813"/>
                </a:lnTo>
                <a:lnTo>
                  <a:pt x="1171" y="809"/>
                </a:lnTo>
                <a:lnTo>
                  <a:pt x="1171" y="807"/>
                </a:lnTo>
                <a:lnTo>
                  <a:pt x="1167" y="806"/>
                </a:lnTo>
                <a:lnTo>
                  <a:pt x="1164" y="801"/>
                </a:lnTo>
                <a:lnTo>
                  <a:pt x="1163" y="799"/>
                </a:lnTo>
                <a:lnTo>
                  <a:pt x="1161" y="799"/>
                </a:lnTo>
                <a:lnTo>
                  <a:pt x="1158" y="802"/>
                </a:lnTo>
                <a:lnTo>
                  <a:pt x="1157" y="802"/>
                </a:lnTo>
                <a:lnTo>
                  <a:pt x="1154" y="801"/>
                </a:lnTo>
                <a:lnTo>
                  <a:pt x="1152" y="798"/>
                </a:lnTo>
                <a:lnTo>
                  <a:pt x="1151" y="795"/>
                </a:lnTo>
                <a:lnTo>
                  <a:pt x="1149" y="793"/>
                </a:lnTo>
                <a:lnTo>
                  <a:pt x="1141" y="790"/>
                </a:lnTo>
                <a:lnTo>
                  <a:pt x="1140" y="788"/>
                </a:lnTo>
                <a:lnTo>
                  <a:pt x="1138" y="788"/>
                </a:lnTo>
                <a:lnTo>
                  <a:pt x="1137" y="785"/>
                </a:lnTo>
                <a:lnTo>
                  <a:pt x="1135" y="781"/>
                </a:lnTo>
                <a:lnTo>
                  <a:pt x="1134" y="779"/>
                </a:lnTo>
                <a:lnTo>
                  <a:pt x="1132" y="779"/>
                </a:lnTo>
                <a:lnTo>
                  <a:pt x="1124" y="776"/>
                </a:lnTo>
                <a:lnTo>
                  <a:pt x="1123" y="776"/>
                </a:lnTo>
                <a:lnTo>
                  <a:pt x="1118" y="778"/>
                </a:lnTo>
                <a:lnTo>
                  <a:pt x="1114" y="778"/>
                </a:lnTo>
                <a:lnTo>
                  <a:pt x="1112" y="779"/>
                </a:lnTo>
                <a:lnTo>
                  <a:pt x="1109" y="781"/>
                </a:lnTo>
                <a:lnTo>
                  <a:pt x="1108" y="782"/>
                </a:lnTo>
                <a:lnTo>
                  <a:pt x="1106" y="781"/>
                </a:lnTo>
                <a:lnTo>
                  <a:pt x="1104" y="781"/>
                </a:lnTo>
                <a:lnTo>
                  <a:pt x="1103" y="779"/>
                </a:lnTo>
                <a:lnTo>
                  <a:pt x="1101" y="778"/>
                </a:lnTo>
                <a:lnTo>
                  <a:pt x="1100" y="776"/>
                </a:lnTo>
                <a:lnTo>
                  <a:pt x="1098" y="775"/>
                </a:lnTo>
                <a:lnTo>
                  <a:pt x="1098" y="773"/>
                </a:lnTo>
                <a:lnTo>
                  <a:pt x="1097" y="772"/>
                </a:lnTo>
                <a:lnTo>
                  <a:pt x="1095" y="772"/>
                </a:lnTo>
                <a:lnTo>
                  <a:pt x="1093" y="772"/>
                </a:lnTo>
                <a:lnTo>
                  <a:pt x="1092" y="772"/>
                </a:lnTo>
                <a:lnTo>
                  <a:pt x="1090" y="772"/>
                </a:lnTo>
                <a:lnTo>
                  <a:pt x="1089" y="770"/>
                </a:lnTo>
                <a:lnTo>
                  <a:pt x="1089" y="765"/>
                </a:lnTo>
                <a:lnTo>
                  <a:pt x="1089" y="764"/>
                </a:lnTo>
                <a:lnTo>
                  <a:pt x="1087" y="762"/>
                </a:lnTo>
                <a:lnTo>
                  <a:pt x="1084" y="761"/>
                </a:lnTo>
                <a:lnTo>
                  <a:pt x="1083" y="759"/>
                </a:lnTo>
                <a:lnTo>
                  <a:pt x="1080" y="758"/>
                </a:lnTo>
                <a:lnTo>
                  <a:pt x="1078" y="756"/>
                </a:lnTo>
                <a:lnTo>
                  <a:pt x="1078" y="755"/>
                </a:lnTo>
                <a:lnTo>
                  <a:pt x="1078" y="753"/>
                </a:lnTo>
                <a:lnTo>
                  <a:pt x="1078" y="750"/>
                </a:lnTo>
                <a:lnTo>
                  <a:pt x="1077" y="747"/>
                </a:lnTo>
                <a:lnTo>
                  <a:pt x="1075" y="747"/>
                </a:lnTo>
                <a:lnTo>
                  <a:pt x="1074" y="745"/>
                </a:lnTo>
                <a:lnTo>
                  <a:pt x="1072" y="744"/>
                </a:lnTo>
                <a:lnTo>
                  <a:pt x="1072" y="742"/>
                </a:lnTo>
                <a:lnTo>
                  <a:pt x="1072" y="741"/>
                </a:lnTo>
                <a:lnTo>
                  <a:pt x="1072" y="739"/>
                </a:lnTo>
                <a:lnTo>
                  <a:pt x="1071" y="738"/>
                </a:lnTo>
                <a:lnTo>
                  <a:pt x="1071" y="736"/>
                </a:lnTo>
                <a:lnTo>
                  <a:pt x="1071" y="735"/>
                </a:lnTo>
                <a:lnTo>
                  <a:pt x="1071" y="733"/>
                </a:lnTo>
                <a:lnTo>
                  <a:pt x="1071" y="732"/>
                </a:lnTo>
                <a:lnTo>
                  <a:pt x="1069" y="732"/>
                </a:lnTo>
                <a:lnTo>
                  <a:pt x="1067" y="732"/>
                </a:lnTo>
                <a:lnTo>
                  <a:pt x="1067" y="730"/>
                </a:lnTo>
                <a:lnTo>
                  <a:pt x="1066" y="728"/>
                </a:lnTo>
                <a:lnTo>
                  <a:pt x="1066" y="727"/>
                </a:lnTo>
                <a:lnTo>
                  <a:pt x="1064" y="725"/>
                </a:lnTo>
                <a:lnTo>
                  <a:pt x="1061" y="722"/>
                </a:lnTo>
                <a:lnTo>
                  <a:pt x="1058" y="721"/>
                </a:lnTo>
                <a:lnTo>
                  <a:pt x="1058" y="719"/>
                </a:lnTo>
                <a:lnTo>
                  <a:pt x="1052" y="721"/>
                </a:lnTo>
                <a:lnTo>
                  <a:pt x="1050" y="725"/>
                </a:lnTo>
                <a:lnTo>
                  <a:pt x="1050" y="732"/>
                </a:lnTo>
                <a:lnTo>
                  <a:pt x="1049" y="733"/>
                </a:lnTo>
                <a:lnTo>
                  <a:pt x="1047" y="733"/>
                </a:lnTo>
                <a:lnTo>
                  <a:pt x="1044" y="730"/>
                </a:lnTo>
                <a:lnTo>
                  <a:pt x="1043" y="730"/>
                </a:lnTo>
                <a:lnTo>
                  <a:pt x="1041" y="733"/>
                </a:lnTo>
                <a:lnTo>
                  <a:pt x="1041" y="735"/>
                </a:lnTo>
                <a:lnTo>
                  <a:pt x="1040" y="736"/>
                </a:lnTo>
                <a:lnTo>
                  <a:pt x="1038" y="738"/>
                </a:lnTo>
                <a:lnTo>
                  <a:pt x="1037" y="738"/>
                </a:lnTo>
                <a:lnTo>
                  <a:pt x="1034" y="738"/>
                </a:lnTo>
                <a:lnTo>
                  <a:pt x="1032" y="738"/>
                </a:lnTo>
                <a:lnTo>
                  <a:pt x="1030" y="738"/>
                </a:lnTo>
                <a:lnTo>
                  <a:pt x="1027" y="736"/>
                </a:lnTo>
                <a:lnTo>
                  <a:pt x="1027" y="735"/>
                </a:lnTo>
                <a:lnTo>
                  <a:pt x="1026" y="735"/>
                </a:lnTo>
                <a:lnTo>
                  <a:pt x="1026" y="732"/>
                </a:lnTo>
                <a:lnTo>
                  <a:pt x="1027" y="727"/>
                </a:lnTo>
                <a:lnTo>
                  <a:pt x="1027" y="722"/>
                </a:lnTo>
                <a:lnTo>
                  <a:pt x="1029" y="718"/>
                </a:lnTo>
                <a:lnTo>
                  <a:pt x="1026" y="714"/>
                </a:lnTo>
                <a:lnTo>
                  <a:pt x="1021" y="713"/>
                </a:lnTo>
                <a:lnTo>
                  <a:pt x="1023" y="710"/>
                </a:lnTo>
                <a:lnTo>
                  <a:pt x="1032" y="701"/>
                </a:lnTo>
                <a:lnTo>
                  <a:pt x="1034" y="699"/>
                </a:lnTo>
                <a:lnTo>
                  <a:pt x="1034" y="698"/>
                </a:lnTo>
                <a:lnTo>
                  <a:pt x="1032" y="695"/>
                </a:lnTo>
                <a:lnTo>
                  <a:pt x="1027" y="690"/>
                </a:lnTo>
                <a:lnTo>
                  <a:pt x="1026" y="690"/>
                </a:lnTo>
                <a:lnTo>
                  <a:pt x="1024" y="688"/>
                </a:lnTo>
                <a:lnTo>
                  <a:pt x="1023" y="685"/>
                </a:lnTo>
                <a:lnTo>
                  <a:pt x="1023" y="684"/>
                </a:lnTo>
                <a:lnTo>
                  <a:pt x="1021" y="684"/>
                </a:lnTo>
                <a:lnTo>
                  <a:pt x="1021" y="682"/>
                </a:lnTo>
                <a:lnTo>
                  <a:pt x="1021" y="681"/>
                </a:lnTo>
                <a:lnTo>
                  <a:pt x="1021" y="679"/>
                </a:lnTo>
                <a:lnTo>
                  <a:pt x="1020" y="678"/>
                </a:lnTo>
                <a:lnTo>
                  <a:pt x="1020" y="675"/>
                </a:lnTo>
                <a:lnTo>
                  <a:pt x="1023" y="670"/>
                </a:lnTo>
                <a:lnTo>
                  <a:pt x="1023" y="669"/>
                </a:lnTo>
                <a:lnTo>
                  <a:pt x="1024" y="662"/>
                </a:lnTo>
                <a:lnTo>
                  <a:pt x="1024" y="661"/>
                </a:lnTo>
                <a:lnTo>
                  <a:pt x="1026" y="655"/>
                </a:lnTo>
                <a:lnTo>
                  <a:pt x="1026" y="653"/>
                </a:lnTo>
                <a:lnTo>
                  <a:pt x="1026" y="650"/>
                </a:lnTo>
                <a:lnTo>
                  <a:pt x="1024" y="648"/>
                </a:lnTo>
                <a:lnTo>
                  <a:pt x="1020" y="645"/>
                </a:lnTo>
                <a:lnTo>
                  <a:pt x="1016" y="644"/>
                </a:lnTo>
                <a:lnTo>
                  <a:pt x="1007" y="628"/>
                </a:lnTo>
                <a:lnTo>
                  <a:pt x="1006" y="625"/>
                </a:lnTo>
                <a:lnTo>
                  <a:pt x="1004" y="622"/>
                </a:lnTo>
                <a:lnTo>
                  <a:pt x="1001" y="619"/>
                </a:lnTo>
                <a:lnTo>
                  <a:pt x="1000" y="619"/>
                </a:lnTo>
                <a:lnTo>
                  <a:pt x="998" y="619"/>
                </a:lnTo>
                <a:lnTo>
                  <a:pt x="998" y="618"/>
                </a:lnTo>
                <a:lnTo>
                  <a:pt x="1000" y="614"/>
                </a:lnTo>
                <a:lnTo>
                  <a:pt x="1000" y="613"/>
                </a:lnTo>
                <a:lnTo>
                  <a:pt x="997" y="601"/>
                </a:lnTo>
                <a:lnTo>
                  <a:pt x="997" y="599"/>
                </a:lnTo>
                <a:lnTo>
                  <a:pt x="997" y="598"/>
                </a:lnTo>
                <a:lnTo>
                  <a:pt x="997" y="596"/>
                </a:lnTo>
                <a:lnTo>
                  <a:pt x="998" y="596"/>
                </a:lnTo>
                <a:lnTo>
                  <a:pt x="998" y="595"/>
                </a:lnTo>
                <a:lnTo>
                  <a:pt x="994" y="587"/>
                </a:lnTo>
                <a:lnTo>
                  <a:pt x="992" y="581"/>
                </a:lnTo>
                <a:lnTo>
                  <a:pt x="992" y="579"/>
                </a:lnTo>
                <a:lnTo>
                  <a:pt x="994" y="577"/>
                </a:lnTo>
                <a:lnTo>
                  <a:pt x="998" y="576"/>
                </a:lnTo>
                <a:lnTo>
                  <a:pt x="1012" y="576"/>
                </a:lnTo>
                <a:lnTo>
                  <a:pt x="1015" y="574"/>
                </a:lnTo>
                <a:lnTo>
                  <a:pt x="1016" y="573"/>
                </a:lnTo>
                <a:lnTo>
                  <a:pt x="1018" y="571"/>
                </a:lnTo>
                <a:lnTo>
                  <a:pt x="1021" y="568"/>
                </a:lnTo>
                <a:lnTo>
                  <a:pt x="1024" y="567"/>
                </a:lnTo>
                <a:lnTo>
                  <a:pt x="1026" y="568"/>
                </a:lnTo>
                <a:lnTo>
                  <a:pt x="1027" y="570"/>
                </a:lnTo>
                <a:lnTo>
                  <a:pt x="1027" y="573"/>
                </a:lnTo>
                <a:lnTo>
                  <a:pt x="1026" y="574"/>
                </a:lnTo>
                <a:lnTo>
                  <a:pt x="1026" y="577"/>
                </a:lnTo>
                <a:lnTo>
                  <a:pt x="1026" y="579"/>
                </a:lnTo>
                <a:lnTo>
                  <a:pt x="1027" y="585"/>
                </a:lnTo>
                <a:lnTo>
                  <a:pt x="1029" y="590"/>
                </a:lnTo>
                <a:lnTo>
                  <a:pt x="1037" y="598"/>
                </a:lnTo>
                <a:lnTo>
                  <a:pt x="1040" y="601"/>
                </a:lnTo>
                <a:lnTo>
                  <a:pt x="1043" y="604"/>
                </a:lnTo>
                <a:lnTo>
                  <a:pt x="1046" y="604"/>
                </a:lnTo>
                <a:lnTo>
                  <a:pt x="1049" y="602"/>
                </a:lnTo>
                <a:lnTo>
                  <a:pt x="1050" y="602"/>
                </a:lnTo>
                <a:lnTo>
                  <a:pt x="1052" y="601"/>
                </a:lnTo>
                <a:lnTo>
                  <a:pt x="1053" y="601"/>
                </a:lnTo>
                <a:lnTo>
                  <a:pt x="1055" y="601"/>
                </a:lnTo>
                <a:lnTo>
                  <a:pt x="1058" y="601"/>
                </a:lnTo>
                <a:lnTo>
                  <a:pt x="1060" y="599"/>
                </a:lnTo>
                <a:lnTo>
                  <a:pt x="1061" y="592"/>
                </a:lnTo>
                <a:lnTo>
                  <a:pt x="1063" y="588"/>
                </a:lnTo>
                <a:lnTo>
                  <a:pt x="1064" y="587"/>
                </a:lnTo>
                <a:lnTo>
                  <a:pt x="1067" y="585"/>
                </a:lnTo>
                <a:lnTo>
                  <a:pt x="1071" y="584"/>
                </a:lnTo>
                <a:lnTo>
                  <a:pt x="1072" y="584"/>
                </a:lnTo>
                <a:lnTo>
                  <a:pt x="1074" y="584"/>
                </a:lnTo>
                <a:lnTo>
                  <a:pt x="1077" y="585"/>
                </a:lnTo>
                <a:lnTo>
                  <a:pt x="1078" y="585"/>
                </a:lnTo>
                <a:lnTo>
                  <a:pt x="1080" y="585"/>
                </a:lnTo>
                <a:lnTo>
                  <a:pt x="1084" y="581"/>
                </a:lnTo>
                <a:lnTo>
                  <a:pt x="1093" y="571"/>
                </a:lnTo>
                <a:lnTo>
                  <a:pt x="1097" y="567"/>
                </a:lnTo>
                <a:lnTo>
                  <a:pt x="1100" y="562"/>
                </a:lnTo>
                <a:lnTo>
                  <a:pt x="1100" y="558"/>
                </a:lnTo>
                <a:lnTo>
                  <a:pt x="1100" y="553"/>
                </a:lnTo>
                <a:lnTo>
                  <a:pt x="1097" y="550"/>
                </a:lnTo>
                <a:lnTo>
                  <a:pt x="1095" y="547"/>
                </a:lnTo>
                <a:lnTo>
                  <a:pt x="1093" y="544"/>
                </a:lnTo>
                <a:lnTo>
                  <a:pt x="1093" y="539"/>
                </a:lnTo>
                <a:lnTo>
                  <a:pt x="1090" y="536"/>
                </a:lnTo>
                <a:lnTo>
                  <a:pt x="1086" y="530"/>
                </a:lnTo>
                <a:lnTo>
                  <a:pt x="1084" y="527"/>
                </a:lnTo>
                <a:lnTo>
                  <a:pt x="1083" y="522"/>
                </a:lnTo>
                <a:lnTo>
                  <a:pt x="1084" y="519"/>
                </a:lnTo>
                <a:lnTo>
                  <a:pt x="1084" y="513"/>
                </a:lnTo>
                <a:lnTo>
                  <a:pt x="1086" y="510"/>
                </a:lnTo>
                <a:lnTo>
                  <a:pt x="1087" y="507"/>
                </a:lnTo>
                <a:lnTo>
                  <a:pt x="1089" y="505"/>
                </a:lnTo>
                <a:lnTo>
                  <a:pt x="1087" y="500"/>
                </a:lnTo>
                <a:lnTo>
                  <a:pt x="1084" y="499"/>
                </a:lnTo>
                <a:lnTo>
                  <a:pt x="1083" y="496"/>
                </a:lnTo>
                <a:lnTo>
                  <a:pt x="1080" y="493"/>
                </a:lnTo>
                <a:lnTo>
                  <a:pt x="1078" y="491"/>
                </a:lnTo>
                <a:lnTo>
                  <a:pt x="1075" y="488"/>
                </a:lnTo>
                <a:lnTo>
                  <a:pt x="1067" y="487"/>
                </a:lnTo>
                <a:lnTo>
                  <a:pt x="1064" y="487"/>
                </a:lnTo>
                <a:lnTo>
                  <a:pt x="1057" y="479"/>
                </a:lnTo>
                <a:lnTo>
                  <a:pt x="1055" y="476"/>
                </a:lnTo>
                <a:lnTo>
                  <a:pt x="1052" y="467"/>
                </a:lnTo>
                <a:lnTo>
                  <a:pt x="1052" y="460"/>
                </a:lnTo>
                <a:lnTo>
                  <a:pt x="1055" y="453"/>
                </a:lnTo>
                <a:lnTo>
                  <a:pt x="1052" y="447"/>
                </a:lnTo>
                <a:lnTo>
                  <a:pt x="1053" y="442"/>
                </a:lnTo>
                <a:lnTo>
                  <a:pt x="1058" y="440"/>
                </a:lnTo>
                <a:lnTo>
                  <a:pt x="1060" y="439"/>
                </a:lnTo>
                <a:lnTo>
                  <a:pt x="1063" y="434"/>
                </a:lnTo>
                <a:lnTo>
                  <a:pt x="1061" y="426"/>
                </a:lnTo>
                <a:lnTo>
                  <a:pt x="1058" y="420"/>
                </a:lnTo>
                <a:lnTo>
                  <a:pt x="1057" y="417"/>
                </a:lnTo>
                <a:lnTo>
                  <a:pt x="1050" y="410"/>
                </a:lnTo>
                <a:lnTo>
                  <a:pt x="1049" y="407"/>
                </a:lnTo>
                <a:lnTo>
                  <a:pt x="1049" y="400"/>
                </a:lnTo>
                <a:lnTo>
                  <a:pt x="1052" y="394"/>
                </a:lnTo>
                <a:lnTo>
                  <a:pt x="1055" y="393"/>
                </a:lnTo>
                <a:lnTo>
                  <a:pt x="1066" y="391"/>
                </a:lnTo>
                <a:lnTo>
                  <a:pt x="1069" y="391"/>
                </a:lnTo>
                <a:lnTo>
                  <a:pt x="1074" y="391"/>
                </a:lnTo>
                <a:lnTo>
                  <a:pt x="1081" y="388"/>
                </a:lnTo>
                <a:lnTo>
                  <a:pt x="1086" y="388"/>
                </a:lnTo>
                <a:lnTo>
                  <a:pt x="1092" y="388"/>
                </a:lnTo>
                <a:lnTo>
                  <a:pt x="1100" y="387"/>
                </a:lnTo>
                <a:lnTo>
                  <a:pt x="1100" y="384"/>
                </a:lnTo>
                <a:lnTo>
                  <a:pt x="1103" y="380"/>
                </a:lnTo>
                <a:lnTo>
                  <a:pt x="1103" y="377"/>
                </a:lnTo>
                <a:lnTo>
                  <a:pt x="1104" y="376"/>
                </a:lnTo>
                <a:lnTo>
                  <a:pt x="1109" y="371"/>
                </a:lnTo>
                <a:lnTo>
                  <a:pt x="1109" y="368"/>
                </a:lnTo>
                <a:lnTo>
                  <a:pt x="1111" y="360"/>
                </a:lnTo>
                <a:lnTo>
                  <a:pt x="1118" y="354"/>
                </a:lnTo>
                <a:lnTo>
                  <a:pt x="1117" y="350"/>
                </a:lnTo>
                <a:lnTo>
                  <a:pt x="1114" y="342"/>
                </a:lnTo>
                <a:lnTo>
                  <a:pt x="1117" y="337"/>
                </a:lnTo>
                <a:lnTo>
                  <a:pt x="1120" y="337"/>
                </a:lnTo>
                <a:lnTo>
                  <a:pt x="1123" y="336"/>
                </a:lnTo>
                <a:lnTo>
                  <a:pt x="1129" y="334"/>
                </a:lnTo>
                <a:lnTo>
                  <a:pt x="1132" y="333"/>
                </a:lnTo>
                <a:lnTo>
                  <a:pt x="1135" y="330"/>
                </a:lnTo>
                <a:lnTo>
                  <a:pt x="1137" y="325"/>
                </a:lnTo>
                <a:lnTo>
                  <a:pt x="1140" y="317"/>
                </a:lnTo>
                <a:lnTo>
                  <a:pt x="1143" y="313"/>
                </a:lnTo>
                <a:lnTo>
                  <a:pt x="1151" y="311"/>
                </a:lnTo>
                <a:lnTo>
                  <a:pt x="1157" y="310"/>
                </a:lnTo>
                <a:lnTo>
                  <a:pt x="1163" y="308"/>
                </a:lnTo>
                <a:lnTo>
                  <a:pt x="1163" y="303"/>
                </a:lnTo>
                <a:lnTo>
                  <a:pt x="1163" y="300"/>
                </a:lnTo>
                <a:lnTo>
                  <a:pt x="1166" y="296"/>
                </a:lnTo>
                <a:lnTo>
                  <a:pt x="1171" y="293"/>
                </a:lnTo>
                <a:lnTo>
                  <a:pt x="1172" y="285"/>
                </a:lnTo>
                <a:lnTo>
                  <a:pt x="1172" y="280"/>
                </a:lnTo>
                <a:lnTo>
                  <a:pt x="1177" y="273"/>
                </a:lnTo>
                <a:lnTo>
                  <a:pt x="1178" y="265"/>
                </a:lnTo>
                <a:lnTo>
                  <a:pt x="1178" y="259"/>
                </a:lnTo>
                <a:lnTo>
                  <a:pt x="1178" y="256"/>
                </a:lnTo>
                <a:lnTo>
                  <a:pt x="1180" y="249"/>
                </a:lnTo>
                <a:lnTo>
                  <a:pt x="1185" y="246"/>
                </a:lnTo>
                <a:lnTo>
                  <a:pt x="1186" y="245"/>
                </a:lnTo>
                <a:lnTo>
                  <a:pt x="1188" y="237"/>
                </a:lnTo>
                <a:lnTo>
                  <a:pt x="1189" y="233"/>
                </a:lnTo>
                <a:lnTo>
                  <a:pt x="1191" y="230"/>
                </a:lnTo>
                <a:lnTo>
                  <a:pt x="1194" y="223"/>
                </a:lnTo>
                <a:lnTo>
                  <a:pt x="1194" y="220"/>
                </a:lnTo>
                <a:lnTo>
                  <a:pt x="1194" y="212"/>
                </a:lnTo>
                <a:lnTo>
                  <a:pt x="1191" y="206"/>
                </a:lnTo>
                <a:lnTo>
                  <a:pt x="1191" y="203"/>
                </a:lnTo>
                <a:lnTo>
                  <a:pt x="1183" y="202"/>
                </a:lnTo>
                <a:lnTo>
                  <a:pt x="1180" y="203"/>
                </a:lnTo>
                <a:lnTo>
                  <a:pt x="1177" y="208"/>
                </a:lnTo>
                <a:lnTo>
                  <a:pt x="1177" y="211"/>
                </a:lnTo>
                <a:lnTo>
                  <a:pt x="1171" y="212"/>
                </a:lnTo>
                <a:lnTo>
                  <a:pt x="1166" y="211"/>
                </a:lnTo>
                <a:lnTo>
                  <a:pt x="1163" y="205"/>
                </a:lnTo>
                <a:lnTo>
                  <a:pt x="1161" y="194"/>
                </a:lnTo>
                <a:lnTo>
                  <a:pt x="1160" y="194"/>
                </a:lnTo>
                <a:lnTo>
                  <a:pt x="1155" y="191"/>
                </a:lnTo>
                <a:lnTo>
                  <a:pt x="1148" y="188"/>
                </a:lnTo>
                <a:lnTo>
                  <a:pt x="1144" y="185"/>
                </a:lnTo>
                <a:lnTo>
                  <a:pt x="1140" y="183"/>
                </a:lnTo>
                <a:lnTo>
                  <a:pt x="1137" y="180"/>
                </a:lnTo>
                <a:lnTo>
                  <a:pt x="1132" y="175"/>
                </a:lnTo>
                <a:lnTo>
                  <a:pt x="1121" y="168"/>
                </a:lnTo>
                <a:lnTo>
                  <a:pt x="1115" y="162"/>
                </a:lnTo>
                <a:lnTo>
                  <a:pt x="1109" y="154"/>
                </a:lnTo>
                <a:lnTo>
                  <a:pt x="1109" y="152"/>
                </a:lnTo>
                <a:lnTo>
                  <a:pt x="1100" y="145"/>
                </a:lnTo>
                <a:lnTo>
                  <a:pt x="1093" y="143"/>
                </a:lnTo>
                <a:lnTo>
                  <a:pt x="1089" y="142"/>
                </a:lnTo>
                <a:lnTo>
                  <a:pt x="1084" y="142"/>
                </a:lnTo>
                <a:lnTo>
                  <a:pt x="1075" y="143"/>
                </a:lnTo>
                <a:lnTo>
                  <a:pt x="1061" y="146"/>
                </a:lnTo>
                <a:lnTo>
                  <a:pt x="1049" y="148"/>
                </a:lnTo>
                <a:lnTo>
                  <a:pt x="1040" y="148"/>
                </a:lnTo>
                <a:lnTo>
                  <a:pt x="1027" y="156"/>
                </a:lnTo>
                <a:lnTo>
                  <a:pt x="1024" y="159"/>
                </a:lnTo>
                <a:lnTo>
                  <a:pt x="1016" y="168"/>
                </a:lnTo>
                <a:lnTo>
                  <a:pt x="1013" y="169"/>
                </a:lnTo>
                <a:lnTo>
                  <a:pt x="1012" y="171"/>
                </a:lnTo>
                <a:lnTo>
                  <a:pt x="1000" y="175"/>
                </a:lnTo>
                <a:lnTo>
                  <a:pt x="994" y="179"/>
                </a:lnTo>
                <a:lnTo>
                  <a:pt x="987" y="182"/>
                </a:lnTo>
                <a:lnTo>
                  <a:pt x="983" y="186"/>
                </a:lnTo>
                <a:lnTo>
                  <a:pt x="975" y="189"/>
                </a:lnTo>
                <a:lnTo>
                  <a:pt x="966" y="189"/>
                </a:lnTo>
                <a:lnTo>
                  <a:pt x="961" y="193"/>
                </a:lnTo>
                <a:lnTo>
                  <a:pt x="961" y="197"/>
                </a:lnTo>
                <a:lnTo>
                  <a:pt x="958" y="202"/>
                </a:lnTo>
                <a:lnTo>
                  <a:pt x="953" y="202"/>
                </a:lnTo>
                <a:lnTo>
                  <a:pt x="950" y="203"/>
                </a:lnTo>
                <a:lnTo>
                  <a:pt x="946" y="209"/>
                </a:lnTo>
                <a:lnTo>
                  <a:pt x="943" y="209"/>
                </a:lnTo>
                <a:lnTo>
                  <a:pt x="941" y="209"/>
                </a:lnTo>
                <a:lnTo>
                  <a:pt x="938" y="208"/>
                </a:lnTo>
                <a:lnTo>
                  <a:pt x="936" y="205"/>
                </a:lnTo>
                <a:lnTo>
                  <a:pt x="935" y="202"/>
                </a:lnTo>
                <a:lnTo>
                  <a:pt x="932" y="202"/>
                </a:lnTo>
                <a:lnTo>
                  <a:pt x="930" y="202"/>
                </a:lnTo>
                <a:lnTo>
                  <a:pt x="927" y="205"/>
                </a:lnTo>
                <a:lnTo>
                  <a:pt x="924" y="206"/>
                </a:lnTo>
                <a:lnTo>
                  <a:pt x="921" y="206"/>
                </a:lnTo>
                <a:lnTo>
                  <a:pt x="907" y="205"/>
                </a:lnTo>
                <a:lnTo>
                  <a:pt x="907" y="203"/>
                </a:lnTo>
                <a:lnTo>
                  <a:pt x="904" y="205"/>
                </a:lnTo>
                <a:lnTo>
                  <a:pt x="898" y="205"/>
                </a:lnTo>
                <a:lnTo>
                  <a:pt x="895" y="205"/>
                </a:lnTo>
                <a:lnTo>
                  <a:pt x="892" y="203"/>
                </a:lnTo>
                <a:lnTo>
                  <a:pt x="887" y="199"/>
                </a:lnTo>
                <a:lnTo>
                  <a:pt x="884" y="197"/>
                </a:lnTo>
                <a:lnTo>
                  <a:pt x="883" y="197"/>
                </a:lnTo>
                <a:lnTo>
                  <a:pt x="875" y="199"/>
                </a:lnTo>
                <a:lnTo>
                  <a:pt x="872" y="199"/>
                </a:lnTo>
                <a:lnTo>
                  <a:pt x="867" y="196"/>
                </a:lnTo>
                <a:lnTo>
                  <a:pt x="864" y="193"/>
                </a:lnTo>
                <a:lnTo>
                  <a:pt x="862" y="191"/>
                </a:lnTo>
                <a:lnTo>
                  <a:pt x="861" y="191"/>
                </a:lnTo>
                <a:lnTo>
                  <a:pt x="859" y="191"/>
                </a:lnTo>
                <a:lnTo>
                  <a:pt x="855" y="191"/>
                </a:lnTo>
                <a:lnTo>
                  <a:pt x="852" y="191"/>
                </a:lnTo>
                <a:lnTo>
                  <a:pt x="849" y="191"/>
                </a:lnTo>
                <a:lnTo>
                  <a:pt x="847" y="189"/>
                </a:lnTo>
                <a:lnTo>
                  <a:pt x="846" y="188"/>
                </a:lnTo>
                <a:lnTo>
                  <a:pt x="844" y="185"/>
                </a:lnTo>
                <a:lnTo>
                  <a:pt x="843" y="183"/>
                </a:lnTo>
                <a:lnTo>
                  <a:pt x="841" y="182"/>
                </a:lnTo>
                <a:lnTo>
                  <a:pt x="836" y="182"/>
                </a:lnTo>
                <a:lnTo>
                  <a:pt x="835" y="182"/>
                </a:lnTo>
                <a:lnTo>
                  <a:pt x="833" y="182"/>
                </a:lnTo>
                <a:lnTo>
                  <a:pt x="832" y="180"/>
                </a:lnTo>
                <a:lnTo>
                  <a:pt x="830" y="175"/>
                </a:lnTo>
                <a:lnTo>
                  <a:pt x="825" y="174"/>
                </a:lnTo>
                <a:lnTo>
                  <a:pt x="819" y="171"/>
                </a:lnTo>
                <a:lnTo>
                  <a:pt x="816" y="169"/>
                </a:lnTo>
                <a:lnTo>
                  <a:pt x="815" y="165"/>
                </a:lnTo>
                <a:lnTo>
                  <a:pt x="815" y="154"/>
                </a:lnTo>
                <a:lnTo>
                  <a:pt x="815" y="149"/>
                </a:lnTo>
                <a:lnTo>
                  <a:pt x="813" y="149"/>
                </a:lnTo>
                <a:lnTo>
                  <a:pt x="809" y="154"/>
                </a:lnTo>
                <a:lnTo>
                  <a:pt x="807" y="154"/>
                </a:lnTo>
                <a:lnTo>
                  <a:pt x="804" y="154"/>
                </a:lnTo>
                <a:lnTo>
                  <a:pt x="802" y="154"/>
                </a:lnTo>
                <a:lnTo>
                  <a:pt x="802" y="156"/>
                </a:lnTo>
                <a:lnTo>
                  <a:pt x="801" y="157"/>
                </a:lnTo>
                <a:lnTo>
                  <a:pt x="799" y="159"/>
                </a:lnTo>
                <a:lnTo>
                  <a:pt x="798" y="159"/>
                </a:lnTo>
                <a:lnTo>
                  <a:pt x="796" y="159"/>
                </a:lnTo>
                <a:lnTo>
                  <a:pt x="795" y="159"/>
                </a:lnTo>
                <a:lnTo>
                  <a:pt x="792" y="162"/>
                </a:lnTo>
                <a:lnTo>
                  <a:pt x="790" y="162"/>
                </a:lnTo>
                <a:lnTo>
                  <a:pt x="788" y="160"/>
                </a:lnTo>
                <a:lnTo>
                  <a:pt x="785" y="160"/>
                </a:lnTo>
                <a:lnTo>
                  <a:pt x="784" y="160"/>
                </a:lnTo>
                <a:lnTo>
                  <a:pt x="779" y="162"/>
                </a:lnTo>
                <a:lnTo>
                  <a:pt x="776" y="162"/>
                </a:lnTo>
                <a:lnTo>
                  <a:pt x="775" y="159"/>
                </a:lnTo>
                <a:lnTo>
                  <a:pt x="773" y="154"/>
                </a:lnTo>
                <a:lnTo>
                  <a:pt x="773" y="149"/>
                </a:lnTo>
                <a:lnTo>
                  <a:pt x="772" y="145"/>
                </a:lnTo>
                <a:lnTo>
                  <a:pt x="770" y="140"/>
                </a:lnTo>
                <a:lnTo>
                  <a:pt x="767" y="137"/>
                </a:lnTo>
                <a:lnTo>
                  <a:pt x="759" y="137"/>
                </a:lnTo>
                <a:lnTo>
                  <a:pt x="756" y="135"/>
                </a:lnTo>
                <a:lnTo>
                  <a:pt x="753" y="132"/>
                </a:lnTo>
                <a:lnTo>
                  <a:pt x="751" y="128"/>
                </a:lnTo>
                <a:lnTo>
                  <a:pt x="750" y="125"/>
                </a:lnTo>
                <a:lnTo>
                  <a:pt x="751" y="122"/>
                </a:lnTo>
                <a:lnTo>
                  <a:pt x="753" y="120"/>
                </a:lnTo>
                <a:lnTo>
                  <a:pt x="758" y="117"/>
                </a:lnTo>
                <a:lnTo>
                  <a:pt x="758" y="115"/>
                </a:lnTo>
                <a:lnTo>
                  <a:pt x="759" y="114"/>
                </a:lnTo>
                <a:lnTo>
                  <a:pt x="758" y="112"/>
                </a:lnTo>
                <a:lnTo>
                  <a:pt x="758" y="111"/>
                </a:lnTo>
                <a:lnTo>
                  <a:pt x="759" y="109"/>
                </a:lnTo>
                <a:lnTo>
                  <a:pt x="761" y="108"/>
                </a:lnTo>
                <a:lnTo>
                  <a:pt x="762" y="106"/>
                </a:lnTo>
                <a:lnTo>
                  <a:pt x="762" y="105"/>
                </a:lnTo>
                <a:lnTo>
                  <a:pt x="761" y="103"/>
                </a:lnTo>
                <a:lnTo>
                  <a:pt x="758" y="100"/>
                </a:lnTo>
                <a:lnTo>
                  <a:pt x="758" y="97"/>
                </a:lnTo>
                <a:lnTo>
                  <a:pt x="758" y="92"/>
                </a:lnTo>
                <a:lnTo>
                  <a:pt x="759" y="82"/>
                </a:lnTo>
                <a:lnTo>
                  <a:pt x="759" y="78"/>
                </a:lnTo>
                <a:lnTo>
                  <a:pt x="759" y="77"/>
                </a:lnTo>
                <a:lnTo>
                  <a:pt x="758" y="77"/>
                </a:lnTo>
                <a:lnTo>
                  <a:pt x="748" y="57"/>
                </a:lnTo>
                <a:lnTo>
                  <a:pt x="747" y="54"/>
                </a:lnTo>
                <a:lnTo>
                  <a:pt x="741" y="48"/>
                </a:lnTo>
                <a:lnTo>
                  <a:pt x="735" y="43"/>
                </a:lnTo>
                <a:lnTo>
                  <a:pt x="727" y="38"/>
                </a:lnTo>
                <a:lnTo>
                  <a:pt x="719" y="37"/>
                </a:lnTo>
                <a:lnTo>
                  <a:pt x="713" y="40"/>
                </a:lnTo>
                <a:lnTo>
                  <a:pt x="713" y="42"/>
                </a:lnTo>
                <a:lnTo>
                  <a:pt x="711" y="43"/>
                </a:lnTo>
                <a:lnTo>
                  <a:pt x="705" y="43"/>
                </a:lnTo>
                <a:lnTo>
                  <a:pt x="704" y="40"/>
                </a:lnTo>
                <a:lnTo>
                  <a:pt x="702" y="35"/>
                </a:lnTo>
                <a:lnTo>
                  <a:pt x="702" y="29"/>
                </a:lnTo>
                <a:lnTo>
                  <a:pt x="702" y="25"/>
                </a:lnTo>
                <a:lnTo>
                  <a:pt x="701" y="22"/>
                </a:lnTo>
                <a:lnTo>
                  <a:pt x="698" y="19"/>
                </a:lnTo>
                <a:lnTo>
                  <a:pt x="695" y="17"/>
                </a:lnTo>
                <a:lnTo>
                  <a:pt x="682" y="14"/>
                </a:lnTo>
                <a:lnTo>
                  <a:pt x="679" y="12"/>
                </a:lnTo>
                <a:lnTo>
                  <a:pt x="676" y="9"/>
                </a:lnTo>
                <a:lnTo>
                  <a:pt x="676" y="8"/>
                </a:lnTo>
                <a:lnTo>
                  <a:pt x="673" y="8"/>
                </a:lnTo>
                <a:lnTo>
                  <a:pt x="665" y="9"/>
                </a:lnTo>
                <a:lnTo>
                  <a:pt x="662" y="9"/>
                </a:lnTo>
                <a:lnTo>
                  <a:pt x="658" y="11"/>
                </a:lnTo>
                <a:lnTo>
                  <a:pt x="656" y="11"/>
                </a:lnTo>
                <a:lnTo>
                  <a:pt x="655" y="12"/>
                </a:lnTo>
                <a:lnTo>
                  <a:pt x="655" y="14"/>
                </a:lnTo>
                <a:lnTo>
                  <a:pt x="653" y="17"/>
                </a:lnTo>
                <a:lnTo>
                  <a:pt x="653" y="19"/>
                </a:lnTo>
                <a:lnTo>
                  <a:pt x="652" y="19"/>
                </a:lnTo>
                <a:lnTo>
                  <a:pt x="650" y="14"/>
                </a:lnTo>
                <a:lnTo>
                  <a:pt x="650" y="12"/>
                </a:lnTo>
                <a:lnTo>
                  <a:pt x="647" y="8"/>
                </a:lnTo>
                <a:lnTo>
                  <a:pt x="644" y="5"/>
                </a:lnTo>
                <a:lnTo>
                  <a:pt x="636" y="5"/>
                </a:lnTo>
                <a:lnTo>
                  <a:pt x="634" y="3"/>
                </a:lnTo>
                <a:lnTo>
                  <a:pt x="633" y="0"/>
                </a:lnTo>
                <a:lnTo>
                  <a:pt x="631" y="0"/>
                </a:lnTo>
                <a:lnTo>
                  <a:pt x="628" y="1"/>
                </a:lnTo>
                <a:lnTo>
                  <a:pt x="622" y="3"/>
                </a:lnTo>
                <a:lnTo>
                  <a:pt x="619" y="5"/>
                </a:lnTo>
                <a:lnTo>
                  <a:pt x="621" y="5"/>
                </a:lnTo>
                <a:lnTo>
                  <a:pt x="621" y="6"/>
                </a:lnTo>
                <a:lnTo>
                  <a:pt x="621" y="8"/>
                </a:lnTo>
                <a:lnTo>
                  <a:pt x="619" y="8"/>
                </a:lnTo>
                <a:lnTo>
                  <a:pt x="619" y="12"/>
                </a:lnTo>
                <a:lnTo>
                  <a:pt x="618" y="12"/>
                </a:lnTo>
                <a:lnTo>
                  <a:pt x="616" y="11"/>
                </a:lnTo>
                <a:lnTo>
                  <a:pt x="615" y="8"/>
                </a:lnTo>
                <a:lnTo>
                  <a:pt x="613" y="8"/>
                </a:lnTo>
                <a:lnTo>
                  <a:pt x="611" y="6"/>
                </a:lnTo>
                <a:lnTo>
                  <a:pt x="610" y="6"/>
                </a:lnTo>
                <a:lnTo>
                  <a:pt x="605" y="8"/>
                </a:lnTo>
                <a:lnTo>
                  <a:pt x="602" y="11"/>
                </a:lnTo>
                <a:lnTo>
                  <a:pt x="594" y="15"/>
                </a:lnTo>
                <a:lnTo>
                  <a:pt x="590" y="20"/>
                </a:lnTo>
                <a:lnTo>
                  <a:pt x="588" y="20"/>
                </a:lnTo>
                <a:lnTo>
                  <a:pt x="581" y="20"/>
                </a:lnTo>
                <a:lnTo>
                  <a:pt x="579" y="20"/>
                </a:lnTo>
                <a:lnTo>
                  <a:pt x="578" y="22"/>
                </a:lnTo>
                <a:lnTo>
                  <a:pt x="578" y="23"/>
                </a:lnTo>
                <a:lnTo>
                  <a:pt x="578" y="28"/>
                </a:lnTo>
                <a:lnTo>
                  <a:pt x="576" y="29"/>
                </a:lnTo>
                <a:lnTo>
                  <a:pt x="570" y="31"/>
                </a:lnTo>
                <a:lnTo>
                  <a:pt x="568" y="31"/>
                </a:lnTo>
                <a:lnTo>
                  <a:pt x="565" y="29"/>
                </a:lnTo>
                <a:lnTo>
                  <a:pt x="562" y="29"/>
                </a:lnTo>
                <a:lnTo>
                  <a:pt x="554" y="23"/>
                </a:lnTo>
                <a:lnTo>
                  <a:pt x="551" y="23"/>
                </a:lnTo>
                <a:lnTo>
                  <a:pt x="545" y="22"/>
                </a:lnTo>
                <a:lnTo>
                  <a:pt x="539" y="22"/>
                </a:lnTo>
                <a:lnTo>
                  <a:pt x="539" y="23"/>
                </a:lnTo>
                <a:lnTo>
                  <a:pt x="539" y="25"/>
                </a:lnTo>
                <a:lnTo>
                  <a:pt x="539" y="26"/>
                </a:lnTo>
                <a:lnTo>
                  <a:pt x="541" y="26"/>
                </a:lnTo>
                <a:lnTo>
                  <a:pt x="541" y="28"/>
                </a:lnTo>
                <a:lnTo>
                  <a:pt x="542" y="28"/>
                </a:lnTo>
                <a:lnTo>
                  <a:pt x="545" y="28"/>
                </a:lnTo>
                <a:lnTo>
                  <a:pt x="547" y="29"/>
                </a:lnTo>
                <a:lnTo>
                  <a:pt x="548" y="29"/>
                </a:lnTo>
                <a:lnTo>
                  <a:pt x="548" y="31"/>
                </a:lnTo>
                <a:lnTo>
                  <a:pt x="554" y="35"/>
                </a:lnTo>
                <a:lnTo>
                  <a:pt x="556" y="35"/>
                </a:lnTo>
                <a:lnTo>
                  <a:pt x="556" y="37"/>
                </a:lnTo>
                <a:lnTo>
                  <a:pt x="556" y="38"/>
                </a:lnTo>
                <a:lnTo>
                  <a:pt x="556" y="40"/>
                </a:lnTo>
                <a:lnTo>
                  <a:pt x="556" y="42"/>
                </a:lnTo>
                <a:lnTo>
                  <a:pt x="556" y="43"/>
                </a:lnTo>
                <a:lnTo>
                  <a:pt x="556" y="45"/>
                </a:lnTo>
                <a:lnTo>
                  <a:pt x="554" y="45"/>
                </a:lnTo>
                <a:lnTo>
                  <a:pt x="553" y="45"/>
                </a:lnTo>
                <a:lnTo>
                  <a:pt x="551" y="43"/>
                </a:lnTo>
                <a:lnTo>
                  <a:pt x="548" y="43"/>
                </a:lnTo>
                <a:lnTo>
                  <a:pt x="547" y="42"/>
                </a:lnTo>
                <a:lnTo>
                  <a:pt x="547" y="43"/>
                </a:lnTo>
                <a:lnTo>
                  <a:pt x="545" y="43"/>
                </a:lnTo>
                <a:lnTo>
                  <a:pt x="544" y="45"/>
                </a:lnTo>
                <a:lnTo>
                  <a:pt x="542" y="43"/>
                </a:lnTo>
                <a:lnTo>
                  <a:pt x="541" y="43"/>
                </a:lnTo>
                <a:lnTo>
                  <a:pt x="539" y="43"/>
                </a:lnTo>
                <a:lnTo>
                  <a:pt x="538" y="45"/>
                </a:lnTo>
                <a:lnTo>
                  <a:pt x="536" y="46"/>
                </a:lnTo>
                <a:lnTo>
                  <a:pt x="534" y="45"/>
                </a:lnTo>
                <a:lnTo>
                  <a:pt x="531" y="45"/>
                </a:lnTo>
                <a:lnTo>
                  <a:pt x="530" y="45"/>
                </a:lnTo>
                <a:lnTo>
                  <a:pt x="530" y="43"/>
                </a:lnTo>
                <a:lnTo>
                  <a:pt x="528" y="42"/>
                </a:lnTo>
                <a:lnTo>
                  <a:pt x="527" y="42"/>
                </a:lnTo>
                <a:lnTo>
                  <a:pt x="525" y="43"/>
                </a:lnTo>
                <a:lnTo>
                  <a:pt x="524" y="42"/>
                </a:lnTo>
                <a:lnTo>
                  <a:pt x="522" y="42"/>
                </a:lnTo>
                <a:lnTo>
                  <a:pt x="521" y="42"/>
                </a:lnTo>
                <a:lnTo>
                  <a:pt x="514" y="40"/>
                </a:lnTo>
                <a:lnTo>
                  <a:pt x="511" y="40"/>
                </a:lnTo>
                <a:lnTo>
                  <a:pt x="501" y="43"/>
                </a:lnTo>
                <a:lnTo>
                  <a:pt x="499" y="43"/>
                </a:lnTo>
                <a:lnTo>
                  <a:pt x="497" y="43"/>
                </a:lnTo>
                <a:lnTo>
                  <a:pt x="496" y="43"/>
                </a:lnTo>
                <a:lnTo>
                  <a:pt x="494" y="45"/>
                </a:lnTo>
                <a:lnTo>
                  <a:pt x="491" y="45"/>
                </a:lnTo>
                <a:lnTo>
                  <a:pt x="490" y="45"/>
                </a:lnTo>
                <a:lnTo>
                  <a:pt x="488" y="43"/>
                </a:lnTo>
                <a:lnTo>
                  <a:pt x="488" y="42"/>
                </a:lnTo>
                <a:lnTo>
                  <a:pt x="487" y="42"/>
                </a:lnTo>
                <a:lnTo>
                  <a:pt x="484" y="45"/>
                </a:lnTo>
                <a:lnTo>
                  <a:pt x="481" y="46"/>
                </a:lnTo>
                <a:lnTo>
                  <a:pt x="478" y="46"/>
                </a:lnTo>
                <a:lnTo>
                  <a:pt x="478" y="48"/>
                </a:lnTo>
                <a:lnTo>
                  <a:pt x="478" y="51"/>
                </a:lnTo>
                <a:lnTo>
                  <a:pt x="478" y="52"/>
                </a:lnTo>
                <a:lnTo>
                  <a:pt x="479" y="57"/>
                </a:lnTo>
                <a:lnTo>
                  <a:pt x="479" y="59"/>
                </a:lnTo>
                <a:lnTo>
                  <a:pt x="479" y="60"/>
                </a:lnTo>
                <a:lnTo>
                  <a:pt x="478" y="63"/>
                </a:lnTo>
                <a:lnTo>
                  <a:pt x="478" y="65"/>
                </a:lnTo>
                <a:lnTo>
                  <a:pt x="476" y="66"/>
                </a:lnTo>
                <a:lnTo>
                  <a:pt x="474" y="68"/>
                </a:lnTo>
                <a:lnTo>
                  <a:pt x="470" y="71"/>
                </a:lnTo>
                <a:lnTo>
                  <a:pt x="468" y="71"/>
                </a:lnTo>
                <a:lnTo>
                  <a:pt x="468" y="72"/>
                </a:lnTo>
                <a:lnTo>
                  <a:pt x="470" y="74"/>
                </a:lnTo>
                <a:lnTo>
                  <a:pt x="470" y="75"/>
                </a:lnTo>
                <a:lnTo>
                  <a:pt x="468" y="75"/>
                </a:lnTo>
                <a:lnTo>
                  <a:pt x="467" y="75"/>
                </a:lnTo>
                <a:lnTo>
                  <a:pt x="464" y="75"/>
                </a:lnTo>
                <a:lnTo>
                  <a:pt x="462" y="77"/>
                </a:lnTo>
                <a:lnTo>
                  <a:pt x="460" y="77"/>
                </a:lnTo>
                <a:lnTo>
                  <a:pt x="459" y="77"/>
                </a:lnTo>
                <a:lnTo>
                  <a:pt x="459" y="78"/>
                </a:lnTo>
                <a:lnTo>
                  <a:pt x="459" y="80"/>
                </a:lnTo>
                <a:lnTo>
                  <a:pt x="459" y="83"/>
                </a:lnTo>
                <a:lnTo>
                  <a:pt x="459" y="85"/>
                </a:lnTo>
                <a:lnTo>
                  <a:pt x="459" y="86"/>
                </a:lnTo>
                <a:lnTo>
                  <a:pt x="459" y="88"/>
                </a:lnTo>
                <a:lnTo>
                  <a:pt x="457" y="88"/>
                </a:lnTo>
                <a:lnTo>
                  <a:pt x="454" y="88"/>
                </a:lnTo>
                <a:lnTo>
                  <a:pt x="454" y="89"/>
                </a:lnTo>
                <a:lnTo>
                  <a:pt x="453" y="89"/>
                </a:lnTo>
                <a:lnTo>
                  <a:pt x="450" y="94"/>
                </a:lnTo>
                <a:lnTo>
                  <a:pt x="448" y="95"/>
                </a:lnTo>
                <a:lnTo>
                  <a:pt x="447" y="95"/>
                </a:lnTo>
                <a:lnTo>
                  <a:pt x="445" y="97"/>
                </a:lnTo>
                <a:lnTo>
                  <a:pt x="444" y="99"/>
                </a:lnTo>
                <a:lnTo>
                  <a:pt x="442" y="99"/>
                </a:lnTo>
                <a:lnTo>
                  <a:pt x="441" y="102"/>
                </a:lnTo>
                <a:lnTo>
                  <a:pt x="439" y="102"/>
                </a:lnTo>
                <a:lnTo>
                  <a:pt x="438" y="100"/>
                </a:lnTo>
                <a:lnTo>
                  <a:pt x="436" y="100"/>
                </a:lnTo>
                <a:lnTo>
                  <a:pt x="434" y="100"/>
                </a:lnTo>
                <a:lnTo>
                  <a:pt x="434" y="102"/>
                </a:lnTo>
                <a:lnTo>
                  <a:pt x="433" y="102"/>
                </a:lnTo>
                <a:lnTo>
                  <a:pt x="431" y="103"/>
                </a:lnTo>
                <a:lnTo>
                  <a:pt x="430" y="103"/>
                </a:lnTo>
                <a:lnTo>
                  <a:pt x="430" y="105"/>
                </a:lnTo>
                <a:lnTo>
                  <a:pt x="428" y="105"/>
                </a:lnTo>
                <a:lnTo>
                  <a:pt x="428" y="106"/>
                </a:lnTo>
                <a:lnTo>
                  <a:pt x="427" y="112"/>
                </a:lnTo>
                <a:lnTo>
                  <a:pt x="427" y="114"/>
                </a:lnTo>
                <a:lnTo>
                  <a:pt x="427" y="115"/>
                </a:lnTo>
                <a:lnTo>
                  <a:pt x="428" y="117"/>
                </a:lnTo>
                <a:lnTo>
                  <a:pt x="428" y="119"/>
                </a:lnTo>
                <a:lnTo>
                  <a:pt x="425" y="122"/>
                </a:lnTo>
                <a:lnTo>
                  <a:pt x="425" y="123"/>
                </a:lnTo>
                <a:lnTo>
                  <a:pt x="425" y="125"/>
                </a:lnTo>
                <a:lnTo>
                  <a:pt x="425" y="126"/>
                </a:lnTo>
                <a:lnTo>
                  <a:pt x="427" y="128"/>
                </a:lnTo>
                <a:lnTo>
                  <a:pt x="430" y="131"/>
                </a:lnTo>
                <a:lnTo>
                  <a:pt x="430" y="132"/>
                </a:lnTo>
                <a:lnTo>
                  <a:pt x="431" y="134"/>
                </a:lnTo>
                <a:lnTo>
                  <a:pt x="431" y="135"/>
                </a:lnTo>
                <a:lnTo>
                  <a:pt x="423" y="149"/>
                </a:lnTo>
                <a:lnTo>
                  <a:pt x="428" y="151"/>
                </a:lnTo>
                <a:lnTo>
                  <a:pt x="438" y="156"/>
                </a:lnTo>
                <a:lnTo>
                  <a:pt x="447" y="157"/>
                </a:lnTo>
                <a:lnTo>
                  <a:pt x="450" y="157"/>
                </a:lnTo>
                <a:lnTo>
                  <a:pt x="451" y="157"/>
                </a:lnTo>
                <a:lnTo>
                  <a:pt x="453" y="157"/>
                </a:lnTo>
                <a:lnTo>
                  <a:pt x="453" y="156"/>
                </a:lnTo>
                <a:lnTo>
                  <a:pt x="456" y="154"/>
                </a:lnTo>
                <a:lnTo>
                  <a:pt x="457" y="152"/>
                </a:lnTo>
                <a:lnTo>
                  <a:pt x="468" y="152"/>
                </a:lnTo>
                <a:lnTo>
                  <a:pt x="470" y="154"/>
                </a:lnTo>
                <a:lnTo>
                  <a:pt x="471" y="154"/>
                </a:lnTo>
                <a:lnTo>
                  <a:pt x="473" y="156"/>
                </a:lnTo>
                <a:lnTo>
                  <a:pt x="474" y="156"/>
                </a:lnTo>
                <a:lnTo>
                  <a:pt x="476" y="156"/>
                </a:lnTo>
                <a:lnTo>
                  <a:pt x="478" y="154"/>
                </a:lnTo>
                <a:lnTo>
                  <a:pt x="478" y="152"/>
                </a:lnTo>
                <a:lnTo>
                  <a:pt x="479" y="152"/>
                </a:lnTo>
                <a:lnTo>
                  <a:pt x="479" y="154"/>
                </a:lnTo>
                <a:lnTo>
                  <a:pt x="481" y="156"/>
                </a:lnTo>
                <a:lnTo>
                  <a:pt x="482" y="156"/>
                </a:lnTo>
                <a:lnTo>
                  <a:pt x="482" y="157"/>
                </a:lnTo>
                <a:lnTo>
                  <a:pt x="484" y="157"/>
                </a:lnTo>
                <a:lnTo>
                  <a:pt x="485" y="159"/>
                </a:lnTo>
                <a:lnTo>
                  <a:pt x="485" y="160"/>
                </a:lnTo>
                <a:lnTo>
                  <a:pt x="484" y="162"/>
                </a:lnTo>
                <a:lnTo>
                  <a:pt x="484" y="163"/>
                </a:lnTo>
                <a:lnTo>
                  <a:pt x="482" y="163"/>
                </a:lnTo>
                <a:lnTo>
                  <a:pt x="482" y="169"/>
                </a:lnTo>
                <a:lnTo>
                  <a:pt x="482" y="171"/>
                </a:lnTo>
                <a:lnTo>
                  <a:pt x="482" y="172"/>
                </a:lnTo>
                <a:lnTo>
                  <a:pt x="484" y="172"/>
                </a:lnTo>
                <a:lnTo>
                  <a:pt x="484" y="174"/>
                </a:lnTo>
                <a:lnTo>
                  <a:pt x="493" y="180"/>
                </a:lnTo>
                <a:lnTo>
                  <a:pt x="493" y="182"/>
                </a:lnTo>
                <a:lnTo>
                  <a:pt x="494" y="182"/>
                </a:lnTo>
                <a:lnTo>
                  <a:pt x="494" y="183"/>
                </a:lnTo>
                <a:lnTo>
                  <a:pt x="497" y="185"/>
                </a:lnTo>
                <a:lnTo>
                  <a:pt x="499" y="185"/>
                </a:lnTo>
                <a:lnTo>
                  <a:pt x="499" y="186"/>
                </a:lnTo>
                <a:lnTo>
                  <a:pt x="499" y="188"/>
                </a:lnTo>
                <a:lnTo>
                  <a:pt x="501" y="188"/>
                </a:lnTo>
                <a:lnTo>
                  <a:pt x="502" y="189"/>
                </a:lnTo>
                <a:lnTo>
                  <a:pt x="504" y="189"/>
                </a:lnTo>
                <a:lnTo>
                  <a:pt x="505" y="189"/>
                </a:lnTo>
                <a:lnTo>
                  <a:pt x="507" y="189"/>
                </a:lnTo>
                <a:lnTo>
                  <a:pt x="508" y="191"/>
                </a:lnTo>
                <a:lnTo>
                  <a:pt x="508" y="193"/>
                </a:lnTo>
                <a:lnTo>
                  <a:pt x="510" y="196"/>
                </a:lnTo>
                <a:lnTo>
                  <a:pt x="513" y="193"/>
                </a:lnTo>
                <a:lnTo>
                  <a:pt x="516" y="194"/>
                </a:lnTo>
                <a:lnTo>
                  <a:pt x="519" y="197"/>
                </a:lnTo>
                <a:lnTo>
                  <a:pt x="525" y="196"/>
                </a:lnTo>
                <a:lnTo>
                  <a:pt x="531" y="196"/>
                </a:lnTo>
                <a:lnTo>
                  <a:pt x="544" y="197"/>
                </a:lnTo>
                <a:lnTo>
                  <a:pt x="545" y="199"/>
                </a:lnTo>
                <a:lnTo>
                  <a:pt x="545" y="200"/>
                </a:lnTo>
                <a:lnTo>
                  <a:pt x="547" y="206"/>
                </a:lnTo>
                <a:lnTo>
                  <a:pt x="547" y="208"/>
                </a:lnTo>
                <a:lnTo>
                  <a:pt x="545" y="208"/>
                </a:lnTo>
                <a:lnTo>
                  <a:pt x="545" y="209"/>
                </a:lnTo>
                <a:lnTo>
                  <a:pt x="542" y="211"/>
                </a:lnTo>
                <a:lnTo>
                  <a:pt x="541" y="212"/>
                </a:lnTo>
                <a:lnTo>
                  <a:pt x="539" y="214"/>
                </a:lnTo>
                <a:lnTo>
                  <a:pt x="538" y="219"/>
                </a:lnTo>
                <a:lnTo>
                  <a:pt x="538" y="220"/>
                </a:lnTo>
                <a:lnTo>
                  <a:pt x="538" y="222"/>
                </a:lnTo>
                <a:lnTo>
                  <a:pt x="538" y="225"/>
                </a:lnTo>
                <a:lnTo>
                  <a:pt x="538" y="226"/>
                </a:lnTo>
                <a:lnTo>
                  <a:pt x="541" y="231"/>
                </a:lnTo>
                <a:lnTo>
                  <a:pt x="541" y="233"/>
                </a:lnTo>
                <a:lnTo>
                  <a:pt x="539" y="234"/>
                </a:lnTo>
                <a:lnTo>
                  <a:pt x="539" y="236"/>
                </a:lnTo>
                <a:lnTo>
                  <a:pt x="539" y="237"/>
                </a:lnTo>
                <a:lnTo>
                  <a:pt x="541" y="237"/>
                </a:lnTo>
                <a:lnTo>
                  <a:pt x="541" y="239"/>
                </a:lnTo>
                <a:lnTo>
                  <a:pt x="542" y="239"/>
                </a:lnTo>
                <a:lnTo>
                  <a:pt x="545" y="236"/>
                </a:lnTo>
                <a:lnTo>
                  <a:pt x="548" y="236"/>
                </a:lnTo>
                <a:lnTo>
                  <a:pt x="550" y="236"/>
                </a:lnTo>
                <a:lnTo>
                  <a:pt x="551" y="237"/>
                </a:lnTo>
                <a:lnTo>
                  <a:pt x="553" y="239"/>
                </a:lnTo>
                <a:lnTo>
                  <a:pt x="554" y="240"/>
                </a:lnTo>
                <a:lnTo>
                  <a:pt x="556" y="239"/>
                </a:lnTo>
                <a:lnTo>
                  <a:pt x="558" y="239"/>
                </a:lnTo>
                <a:lnTo>
                  <a:pt x="559" y="239"/>
                </a:lnTo>
                <a:lnTo>
                  <a:pt x="559" y="240"/>
                </a:lnTo>
                <a:lnTo>
                  <a:pt x="562" y="243"/>
                </a:lnTo>
                <a:lnTo>
                  <a:pt x="564" y="243"/>
                </a:lnTo>
                <a:lnTo>
                  <a:pt x="565" y="243"/>
                </a:lnTo>
                <a:lnTo>
                  <a:pt x="567" y="243"/>
                </a:lnTo>
                <a:lnTo>
                  <a:pt x="568" y="245"/>
                </a:lnTo>
                <a:lnTo>
                  <a:pt x="570" y="246"/>
                </a:lnTo>
                <a:lnTo>
                  <a:pt x="571" y="246"/>
                </a:lnTo>
                <a:lnTo>
                  <a:pt x="574" y="248"/>
                </a:lnTo>
                <a:lnTo>
                  <a:pt x="576" y="248"/>
                </a:lnTo>
                <a:lnTo>
                  <a:pt x="578" y="248"/>
                </a:lnTo>
                <a:lnTo>
                  <a:pt x="578" y="249"/>
                </a:lnTo>
                <a:lnTo>
                  <a:pt x="579" y="251"/>
                </a:lnTo>
                <a:lnTo>
                  <a:pt x="579" y="252"/>
                </a:lnTo>
                <a:lnTo>
                  <a:pt x="576" y="254"/>
                </a:lnTo>
                <a:lnTo>
                  <a:pt x="574" y="256"/>
                </a:lnTo>
                <a:lnTo>
                  <a:pt x="573" y="259"/>
                </a:lnTo>
                <a:lnTo>
                  <a:pt x="573" y="260"/>
                </a:lnTo>
                <a:lnTo>
                  <a:pt x="574" y="260"/>
                </a:lnTo>
                <a:lnTo>
                  <a:pt x="574" y="262"/>
                </a:lnTo>
                <a:lnTo>
                  <a:pt x="576" y="262"/>
                </a:lnTo>
                <a:lnTo>
                  <a:pt x="576" y="263"/>
                </a:lnTo>
                <a:lnTo>
                  <a:pt x="578" y="263"/>
                </a:lnTo>
                <a:lnTo>
                  <a:pt x="578" y="265"/>
                </a:lnTo>
                <a:lnTo>
                  <a:pt x="576" y="265"/>
                </a:lnTo>
                <a:lnTo>
                  <a:pt x="574" y="267"/>
                </a:lnTo>
                <a:lnTo>
                  <a:pt x="573" y="268"/>
                </a:lnTo>
                <a:lnTo>
                  <a:pt x="573" y="270"/>
                </a:lnTo>
                <a:lnTo>
                  <a:pt x="573" y="273"/>
                </a:lnTo>
                <a:lnTo>
                  <a:pt x="573" y="274"/>
                </a:lnTo>
                <a:lnTo>
                  <a:pt x="571" y="276"/>
                </a:lnTo>
                <a:lnTo>
                  <a:pt x="570" y="277"/>
                </a:lnTo>
                <a:lnTo>
                  <a:pt x="570" y="280"/>
                </a:lnTo>
                <a:lnTo>
                  <a:pt x="568" y="280"/>
                </a:lnTo>
                <a:lnTo>
                  <a:pt x="568" y="282"/>
                </a:lnTo>
                <a:lnTo>
                  <a:pt x="567" y="282"/>
                </a:lnTo>
                <a:lnTo>
                  <a:pt x="565" y="282"/>
                </a:lnTo>
                <a:lnTo>
                  <a:pt x="565" y="283"/>
                </a:lnTo>
                <a:lnTo>
                  <a:pt x="564" y="283"/>
                </a:lnTo>
                <a:lnTo>
                  <a:pt x="562" y="283"/>
                </a:lnTo>
                <a:lnTo>
                  <a:pt x="562" y="285"/>
                </a:lnTo>
                <a:lnTo>
                  <a:pt x="561" y="285"/>
                </a:lnTo>
                <a:lnTo>
                  <a:pt x="561" y="286"/>
                </a:lnTo>
                <a:lnTo>
                  <a:pt x="559" y="286"/>
                </a:lnTo>
                <a:lnTo>
                  <a:pt x="559" y="288"/>
                </a:lnTo>
                <a:lnTo>
                  <a:pt x="558" y="288"/>
                </a:lnTo>
                <a:lnTo>
                  <a:pt x="556" y="289"/>
                </a:lnTo>
                <a:lnTo>
                  <a:pt x="551" y="289"/>
                </a:lnTo>
                <a:lnTo>
                  <a:pt x="550" y="289"/>
                </a:lnTo>
                <a:lnTo>
                  <a:pt x="548" y="291"/>
                </a:lnTo>
                <a:lnTo>
                  <a:pt x="547" y="291"/>
                </a:lnTo>
                <a:lnTo>
                  <a:pt x="547" y="293"/>
                </a:lnTo>
                <a:lnTo>
                  <a:pt x="545" y="293"/>
                </a:lnTo>
                <a:lnTo>
                  <a:pt x="544" y="293"/>
                </a:lnTo>
                <a:lnTo>
                  <a:pt x="542" y="293"/>
                </a:lnTo>
                <a:lnTo>
                  <a:pt x="541" y="294"/>
                </a:lnTo>
                <a:lnTo>
                  <a:pt x="539" y="296"/>
                </a:lnTo>
                <a:lnTo>
                  <a:pt x="538" y="297"/>
                </a:lnTo>
                <a:lnTo>
                  <a:pt x="538" y="299"/>
                </a:lnTo>
                <a:lnTo>
                  <a:pt x="536" y="300"/>
                </a:lnTo>
                <a:lnTo>
                  <a:pt x="536" y="302"/>
                </a:lnTo>
                <a:lnTo>
                  <a:pt x="533" y="307"/>
                </a:lnTo>
                <a:lnTo>
                  <a:pt x="533" y="308"/>
                </a:lnTo>
                <a:lnTo>
                  <a:pt x="533" y="310"/>
                </a:lnTo>
                <a:lnTo>
                  <a:pt x="534" y="311"/>
                </a:lnTo>
                <a:lnTo>
                  <a:pt x="534" y="313"/>
                </a:lnTo>
                <a:lnTo>
                  <a:pt x="533" y="319"/>
                </a:lnTo>
                <a:lnTo>
                  <a:pt x="531" y="320"/>
                </a:lnTo>
                <a:lnTo>
                  <a:pt x="531" y="322"/>
                </a:lnTo>
                <a:lnTo>
                  <a:pt x="530" y="322"/>
                </a:lnTo>
                <a:lnTo>
                  <a:pt x="530" y="320"/>
                </a:lnTo>
                <a:lnTo>
                  <a:pt x="530" y="319"/>
                </a:lnTo>
                <a:lnTo>
                  <a:pt x="528" y="319"/>
                </a:lnTo>
                <a:lnTo>
                  <a:pt x="527" y="319"/>
                </a:lnTo>
                <a:lnTo>
                  <a:pt x="525" y="319"/>
                </a:lnTo>
                <a:lnTo>
                  <a:pt x="524" y="319"/>
                </a:lnTo>
                <a:lnTo>
                  <a:pt x="522" y="320"/>
                </a:lnTo>
                <a:lnTo>
                  <a:pt x="521" y="320"/>
                </a:lnTo>
                <a:lnTo>
                  <a:pt x="519" y="320"/>
                </a:lnTo>
                <a:lnTo>
                  <a:pt x="518" y="320"/>
                </a:lnTo>
                <a:lnTo>
                  <a:pt x="516" y="320"/>
                </a:lnTo>
                <a:lnTo>
                  <a:pt x="514" y="322"/>
                </a:lnTo>
                <a:lnTo>
                  <a:pt x="513" y="322"/>
                </a:lnTo>
                <a:lnTo>
                  <a:pt x="513" y="323"/>
                </a:lnTo>
                <a:lnTo>
                  <a:pt x="513" y="325"/>
                </a:lnTo>
                <a:lnTo>
                  <a:pt x="513" y="326"/>
                </a:lnTo>
                <a:lnTo>
                  <a:pt x="513" y="328"/>
                </a:lnTo>
                <a:lnTo>
                  <a:pt x="513" y="331"/>
                </a:lnTo>
                <a:lnTo>
                  <a:pt x="513" y="333"/>
                </a:lnTo>
                <a:lnTo>
                  <a:pt x="511" y="333"/>
                </a:lnTo>
                <a:lnTo>
                  <a:pt x="511" y="334"/>
                </a:lnTo>
                <a:lnTo>
                  <a:pt x="511" y="337"/>
                </a:lnTo>
                <a:lnTo>
                  <a:pt x="511" y="339"/>
                </a:lnTo>
                <a:lnTo>
                  <a:pt x="511" y="342"/>
                </a:lnTo>
                <a:lnTo>
                  <a:pt x="510" y="344"/>
                </a:lnTo>
                <a:lnTo>
                  <a:pt x="510" y="345"/>
                </a:lnTo>
                <a:lnTo>
                  <a:pt x="510" y="348"/>
                </a:lnTo>
                <a:lnTo>
                  <a:pt x="514" y="354"/>
                </a:lnTo>
                <a:lnTo>
                  <a:pt x="514" y="356"/>
                </a:lnTo>
                <a:lnTo>
                  <a:pt x="514" y="357"/>
                </a:lnTo>
                <a:lnTo>
                  <a:pt x="516" y="359"/>
                </a:lnTo>
                <a:lnTo>
                  <a:pt x="518" y="368"/>
                </a:lnTo>
                <a:lnTo>
                  <a:pt x="518" y="371"/>
                </a:lnTo>
                <a:lnTo>
                  <a:pt x="518" y="374"/>
                </a:lnTo>
                <a:lnTo>
                  <a:pt x="518" y="376"/>
                </a:lnTo>
                <a:lnTo>
                  <a:pt x="518" y="377"/>
                </a:lnTo>
                <a:lnTo>
                  <a:pt x="519" y="385"/>
                </a:lnTo>
                <a:lnTo>
                  <a:pt x="521" y="393"/>
                </a:lnTo>
                <a:lnTo>
                  <a:pt x="527" y="405"/>
                </a:lnTo>
                <a:lnTo>
                  <a:pt x="527" y="410"/>
                </a:lnTo>
                <a:lnTo>
                  <a:pt x="525" y="419"/>
                </a:lnTo>
                <a:lnTo>
                  <a:pt x="527" y="422"/>
                </a:lnTo>
                <a:lnTo>
                  <a:pt x="527" y="423"/>
                </a:lnTo>
                <a:lnTo>
                  <a:pt x="528" y="426"/>
                </a:lnTo>
                <a:lnTo>
                  <a:pt x="528" y="428"/>
                </a:lnTo>
                <a:lnTo>
                  <a:pt x="528" y="431"/>
                </a:lnTo>
                <a:lnTo>
                  <a:pt x="528" y="433"/>
                </a:lnTo>
                <a:lnTo>
                  <a:pt x="527" y="437"/>
                </a:lnTo>
                <a:lnTo>
                  <a:pt x="527" y="439"/>
                </a:lnTo>
                <a:lnTo>
                  <a:pt x="525" y="440"/>
                </a:lnTo>
                <a:lnTo>
                  <a:pt x="527" y="442"/>
                </a:lnTo>
                <a:lnTo>
                  <a:pt x="528" y="444"/>
                </a:lnTo>
                <a:lnTo>
                  <a:pt x="530" y="445"/>
                </a:lnTo>
                <a:lnTo>
                  <a:pt x="531" y="448"/>
                </a:lnTo>
                <a:lnTo>
                  <a:pt x="531" y="450"/>
                </a:lnTo>
                <a:lnTo>
                  <a:pt x="531" y="453"/>
                </a:lnTo>
                <a:lnTo>
                  <a:pt x="531" y="454"/>
                </a:lnTo>
                <a:lnTo>
                  <a:pt x="530" y="454"/>
                </a:lnTo>
                <a:lnTo>
                  <a:pt x="530" y="456"/>
                </a:lnTo>
                <a:lnTo>
                  <a:pt x="531" y="460"/>
                </a:lnTo>
                <a:lnTo>
                  <a:pt x="531" y="462"/>
                </a:lnTo>
                <a:lnTo>
                  <a:pt x="531" y="463"/>
                </a:lnTo>
                <a:lnTo>
                  <a:pt x="530" y="463"/>
                </a:lnTo>
                <a:lnTo>
                  <a:pt x="528" y="465"/>
                </a:lnTo>
                <a:lnTo>
                  <a:pt x="528" y="468"/>
                </a:lnTo>
                <a:lnTo>
                  <a:pt x="527" y="470"/>
                </a:lnTo>
                <a:lnTo>
                  <a:pt x="525" y="471"/>
                </a:lnTo>
                <a:lnTo>
                  <a:pt x="527" y="474"/>
                </a:lnTo>
                <a:lnTo>
                  <a:pt x="527" y="476"/>
                </a:lnTo>
                <a:lnTo>
                  <a:pt x="528" y="477"/>
                </a:lnTo>
                <a:lnTo>
                  <a:pt x="528" y="479"/>
                </a:lnTo>
                <a:lnTo>
                  <a:pt x="528" y="481"/>
                </a:lnTo>
                <a:lnTo>
                  <a:pt x="528" y="482"/>
                </a:lnTo>
                <a:lnTo>
                  <a:pt x="528" y="485"/>
                </a:lnTo>
                <a:lnTo>
                  <a:pt x="528" y="487"/>
                </a:lnTo>
                <a:lnTo>
                  <a:pt x="528" y="490"/>
                </a:lnTo>
                <a:lnTo>
                  <a:pt x="527" y="490"/>
                </a:lnTo>
                <a:lnTo>
                  <a:pt x="527" y="491"/>
                </a:lnTo>
                <a:lnTo>
                  <a:pt x="527" y="493"/>
                </a:lnTo>
                <a:lnTo>
                  <a:pt x="527" y="491"/>
                </a:lnTo>
                <a:lnTo>
                  <a:pt x="528" y="493"/>
                </a:lnTo>
                <a:lnTo>
                  <a:pt x="528" y="491"/>
                </a:lnTo>
                <a:lnTo>
                  <a:pt x="530" y="491"/>
                </a:lnTo>
                <a:lnTo>
                  <a:pt x="530" y="493"/>
                </a:lnTo>
                <a:lnTo>
                  <a:pt x="530" y="494"/>
                </a:lnTo>
                <a:lnTo>
                  <a:pt x="533" y="496"/>
                </a:lnTo>
                <a:lnTo>
                  <a:pt x="534" y="497"/>
                </a:lnTo>
                <a:lnTo>
                  <a:pt x="534" y="499"/>
                </a:lnTo>
                <a:lnTo>
                  <a:pt x="533" y="500"/>
                </a:lnTo>
                <a:lnTo>
                  <a:pt x="533" y="502"/>
                </a:lnTo>
                <a:lnTo>
                  <a:pt x="533" y="504"/>
                </a:lnTo>
                <a:lnTo>
                  <a:pt x="531" y="505"/>
                </a:lnTo>
                <a:lnTo>
                  <a:pt x="533" y="508"/>
                </a:lnTo>
                <a:lnTo>
                  <a:pt x="536" y="510"/>
                </a:lnTo>
                <a:lnTo>
                  <a:pt x="541" y="513"/>
                </a:lnTo>
                <a:lnTo>
                  <a:pt x="544" y="516"/>
                </a:lnTo>
                <a:lnTo>
                  <a:pt x="545" y="518"/>
                </a:lnTo>
                <a:lnTo>
                  <a:pt x="547" y="518"/>
                </a:lnTo>
                <a:lnTo>
                  <a:pt x="548" y="519"/>
                </a:lnTo>
                <a:lnTo>
                  <a:pt x="550" y="519"/>
                </a:lnTo>
                <a:lnTo>
                  <a:pt x="551" y="519"/>
                </a:lnTo>
                <a:lnTo>
                  <a:pt x="553" y="518"/>
                </a:lnTo>
                <a:lnTo>
                  <a:pt x="554" y="518"/>
                </a:lnTo>
                <a:lnTo>
                  <a:pt x="558" y="518"/>
                </a:lnTo>
                <a:lnTo>
                  <a:pt x="561" y="518"/>
                </a:lnTo>
                <a:lnTo>
                  <a:pt x="562" y="519"/>
                </a:lnTo>
                <a:lnTo>
                  <a:pt x="562" y="521"/>
                </a:lnTo>
                <a:lnTo>
                  <a:pt x="564" y="521"/>
                </a:lnTo>
                <a:lnTo>
                  <a:pt x="565" y="524"/>
                </a:lnTo>
                <a:lnTo>
                  <a:pt x="565" y="525"/>
                </a:lnTo>
                <a:lnTo>
                  <a:pt x="598" y="544"/>
                </a:lnTo>
                <a:lnTo>
                  <a:pt x="598" y="545"/>
                </a:lnTo>
                <a:lnTo>
                  <a:pt x="598" y="548"/>
                </a:lnTo>
                <a:lnTo>
                  <a:pt x="599" y="550"/>
                </a:lnTo>
                <a:lnTo>
                  <a:pt x="601" y="551"/>
                </a:lnTo>
                <a:lnTo>
                  <a:pt x="602" y="551"/>
                </a:lnTo>
                <a:lnTo>
                  <a:pt x="605" y="551"/>
                </a:lnTo>
                <a:lnTo>
                  <a:pt x="608" y="548"/>
                </a:lnTo>
                <a:lnTo>
                  <a:pt x="610" y="548"/>
                </a:lnTo>
                <a:lnTo>
                  <a:pt x="611" y="550"/>
                </a:lnTo>
                <a:lnTo>
                  <a:pt x="615" y="553"/>
                </a:lnTo>
                <a:lnTo>
                  <a:pt x="616" y="553"/>
                </a:lnTo>
                <a:lnTo>
                  <a:pt x="618" y="553"/>
                </a:lnTo>
                <a:lnTo>
                  <a:pt x="622" y="553"/>
                </a:lnTo>
                <a:lnTo>
                  <a:pt x="625" y="551"/>
                </a:lnTo>
                <a:lnTo>
                  <a:pt x="627" y="550"/>
                </a:lnTo>
                <a:lnTo>
                  <a:pt x="627" y="548"/>
                </a:lnTo>
                <a:lnTo>
                  <a:pt x="628" y="547"/>
                </a:lnTo>
                <a:lnTo>
                  <a:pt x="628" y="544"/>
                </a:lnTo>
                <a:lnTo>
                  <a:pt x="630" y="542"/>
                </a:lnTo>
                <a:lnTo>
                  <a:pt x="631" y="542"/>
                </a:lnTo>
                <a:lnTo>
                  <a:pt x="633" y="542"/>
                </a:lnTo>
                <a:lnTo>
                  <a:pt x="634" y="545"/>
                </a:lnTo>
                <a:lnTo>
                  <a:pt x="633" y="548"/>
                </a:lnTo>
                <a:lnTo>
                  <a:pt x="631" y="553"/>
                </a:lnTo>
                <a:lnTo>
                  <a:pt x="630" y="556"/>
                </a:lnTo>
                <a:lnTo>
                  <a:pt x="630" y="559"/>
                </a:lnTo>
                <a:lnTo>
                  <a:pt x="631" y="564"/>
                </a:lnTo>
                <a:lnTo>
                  <a:pt x="630" y="567"/>
                </a:lnTo>
                <a:lnTo>
                  <a:pt x="630" y="568"/>
                </a:lnTo>
                <a:lnTo>
                  <a:pt x="628" y="571"/>
                </a:lnTo>
                <a:lnTo>
                  <a:pt x="628" y="573"/>
                </a:lnTo>
                <a:lnTo>
                  <a:pt x="628" y="576"/>
                </a:lnTo>
                <a:lnTo>
                  <a:pt x="631" y="585"/>
                </a:lnTo>
                <a:lnTo>
                  <a:pt x="634" y="588"/>
                </a:lnTo>
                <a:lnTo>
                  <a:pt x="638" y="590"/>
                </a:lnTo>
                <a:lnTo>
                  <a:pt x="641" y="590"/>
                </a:lnTo>
                <a:lnTo>
                  <a:pt x="644" y="588"/>
                </a:lnTo>
                <a:lnTo>
                  <a:pt x="648" y="588"/>
                </a:lnTo>
                <a:lnTo>
                  <a:pt x="655" y="592"/>
                </a:lnTo>
                <a:lnTo>
                  <a:pt x="659" y="592"/>
                </a:lnTo>
                <a:lnTo>
                  <a:pt x="664" y="590"/>
                </a:lnTo>
                <a:lnTo>
                  <a:pt x="667" y="588"/>
                </a:lnTo>
                <a:lnTo>
                  <a:pt x="670" y="590"/>
                </a:lnTo>
                <a:lnTo>
                  <a:pt x="673" y="593"/>
                </a:lnTo>
                <a:lnTo>
                  <a:pt x="676" y="596"/>
                </a:lnTo>
                <a:lnTo>
                  <a:pt x="682" y="598"/>
                </a:lnTo>
                <a:lnTo>
                  <a:pt x="687" y="599"/>
                </a:lnTo>
                <a:lnTo>
                  <a:pt x="693" y="605"/>
                </a:lnTo>
                <a:lnTo>
                  <a:pt x="696" y="608"/>
                </a:lnTo>
                <a:lnTo>
                  <a:pt x="698" y="611"/>
                </a:lnTo>
                <a:lnTo>
                  <a:pt x="699" y="614"/>
                </a:lnTo>
                <a:lnTo>
                  <a:pt x="698" y="618"/>
                </a:lnTo>
                <a:lnTo>
                  <a:pt x="695" y="621"/>
                </a:lnTo>
                <a:lnTo>
                  <a:pt x="693" y="624"/>
                </a:lnTo>
                <a:lnTo>
                  <a:pt x="693" y="628"/>
                </a:lnTo>
                <a:lnTo>
                  <a:pt x="690" y="628"/>
                </a:lnTo>
                <a:lnTo>
                  <a:pt x="688" y="628"/>
                </a:lnTo>
                <a:lnTo>
                  <a:pt x="685" y="630"/>
                </a:lnTo>
                <a:lnTo>
                  <a:pt x="682" y="632"/>
                </a:lnTo>
                <a:lnTo>
                  <a:pt x="681" y="635"/>
                </a:lnTo>
                <a:lnTo>
                  <a:pt x="681" y="638"/>
                </a:lnTo>
                <a:lnTo>
                  <a:pt x="679" y="636"/>
                </a:lnTo>
                <a:lnTo>
                  <a:pt x="678" y="636"/>
                </a:lnTo>
                <a:lnTo>
                  <a:pt x="676" y="636"/>
                </a:lnTo>
                <a:lnTo>
                  <a:pt x="676" y="638"/>
                </a:lnTo>
                <a:lnTo>
                  <a:pt x="674" y="638"/>
                </a:lnTo>
                <a:lnTo>
                  <a:pt x="668" y="636"/>
                </a:lnTo>
                <a:lnTo>
                  <a:pt x="667" y="636"/>
                </a:lnTo>
                <a:lnTo>
                  <a:pt x="667" y="639"/>
                </a:lnTo>
                <a:lnTo>
                  <a:pt x="665" y="639"/>
                </a:lnTo>
                <a:lnTo>
                  <a:pt x="664" y="639"/>
                </a:lnTo>
                <a:lnTo>
                  <a:pt x="662" y="639"/>
                </a:lnTo>
                <a:lnTo>
                  <a:pt x="662" y="641"/>
                </a:lnTo>
                <a:lnTo>
                  <a:pt x="661" y="642"/>
                </a:lnTo>
                <a:lnTo>
                  <a:pt x="661" y="644"/>
                </a:lnTo>
                <a:lnTo>
                  <a:pt x="659" y="644"/>
                </a:lnTo>
                <a:lnTo>
                  <a:pt x="658" y="644"/>
                </a:lnTo>
                <a:lnTo>
                  <a:pt x="655" y="644"/>
                </a:lnTo>
                <a:lnTo>
                  <a:pt x="653" y="644"/>
                </a:lnTo>
                <a:lnTo>
                  <a:pt x="652" y="647"/>
                </a:lnTo>
                <a:lnTo>
                  <a:pt x="647" y="645"/>
                </a:lnTo>
                <a:lnTo>
                  <a:pt x="645" y="647"/>
                </a:lnTo>
                <a:lnTo>
                  <a:pt x="645" y="651"/>
                </a:lnTo>
                <a:lnTo>
                  <a:pt x="644" y="655"/>
                </a:lnTo>
                <a:lnTo>
                  <a:pt x="641" y="656"/>
                </a:lnTo>
                <a:lnTo>
                  <a:pt x="634" y="655"/>
                </a:lnTo>
                <a:lnTo>
                  <a:pt x="631" y="661"/>
                </a:lnTo>
                <a:lnTo>
                  <a:pt x="630" y="662"/>
                </a:lnTo>
                <a:lnTo>
                  <a:pt x="622" y="669"/>
                </a:lnTo>
                <a:lnTo>
                  <a:pt x="621" y="670"/>
                </a:lnTo>
                <a:lnTo>
                  <a:pt x="619" y="672"/>
                </a:lnTo>
                <a:lnTo>
                  <a:pt x="619" y="675"/>
                </a:lnTo>
                <a:lnTo>
                  <a:pt x="619" y="676"/>
                </a:lnTo>
                <a:lnTo>
                  <a:pt x="619" y="678"/>
                </a:lnTo>
                <a:lnTo>
                  <a:pt x="618" y="679"/>
                </a:lnTo>
                <a:lnTo>
                  <a:pt x="618" y="681"/>
                </a:lnTo>
                <a:lnTo>
                  <a:pt x="616" y="682"/>
                </a:lnTo>
                <a:lnTo>
                  <a:pt x="615" y="684"/>
                </a:lnTo>
                <a:lnTo>
                  <a:pt x="616" y="685"/>
                </a:lnTo>
                <a:lnTo>
                  <a:pt x="621" y="696"/>
                </a:lnTo>
                <a:lnTo>
                  <a:pt x="624" y="708"/>
                </a:lnTo>
                <a:lnTo>
                  <a:pt x="627" y="714"/>
                </a:lnTo>
                <a:lnTo>
                  <a:pt x="627" y="716"/>
                </a:lnTo>
                <a:lnTo>
                  <a:pt x="627" y="719"/>
                </a:lnTo>
                <a:lnTo>
                  <a:pt x="625" y="721"/>
                </a:lnTo>
                <a:lnTo>
                  <a:pt x="624" y="722"/>
                </a:lnTo>
                <a:lnTo>
                  <a:pt x="622" y="725"/>
                </a:lnTo>
                <a:lnTo>
                  <a:pt x="619" y="736"/>
                </a:lnTo>
                <a:lnTo>
                  <a:pt x="618" y="739"/>
                </a:lnTo>
                <a:lnTo>
                  <a:pt x="618" y="744"/>
                </a:lnTo>
                <a:lnTo>
                  <a:pt x="616" y="750"/>
                </a:lnTo>
                <a:lnTo>
                  <a:pt x="616" y="751"/>
                </a:lnTo>
                <a:lnTo>
                  <a:pt x="616" y="755"/>
                </a:lnTo>
                <a:lnTo>
                  <a:pt x="618" y="756"/>
                </a:lnTo>
                <a:lnTo>
                  <a:pt x="618" y="758"/>
                </a:lnTo>
                <a:lnTo>
                  <a:pt x="619" y="759"/>
                </a:lnTo>
                <a:lnTo>
                  <a:pt x="621" y="761"/>
                </a:lnTo>
                <a:lnTo>
                  <a:pt x="625" y="759"/>
                </a:lnTo>
                <a:lnTo>
                  <a:pt x="627" y="759"/>
                </a:lnTo>
                <a:lnTo>
                  <a:pt x="628" y="761"/>
                </a:lnTo>
                <a:lnTo>
                  <a:pt x="630" y="762"/>
                </a:lnTo>
                <a:lnTo>
                  <a:pt x="631" y="764"/>
                </a:lnTo>
                <a:lnTo>
                  <a:pt x="625" y="767"/>
                </a:lnTo>
                <a:lnTo>
                  <a:pt x="624" y="769"/>
                </a:lnTo>
                <a:lnTo>
                  <a:pt x="622" y="772"/>
                </a:lnTo>
                <a:lnTo>
                  <a:pt x="622" y="773"/>
                </a:lnTo>
                <a:lnTo>
                  <a:pt x="621" y="775"/>
                </a:lnTo>
                <a:lnTo>
                  <a:pt x="619" y="778"/>
                </a:lnTo>
                <a:lnTo>
                  <a:pt x="618" y="779"/>
                </a:lnTo>
                <a:lnTo>
                  <a:pt x="616" y="779"/>
                </a:lnTo>
                <a:lnTo>
                  <a:pt x="613" y="779"/>
                </a:lnTo>
                <a:lnTo>
                  <a:pt x="611" y="779"/>
                </a:lnTo>
                <a:lnTo>
                  <a:pt x="610" y="781"/>
                </a:lnTo>
                <a:lnTo>
                  <a:pt x="608" y="782"/>
                </a:lnTo>
                <a:lnTo>
                  <a:pt x="607" y="785"/>
                </a:lnTo>
                <a:lnTo>
                  <a:pt x="607" y="787"/>
                </a:lnTo>
                <a:lnTo>
                  <a:pt x="605" y="787"/>
                </a:lnTo>
                <a:lnTo>
                  <a:pt x="604" y="787"/>
                </a:lnTo>
                <a:lnTo>
                  <a:pt x="601" y="787"/>
                </a:lnTo>
                <a:lnTo>
                  <a:pt x="599" y="787"/>
                </a:lnTo>
                <a:lnTo>
                  <a:pt x="598" y="787"/>
                </a:lnTo>
                <a:lnTo>
                  <a:pt x="598" y="788"/>
                </a:lnTo>
                <a:lnTo>
                  <a:pt x="596" y="790"/>
                </a:lnTo>
                <a:lnTo>
                  <a:pt x="598" y="792"/>
                </a:lnTo>
                <a:lnTo>
                  <a:pt x="596" y="795"/>
                </a:lnTo>
                <a:lnTo>
                  <a:pt x="594" y="796"/>
                </a:lnTo>
                <a:lnTo>
                  <a:pt x="593" y="796"/>
                </a:lnTo>
                <a:lnTo>
                  <a:pt x="591" y="798"/>
                </a:lnTo>
                <a:lnTo>
                  <a:pt x="593" y="799"/>
                </a:lnTo>
                <a:lnTo>
                  <a:pt x="593" y="801"/>
                </a:lnTo>
                <a:lnTo>
                  <a:pt x="591" y="802"/>
                </a:lnTo>
                <a:lnTo>
                  <a:pt x="590" y="804"/>
                </a:lnTo>
                <a:lnTo>
                  <a:pt x="588" y="807"/>
                </a:lnTo>
                <a:lnTo>
                  <a:pt x="587" y="809"/>
                </a:lnTo>
                <a:lnTo>
                  <a:pt x="585" y="810"/>
                </a:lnTo>
                <a:lnTo>
                  <a:pt x="585" y="812"/>
                </a:lnTo>
                <a:lnTo>
                  <a:pt x="584" y="813"/>
                </a:lnTo>
                <a:lnTo>
                  <a:pt x="584" y="815"/>
                </a:lnTo>
                <a:lnTo>
                  <a:pt x="584" y="816"/>
                </a:lnTo>
                <a:lnTo>
                  <a:pt x="582" y="816"/>
                </a:lnTo>
                <a:lnTo>
                  <a:pt x="581" y="818"/>
                </a:lnTo>
                <a:lnTo>
                  <a:pt x="578" y="818"/>
                </a:lnTo>
                <a:lnTo>
                  <a:pt x="576" y="819"/>
                </a:lnTo>
                <a:lnTo>
                  <a:pt x="574" y="821"/>
                </a:lnTo>
                <a:lnTo>
                  <a:pt x="573" y="822"/>
                </a:lnTo>
                <a:lnTo>
                  <a:pt x="573" y="825"/>
                </a:lnTo>
                <a:lnTo>
                  <a:pt x="573" y="827"/>
                </a:lnTo>
                <a:lnTo>
                  <a:pt x="573" y="830"/>
                </a:lnTo>
                <a:lnTo>
                  <a:pt x="573" y="833"/>
                </a:lnTo>
                <a:lnTo>
                  <a:pt x="571" y="835"/>
                </a:lnTo>
                <a:lnTo>
                  <a:pt x="568" y="836"/>
                </a:lnTo>
                <a:lnTo>
                  <a:pt x="567" y="836"/>
                </a:lnTo>
                <a:lnTo>
                  <a:pt x="567" y="838"/>
                </a:lnTo>
                <a:lnTo>
                  <a:pt x="561" y="846"/>
                </a:lnTo>
                <a:lnTo>
                  <a:pt x="561" y="847"/>
                </a:lnTo>
                <a:lnTo>
                  <a:pt x="559" y="847"/>
                </a:lnTo>
                <a:lnTo>
                  <a:pt x="558" y="847"/>
                </a:lnTo>
                <a:lnTo>
                  <a:pt x="558" y="849"/>
                </a:lnTo>
                <a:lnTo>
                  <a:pt x="558" y="850"/>
                </a:lnTo>
                <a:lnTo>
                  <a:pt x="556" y="850"/>
                </a:lnTo>
                <a:lnTo>
                  <a:pt x="554" y="852"/>
                </a:lnTo>
                <a:lnTo>
                  <a:pt x="553" y="853"/>
                </a:lnTo>
                <a:lnTo>
                  <a:pt x="553" y="855"/>
                </a:lnTo>
                <a:lnTo>
                  <a:pt x="551" y="855"/>
                </a:lnTo>
                <a:lnTo>
                  <a:pt x="556" y="858"/>
                </a:lnTo>
                <a:lnTo>
                  <a:pt x="559" y="861"/>
                </a:lnTo>
                <a:lnTo>
                  <a:pt x="561" y="867"/>
                </a:lnTo>
                <a:lnTo>
                  <a:pt x="562" y="872"/>
                </a:lnTo>
                <a:lnTo>
                  <a:pt x="562" y="875"/>
                </a:lnTo>
                <a:lnTo>
                  <a:pt x="562" y="876"/>
                </a:lnTo>
                <a:lnTo>
                  <a:pt x="545" y="892"/>
                </a:lnTo>
                <a:lnTo>
                  <a:pt x="542" y="893"/>
                </a:lnTo>
                <a:lnTo>
                  <a:pt x="524" y="898"/>
                </a:lnTo>
                <a:lnTo>
                  <a:pt x="508" y="907"/>
                </a:lnTo>
                <a:lnTo>
                  <a:pt x="507" y="909"/>
                </a:lnTo>
                <a:lnTo>
                  <a:pt x="502" y="924"/>
                </a:lnTo>
                <a:lnTo>
                  <a:pt x="497" y="939"/>
                </a:lnTo>
                <a:lnTo>
                  <a:pt x="493" y="958"/>
                </a:lnTo>
                <a:lnTo>
                  <a:pt x="488" y="969"/>
                </a:lnTo>
                <a:lnTo>
                  <a:pt x="482" y="980"/>
                </a:lnTo>
                <a:lnTo>
                  <a:pt x="476" y="996"/>
                </a:lnTo>
                <a:lnTo>
                  <a:pt x="470" y="1006"/>
                </a:lnTo>
                <a:lnTo>
                  <a:pt x="467" y="1010"/>
                </a:lnTo>
                <a:lnTo>
                  <a:pt x="464" y="1018"/>
                </a:lnTo>
                <a:lnTo>
                  <a:pt x="462" y="1021"/>
                </a:lnTo>
                <a:lnTo>
                  <a:pt x="460" y="1021"/>
                </a:lnTo>
                <a:lnTo>
                  <a:pt x="448" y="1029"/>
                </a:lnTo>
                <a:lnTo>
                  <a:pt x="438" y="1035"/>
                </a:lnTo>
                <a:lnTo>
                  <a:pt x="425" y="1043"/>
                </a:lnTo>
                <a:lnTo>
                  <a:pt x="411" y="1052"/>
                </a:lnTo>
                <a:lnTo>
                  <a:pt x="408" y="1053"/>
                </a:lnTo>
                <a:lnTo>
                  <a:pt x="401" y="1064"/>
                </a:lnTo>
                <a:lnTo>
                  <a:pt x="399" y="1069"/>
                </a:lnTo>
                <a:lnTo>
                  <a:pt x="393" y="1094"/>
                </a:lnTo>
                <a:lnTo>
                  <a:pt x="391" y="1100"/>
                </a:lnTo>
                <a:lnTo>
                  <a:pt x="388" y="1104"/>
                </a:lnTo>
                <a:lnTo>
                  <a:pt x="385" y="1109"/>
                </a:lnTo>
                <a:lnTo>
                  <a:pt x="373" y="1121"/>
                </a:lnTo>
                <a:lnTo>
                  <a:pt x="365" y="1132"/>
                </a:lnTo>
                <a:lnTo>
                  <a:pt x="364" y="1135"/>
                </a:lnTo>
                <a:lnTo>
                  <a:pt x="364" y="1137"/>
                </a:lnTo>
                <a:lnTo>
                  <a:pt x="362" y="1152"/>
                </a:lnTo>
                <a:lnTo>
                  <a:pt x="362" y="1153"/>
                </a:lnTo>
                <a:lnTo>
                  <a:pt x="360" y="1155"/>
                </a:lnTo>
                <a:lnTo>
                  <a:pt x="345" y="1161"/>
                </a:lnTo>
                <a:lnTo>
                  <a:pt x="331" y="1166"/>
                </a:lnTo>
                <a:lnTo>
                  <a:pt x="324" y="1166"/>
                </a:lnTo>
                <a:lnTo>
                  <a:pt x="316" y="1166"/>
                </a:lnTo>
                <a:lnTo>
                  <a:pt x="306" y="1166"/>
                </a:lnTo>
                <a:lnTo>
                  <a:pt x="299" y="1168"/>
                </a:lnTo>
                <a:lnTo>
                  <a:pt x="291" y="1171"/>
                </a:lnTo>
                <a:lnTo>
                  <a:pt x="279" y="1178"/>
                </a:lnTo>
                <a:lnTo>
                  <a:pt x="268" y="1184"/>
                </a:lnTo>
                <a:lnTo>
                  <a:pt x="260" y="1186"/>
                </a:lnTo>
                <a:lnTo>
                  <a:pt x="254" y="1184"/>
                </a:lnTo>
                <a:lnTo>
                  <a:pt x="248" y="1181"/>
                </a:lnTo>
                <a:lnTo>
                  <a:pt x="245" y="1175"/>
                </a:lnTo>
                <a:lnTo>
                  <a:pt x="242" y="1168"/>
                </a:lnTo>
                <a:lnTo>
                  <a:pt x="242" y="1164"/>
                </a:lnTo>
                <a:lnTo>
                  <a:pt x="242" y="1160"/>
                </a:lnTo>
                <a:lnTo>
                  <a:pt x="242" y="1158"/>
                </a:lnTo>
                <a:lnTo>
                  <a:pt x="240" y="1157"/>
                </a:lnTo>
                <a:lnTo>
                  <a:pt x="237" y="1153"/>
                </a:lnTo>
                <a:lnTo>
                  <a:pt x="234" y="1149"/>
                </a:lnTo>
                <a:lnTo>
                  <a:pt x="231" y="1147"/>
                </a:lnTo>
                <a:lnTo>
                  <a:pt x="229" y="1146"/>
                </a:lnTo>
                <a:lnTo>
                  <a:pt x="226" y="1144"/>
                </a:lnTo>
                <a:lnTo>
                  <a:pt x="225" y="1144"/>
                </a:lnTo>
                <a:lnTo>
                  <a:pt x="222" y="1144"/>
                </a:lnTo>
                <a:lnTo>
                  <a:pt x="219" y="1146"/>
                </a:lnTo>
                <a:lnTo>
                  <a:pt x="214" y="1147"/>
                </a:lnTo>
                <a:lnTo>
                  <a:pt x="213" y="1147"/>
                </a:lnTo>
                <a:lnTo>
                  <a:pt x="211" y="1149"/>
                </a:lnTo>
                <a:lnTo>
                  <a:pt x="206" y="1155"/>
                </a:lnTo>
                <a:lnTo>
                  <a:pt x="199" y="1161"/>
                </a:lnTo>
                <a:lnTo>
                  <a:pt x="199" y="1163"/>
                </a:lnTo>
                <a:lnTo>
                  <a:pt x="189" y="1172"/>
                </a:lnTo>
                <a:lnTo>
                  <a:pt x="189" y="1175"/>
                </a:lnTo>
                <a:lnTo>
                  <a:pt x="182" y="1198"/>
                </a:lnTo>
                <a:lnTo>
                  <a:pt x="179" y="1203"/>
                </a:lnTo>
                <a:lnTo>
                  <a:pt x="171" y="1211"/>
                </a:lnTo>
                <a:lnTo>
                  <a:pt x="165" y="1221"/>
                </a:lnTo>
                <a:lnTo>
                  <a:pt x="154" y="1235"/>
                </a:lnTo>
                <a:lnTo>
                  <a:pt x="148" y="1240"/>
                </a:lnTo>
                <a:lnTo>
                  <a:pt x="139" y="1249"/>
                </a:lnTo>
                <a:lnTo>
                  <a:pt x="136" y="1257"/>
                </a:lnTo>
                <a:lnTo>
                  <a:pt x="132" y="1266"/>
                </a:lnTo>
                <a:lnTo>
                  <a:pt x="131" y="1281"/>
                </a:lnTo>
                <a:lnTo>
                  <a:pt x="128" y="1297"/>
                </a:lnTo>
                <a:lnTo>
                  <a:pt x="129" y="1301"/>
                </a:lnTo>
                <a:lnTo>
                  <a:pt x="132" y="1306"/>
                </a:lnTo>
                <a:lnTo>
                  <a:pt x="146" y="1312"/>
                </a:lnTo>
                <a:lnTo>
                  <a:pt x="151" y="1315"/>
                </a:lnTo>
                <a:lnTo>
                  <a:pt x="159" y="1323"/>
                </a:lnTo>
                <a:lnTo>
                  <a:pt x="162" y="1324"/>
                </a:lnTo>
                <a:lnTo>
                  <a:pt x="185" y="1323"/>
                </a:lnTo>
                <a:lnTo>
                  <a:pt x="189" y="1324"/>
                </a:lnTo>
                <a:lnTo>
                  <a:pt x="192" y="1327"/>
                </a:lnTo>
                <a:lnTo>
                  <a:pt x="195" y="1331"/>
                </a:lnTo>
                <a:lnTo>
                  <a:pt x="195" y="1335"/>
                </a:lnTo>
                <a:lnTo>
                  <a:pt x="195" y="1346"/>
                </a:lnTo>
                <a:lnTo>
                  <a:pt x="195" y="1351"/>
                </a:lnTo>
                <a:lnTo>
                  <a:pt x="195" y="1352"/>
                </a:lnTo>
                <a:lnTo>
                  <a:pt x="194" y="1355"/>
                </a:lnTo>
                <a:lnTo>
                  <a:pt x="194" y="1357"/>
                </a:lnTo>
                <a:lnTo>
                  <a:pt x="194" y="1360"/>
                </a:lnTo>
                <a:lnTo>
                  <a:pt x="194" y="1364"/>
                </a:lnTo>
                <a:lnTo>
                  <a:pt x="194" y="1369"/>
                </a:lnTo>
                <a:lnTo>
                  <a:pt x="192" y="1374"/>
                </a:lnTo>
                <a:lnTo>
                  <a:pt x="188" y="1385"/>
                </a:lnTo>
                <a:lnTo>
                  <a:pt x="186" y="1386"/>
                </a:lnTo>
                <a:lnTo>
                  <a:pt x="186" y="1391"/>
                </a:lnTo>
                <a:lnTo>
                  <a:pt x="186" y="1397"/>
                </a:lnTo>
                <a:lnTo>
                  <a:pt x="186" y="1398"/>
                </a:lnTo>
                <a:lnTo>
                  <a:pt x="188" y="1405"/>
                </a:lnTo>
                <a:lnTo>
                  <a:pt x="191" y="1411"/>
                </a:lnTo>
                <a:lnTo>
                  <a:pt x="195" y="1415"/>
                </a:lnTo>
                <a:lnTo>
                  <a:pt x="199" y="1420"/>
                </a:lnTo>
                <a:lnTo>
                  <a:pt x="200" y="1423"/>
                </a:lnTo>
                <a:lnTo>
                  <a:pt x="203" y="1429"/>
                </a:lnTo>
                <a:lnTo>
                  <a:pt x="203" y="1432"/>
                </a:lnTo>
                <a:lnTo>
                  <a:pt x="205" y="1434"/>
                </a:lnTo>
                <a:lnTo>
                  <a:pt x="210" y="1435"/>
                </a:lnTo>
                <a:lnTo>
                  <a:pt x="214" y="1437"/>
                </a:lnTo>
                <a:lnTo>
                  <a:pt x="226" y="1435"/>
                </a:lnTo>
                <a:lnTo>
                  <a:pt x="229" y="1435"/>
                </a:lnTo>
                <a:lnTo>
                  <a:pt x="234" y="1434"/>
                </a:lnTo>
                <a:lnTo>
                  <a:pt x="237" y="1432"/>
                </a:lnTo>
                <a:lnTo>
                  <a:pt x="242" y="1432"/>
                </a:lnTo>
                <a:lnTo>
                  <a:pt x="243" y="1437"/>
                </a:lnTo>
                <a:lnTo>
                  <a:pt x="243" y="1442"/>
                </a:lnTo>
                <a:lnTo>
                  <a:pt x="243" y="1452"/>
                </a:lnTo>
                <a:lnTo>
                  <a:pt x="242" y="1466"/>
                </a:lnTo>
                <a:lnTo>
                  <a:pt x="243" y="1471"/>
                </a:lnTo>
                <a:lnTo>
                  <a:pt x="245" y="1472"/>
                </a:lnTo>
                <a:lnTo>
                  <a:pt x="248" y="1478"/>
                </a:lnTo>
                <a:lnTo>
                  <a:pt x="250" y="1482"/>
                </a:lnTo>
                <a:lnTo>
                  <a:pt x="250" y="1483"/>
                </a:lnTo>
                <a:lnTo>
                  <a:pt x="251" y="1486"/>
                </a:lnTo>
                <a:lnTo>
                  <a:pt x="254" y="1491"/>
                </a:lnTo>
                <a:lnTo>
                  <a:pt x="260" y="1497"/>
                </a:lnTo>
                <a:lnTo>
                  <a:pt x="262" y="1499"/>
                </a:lnTo>
                <a:lnTo>
                  <a:pt x="263" y="1502"/>
                </a:lnTo>
                <a:lnTo>
                  <a:pt x="266" y="1519"/>
                </a:lnTo>
                <a:lnTo>
                  <a:pt x="268" y="1526"/>
                </a:lnTo>
                <a:lnTo>
                  <a:pt x="271" y="1533"/>
                </a:lnTo>
                <a:lnTo>
                  <a:pt x="277" y="1543"/>
                </a:lnTo>
                <a:lnTo>
                  <a:pt x="280" y="1552"/>
                </a:lnTo>
                <a:lnTo>
                  <a:pt x="282" y="1557"/>
                </a:lnTo>
                <a:lnTo>
                  <a:pt x="283" y="1559"/>
                </a:lnTo>
                <a:lnTo>
                  <a:pt x="280" y="1560"/>
                </a:lnTo>
                <a:lnTo>
                  <a:pt x="274" y="1563"/>
                </a:lnTo>
                <a:lnTo>
                  <a:pt x="273" y="1566"/>
                </a:lnTo>
                <a:lnTo>
                  <a:pt x="273" y="1569"/>
                </a:lnTo>
                <a:lnTo>
                  <a:pt x="273" y="1574"/>
                </a:lnTo>
                <a:lnTo>
                  <a:pt x="274" y="1576"/>
                </a:lnTo>
                <a:lnTo>
                  <a:pt x="276" y="1577"/>
                </a:lnTo>
                <a:lnTo>
                  <a:pt x="274" y="1577"/>
                </a:lnTo>
                <a:lnTo>
                  <a:pt x="274" y="1579"/>
                </a:lnTo>
                <a:lnTo>
                  <a:pt x="274" y="1580"/>
                </a:lnTo>
                <a:lnTo>
                  <a:pt x="274" y="1582"/>
                </a:lnTo>
                <a:lnTo>
                  <a:pt x="274" y="1583"/>
                </a:lnTo>
                <a:lnTo>
                  <a:pt x="274" y="1585"/>
                </a:lnTo>
                <a:lnTo>
                  <a:pt x="277" y="1586"/>
                </a:lnTo>
                <a:lnTo>
                  <a:pt x="280" y="1586"/>
                </a:lnTo>
                <a:lnTo>
                  <a:pt x="283" y="1588"/>
                </a:lnTo>
                <a:lnTo>
                  <a:pt x="285" y="1591"/>
                </a:lnTo>
                <a:lnTo>
                  <a:pt x="283" y="1593"/>
                </a:lnTo>
                <a:lnTo>
                  <a:pt x="279" y="1594"/>
                </a:lnTo>
                <a:lnTo>
                  <a:pt x="279" y="1596"/>
                </a:lnTo>
                <a:lnTo>
                  <a:pt x="277" y="1597"/>
                </a:lnTo>
                <a:lnTo>
                  <a:pt x="276" y="1597"/>
                </a:lnTo>
                <a:lnTo>
                  <a:pt x="274" y="1597"/>
                </a:lnTo>
                <a:lnTo>
                  <a:pt x="273" y="1597"/>
                </a:lnTo>
                <a:lnTo>
                  <a:pt x="271" y="1597"/>
                </a:lnTo>
                <a:lnTo>
                  <a:pt x="269" y="1597"/>
                </a:lnTo>
                <a:lnTo>
                  <a:pt x="263" y="1602"/>
                </a:lnTo>
                <a:lnTo>
                  <a:pt x="262" y="1603"/>
                </a:lnTo>
                <a:lnTo>
                  <a:pt x="262" y="1606"/>
                </a:lnTo>
                <a:lnTo>
                  <a:pt x="263" y="1608"/>
                </a:lnTo>
                <a:lnTo>
                  <a:pt x="262" y="1609"/>
                </a:lnTo>
                <a:lnTo>
                  <a:pt x="260" y="1609"/>
                </a:lnTo>
                <a:lnTo>
                  <a:pt x="259" y="1611"/>
                </a:lnTo>
                <a:lnTo>
                  <a:pt x="256" y="1612"/>
                </a:lnTo>
                <a:lnTo>
                  <a:pt x="253" y="1612"/>
                </a:lnTo>
                <a:lnTo>
                  <a:pt x="240" y="1612"/>
                </a:lnTo>
                <a:lnTo>
                  <a:pt x="237" y="1609"/>
                </a:lnTo>
                <a:lnTo>
                  <a:pt x="236" y="1608"/>
                </a:lnTo>
                <a:lnTo>
                  <a:pt x="234" y="1606"/>
                </a:lnTo>
                <a:lnTo>
                  <a:pt x="234" y="1602"/>
                </a:lnTo>
                <a:lnTo>
                  <a:pt x="232" y="1597"/>
                </a:lnTo>
                <a:lnTo>
                  <a:pt x="232" y="1596"/>
                </a:lnTo>
                <a:lnTo>
                  <a:pt x="234" y="1596"/>
                </a:lnTo>
                <a:lnTo>
                  <a:pt x="236" y="1594"/>
                </a:lnTo>
                <a:lnTo>
                  <a:pt x="236" y="1593"/>
                </a:lnTo>
                <a:lnTo>
                  <a:pt x="234" y="1589"/>
                </a:lnTo>
                <a:lnTo>
                  <a:pt x="231" y="1589"/>
                </a:lnTo>
                <a:lnTo>
                  <a:pt x="220" y="1593"/>
                </a:lnTo>
                <a:lnTo>
                  <a:pt x="216" y="1596"/>
                </a:lnTo>
                <a:lnTo>
                  <a:pt x="214" y="1597"/>
                </a:lnTo>
                <a:lnTo>
                  <a:pt x="210" y="1597"/>
                </a:lnTo>
                <a:lnTo>
                  <a:pt x="206" y="1599"/>
                </a:lnTo>
                <a:lnTo>
                  <a:pt x="203" y="1600"/>
                </a:lnTo>
                <a:lnTo>
                  <a:pt x="202" y="1602"/>
                </a:lnTo>
                <a:lnTo>
                  <a:pt x="200" y="1602"/>
                </a:lnTo>
                <a:lnTo>
                  <a:pt x="194" y="1603"/>
                </a:lnTo>
                <a:lnTo>
                  <a:pt x="191" y="1605"/>
                </a:lnTo>
                <a:lnTo>
                  <a:pt x="189" y="1605"/>
                </a:lnTo>
                <a:lnTo>
                  <a:pt x="188" y="1606"/>
                </a:lnTo>
                <a:lnTo>
                  <a:pt x="186" y="1614"/>
                </a:lnTo>
                <a:lnTo>
                  <a:pt x="185" y="1617"/>
                </a:lnTo>
                <a:lnTo>
                  <a:pt x="182" y="1620"/>
                </a:lnTo>
                <a:lnTo>
                  <a:pt x="177" y="1622"/>
                </a:lnTo>
                <a:lnTo>
                  <a:pt x="157" y="1622"/>
                </a:lnTo>
                <a:lnTo>
                  <a:pt x="152" y="1620"/>
                </a:lnTo>
                <a:lnTo>
                  <a:pt x="148" y="1619"/>
                </a:lnTo>
                <a:lnTo>
                  <a:pt x="140" y="1609"/>
                </a:lnTo>
                <a:lnTo>
                  <a:pt x="137" y="1608"/>
                </a:lnTo>
                <a:lnTo>
                  <a:pt x="111" y="1606"/>
                </a:lnTo>
                <a:lnTo>
                  <a:pt x="103" y="1609"/>
                </a:lnTo>
                <a:lnTo>
                  <a:pt x="99" y="1611"/>
                </a:lnTo>
                <a:lnTo>
                  <a:pt x="97" y="1609"/>
                </a:lnTo>
                <a:lnTo>
                  <a:pt x="92" y="1606"/>
                </a:lnTo>
                <a:lnTo>
                  <a:pt x="89" y="1606"/>
                </a:lnTo>
                <a:lnTo>
                  <a:pt x="88" y="1606"/>
                </a:lnTo>
                <a:lnTo>
                  <a:pt x="83" y="1609"/>
                </a:lnTo>
                <a:lnTo>
                  <a:pt x="81" y="1609"/>
                </a:lnTo>
                <a:lnTo>
                  <a:pt x="80" y="1609"/>
                </a:lnTo>
                <a:lnTo>
                  <a:pt x="78" y="1608"/>
                </a:lnTo>
                <a:lnTo>
                  <a:pt x="77" y="1605"/>
                </a:lnTo>
                <a:lnTo>
                  <a:pt x="75" y="1603"/>
                </a:lnTo>
                <a:lnTo>
                  <a:pt x="74" y="1602"/>
                </a:lnTo>
                <a:lnTo>
                  <a:pt x="72" y="1602"/>
                </a:lnTo>
                <a:lnTo>
                  <a:pt x="72" y="1603"/>
                </a:lnTo>
                <a:lnTo>
                  <a:pt x="71" y="1605"/>
                </a:lnTo>
                <a:lnTo>
                  <a:pt x="68" y="1611"/>
                </a:lnTo>
                <a:lnTo>
                  <a:pt x="68" y="1612"/>
                </a:lnTo>
                <a:lnTo>
                  <a:pt x="66" y="1611"/>
                </a:lnTo>
                <a:lnTo>
                  <a:pt x="65" y="1603"/>
                </a:lnTo>
                <a:lnTo>
                  <a:pt x="63" y="1602"/>
                </a:lnTo>
                <a:lnTo>
                  <a:pt x="59" y="1600"/>
                </a:lnTo>
                <a:lnTo>
                  <a:pt x="57" y="1606"/>
                </a:lnTo>
                <a:lnTo>
                  <a:pt x="57" y="1615"/>
                </a:lnTo>
                <a:lnTo>
                  <a:pt x="57" y="1628"/>
                </a:lnTo>
                <a:lnTo>
                  <a:pt x="57" y="1645"/>
                </a:lnTo>
                <a:lnTo>
                  <a:pt x="49" y="1645"/>
                </a:lnTo>
                <a:lnTo>
                  <a:pt x="40" y="1645"/>
                </a:lnTo>
                <a:lnTo>
                  <a:pt x="28" y="1645"/>
                </a:lnTo>
                <a:lnTo>
                  <a:pt x="23" y="1646"/>
                </a:lnTo>
                <a:lnTo>
                  <a:pt x="20" y="1649"/>
                </a:lnTo>
                <a:lnTo>
                  <a:pt x="20" y="1648"/>
                </a:lnTo>
                <a:lnTo>
                  <a:pt x="20" y="1646"/>
                </a:lnTo>
                <a:lnTo>
                  <a:pt x="20" y="1645"/>
                </a:lnTo>
                <a:lnTo>
                  <a:pt x="18" y="1645"/>
                </a:lnTo>
                <a:lnTo>
                  <a:pt x="18" y="1646"/>
                </a:lnTo>
                <a:lnTo>
                  <a:pt x="18" y="1648"/>
                </a:lnTo>
                <a:lnTo>
                  <a:pt x="18" y="1649"/>
                </a:lnTo>
                <a:lnTo>
                  <a:pt x="17" y="1651"/>
                </a:lnTo>
                <a:lnTo>
                  <a:pt x="15" y="1652"/>
                </a:lnTo>
                <a:lnTo>
                  <a:pt x="14" y="1651"/>
                </a:lnTo>
                <a:lnTo>
                  <a:pt x="14" y="1649"/>
                </a:lnTo>
                <a:lnTo>
                  <a:pt x="12" y="1649"/>
                </a:lnTo>
                <a:lnTo>
                  <a:pt x="11" y="1649"/>
                </a:lnTo>
                <a:lnTo>
                  <a:pt x="11" y="1651"/>
                </a:lnTo>
                <a:lnTo>
                  <a:pt x="11" y="1652"/>
                </a:lnTo>
                <a:lnTo>
                  <a:pt x="11" y="1654"/>
                </a:lnTo>
                <a:lnTo>
                  <a:pt x="9" y="1654"/>
                </a:lnTo>
                <a:lnTo>
                  <a:pt x="9" y="1656"/>
                </a:lnTo>
                <a:lnTo>
                  <a:pt x="8" y="1656"/>
                </a:lnTo>
                <a:lnTo>
                  <a:pt x="6" y="1656"/>
                </a:lnTo>
                <a:lnTo>
                  <a:pt x="4" y="1660"/>
                </a:lnTo>
                <a:lnTo>
                  <a:pt x="4" y="1662"/>
                </a:lnTo>
                <a:lnTo>
                  <a:pt x="3" y="1662"/>
                </a:lnTo>
                <a:lnTo>
                  <a:pt x="3" y="1667"/>
                </a:lnTo>
                <a:lnTo>
                  <a:pt x="3" y="1670"/>
                </a:lnTo>
                <a:lnTo>
                  <a:pt x="1" y="1671"/>
                </a:lnTo>
                <a:lnTo>
                  <a:pt x="3" y="1673"/>
                </a:lnTo>
                <a:lnTo>
                  <a:pt x="3" y="1671"/>
                </a:lnTo>
                <a:lnTo>
                  <a:pt x="6" y="1670"/>
                </a:lnTo>
                <a:lnTo>
                  <a:pt x="6" y="1671"/>
                </a:lnTo>
                <a:lnTo>
                  <a:pt x="4" y="1674"/>
                </a:lnTo>
                <a:lnTo>
                  <a:pt x="6" y="1676"/>
                </a:lnTo>
                <a:lnTo>
                  <a:pt x="6" y="1679"/>
                </a:lnTo>
                <a:lnTo>
                  <a:pt x="8" y="1680"/>
                </a:lnTo>
                <a:lnTo>
                  <a:pt x="9" y="1682"/>
                </a:lnTo>
                <a:lnTo>
                  <a:pt x="11" y="1682"/>
                </a:lnTo>
                <a:lnTo>
                  <a:pt x="14" y="1680"/>
                </a:lnTo>
                <a:lnTo>
                  <a:pt x="12" y="1682"/>
                </a:lnTo>
                <a:lnTo>
                  <a:pt x="12" y="1683"/>
                </a:lnTo>
                <a:lnTo>
                  <a:pt x="11" y="1683"/>
                </a:lnTo>
                <a:lnTo>
                  <a:pt x="9" y="1685"/>
                </a:lnTo>
                <a:lnTo>
                  <a:pt x="8" y="1683"/>
                </a:lnTo>
                <a:lnTo>
                  <a:pt x="6" y="1682"/>
                </a:lnTo>
                <a:lnTo>
                  <a:pt x="6" y="1683"/>
                </a:lnTo>
                <a:lnTo>
                  <a:pt x="4" y="1683"/>
                </a:lnTo>
                <a:lnTo>
                  <a:pt x="4" y="1685"/>
                </a:lnTo>
                <a:lnTo>
                  <a:pt x="3" y="1686"/>
                </a:lnTo>
                <a:lnTo>
                  <a:pt x="1" y="1686"/>
                </a:lnTo>
                <a:lnTo>
                  <a:pt x="0" y="1688"/>
                </a:lnTo>
                <a:lnTo>
                  <a:pt x="1" y="1689"/>
                </a:lnTo>
                <a:lnTo>
                  <a:pt x="4" y="1691"/>
                </a:lnTo>
                <a:lnTo>
                  <a:pt x="9" y="1691"/>
                </a:lnTo>
                <a:lnTo>
                  <a:pt x="15" y="1691"/>
                </a:lnTo>
                <a:lnTo>
                  <a:pt x="17" y="1693"/>
                </a:lnTo>
                <a:lnTo>
                  <a:pt x="18" y="1691"/>
                </a:lnTo>
                <a:lnTo>
                  <a:pt x="20" y="1691"/>
                </a:lnTo>
                <a:lnTo>
                  <a:pt x="20" y="1689"/>
                </a:lnTo>
                <a:lnTo>
                  <a:pt x="20" y="1688"/>
                </a:lnTo>
                <a:lnTo>
                  <a:pt x="26" y="1677"/>
                </a:lnTo>
                <a:lnTo>
                  <a:pt x="28" y="1676"/>
                </a:lnTo>
                <a:lnTo>
                  <a:pt x="29" y="1676"/>
                </a:lnTo>
                <a:lnTo>
                  <a:pt x="32" y="1674"/>
                </a:lnTo>
                <a:lnTo>
                  <a:pt x="35" y="1673"/>
                </a:lnTo>
                <a:lnTo>
                  <a:pt x="37" y="1671"/>
                </a:lnTo>
                <a:lnTo>
                  <a:pt x="38" y="1671"/>
                </a:lnTo>
                <a:lnTo>
                  <a:pt x="40" y="1670"/>
                </a:lnTo>
                <a:lnTo>
                  <a:pt x="43" y="1670"/>
                </a:lnTo>
                <a:lnTo>
                  <a:pt x="45" y="1668"/>
                </a:lnTo>
                <a:lnTo>
                  <a:pt x="45" y="1667"/>
                </a:lnTo>
                <a:lnTo>
                  <a:pt x="46" y="1663"/>
                </a:lnTo>
                <a:lnTo>
                  <a:pt x="48" y="1662"/>
                </a:lnTo>
                <a:lnTo>
                  <a:pt x="49" y="1662"/>
                </a:lnTo>
                <a:lnTo>
                  <a:pt x="54" y="1662"/>
                </a:lnTo>
                <a:lnTo>
                  <a:pt x="55" y="1660"/>
                </a:lnTo>
                <a:lnTo>
                  <a:pt x="59" y="1659"/>
                </a:lnTo>
                <a:lnTo>
                  <a:pt x="60" y="1656"/>
                </a:lnTo>
                <a:lnTo>
                  <a:pt x="62" y="1657"/>
                </a:lnTo>
                <a:lnTo>
                  <a:pt x="65" y="1656"/>
                </a:lnTo>
                <a:lnTo>
                  <a:pt x="66" y="1656"/>
                </a:lnTo>
                <a:lnTo>
                  <a:pt x="60" y="1660"/>
                </a:lnTo>
                <a:lnTo>
                  <a:pt x="60" y="1662"/>
                </a:lnTo>
                <a:lnTo>
                  <a:pt x="59" y="1662"/>
                </a:lnTo>
                <a:lnTo>
                  <a:pt x="57" y="1663"/>
                </a:lnTo>
                <a:lnTo>
                  <a:pt x="55" y="1663"/>
                </a:lnTo>
                <a:lnTo>
                  <a:pt x="52" y="1663"/>
                </a:lnTo>
                <a:lnTo>
                  <a:pt x="51" y="1663"/>
                </a:lnTo>
                <a:lnTo>
                  <a:pt x="49" y="1667"/>
                </a:lnTo>
                <a:lnTo>
                  <a:pt x="48" y="1671"/>
                </a:lnTo>
                <a:lnTo>
                  <a:pt x="45" y="1673"/>
                </a:lnTo>
                <a:lnTo>
                  <a:pt x="43" y="1674"/>
                </a:lnTo>
                <a:lnTo>
                  <a:pt x="40" y="1677"/>
                </a:lnTo>
                <a:lnTo>
                  <a:pt x="38" y="1680"/>
                </a:lnTo>
                <a:lnTo>
                  <a:pt x="37" y="1680"/>
                </a:lnTo>
                <a:lnTo>
                  <a:pt x="35" y="1682"/>
                </a:lnTo>
                <a:lnTo>
                  <a:pt x="34" y="1682"/>
                </a:lnTo>
                <a:lnTo>
                  <a:pt x="32" y="1683"/>
                </a:lnTo>
                <a:lnTo>
                  <a:pt x="31" y="1683"/>
                </a:lnTo>
                <a:lnTo>
                  <a:pt x="32" y="1685"/>
                </a:lnTo>
                <a:lnTo>
                  <a:pt x="34" y="1685"/>
                </a:lnTo>
                <a:lnTo>
                  <a:pt x="34" y="1688"/>
                </a:lnTo>
                <a:lnTo>
                  <a:pt x="32" y="1688"/>
                </a:lnTo>
                <a:lnTo>
                  <a:pt x="28" y="1686"/>
                </a:lnTo>
                <a:lnTo>
                  <a:pt x="26" y="1688"/>
                </a:lnTo>
                <a:lnTo>
                  <a:pt x="26" y="1691"/>
                </a:lnTo>
                <a:lnTo>
                  <a:pt x="26" y="1696"/>
                </a:lnTo>
                <a:lnTo>
                  <a:pt x="26" y="1702"/>
                </a:lnTo>
                <a:lnTo>
                  <a:pt x="26" y="1703"/>
                </a:lnTo>
                <a:lnTo>
                  <a:pt x="28" y="1703"/>
                </a:lnTo>
                <a:lnTo>
                  <a:pt x="29" y="1702"/>
                </a:lnTo>
                <a:lnTo>
                  <a:pt x="29" y="1700"/>
                </a:lnTo>
                <a:lnTo>
                  <a:pt x="29" y="1699"/>
                </a:lnTo>
                <a:lnTo>
                  <a:pt x="29" y="1696"/>
                </a:lnTo>
                <a:lnTo>
                  <a:pt x="29" y="1697"/>
                </a:lnTo>
                <a:lnTo>
                  <a:pt x="31" y="1699"/>
                </a:lnTo>
                <a:lnTo>
                  <a:pt x="31" y="1700"/>
                </a:lnTo>
                <a:lnTo>
                  <a:pt x="32" y="1700"/>
                </a:lnTo>
                <a:lnTo>
                  <a:pt x="32" y="1699"/>
                </a:lnTo>
                <a:lnTo>
                  <a:pt x="34" y="1700"/>
                </a:lnTo>
                <a:lnTo>
                  <a:pt x="31" y="1702"/>
                </a:lnTo>
                <a:lnTo>
                  <a:pt x="29" y="1703"/>
                </a:lnTo>
                <a:lnTo>
                  <a:pt x="28" y="1707"/>
                </a:lnTo>
                <a:lnTo>
                  <a:pt x="28" y="1710"/>
                </a:lnTo>
                <a:lnTo>
                  <a:pt x="29" y="1711"/>
                </a:lnTo>
                <a:lnTo>
                  <a:pt x="31" y="1710"/>
                </a:lnTo>
                <a:lnTo>
                  <a:pt x="31" y="1711"/>
                </a:lnTo>
                <a:lnTo>
                  <a:pt x="31" y="1713"/>
                </a:lnTo>
                <a:lnTo>
                  <a:pt x="31" y="1714"/>
                </a:lnTo>
                <a:lnTo>
                  <a:pt x="32" y="1714"/>
                </a:lnTo>
                <a:lnTo>
                  <a:pt x="34" y="1714"/>
                </a:lnTo>
                <a:lnTo>
                  <a:pt x="34" y="1713"/>
                </a:lnTo>
                <a:lnTo>
                  <a:pt x="35" y="1711"/>
                </a:lnTo>
                <a:lnTo>
                  <a:pt x="35" y="1713"/>
                </a:lnTo>
                <a:lnTo>
                  <a:pt x="37" y="1711"/>
                </a:lnTo>
                <a:lnTo>
                  <a:pt x="38" y="1713"/>
                </a:lnTo>
                <a:lnTo>
                  <a:pt x="37" y="1713"/>
                </a:lnTo>
                <a:lnTo>
                  <a:pt x="37" y="1714"/>
                </a:lnTo>
                <a:lnTo>
                  <a:pt x="35" y="1714"/>
                </a:lnTo>
                <a:lnTo>
                  <a:pt x="35" y="1716"/>
                </a:lnTo>
                <a:lnTo>
                  <a:pt x="35" y="1717"/>
                </a:lnTo>
                <a:lnTo>
                  <a:pt x="37" y="1719"/>
                </a:lnTo>
                <a:lnTo>
                  <a:pt x="38" y="1720"/>
                </a:lnTo>
                <a:lnTo>
                  <a:pt x="40" y="1719"/>
                </a:lnTo>
                <a:lnTo>
                  <a:pt x="41" y="1719"/>
                </a:lnTo>
                <a:lnTo>
                  <a:pt x="41" y="1720"/>
                </a:lnTo>
                <a:lnTo>
                  <a:pt x="41" y="1722"/>
                </a:lnTo>
                <a:lnTo>
                  <a:pt x="43" y="1722"/>
                </a:lnTo>
                <a:lnTo>
                  <a:pt x="45" y="1723"/>
                </a:lnTo>
                <a:lnTo>
                  <a:pt x="41" y="1725"/>
                </a:lnTo>
                <a:lnTo>
                  <a:pt x="40" y="1725"/>
                </a:lnTo>
                <a:lnTo>
                  <a:pt x="38" y="1730"/>
                </a:lnTo>
                <a:lnTo>
                  <a:pt x="40" y="1731"/>
                </a:lnTo>
                <a:lnTo>
                  <a:pt x="41" y="1733"/>
                </a:lnTo>
                <a:lnTo>
                  <a:pt x="45" y="1731"/>
                </a:lnTo>
                <a:lnTo>
                  <a:pt x="46" y="1731"/>
                </a:lnTo>
                <a:lnTo>
                  <a:pt x="46" y="1733"/>
                </a:lnTo>
                <a:lnTo>
                  <a:pt x="45" y="1736"/>
                </a:lnTo>
                <a:lnTo>
                  <a:pt x="45" y="1734"/>
                </a:lnTo>
                <a:lnTo>
                  <a:pt x="45" y="1736"/>
                </a:lnTo>
                <a:lnTo>
                  <a:pt x="45" y="1739"/>
                </a:lnTo>
                <a:lnTo>
                  <a:pt x="46" y="1740"/>
                </a:lnTo>
                <a:lnTo>
                  <a:pt x="49" y="1742"/>
                </a:lnTo>
                <a:lnTo>
                  <a:pt x="49" y="1744"/>
                </a:lnTo>
                <a:lnTo>
                  <a:pt x="51" y="1745"/>
                </a:lnTo>
                <a:lnTo>
                  <a:pt x="54" y="1748"/>
                </a:lnTo>
                <a:lnTo>
                  <a:pt x="71" y="1760"/>
                </a:lnTo>
                <a:lnTo>
                  <a:pt x="86" y="1770"/>
                </a:lnTo>
                <a:lnTo>
                  <a:pt x="96" y="1777"/>
                </a:lnTo>
                <a:lnTo>
                  <a:pt x="103" y="1782"/>
                </a:lnTo>
                <a:lnTo>
                  <a:pt x="106" y="1782"/>
                </a:lnTo>
                <a:lnTo>
                  <a:pt x="115" y="1784"/>
                </a:lnTo>
                <a:lnTo>
                  <a:pt x="118" y="1785"/>
                </a:lnTo>
                <a:lnTo>
                  <a:pt x="122" y="1787"/>
                </a:lnTo>
                <a:lnTo>
                  <a:pt x="125" y="1787"/>
                </a:lnTo>
                <a:lnTo>
                  <a:pt x="129" y="1788"/>
                </a:lnTo>
                <a:lnTo>
                  <a:pt x="129" y="1790"/>
                </a:lnTo>
                <a:lnTo>
                  <a:pt x="131" y="1790"/>
                </a:lnTo>
                <a:lnTo>
                  <a:pt x="132" y="1790"/>
                </a:lnTo>
                <a:lnTo>
                  <a:pt x="136" y="1790"/>
                </a:lnTo>
                <a:lnTo>
                  <a:pt x="137" y="1790"/>
                </a:lnTo>
                <a:lnTo>
                  <a:pt x="139" y="1791"/>
                </a:lnTo>
                <a:lnTo>
                  <a:pt x="140" y="1793"/>
                </a:lnTo>
                <a:lnTo>
                  <a:pt x="146" y="1793"/>
                </a:lnTo>
                <a:lnTo>
                  <a:pt x="151" y="1794"/>
                </a:lnTo>
                <a:lnTo>
                  <a:pt x="152" y="1794"/>
                </a:lnTo>
                <a:lnTo>
                  <a:pt x="154" y="1793"/>
                </a:lnTo>
                <a:lnTo>
                  <a:pt x="157" y="1787"/>
                </a:lnTo>
                <a:lnTo>
                  <a:pt x="159" y="1785"/>
                </a:lnTo>
                <a:lnTo>
                  <a:pt x="162" y="1782"/>
                </a:lnTo>
                <a:lnTo>
                  <a:pt x="163" y="1781"/>
                </a:lnTo>
                <a:lnTo>
                  <a:pt x="166" y="1781"/>
                </a:lnTo>
                <a:lnTo>
                  <a:pt x="169" y="1779"/>
                </a:lnTo>
                <a:lnTo>
                  <a:pt x="174" y="1777"/>
                </a:lnTo>
                <a:lnTo>
                  <a:pt x="180" y="1776"/>
                </a:lnTo>
                <a:lnTo>
                  <a:pt x="186" y="1773"/>
                </a:lnTo>
                <a:lnTo>
                  <a:pt x="191" y="1773"/>
                </a:lnTo>
                <a:lnTo>
                  <a:pt x="192" y="1771"/>
                </a:lnTo>
                <a:lnTo>
                  <a:pt x="191" y="1770"/>
                </a:lnTo>
                <a:lnTo>
                  <a:pt x="191" y="1768"/>
                </a:lnTo>
                <a:lnTo>
                  <a:pt x="192" y="1763"/>
                </a:lnTo>
                <a:lnTo>
                  <a:pt x="192" y="1765"/>
                </a:lnTo>
                <a:lnTo>
                  <a:pt x="192" y="1767"/>
                </a:lnTo>
                <a:lnTo>
                  <a:pt x="194" y="1768"/>
                </a:lnTo>
                <a:lnTo>
                  <a:pt x="195" y="1768"/>
                </a:lnTo>
                <a:lnTo>
                  <a:pt x="195" y="1770"/>
                </a:lnTo>
                <a:lnTo>
                  <a:pt x="197" y="1770"/>
                </a:lnTo>
                <a:lnTo>
                  <a:pt x="200" y="1770"/>
                </a:lnTo>
                <a:lnTo>
                  <a:pt x="202" y="1768"/>
                </a:lnTo>
                <a:lnTo>
                  <a:pt x="202" y="1767"/>
                </a:lnTo>
                <a:lnTo>
                  <a:pt x="202" y="1763"/>
                </a:lnTo>
                <a:lnTo>
                  <a:pt x="205" y="1765"/>
                </a:lnTo>
                <a:lnTo>
                  <a:pt x="205" y="1767"/>
                </a:lnTo>
                <a:lnTo>
                  <a:pt x="206" y="1768"/>
                </a:lnTo>
                <a:lnTo>
                  <a:pt x="208" y="1770"/>
                </a:lnTo>
                <a:lnTo>
                  <a:pt x="210" y="1770"/>
                </a:lnTo>
                <a:lnTo>
                  <a:pt x="210" y="1771"/>
                </a:lnTo>
                <a:lnTo>
                  <a:pt x="211" y="1770"/>
                </a:lnTo>
                <a:lnTo>
                  <a:pt x="213" y="1770"/>
                </a:lnTo>
                <a:lnTo>
                  <a:pt x="213" y="1771"/>
                </a:lnTo>
                <a:lnTo>
                  <a:pt x="214" y="1771"/>
                </a:lnTo>
                <a:lnTo>
                  <a:pt x="216" y="1771"/>
                </a:lnTo>
                <a:lnTo>
                  <a:pt x="217" y="1771"/>
                </a:lnTo>
                <a:lnTo>
                  <a:pt x="219" y="1770"/>
                </a:lnTo>
                <a:lnTo>
                  <a:pt x="219" y="1767"/>
                </a:lnTo>
                <a:lnTo>
                  <a:pt x="219" y="1765"/>
                </a:lnTo>
                <a:lnTo>
                  <a:pt x="219" y="1763"/>
                </a:lnTo>
                <a:lnTo>
                  <a:pt x="220" y="1760"/>
                </a:lnTo>
                <a:lnTo>
                  <a:pt x="219" y="1759"/>
                </a:lnTo>
                <a:lnTo>
                  <a:pt x="219" y="1757"/>
                </a:lnTo>
                <a:lnTo>
                  <a:pt x="219" y="1756"/>
                </a:lnTo>
                <a:lnTo>
                  <a:pt x="219" y="1754"/>
                </a:lnTo>
                <a:lnTo>
                  <a:pt x="220" y="1753"/>
                </a:lnTo>
                <a:lnTo>
                  <a:pt x="223" y="1751"/>
                </a:lnTo>
                <a:lnTo>
                  <a:pt x="225" y="1750"/>
                </a:lnTo>
                <a:lnTo>
                  <a:pt x="225" y="1748"/>
                </a:lnTo>
                <a:lnTo>
                  <a:pt x="226" y="1748"/>
                </a:lnTo>
                <a:lnTo>
                  <a:pt x="228" y="1751"/>
                </a:lnTo>
                <a:lnTo>
                  <a:pt x="229" y="1753"/>
                </a:lnTo>
                <a:lnTo>
                  <a:pt x="231" y="1754"/>
                </a:lnTo>
                <a:lnTo>
                  <a:pt x="231" y="1757"/>
                </a:lnTo>
                <a:lnTo>
                  <a:pt x="231" y="1760"/>
                </a:lnTo>
                <a:lnTo>
                  <a:pt x="229" y="1763"/>
                </a:lnTo>
                <a:lnTo>
                  <a:pt x="229" y="1765"/>
                </a:lnTo>
                <a:lnTo>
                  <a:pt x="228" y="1767"/>
                </a:lnTo>
                <a:lnTo>
                  <a:pt x="226" y="1768"/>
                </a:lnTo>
                <a:lnTo>
                  <a:pt x="225" y="1768"/>
                </a:lnTo>
                <a:lnTo>
                  <a:pt x="223" y="1768"/>
                </a:lnTo>
                <a:lnTo>
                  <a:pt x="222" y="1768"/>
                </a:lnTo>
                <a:lnTo>
                  <a:pt x="219" y="1773"/>
                </a:lnTo>
                <a:lnTo>
                  <a:pt x="217" y="1774"/>
                </a:lnTo>
                <a:lnTo>
                  <a:pt x="216" y="1776"/>
                </a:lnTo>
                <a:lnTo>
                  <a:pt x="213" y="1782"/>
                </a:lnTo>
                <a:lnTo>
                  <a:pt x="211" y="1785"/>
                </a:lnTo>
                <a:lnTo>
                  <a:pt x="211" y="1787"/>
                </a:lnTo>
                <a:lnTo>
                  <a:pt x="211" y="1790"/>
                </a:lnTo>
                <a:lnTo>
                  <a:pt x="206" y="1799"/>
                </a:lnTo>
                <a:lnTo>
                  <a:pt x="203" y="1807"/>
                </a:lnTo>
                <a:lnTo>
                  <a:pt x="200" y="1810"/>
                </a:lnTo>
                <a:lnTo>
                  <a:pt x="199" y="1814"/>
                </a:lnTo>
                <a:lnTo>
                  <a:pt x="197" y="1816"/>
                </a:lnTo>
                <a:lnTo>
                  <a:pt x="194" y="1819"/>
                </a:lnTo>
                <a:lnTo>
                  <a:pt x="186" y="1818"/>
                </a:lnTo>
                <a:lnTo>
                  <a:pt x="182" y="1818"/>
                </a:lnTo>
                <a:lnTo>
                  <a:pt x="180" y="1819"/>
                </a:lnTo>
                <a:lnTo>
                  <a:pt x="177" y="1819"/>
                </a:lnTo>
                <a:lnTo>
                  <a:pt x="176" y="1821"/>
                </a:lnTo>
                <a:lnTo>
                  <a:pt x="171" y="1825"/>
                </a:lnTo>
                <a:lnTo>
                  <a:pt x="169" y="1827"/>
                </a:lnTo>
                <a:lnTo>
                  <a:pt x="166" y="1828"/>
                </a:lnTo>
                <a:lnTo>
                  <a:pt x="165" y="1828"/>
                </a:lnTo>
                <a:lnTo>
                  <a:pt x="163" y="1828"/>
                </a:lnTo>
                <a:lnTo>
                  <a:pt x="163" y="1830"/>
                </a:lnTo>
                <a:lnTo>
                  <a:pt x="162" y="1831"/>
                </a:lnTo>
                <a:lnTo>
                  <a:pt x="162" y="1833"/>
                </a:lnTo>
                <a:lnTo>
                  <a:pt x="162" y="1834"/>
                </a:lnTo>
                <a:lnTo>
                  <a:pt x="160" y="1834"/>
                </a:lnTo>
                <a:lnTo>
                  <a:pt x="160" y="1833"/>
                </a:lnTo>
                <a:lnTo>
                  <a:pt x="155" y="1827"/>
                </a:lnTo>
                <a:lnTo>
                  <a:pt x="154" y="1827"/>
                </a:lnTo>
                <a:lnTo>
                  <a:pt x="154" y="1828"/>
                </a:lnTo>
                <a:lnTo>
                  <a:pt x="152" y="1834"/>
                </a:lnTo>
                <a:lnTo>
                  <a:pt x="151" y="1836"/>
                </a:lnTo>
                <a:lnTo>
                  <a:pt x="149" y="1834"/>
                </a:lnTo>
                <a:lnTo>
                  <a:pt x="148" y="1834"/>
                </a:lnTo>
                <a:lnTo>
                  <a:pt x="148" y="1836"/>
                </a:lnTo>
                <a:lnTo>
                  <a:pt x="146" y="1836"/>
                </a:lnTo>
                <a:lnTo>
                  <a:pt x="146" y="1837"/>
                </a:lnTo>
                <a:lnTo>
                  <a:pt x="146" y="1839"/>
                </a:lnTo>
                <a:lnTo>
                  <a:pt x="145" y="1839"/>
                </a:lnTo>
                <a:lnTo>
                  <a:pt x="143" y="1840"/>
                </a:lnTo>
                <a:lnTo>
                  <a:pt x="143" y="1842"/>
                </a:lnTo>
                <a:lnTo>
                  <a:pt x="142" y="1840"/>
                </a:lnTo>
                <a:lnTo>
                  <a:pt x="139" y="1840"/>
                </a:lnTo>
                <a:lnTo>
                  <a:pt x="137" y="1839"/>
                </a:lnTo>
                <a:lnTo>
                  <a:pt x="137" y="1837"/>
                </a:lnTo>
                <a:lnTo>
                  <a:pt x="137" y="1834"/>
                </a:lnTo>
                <a:lnTo>
                  <a:pt x="136" y="1830"/>
                </a:lnTo>
                <a:lnTo>
                  <a:pt x="134" y="1831"/>
                </a:lnTo>
                <a:lnTo>
                  <a:pt x="134" y="1830"/>
                </a:lnTo>
                <a:lnTo>
                  <a:pt x="132" y="1830"/>
                </a:lnTo>
                <a:lnTo>
                  <a:pt x="132" y="1833"/>
                </a:lnTo>
                <a:lnTo>
                  <a:pt x="132" y="1834"/>
                </a:lnTo>
                <a:lnTo>
                  <a:pt x="134" y="1836"/>
                </a:lnTo>
                <a:lnTo>
                  <a:pt x="134" y="1837"/>
                </a:lnTo>
                <a:lnTo>
                  <a:pt x="134" y="1839"/>
                </a:lnTo>
                <a:lnTo>
                  <a:pt x="132" y="1839"/>
                </a:lnTo>
                <a:lnTo>
                  <a:pt x="131" y="1840"/>
                </a:lnTo>
                <a:lnTo>
                  <a:pt x="129" y="1842"/>
                </a:lnTo>
                <a:lnTo>
                  <a:pt x="129" y="1844"/>
                </a:lnTo>
                <a:lnTo>
                  <a:pt x="128" y="1844"/>
                </a:lnTo>
                <a:lnTo>
                  <a:pt x="125" y="1845"/>
                </a:lnTo>
                <a:lnTo>
                  <a:pt x="118" y="1845"/>
                </a:lnTo>
                <a:lnTo>
                  <a:pt x="117" y="1845"/>
                </a:lnTo>
                <a:lnTo>
                  <a:pt x="115" y="1848"/>
                </a:lnTo>
                <a:lnTo>
                  <a:pt x="111" y="1850"/>
                </a:lnTo>
                <a:lnTo>
                  <a:pt x="103" y="1851"/>
                </a:lnTo>
                <a:lnTo>
                  <a:pt x="102" y="1850"/>
                </a:lnTo>
                <a:lnTo>
                  <a:pt x="100" y="1847"/>
                </a:lnTo>
                <a:lnTo>
                  <a:pt x="100" y="1845"/>
                </a:lnTo>
                <a:lnTo>
                  <a:pt x="102" y="1842"/>
                </a:lnTo>
                <a:lnTo>
                  <a:pt x="100" y="1840"/>
                </a:lnTo>
                <a:lnTo>
                  <a:pt x="103" y="1836"/>
                </a:lnTo>
                <a:lnTo>
                  <a:pt x="103" y="1834"/>
                </a:lnTo>
                <a:lnTo>
                  <a:pt x="102" y="1833"/>
                </a:lnTo>
                <a:lnTo>
                  <a:pt x="100" y="1833"/>
                </a:lnTo>
                <a:lnTo>
                  <a:pt x="100" y="1834"/>
                </a:lnTo>
                <a:lnTo>
                  <a:pt x="99" y="1836"/>
                </a:lnTo>
                <a:lnTo>
                  <a:pt x="97" y="1836"/>
                </a:lnTo>
                <a:lnTo>
                  <a:pt x="96" y="1834"/>
                </a:lnTo>
                <a:lnTo>
                  <a:pt x="94" y="1836"/>
                </a:lnTo>
                <a:lnTo>
                  <a:pt x="92" y="1836"/>
                </a:lnTo>
                <a:lnTo>
                  <a:pt x="89" y="1836"/>
                </a:lnTo>
                <a:lnTo>
                  <a:pt x="88" y="1833"/>
                </a:lnTo>
                <a:lnTo>
                  <a:pt x="88" y="1831"/>
                </a:lnTo>
                <a:lnTo>
                  <a:pt x="91" y="1830"/>
                </a:lnTo>
                <a:lnTo>
                  <a:pt x="91" y="1827"/>
                </a:lnTo>
                <a:lnTo>
                  <a:pt x="88" y="1828"/>
                </a:lnTo>
                <a:lnTo>
                  <a:pt x="83" y="1831"/>
                </a:lnTo>
                <a:lnTo>
                  <a:pt x="83" y="1833"/>
                </a:lnTo>
                <a:lnTo>
                  <a:pt x="81" y="1834"/>
                </a:lnTo>
                <a:lnTo>
                  <a:pt x="80" y="1836"/>
                </a:lnTo>
                <a:lnTo>
                  <a:pt x="80" y="1837"/>
                </a:lnTo>
                <a:lnTo>
                  <a:pt x="80" y="1840"/>
                </a:lnTo>
                <a:lnTo>
                  <a:pt x="78" y="1842"/>
                </a:lnTo>
                <a:lnTo>
                  <a:pt x="78" y="1844"/>
                </a:lnTo>
                <a:lnTo>
                  <a:pt x="77" y="1847"/>
                </a:lnTo>
                <a:lnTo>
                  <a:pt x="77" y="1850"/>
                </a:lnTo>
                <a:lnTo>
                  <a:pt x="78" y="1851"/>
                </a:lnTo>
                <a:lnTo>
                  <a:pt x="81" y="1856"/>
                </a:lnTo>
                <a:lnTo>
                  <a:pt x="83" y="1861"/>
                </a:lnTo>
                <a:lnTo>
                  <a:pt x="85" y="1862"/>
                </a:lnTo>
                <a:lnTo>
                  <a:pt x="88" y="1865"/>
                </a:lnTo>
                <a:lnTo>
                  <a:pt x="92" y="1873"/>
                </a:lnTo>
                <a:lnTo>
                  <a:pt x="92" y="1876"/>
                </a:lnTo>
                <a:lnTo>
                  <a:pt x="94" y="1877"/>
                </a:lnTo>
                <a:lnTo>
                  <a:pt x="97" y="1881"/>
                </a:lnTo>
                <a:lnTo>
                  <a:pt x="102" y="1887"/>
                </a:lnTo>
                <a:lnTo>
                  <a:pt x="103" y="1888"/>
                </a:lnTo>
                <a:lnTo>
                  <a:pt x="106" y="1891"/>
                </a:lnTo>
                <a:lnTo>
                  <a:pt x="115" y="1902"/>
                </a:lnTo>
                <a:lnTo>
                  <a:pt x="117" y="1902"/>
                </a:lnTo>
                <a:lnTo>
                  <a:pt x="118" y="1902"/>
                </a:lnTo>
                <a:lnTo>
                  <a:pt x="122" y="1899"/>
                </a:lnTo>
                <a:lnTo>
                  <a:pt x="122" y="1902"/>
                </a:lnTo>
                <a:lnTo>
                  <a:pt x="122" y="1905"/>
                </a:lnTo>
                <a:lnTo>
                  <a:pt x="122" y="1907"/>
                </a:lnTo>
                <a:lnTo>
                  <a:pt x="125" y="1911"/>
                </a:lnTo>
                <a:lnTo>
                  <a:pt x="126" y="1913"/>
                </a:lnTo>
                <a:lnTo>
                  <a:pt x="129" y="1914"/>
                </a:lnTo>
                <a:lnTo>
                  <a:pt x="131" y="1919"/>
                </a:lnTo>
                <a:lnTo>
                  <a:pt x="134" y="1921"/>
                </a:lnTo>
                <a:lnTo>
                  <a:pt x="137" y="1925"/>
                </a:lnTo>
                <a:lnTo>
                  <a:pt x="139" y="1927"/>
                </a:lnTo>
                <a:lnTo>
                  <a:pt x="145" y="1931"/>
                </a:lnTo>
                <a:lnTo>
                  <a:pt x="157" y="1947"/>
                </a:lnTo>
                <a:lnTo>
                  <a:pt x="157" y="1948"/>
                </a:lnTo>
                <a:lnTo>
                  <a:pt x="160" y="1950"/>
                </a:lnTo>
                <a:lnTo>
                  <a:pt x="162" y="1950"/>
                </a:lnTo>
                <a:lnTo>
                  <a:pt x="162" y="1953"/>
                </a:lnTo>
                <a:lnTo>
                  <a:pt x="165" y="1959"/>
                </a:lnTo>
                <a:lnTo>
                  <a:pt x="171" y="1968"/>
                </a:lnTo>
                <a:lnTo>
                  <a:pt x="176" y="1973"/>
                </a:lnTo>
                <a:lnTo>
                  <a:pt x="177" y="1974"/>
                </a:lnTo>
                <a:lnTo>
                  <a:pt x="185" y="1988"/>
                </a:lnTo>
                <a:lnTo>
                  <a:pt x="194" y="1996"/>
                </a:lnTo>
                <a:lnTo>
                  <a:pt x="205" y="2008"/>
                </a:lnTo>
                <a:lnTo>
                  <a:pt x="210" y="2011"/>
                </a:lnTo>
                <a:lnTo>
                  <a:pt x="213" y="2014"/>
                </a:lnTo>
                <a:lnTo>
                  <a:pt x="219" y="2018"/>
                </a:lnTo>
                <a:lnTo>
                  <a:pt x="220" y="2019"/>
                </a:lnTo>
                <a:lnTo>
                  <a:pt x="223" y="2024"/>
                </a:lnTo>
                <a:lnTo>
                  <a:pt x="225" y="2024"/>
                </a:lnTo>
                <a:lnTo>
                  <a:pt x="226" y="2025"/>
                </a:lnTo>
                <a:lnTo>
                  <a:pt x="232" y="2028"/>
                </a:lnTo>
                <a:lnTo>
                  <a:pt x="248" y="2036"/>
                </a:lnTo>
                <a:lnTo>
                  <a:pt x="251" y="2039"/>
                </a:lnTo>
                <a:lnTo>
                  <a:pt x="253" y="2039"/>
                </a:lnTo>
                <a:lnTo>
                  <a:pt x="254" y="2039"/>
                </a:lnTo>
                <a:lnTo>
                  <a:pt x="256" y="2039"/>
                </a:lnTo>
                <a:lnTo>
                  <a:pt x="257" y="2041"/>
                </a:lnTo>
                <a:lnTo>
                  <a:pt x="259" y="2042"/>
                </a:lnTo>
                <a:lnTo>
                  <a:pt x="262" y="2042"/>
                </a:lnTo>
                <a:lnTo>
                  <a:pt x="274" y="2041"/>
                </a:lnTo>
                <a:lnTo>
                  <a:pt x="276" y="2041"/>
                </a:lnTo>
                <a:lnTo>
                  <a:pt x="277" y="2039"/>
                </a:lnTo>
                <a:lnTo>
                  <a:pt x="277" y="2038"/>
                </a:lnTo>
                <a:lnTo>
                  <a:pt x="279" y="2036"/>
                </a:lnTo>
                <a:lnTo>
                  <a:pt x="280" y="2038"/>
                </a:lnTo>
                <a:lnTo>
                  <a:pt x="283" y="2038"/>
                </a:lnTo>
                <a:lnTo>
                  <a:pt x="283" y="2036"/>
                </a:lnTo>
                <a:lnTo>
                  <a:pt x="285" y="2035"/>
                </a:lnTo>
                <a:lnTo>
                  <a:pt x="287" y="2035"/>
                </a:lnTo>
                <a:lnTo>
                  <a:pt x="288" y="2035"/>
                </a:lnTo>
                <a:lnTo>
                  <a:pt x="291" y="2035"/>
                </a:lnTo>
                <a:lnTo>
                  <a:pt x="308" y="2024"/>
                </a:lnTo>
                <a:lnTo>
                  <a:pt x="313" y="2022"/>
                </a:lnTo>
                <a:lnTo>
                  <a:pt x="322" y="2019"/>
                </a:lnTo>
                <a:lnTo>
                  <a:pt x="324" y="2018"/>
                </a:lnTo>
                <a:lnTo>
                  <a:pt x="324" y="2016"/>
                </a:lnTo>
                <a:lnTo>
                  <a:pt x="325" y="2014"/>
                </a:lnTo>
                <a:lnTo>
                  <a:pt x="328" y="2010"/>
                </a:lnTo>
                <a:lnTo>
                  <a:pt x="330" y="2008"/>
                </a:lnTo>
                <a:lnTo>
                  <a:pt x="331" y="2008"/>
                </a:lnTo>
                <a:lnTo>
                  <a:pt x="331" y="2010"/>
                </a:lnTo>
                <a:lnTo>
                  <a:pt x="330" y="2011"/>
                </a:lnTo>
                <a:lnTo>
                  <a:pt x="333" y="2011"/>
                </a:lnTo>
                <a:lnTo>
                  <a:pt x="339" y="2007"/>
                </a:lnTo>
                <a:lnTo>
                  <a:pt x="343" y="2004"/>
                </a:lnTo>
                <a:lnTo>
                  <a:pt x="346" y="2002"/>
                </a:lnTo>
                <a:lnTo>
                  <a:pt x="348" y="2002"/>
                </a:lnTo>
                <a:lnTo>
                  <a:pt x="351" y="2002"/>
                </a:lnTo>
                <a:lnTo>
                  <a:pt x="353" y="2001"/>
                </a:lnTo>
                <a:lnTo>
                  <a:pt x="354" y="1998"/>
                </a:lnTo>
                <a:lnTo>
                  <a:pt x="367" y="1990"/>
                </a:lnTo>
                <a:lnTo>
                  <a:pt x="371" y="1990"/>
                </a:lnTo>
                <a:lnTo>
                  <a:pt x="373" y="1990"/>
                </a:lnTo>
                <a:lnTo>
                  <a:pt x="379" y="1985"/>
                </a:lnTo>
                <a:lnTo>
                  <a:pt x="380" y="1984"/>
                </a:lnTo>
                <a:lnTo>
                  <a:pt x="382" y="1984"/>
                </a:lnTo>
                <a:lnTo>
                  <a:pt x="382" y="1982"/>
                </a:lnTo>
                <a:lnTo>
                  <a:pt x="383" y="1981"/>
                </a:lnTo>
                <a:lnTo>
                  <a:pt x="383" y="1979"/>
                </a:lnTo>
                <a:lnTo>
                  <a:pt x="382" y="1976"/>
                </a:lnTo>
                <a:lnTo>
                  <a:pt x="382" y="1974"/>
                </a:lnTo>
                <a:lnTo>
                  <a:pt x="383" y="1974"/>
                </a:lnTo>
                <a:lnTo>
                  <a:pt x="383" y="1973"/>
                </a:lnTo>
                <a:lnTo>
                  <a:pt x="383" y="1971"/>
                </a:lnTo>
                <a:lnTo>
                  <a:pt x="385" y="1970"/>
                </a:lnTo>
                <a:lnTo>
                  <a:pt x="383" y="1968"/>
                </a:lnTo>
                <a:lnTo>
                  <a:pt x="385" y="1967"/>
                </a:lnTo>
                <a:lnTo>
                  <a:pt x="388" y="1962"/>
                </a:lnTo>
                <a:lnTo>
                  <a:pt x="390" y="1961"/>
                </a:lnTo>
                <a:lnTo>
                  <a:pt x="390" y="1959"/>
                </a:lnTo>
                <a:lnTo>
                  <a:pt x="394" y="1951"/>
                </a:lnTo>
                <a:lnTo>
                  <a:pt x="397" y="1948"/>
                </a:lnTo>
                <a:lnTo>
                  <a:pt x="401" y="1934"/>
                </a:lnTo>
                <a:lnTo>
                  <a:pt x="401" y="1933"/>
                </a:lnTo>
                <a:lnTo>
                  <a:pt x="402" y="1931"/>
                </a:lnTo>
                <a:lnTo>
                  <a:pt x="402" y="1930"/>
                </a:lnTo>
                <a:lnTo>
                  <a:pt x="402" y="1928"/>
                </a:lnTo>
                <a:lnTo>
                  <a:pt x="402" y="1927"/>
                </a:lnTo>
                <a:lnTo>
                  <a:pt x="401" y="1925"/>
                </a:lnTo>
                <a:lnTo>
                  <a:pt x="401" y="1922"/>
                </a:lnTo>
                <a:lnTo>
                  <a:pt x="399" y="1922"/>
                </a:lnTo>
                <a:lnTo>
                  <a:pt x="397" y="1922"/>
                </a:lnTo>
                <a:lnTo>
                  <a:pt x="396" y="1922"/>
                </a:lnTo>
                <a:lnTo>
                  <a:pt x="396" y="1921"/>
                </a:lnTo>
                <a:lnTo>
                  <a:pt x="394" y="1921"/>
                </a:lnTo>
                <a:lnTo>
                  <a:pt x="394" y="1919"/>
                </a:lnTo>
                <a:lnTo>
                  <a:pt x="393" y="1916"/>
                </a:lnTo>
                <a:lnTo>
                  <a:pt x="393" y="1914"/>
                </a:lnTo>
                <a:lnTo>
                  <a:pt x="391" y="1913"/>
                </a:lnTo>
                <a:lnTo>
                  <a:pt x="390" y="1911"/>
                </a:lnTo>
                <a:lnTo>
                  <a:pt x="390" y="1910"/>
                </a:lnTo>
                <a:lnTo>
                  <a:pt x="385" y="1911"/>
                </a:lnTo>
                <a:lnTo>
                  <a:pt x="383" y="1911"/>
                </a:lnTo>
                <a:lnTo>
                  <a:pt x="382" y="1911"/>
                </a:lnTo>
                <a:lnTo>
                  <a:pt x="380" y="1910"/>
                </a:lnTo>
                <a:lnTo>
                  <a:pt x="379" y="1911"/>
                </a:lnTo>
                <a:lnTo>
                  <a:pt x="376" y="1913"/>
                </a:lnTo>
                <a:lnTo>
                  <a:pt x="376" y="1911"/>
                </a:lnTo>
                <a:lnTo>
                  <a:pt x="376" y="1910"/>
                </a:lnTo>
                <a:lnTo>
                  <a:pt x="376" y="1908"/>
                </a:lnTo>
                <a:lnTo>
                  <a:pt x="374" y="1910"/>
                </a:lnTo>
                <a:lnTo>
                  <a:pt x="373" y="1910"/>
                </a:lnTo>
                <a:lnTo>
                  <a:pt x="373" y="1908"/>
                </a:lnTo>
                <a:lnTo>
                  <a:pt x="373" y="1904"/>
                </a:lnTo>
                <a:lnTo>
                  <a:pt x="373" y="1902"/>
                </a:lnTo>
                <a:lnTo>
                  <a:pt x="374" y="1902"/>
                </a:lnTo>
                <a:lnTo>
                  <a:pt x="379" y="1905"/>
                </a:lnTo>
                <a:lnTo>
                  <a:pt x="382" y="1905"/>
                </a:lnTo>
                <a:lnTo>
                  <a:pt x="383" y="1905"/>
                </a:lnTo>
                <a:lnTo>
                  <a:pt x="382" y="1900"/>
                </a:lnTo>
                <a:lnTo>
                  <a:pt x="380" y="1900"/>
                </a:lnTo>
                <a:lnTo>
                  <a:pt x="379" y="1900"/>
                </a:lnTo>
                <a:lnTo>
                  <a:pt x="379" y="1899"/>
                </a:lnTo>
                <a:lnTo>
                  <a:pt x="379" y="1897"/>
                </a:lnTo>
                <a:lnTo>
                  <a:pt x="380" y="1897"/>
                </a:lnTo>
                <a:lnTo>
                  <a:pt x="383" y="1899"/>
                </a:lnTo>
                <a:lnTo>
                  <a:pt x="385" y="1900"/>
                </a:lnTo>
                <a:lnTo>
                  <a:pt x="385" y="1902"/>
                </a:lnTo>
                <a:lnTo>
                  <a:pt x="387" y="1904"/>
                </a:lnTo>
                <a:lnTo>
                  <a:pt x="390" y="1904"/>
                </a:lnTo>
                <a:lnTo>
                  <a:pt x="390" y="1902"/>
                </a:lnTo>
                <a:lnTo>
                  <a:pt x="390" y="1900"/>
                </a:lnTo>
                <a:lnTo>
                  <a:pt x="390" y="1899"/>
                </a:lnTo>
                <a:lnTo>
                  <a:pt x="390" y="1897"/>
                </a:lnTo>
                <a:lnTo>
                  <a:pt x="388" y="1897"/>
                </a:lnTo>
                <a:lnTo>
                  <a:pt x="390" y="1896"/>
                </a:lnTo>
                <a:lnTo>
                  <a:pt x="388" y="1896"/>
                </a:lnTo>
                <a:lnTo>
                  <a:pt x="388" y="1894"/>
                </a:lnTo>
                <a:lnTo>
                  <a:pt x="387" y="1894"/>
                </a:lnTo>
                <a:lnTo>
                  <a:pt x="383" y="1894"/>
                </a:lnTo>
                <a:lnTo>
                  <a:pt x="382" y="1894"/>
                </a:lnTo>
                <a:lnTo>
                  <a:pt x="376" y="1893"/>
                </a:lnTo>
                <a:lnTo>
                  <a:pt x="377" y="1891"/>
                </a:lnTo>
                <a:lnTo>
                  <a:pt x="379" y="1890"/>
                </a:lnTo>
                <a:lnTo>
                  <a:pt x="380" y="1890"/>
                </a:lnTo>
                <a:lnTo>
                  <a:pt x="382" y="1891"/>
                </a:lnTo>
                <a:lnTo>
                  <a:pt x="383" y="1891"/>
                </a:lnTo>
                <a:lnTo>
                  <a:pt x="383" y="1890"/>
                </a:lnTo>
                <a:lnTo>
                  <a:pt x="382" y="1888"/>
                </a:lnTo>
                <a:lnTo>
                  <a:pt x="380" y="1887"/>
                </a:lnTo>
                <a:lnTo>
                  <a:pt x="385" y="1888"/>
                </a:lnTo>
                <a:lnTo>
                  <a:pt x="387" y="1887"/>
                </a:lnTo>
                <a:lnTo>
                  <a:pt x="385" y="1885"/>
                </a:lnTo>
                <a:lnTo>
                  <a:pt x="383" y="1884"/>
                </a:lnTo>
                <a:lnTo>
                  <a:pt x="385" y="1884"/>
                </a:lnTo>
                <a:lnTo>
                  <a:pt x="387" y="1884"/>
                </a:lnTo>
                <a:lnTo>
                  <a:pt x="388" y="1885"/>
                </a:lnTo>
                <a:lnTo>
                  <a:pt x="390" y="1887"/>
                </a:lnTo>
                <a:lnTo>
                  <a:pt x="390" y="1888"/>
                </a:lnTo>
                <a:lnTo>
                  <a:pt x="391" y="1887"/>
                </a:lnTo>
                <a:lnTo>
                  <a:pt x="393" y="1885"/>
                </a:lnTo>
                <a:lnTo>
                  <a:pt x="393" y="1884"/>
                </a:lnTo>
                <a:lnTo>
                  <a:pt x="394" y="1885"/>
                </a:lnTo>
                <a:lnTo>
                  <a:pt x="394" y="1884"/>
                </a:lnTo>
                <a:lnTo>
                  <a:pt x="396" y="1884"/>
                </a:lnTo>
                <a:lnTo>
                  <a:pt x="397" y="1884"/>
                </a:lnTo>
                <a:lnTo>
                  <a:pt x="399" y="1884"/>
                </a:lnTo>
                <a:lnTo>
                  <a:pt x="401" y="1882"/>
                </a:lnTo>
                <a:lnTo>
                  <a:pt x="401" y="1881"/>
                </a:lnTo>
                <a:lnTo>
                  <a:pt x="401" y="1879"/>
                </a:lnTo>
                <a:lnTo>
                  <a:pt x="402" y="1879"/>
                </a:lnTo>
                <a:lnTo>
                  <a:pt x="402" y="1877"/>
                </a:lnTo>
                <a:lnTo>
                  <a:pt x="404" y="1876"/>
                </a:lnTo>
                <a:lnTo>
                  <a:pt x="404" y="1862"/>
                </a:lnTo>
                <a:lnTo>
                  <a:pt x="404" y="1857"/>
                </a:lnTo>
                <a:lnTo>
                  <a:pt x="399" y="1857"/>
                </a:lnTo>
                <a:lnTo>
                  <a:pt x="397" y="1856"/>
                </a:lnTo>
                <a:lnTo>
                  <a:pt x="396" y="1856"/>
                </a:lnTo>
                <a:lnTo>
                  <a:pt x="396" y="1854"/>
                </a:lnTo>
                <a:lnTo>
                  <a:pt x="397" y="1853"/>
                </a:lnTo>
                <a:lnTo>
                  <a:pt x="397" y="1851"/>
                </a:lnTo>
                <a:lnTo>
                  <a:pt x="397" y="1850"/>
                </a:lnTo>
                <a:lnTo>
                  <a:pt x="394" y="1853"/>
                </a:lnTo>
                <a:lnTo>
                  <a:pt x="393" y="1854"/>
                </a:lnTo>
                <a:lnTo>
                  <a:pt x="390" y="1853"/>
                </a:lnTo>
                <a:lnTo>
                  <a:pt x="388" y="1851"/>
                </a:lnTo>
                <a:lnTo>
                  <a:pt x="390" y="1851"/>
                </a:lnTo>
                <a:lnTo>
                  <a:pt x="394" y="1851"/>
                </a:lnTo>
                <a:lnTo>
                  <a:pt x="393" y="1850"/>
                </a:lnTo>
                <a:lnTo>
                  <a:pt x="394" y="1848"/>
                </a:lnTo>
                <a:lnTo>
                  <a:pt x="396" y="1848"/>
                </a:lnTo>
                <a:lnTo>
                  <a:pt x="397" y="1848"/>
                </a:lnTo>
                <a:lnTo>
                  <a:pt x="399" y="1848"/>
                </a:lnTo>
                <a:lnTo>
                  <a:pt x="399" y="1850"/>
                </a:lnTo>
                <a:lnTo>
                  <a:pt x="399" y="1851"/>
                </a:lnTo>
                <a:lnTo>
                  <a:pt x="401" y="1853"/>
                </a:lnTo>
                <a:lnTo>
                  <a:pt x="402" y="1853"/>
                </a:lnTo>
                <a:lnTo>
                  <a:pt x="404" y="1853"/>
                </a:lnTo>
                <a:lnTo>
                  <a:pt x="405" y="1853"/>
                </a:lnTo>
                <a:lnTo>
                  <a:pt x="407" y="1850"/>
                </a:lnTo>
                <a:lnTo>
                  <a:pt x="407" y="1848"/>
                </a:lnTo>
                <a:lnTo>
                  <a:pt x="408" y="1845"/>
                </a:lnTo>
                <a:lnTo>
                  <a:pt x="408" y="1844"/>
                </a:lnTo>
                <a:lnTo>
                  <a:pt x="410" y="1842"/>
                </a:lnTo>
                <a:lnTo>
                  <a:pt x="413" y="1840"/>
                </a:lnTo>
                <a:lnTo>
                  <a:pt x="413" y="1842"/>
                </a:lnTo>
                <a:lnTo>
                  <a:pt x="413" y="1845"/>
                </a:lnTo>
                <a:lnTo>
                  <a:pt x="411" y="1845"/>
                </a:lnTo>
                <a:lnTo>
                  <a:pt x="410" y="1847"/>
                </a:lnTo>
                <a:lnTo>
                  <a:pt x="410" y="1850"/>
                </a:lnTo>
                <a:lnTo>
                  <a:pt x="411" y="1853"/>
                </a:lnTo>
                <a:lnTo>
                  <a:pt x="411" y="1854"/>
                </a:lnTo>
                <a:lnTo>
                  <a:pt x="414" y="1854"/>
                </a:lnTo>
                <a:lnTo>
                  <a:pt x="416" y="1854"/>
                </a:lnTo>
                <a:lnTo>
                  <a:pt x="417" y="1853"/>
                </a:lnTo>
                <a:lnTo>
                  <a:pt x="419" y="1853"/>
                </a:lnTo>
                <a:lnTo>
                  <a:pt x="419" y="1854"/>
                </a:lnTo>
                <a:lnTo>
                  <a:pt x="417" y="1854"/>
                </a:lnTo>
                <a:lnTo>
                  <a:pt x="417" y="1856"/>
                </a:lnTo>
                <a:lnTo>
                  <a:pt x="419" y="1856"/>
                </a:lnTo>
                <a:lnTo>
                  <a:pt x="420" y="1856"/>
                </a:lnTo>
                <a:lnTo>
                  <a:pt x="422" y="1856"/>
                </a:lnTo>
                <a:lnTo>
                  <a:pt x="423" y="1854"/>
                </a:lnTo>
                <a:lnTo>
                  <a:pt x="427" y="1851"/>
                </a:lnTo>
                <a:lnTo>
                  <a:pt x="430" y="1850"/>
                </a:lnTo>
                <a:lnTo>
                  <a:pt x="431" y="1850"/>
                </a:lnTo>
                <a:lnTo>
                  <a:pt x="433" y="1850"/>
                </a:lnTo>
                <a:lnTo>
                  <a:pt x="434" y="1851"/>
                </a:lnTo>
                <a:lnTo>
                  <a:pt x="436" y="1851"/>
                </a:lnTo>
                <a:lnTo>
                  <a:pt x="438" y="1851"/>
                </a:lnTo>
                <a:lnTo>
                  <a:pt x="444" y="1854"/>
                </a:lnTo>
                <a:lnTo>
                  <a:pt x="447" y="1856"/>
                </a:lnTo>
                <a:lnTo>
                  <a:pt x="450" y="1854"/>
                </a:lnTo>
                <a:lnTo>
                  <a:pt x="451" y="1853"/>
                </a:lnTo>
                <a:lnTo>
                  <a:pt x="453" y="1851"/>
                </a:lnTo>
                <a:lnTo>
                  <a:pt x="454" y="1851"/>
                </a:lnTo>
                <a:lnTo>
                  <a:pt x="456" y="1851"/>
                </a:lnTo>
                <a:lnTo>
                  <a:pt x="457" y="1853"/>
                </a:lnTo>
                <a:lnTo>
                  <a:pt x="459" y="1853"/>
                </a:lnTo>
                <a:lnTo>
                  <a:pt x="460" y="1853"/>
                </a:lnTo>
                <a:lnTo>
                  <a:pt x="460" y="1851"/>
                </a:lnTo>
                <a:lnTo>
                  <a:pt x="462" y="1851"/>
                </a:lnTo>
                <a:lnTo>
                  <a:pt x="464" y="1854"/>
                </a:lnTo>
                <a:lnTo>
                  <a:pt x="462" y="1856"/>
                </a:lnTo>
                <a:lnTo>
                  <a:pt x="462" y="1857"/>
                </a:lnTo>
                <a:lnTo>
                  <a:pt x="460" y="1859"/>
                </a:lnTo>
                <a:lnTo>
                  <a:pt x="459" y="1857"/>
                </a:lnTo>
                <a:lnTo>
                  <a:pt x="457" y="1856"/>
                </a:lnTo>
                <a:lnTo>
                  <a:pt x="456" y="1856"/>
                </a:lnTo>
                <a:lnTo>
                  <a:pt x="453" y="1856"/>
                </a:lnTo>
                <a:lnTo>
                  <a:pt x="450" y="1859"/>
                </a:lnTo>
                <a:lnTo>
                  <a:pt x="447" y="1865"/>
                </a:lnTo>
                <a:lnTo>
                  <a:pt x="444" y="1864"/>
                </a:lnTo>
                <a:lnTo>
                  <a:pt x="444" y="1862"/>
                </a:lnTo>
                <a:lnTo>
                  <a:pt x="442" y="1862"/>
                </a:lnTo>
                <a:lnTo>
                  <a:pt x="441" y="1862"/>
                </a:lnTo>
                <a:lnTo>
                  <a:pt x="439" y="1862"/>
                </a:lnTo>
                <a:lnTo>
                  <a:pt x="438" y="1861"/>
                </a:lnTo>
                <a:lnTo>
                  <a:pt x="434" y="1859"/>
                </a:lnTo>
                <a:lnTo>
                  <a:pt x="433" y="1859"/>
                </a:lnTo>
                <a:lnTo>
                  <a:pt x="431" y="1861"/>
                </a:lnTo>
                <a:lnTo>
                  <a:pt x="430" y="1861"/>
                </a:lnTo>
                <a:lnTo>
                  <a:pt x="428" y="1864"/>
                </a:lnTo>
                <a:lnTo>
                  <a:pt x="427" y="1865"/>
                </a:lnTo>
                <a:lnTo>
                  <a:pt x="425" y="1868"/>
                </a:lnTo>
                <a:lnTo>
                  <a:pt x="425" y="1870"/>
                </a:lnTo>
                <a:lnTo>
                  <a:pt x="425" y="1871"/>
                </a:lnTo>
                <a:lnTo>
                  <a:pt x="423" y="1874"/>
                </a:lnTo>
                <a:lnTo>
                  <a:pt x="423" y="1876"/>
                </a:lnTo>
                <a:lnTo>
                  <a:pt x="423" y="1877"/>
                </a:lnTo>
                <a:lnTo>
                  <a:pt x="423" y="1881"/>
                </a:lnTo>
                <a:lnTo>
                  <a:pt x="422" y="1885"/>
                </a:lnTo>
                <a:lnTo>
                  <a:pt x="422" y="1888"/>
                </a:lnTo>
                <a:lnTo>
                  <a:pt x="422" y="1890"/>
                </a:lnTo>
                <a:lnTo>
                  <a:pt x="425" y="1894"/>
                </a:lnTo>
                <a:lnTo>
                  <a:pt x="427" y="1896"/>
                </a:lnTo>
                <a:lnTo>
                  <a:pt x="428" y="1894"/>
                </a:lnTo>
                <a:lnTo>
                  <a:pt x="430" y="1893"/>
                </a:lnTo>
                <a:lnTo>
                  <a:pt x="431" y="1891"/>
                </a:lnTo>
                <a:lnTo>
                  <a:pt x="433" y="1890"/>
                </a:lnTo>
                <a:lnTo>
                  <a:pt x="434" y="1888"/>
                </a:lnTo>
                <a:lnTo>
                  <a:pt x="441" y="1888"/>
                </a:lnTo>
                <a:lnTo>
                  <a:pt x="441" y="1887"/>
                </a:lnTo>
                <a:lnTo>
                  <a:pt x="442" y="1887"/>
                </a:lnTo>
                <a:lnTo>
                  <a:pt x="442" y="1885"/>
                </a:lnTo>
                <a:lnTo>
                  <a:pt x="444" y="1885"/>
                </a:lnTo>
                <a:lnTo>
                  <a:pt x="445" y="1885"/>
                </a:lnTo>
                <a:lnTo>
                  <a:pt x="445" y="1887"/>
                </a:lnTo>
                <a:lnTo>
                  <a:pt x="442" y="1887"/>
                </a:lnTo>
                <a:lnTo>
                  <a:pt x="442" y="1888"/>
                </a:lnTo>
                <a:lnTo>
                  <a:pt x="442" y="1891"/>
                </a:lnTo>
                <a:lnTo>
                  <a:pt x="441" y="1893"/>
                </a:lnTo>
                <a:lnTo>
                  <a:pt x="438" y="1891"/>
                </a:lnTo>
                <a:lnTo>
                  <a:pt x="434" y="1893"/>
                </a:lnTo>
                <a:lnTo>
                  <a:pt x="433" y="1894"/>
                </a:lnTo>
                <a:lnTo>
                  <a:pt x="431" y="1899"/>
                </a:lnTo>
                <a:lnTo>
                  <a:pt x="430" y="1902"/>
                </a:lnTo>
                <a:lnTo>
                  <a:pt x="428" y="1904"/>
                </a:lnTo>
                <a:lnTo>
                  <a:pt x="428" y="1913"/>
                </a:lnTo>
                <a:lnTo>
                  <a:pt x="427" y="1914"/>
                </a:lnTo>
                <a:lnTo>
                  <a:pt x="425" y="1919"/>
                </a:lnTo>
                <a:lnTo>
                  <a:pt x="425" y="1922"/>
                </a:lnTo>
                <a:lnTo>
                  <a:pt x="425" y="1924"/>
                </a:lnTo>
                <a:lnTo>
                  <a:pt x="427" y="1925"/>
                </a:lnTo>
                <a:lnTo>
                  <a:pt x="428" y="1925"/>
                </a:lnTo>
                <a:lnTo>
                  <a:pt x="433" y="1924"/>
                </a:lnTo>
                <a:lnTo>
                  <a:pt x="434" y="1924"/>
                </a:lnTo>
                <a:lnTo>
                  <a:pt x="438" y="1924"/>
                </a:lnTo>
                <a:lnTo>
                  <a:pt x="439" y="1924"/>
                </a:lnTo>
                <a:lnTo>
                  <a:pt x="445" y="1922"/>
                </a:lnTo>
                <a:lnTo>
                  <a:pt x="447" y="1924"/>
                </a:lnTo>
                <a:lnTo>
                  <a:pt x="451" y="1924"/>
                </a:lnTo>
                <a:lnTo>
                  <a:pt x="453" y="1924"/>
                </a:lnTo>
                <a:lnTo>
                  <a:pt x="454" y="1922"/>
                </a:lnTo>
                <a:lnTo>
                  <a:pt x="456" y="1922"/>
                </a:lnTo>
                <a:lnTo>
                  <a:pt x="459" y="1922"/>
                </a:lnTo>
                <a:lnTo>
                  <a:pt x="464" y="1924"/>
                </a:lnTo>
                <a:lnTo>
                  <a:pt x="465" y="1922"/>
                </a:lnTo>
                <a:lnTo>
                  <a:pt x="470" y="1921"/>
                </a:lnTo>
                <a:lnTo>
                  <a:pt x="471" y="1919"/>
                </a:lnTo>
                <a:lnTo>
                  <a:pt x="473" y="1919"/>
                </a:lnTo>
                <a:lnTo>
                  <a:pt x="474" y="1918"/>
                </a:lnTo>
                <a:lnTo>
                  <a:pt x="479" y="1916"/>
                </a:lnTo>
                <a:lnTo>
                  <a:pt x="482" y="1913"/>
                </a:lnTo>
                <a:lnTo>
                  <a:pt x="484" y="1914"/>
                </a:lnTo>
                <a:lnTo>
                  <a:pt x="482" y="1916"/>
                </a:lnTo>
                <a:lnTo>
                  <a:pt x="481" y="1918"/>
                </a:lnTo>
                <a:lnTo>
                  <a:pt x="479" y="1918"/>
                </a:lnTo>
                <a:lnTo>
                  <a:pt x="473" y="1921"/>
                </a:lnTo>
                <a:lnTo>
                  <a:pt x="467" y="1924"/>
                </a:lnTo>
                <a:lnTo>
                  <a:pt x="464" y="1927"/>
                </a:lnTo>
                <a:lnTo>
                  <a:pt x="459" y="1928"/>
                </a:lnTo>
                <a:lnTo>
                  <a:pt x="457" y="1928"/>
                </a:lnTo>
                <a:lnTo>
                  <a:pt x="454" y="1928"/>
                </a:lnTo>
                <a:lnTo>
                  <a:pt x="453" y="1928"/>
                </a:lnTo>
                <a:lnTo>
                  <a:pt x="451" y="1928"/>
                </a:lnTo>
                <a:lnTo>
                  <a:pt x="450" y="1934"/>
                </a:lnTo>
                <a:lnTo>
                  <a:pt x="448" y="1936"/>
                </a:lnTo>
                <a:lnTo>
                  <a:pt x="447" y="1937"/>
                </a:lnTo>
                <a:lnTo>
                  <a:pt x="444" y="1939"/>
                </a:lnTo>
                <a:lnTo>
                  <a:pt x="442" y="1939"/>
                </a:lnTo>
                <a:lnTo>
                  <a:pt x="441" y="1940"/>
                </a:lnTo>
                <a:lnTo>
                  <a:pt x="436" y="1945"/>
                </a:lnTo>
                <a:lnTo>
                  <a:pt x="434" y="1945"/>
                </a:lnTo>
                <a:lnTo>
                  <a:pt x="433" y="1947"/>
                </a:lnTo>
                <a:lnTo>
                  <a:pt x="431" y="1953"/>
                </a:lnTo>
                <a:lnTo>
                  <a:pt x="430" y="1956"/>
                </a:lnTo>
                <a:lnTo>
                  <a:pt x="433" y="1955"/>
                </a:lnTo>
                <a:lnTo>
                  <a:pt x="438" y="1950"/>
                </a:lnTo>
                <a:lnTo>
                  <a:pt x="439" y="1950"/>
                </a:lnTo>
                <a:lnTo>
                  <a:pt x="445" y="1947"/>
                </a:lnTo>
                <a:lnTo>
                  <a:pt x="447" y="1948"/>
                </a:lnTo>
                <a:lnTo>
                  <a:pt x="447" y="1950"/>
                </a:lnTo>
                <a:lnTo>
                  <a:pt x="445" y="1951"/>
                </a:lnTo>
                <a:lnTo>
                  <a:pt x="444" y="1950"/>
                </a:lnTo>
                <a:lnTo>
                  <a:pt x="439" y="1953"/>
                </a:lnTo>
                <a:lnTo>
                  <a:pt x="439" y="1955"/>
                </a:lnTo>
                <a:lnTo>
                  <a:pt x="434" y="1956"/>
                </a:lnTo>
                <a:lnTo>
                  <a:pt x="430" y="1959"/>
                </a:lnTo>
                <a:lnTo>
                  <a:pt x="428" y="1959"/>
                </a:lnTo>
                <a:lnTo>
                  <a:pt x="428" y="1961"/>
                </a:lnTo>
                <a:lnTo>
                  <a:pt x="430" y="1962"/>
                </a:lnTo>
                <a:lnTo>
                  <a:pt x="431" y="1962"/>
                </a:lnTo>
                <a:lnTo>
                  <a:pt x="434" y="1961"/>
                </a:lnTo>
                <a:lnTo>
                  <a:pt x="436" y="1961"/>
                </a:lnTo>
                <a:lnTo>
                  <a:pt x="436" y="1962"/>
                </a:lnTo>
                <a:lnTo>
                  <a:pt x="431" y="1964"/>
                </a:lnTo>
                <a:lnTo>
                  <a:pt x="430" y="1965"/>
                </a:lnTo>
                <a:lnTo>
                  <a:pt x="431" y="1965"/>
                </a:lnTo>
                <a:lnTo>
                  <a:pt x="431" y="1968"/>
                </a:lnTo>
                <a:lnTo>
                  <a:pt x="431" y="1973"/>
                </a:lnTo>
                <a:lnTo>
                  <a:pt x="433" y="1973"/>
                </a:lnTo>
                <a:lnTo>
                  <a:pt x="433" y="1976"/>
                </a:lnTo>
                <a:lnTo>
                  <a:pt x="434" y="1974"/>
                </a:lnTo>
                <a:lnTo>
                  <a:pt x="436" y="1973"/>
                </a:lnTo>
                <a:lnTo>
                  <a:pt x="436" y="1974"/>
                </a:lnTo>
                <a:lnTo>
                  <a:pt x="438" y="1976"/>
                </a:lnTo>
                <a:lnTo>
                  <a:pt x="439" y="1977"/>
                </a:lnTo>
                <a:lnTo>
                  <a:pt x="441" y="1979"/>
                </a:lnTo>
                <a:lnTo>
                  <a:pt x="444" y="1981"/>
                </a:lnTo>
                <a:lnTo>
                  <a:pt x="445" y="1982"/>
                </a:lnTo>
                <a:lnTo>
                  <a:pt x="444" y="1982"/>
                </a:lnTo>
                <a:lnTo>
                  <a:pt x="442" y="1982"/>
                </a:lnTo>
                <a:lnTo>
                  <a:pt x="441" y="1984"/>
                </a:lnTo>
                <a:lnTo>
                  <a:pt x="434" y="1990"/>
                </a:lnTo>
                <a:lnTo>
                  <a:pt x="433" y="1992"/>
                </a:lnTo>
                <a:lnTo>
                  <a:pt x="433" y="1993"/>
                </a:lnTo>
                <a:lnTo>
                  <a:pt x="434" y="1995"/>
                </a:lnTo>
                <a:lnTo>
                  <a:pt x="436" y="1996"/>
                </a:lnTo>
                <a:lnTo>
                  <a:pt x="438" y="1995"/>
                </a:lnTo>
                <a:lnTo>
                  <a:pt x="439" y="1995"/>
                </a:lnTo>
                <a:lnTo>
                  <a:pt x="439" y="1993"/>
                </a:lnTo>
                <a:lnTo>
                  <a:pt x="439" y="1990"/>
                </a:lnTo>
                <a:lnTo>
                  <a:pt x="439" y="1988"/>
                </a:lnTo>
                <a:lnTo>
                  <a:pt x="439" y="1987"/>
                </a:lnTo>
                <a:lnTo>
                  <a:pt x="441" y="1987"/>
                </a:lnTo>
                <a:lnTo>
                  <a:pt x="442" y="1987"/>
                </a:lnTo>
                <a:lnTo>
                  <a:pt x="442" y="1985"/>
                </a:lnTo>
                <a:lnTo>
                  <a:pt x="444" y="1988"/>
                </a:lnTo>
                <a:lnTo>
                  <a:pt x="444" y="1990"/>
                </a:lnTo>
                <a:lnTo>
                  <a:pt x="442" y="1993"/>
                </a:lnTo>
                <a:lnTo>
                  <a:pt x="442" y="1996"/>
                </a:lnTo>
                <a:lnTo>
                  <a:pt x="444" y="1995"/>
                </a:lnTo>
                <a:lnTo>
                  <a:pt x="445" y="1995"/>
                </a:lnTo>
                <a:lnTo>
                  <a:pt x="445" y="1993"/>
                </a:lnTo>
                <a:lnTo>
                  <a:pt x="445" y="1992"/>
                </a:lnTo>
                <a:lnTo>
                  <a:pt x="447" y="1992"/>
                </a:lnTo>
                <a:lnTo>
                  <a:pt x="447" y="1993"/>
                </a:lnTo>
                <a:lnTo>
                  <a:pt x="451" y="1990"/>
                </a:lnTo>
                <a:lnTo>
                  <a:pt x="453" y="1992"/>
                </a:lnTo>
                <a:lnTo>
                  <a:pt x="456" y="2001"/>
                </a:lnTo>
                <a:lnTo>
                  <a:pt x="453" y="2002"/>
                </a:lnTo>
                <a:lnTo>
                  <a:pt x="450" y="2001"/>
                </a:lnTo>
                <a:lnTo>
                  <a:pt x="448" y="2001"/>
                </a:lnTo>
                <a:lnTo>
                  <a:pt x="448" y="2002"/>
                </a:lnTo>
                <a:lnTo>
                  <a:pt x="450" y="2005"/>
                </a:lnTo>
                <a:lnTo>
                  <a:pt x="451" y="2005"/>
                </a:lnTo>
                <a:lnTo>
                  <a:pt x="453" y="2005"/>
                </a:lnTo>
                <a:lnTo>
                  <a:pt x="453" y="2007"/>
                </a:lnTo>
                <a:lnTo>
                  <a:pt x="453" y="2008"/>
                </a:lnTo>
                <a:lnTo>
                  <a:pt x="454" y="2010"/>
                </a:lnTo>
                <a:lnTo>
                  <a:pt x="456" y="2008"/>
                </a:lnTo>
                <a:lnTo>
                  <a:pt x="459" y="2008"/>
                </a:lnTo>
                <a:lnTo>
                  <a:pt x="459" y="2010"/>
                </a:lnTo>
                <a:lnTo>
                  <a:pt x="456" y="2011"/>
                </a:lnTo>
                <a:lnTo>
                  <a:pt x="454" y="2014"/>
                </a:lnTo>
                <a:lnTo>
                  <a:pt x="457" y="2018"/>
                </a:lnTo>
                <a:lnTo>
                  <a:pt x="456" y="2019"/>
                </a:lnTo>
                <a:lnTo>
                  <a:pt x="456" y="2024"/>
                </a:lnTo>
                <a:lnTo>
                  <a:pt x="454" y="2025"/>
                </a:lnTo>
                <a:lnTo>
                  <a:pt x="459" y="2022"/>
                </a:lnTo>
                <a:lnTo>
                  <a:pt x="460" y="2022"/>
                </a:lnTo>
                <a:lnTo>
                  <a:pt x="459" y="2024"/>
                </a:lnTo>
                <a:lnTo>
                  <a:pt x="459" y="2027"/>
                </a:lnTo>
                <a:lnTo>
                  <a:pt x="459" y="2028"/>
                </a:lnTo>
                <a:lnTo>
                  <a:pt x="460" y="2030"/>
                </a:lnTo>
                <a:lnTo>
                  <a:pt x="462" y="2027"/>
                </a:lnTo>
                <a:lnTo>
                  <a:pt x="464" y="2028"/>
                </a:lnTo>
                <a:lnTo>
                  <a:pt x="464" y="2030"/>
                </a:lnTo>
                <a:lnTo>
                  <a:pt x="462" y="2030"/>
                </a:lnTo>
                <a:lnTo>
                  <a:pt x="462" y="2032"/>
                </a:lnTo>
                <a:lnTo>
                  <a:pt x="464" y="2033"/>
                </a:lnTo>
                <a:lnTo>
                  <a:pt x="465" y="2033"/>
                </a:lnTo>
                <a:lnTo>
                  <a:pt x="465" y="2035"/>
                </a:lnTo>
                <a:lnTo>
                  <a:pt x="460" y="2038"/>
                </a:lnTo>
                <a:lnTo>
                  <a:pt x="462" y="2039"/>
                </a:lnTo>
                <a:lnTo>
                  <a:pt x="462" y="2042"/>
                </a:lnTo>
                <a:lnTo>
                  <a:pt x="460" y="2048"/>
                </a:lnTo>
                <a:lnTo>
                  <a:pt x="459" y="2051"/>
                </a:lnTo>
                <a:lnTo>
                  <a:pt x="459" y="2053"/>
                </a:lnTo>
                <a:lnTo>
                  <a:pt x="460" y="2056"/>
                </a:lnTo>
                <a:lnTo>
                  <a:pt x="460" y="2058"/>
                </a:lnTo>
                <a:lnTo>
                  <a:pt x="460" y="2059"/>
                </a:lnTo>
                <a:lnTo>
                  <a:pt x="459" y="2062"/>
                </a:lnTo>
                <a:lnTo>
                  <a:pt x="459" y="2065"/>
                </a:lnTo>
                <a:lnTo>
                  <a:pt x="456" y="2070"/>
                </a:lnTo>
                <a:lnTo>
                  <a:pt x="454" y="2072"/>
                </a:lnTo>
                <a:lnTo>
                  <a:pt x="454" y="2073"/>
                </a:lnTo>
                <a:lnTo>
                  <a:pt x="453" y="2076"/>
                </a:lnTo>
                <a:lnTo>
                  <a:pt x="453" y="2079"/>
                </a:lnTo>
                <a:lnTo>
                  <a:pt x="453" y="2081"/>
                </a:lnTo>
                <a:lnTo>
                  <a:pt x="451" y="2082"/>
                </a:lnTo>
                <a:lnTo>
                  <a:pt x="451" y="2084"/>
                </a:lnTo>
                <a:lnTo>
                  <a:pt x="450" y="2084"/>
                </a:lnTo>
                <a:lnTo>
                  <a:pt x="448" y="2087"/>
                </a:lnTo>
                <a:lnTo>
                  <a:pt x="448" y="2088"/>
                </a:lnTo>
                <a:lnTo>
                  <a:pt x="447" y="2092"/>
                </a:lnTo>
                <a:lnTo>
                  <a:pt x="447" y="2093"/>
                </a:lnTo>
                <a:lnTo>
                  <a:pt x="445" y="2096"/>
                </a:lnTo>
                <a:lnTo>
                  <a:pt x="445" y="2098"/>
                </a:lnTo>
                <a:lnTo>
                  <a:pt x="445" y="2099"/>
                </a:lnTo>
                <a:lnTo>
                  <a:pt x="445" y="2101"/>
                </a:lnTo>
                <a:lnTo>
                  <a:pt x="447" y="2101"/>
                </a:lnTo>
                <a:lnTo>
                  <a:pt x="447" y="2102"/>
                </a:lnTo>
                <a:lnTo>
                  <a:pt x="445" y="2104"/>
                </a:lnTo>
                <a:lnTo>
                  <a:pt x="445" y="2106"/>
                </a:lnTo>
                <a:lnTo>
                  <a:pt x="444" y="2112"/>
                </a:lnTo>
                <a:lnTo>
                  <a:pt x="442" y="2116"/>
                </a:lnTo>
                <a:lnTo>
                  <a:pt x="442" y="2118"/>
                </a:lnTo>
                <a:lnTo>
                  <a:pt x="442" y="2125"/>
                </a:lnTo>
                <a:lnTo>
                  <a:pt x="442" y="2127"/>
                </a:lnTo>
                <a:lnTo>
                  <a:pt x="441" y="2128"/>
                </a:lnTo>
                <a:lnTo>
                  <a:pt x="441" y="2132"/>
                </a:lnTo>
                <a:lnTo>
                  <a:pt x="439" y="2132"/>
                </a:lnTo>
                <a:lnTo>
                  <a:pt x="438" y="2132"/>
                </a:lnTo>
                <a:lnTo>
                  <a:pt x="438" y="2133"/>
                </a:lnTo>
                <a:lnTo>
                  <a:pt x="438" y="2136"/>
                </a:lnTo>
                <a:lnTo>
                  <a:pt x="438" y="2141"/>
                </a:lnTo>
                <a:lnTo>
                  <a:pt x="438" y="2142"/>
                </a:lnTo>
                <a:lnTo>
                  <a:pt x="436" y="2144"/>
                </a:lnTo>
                <a:lnTo>
                  <a:pt x="436" y="2146"/>
                </a:lnTo>
                <a:lnTo>
                  <a:pt x="439" y="2149"/>
                </a:lnTo>
                <a:lnTo>
                  <a:pt x="439" y="2150"/>
                </a:lnTo>
                <a:lnTo>
                  <a:pt x="439" y="2155"/>
                </a:lnTo>
                <a:lnTo>
                  <a:pt x="439" y="2158"/>
                </a:lnTo>
                <a:lnTo>
                  <a:pt x="441" y="2156"/>
                </a:lnTo>
                <a:lnTo>
                  <a:pt x="444" y="2152"/>
                </a:lnTo>
                <a:lnTo>
                  <a:pt x="445" y="2153"/>
                </a:lnTo>
                <a:lnTo>
                  <a:pt x="445" y="2155"/>
                </a:lnTo>
                <a:lnTo>
                  <a:pt x="445" y="2156"/>
                </a:lnTo>
                <a:lnTo>
                  <a:pt x="444" y="2156"/>
                </a:lnTo>
                <a:lnTo>
                  <a:pt x="442" y="2158"/>
                </a:lnTo>
                <a:lnTo>
                  <a:pt x="444" y="2159"/>
                </a:lnTo>
                <a:lnTo>
                  <a:pt x="444" y="2161"/>
                </a:lnTo>
                <a:lnTo>
                  <a:pt x="444" y="2162"/>
                </a:lnTo>
                <a:lnTo>
                  <a:pt x="442" y="2162"/>
                </a:lnTo>
                <a:lnTo>
                  <a:pt x="442" y="2161"/>
                </a:lnTo>
                <a:lnTo>
                  <a:pt x="441" y="2161"/>
                </a:lnTo>
                <a:lnTo>
                  <a:pt x="441" y="2159"/>
                </a:lnTo>
                <a:lnTo>
                  <a:pt x="442" y="2169"/>
                </a:lnTo>
                <a:lnTo>
                  <a:pt x="444" y="2173"/>
                </a:lnTo>
                <a:lnTo>
                  <a:pt x="442" y="2176"/>
                </a:lnTo>
                <a:lnTo>
                  <a:pt x="444" y="2182"/>
                </a:lnTo>
                <a:lnTo>
                  <a:pt x="445" y="2185"/>
                </a:lnTo>
                <a:lnTo>
                  <a:pt x="447" y="2185"/>
                </a:lnTo>
                <a:lnTo>
                  <a:pt x="447" y="2184"/>
                </a:lnTo>
                <a:lnTo>
                  <a:pt x="447" y="2182"/>
                </a:lnTo>
                <a:lnTo>
                  <a:pt x="445" y="2181"/>
                </a:lnTo>
                <a:lnTo>
                  <a:pt x="445" y="2179"/>
                </a:lnTo>
                <a:lnTo>
                  <a:pt x="445" y="2178"/>
                </a:lnTo>
                <a:lnTo>
                  <a:pt x="445" y="2176"/>
                </a:lnTo>
                <a:lnTo>
                  <a:pt x="447" y="2178"/>
                </a:lnTo>
                <a:lnTo>
                  <a:pt x="448" y="2179"/>
                </a:lnTo>
                <a:lnTo>
                  <a:pt x="448" y="2181"/>
                </a:lnTo>
                <a:lnTo>
                  <a:pt x="450" y="2182"/>
                </a:lnTo>
                <a:lnTo>
                  <a:pt x="451" y="2184"/>
                </a:lnTo>
                <a:lnTo>
                  <a:pt x="453" y="2184"/>
                </a:lnTo>
                <a:lnTo>
                  <a:pt x="454" y="2182"/>
                </a:lnTo>
                <a:lnTo>
                  <a:pt x="456" y="2182"/>
                </a:lnTo>
                <a:lnTo>
                  <a:pt x="459" y="2182"/>
                </a:lnTo>
                <a:lnTo>
                  <a:pt x="448" y="2188"/>
                </a:lnTo>
                <a:lnTo>
                  <a:pt x="447" y="2188"/>
                </a:lnTo>
                <a:lnTo>
                  <a:pt x="445" y="2190"/>
                </a:lnTo>
                <a:lnTo>
                  <a:pt x="447" y="2193"/>
                </a:lnTo>
                <a:lnTo>
                  <a:pt x="447" y="2199"/>
                </a:lnTo>
                <a:lnTo>
                  <a:pt x="448" y="2201"/>
                </a:lnTo>
                <a:lnTo>
                  <a:pt x="450" y="2206"/>
                </a:lnTo>
                <a:lnTo>
                  <a:pt x="451" y="2207"/>
                </a:lnTo>
                <a:lnTo>
                  <a:pt x="453" y="2207"/>
                </a:lnTo>
                <a:lnTo>
                  <a:pt x="454" y="2206"/>
                </a:lnTo>
                <a:lnTo>
                  <a:pt x="456" y="2206"/>
                </a:lnTo>
                <a:lnTo>
                  <a:pt x="459" y="2209"/>
                </a:lnTo>
                <a:lnTo>
                  <a:pt x="460" y="2210"/>
                </a:lnTo>
                <a:lnTo>
                  <a:pt x="462" y="2210"/>
                </a:lnTo>
                <a:lnTo>
                  <a:pt x="468" y="2210"/>
                </a:lnTo>
                <a:lnTo>
                  <a:pt x="470" y="2210"/>
                </a:lnTo>
                <a:lnTo>
                  <a:pt x="471" y="2212"/>
                </a:lnTo>
                <a:lnTo>
                  <a:pt x="471" y="2215"/>
                </a:lnTo>
                <a:lnTo>
                  <a:pt x="473" y="2215"/>
                </a:lnTo>
                <a:lnTo>
                  <a:pt x="473" y="2216"/>
                </a:lnTo>
                <a:lnTo>
                  <a:pt x="473" y="2218"/>
                </a:lnTo>
                <a:lnTo>
                  <a:pt x="473" y="2219"/>
                </a:lnTo>
                <a:lnTo>
                  <a:pt x="476" y="2221"/>
                </a:lnTo>
                <a:lnTo>
                  <a:pt x="473" y="2222"/>
                </a:lnTo>
                <a:lnTo>
                  <a:pt x="471" y="2219"/>
                </a:lnTo>
                <a:lnTo>
                  <a:pt x="470" y="2213"/>
                </a:lnTo>
                <a:lnTo>
                  <a:pt x="468" y="2212"/>
                </a:lnTo>
                <a:lnTo>
                  <a:pt x="467" y="2212"/>
                </a:lnTo>
                <a:lnTo>
                  <a:pt x="465" y="2212"/>
                </a:lnTo>
                <a:lnTo>
                  <a:pt x="464" y="2212"/>
                </a:lnTo>
                <a:lnTo>
                  <a:pt x="460" y="2212"/>
                </a:lnTo>
                <a:lnTo>
                  <a:pt x="459" y="2212"/>
                </a:lnTo>
                <a:lnTo>
                  <a:pt x="457" y="2209"/>
                </a:lnTo>
                <a:lnTo>
                  <a:pt x="454" y="2209"/>
                </a:lnTo>
                <a:lnTo>
                  <a:pt x="450" y="2209"/>
                </a:lnTo>
                <a:lnTo>
                  <a:pt x="448" y="2212"/>
                </a:lnTo>
                <a:lnTo>
                  <a:pt x="448" y="2215"/>
                </a:lnTo>
                <a:lnTo>
                  <a:pt x="448" y="2222"/>
                </a:lnTo>
                <a:lnTo>
                  <a:pt x="450" y="2221"/>
                </a:lnTo>
                <a:lnTo>
                  <a:pt x="451" y="2218"/>
                </a:lnTo>
                <a:lnTo>
                  <a:pt x="453" y="2216"/>
                </a:lnTo>
                <a:lnTo>
                  <a:pt x="454" y="2216"/>
                </a:lnTo>
                <a:lnTo>
                  <a:pt x="453" y="2218"/>
                </a:lnTo>
                <a:lnTo>
                  <a:pt x="451" y="2221"/>
                </a:lnTo>
                <a:lnTo>
                  <a:pt x="450" y="2227"/>
                </a:lnTo>
                <a:lnTo>
                  <a:pt x="450" y="2229"/>
                </a:lnTo>
                <a:lnTo>
                  <a:pt x="451" y="2229"/>
                </a:lnTo>
                <a:lnTo>
                  <a:pt x="451" y="2225"/>
                </a:lnTo>
                <a:lnTo>
                  <a:pt x="453" y="2225"/>
                </a:lnTo>
                <a:lnTo>
                  <a:pt x="453" y="2227"/>
                </a:lnTo>
                <a:lnTo>
                  <a:pt x="453" y="2229"/>
                </a:lnTo>
                <a:lnTo>
                  <a:pt x="451" y="2229"/>
                </a:lnTo>
                <a:lnTo>
                  <a:pt x="453" y="2230"/>
                </a:lnTo>
                <a:lnTo>
                  <a:pt x="453" y="2233"/>
                </a:lnTo>
                <a:lnTo>
                  <a:pt x="453" y="2235"/>
                </a:lnTo>
                <a:lnTo>
                  <a:pt x="451" y="2239"/>
                </a:lnTo>
                <a:lnTo>
                  <a:pt x="453" y="2239"/>
                </a:lnTo>
                <a:lnTo>
                  <a:pt x="453" y="2241"/>
                </a:lnTo>
                <a:lnTo>
                  <a:pt x="453" y="2243"/>
                </a:lnTo>
                <a:lnTo>
                  <a:pt x="451" y="2243"/>
                </a:lnTo>
                <a:lnTo>
                  <a:pt x="451" y="2246"/>
                </a:lnTo>
                <a:lnTo>
                  <a:pt x="451" y="2247"/>
                </a:lnTo>
                <a:lnTo>
                  <a:pt x="451" y="2249"/>
                </a:lnTo>
                <a:lnTo>
                  <a:pt x="448" y="2252"/>
                </a:lnTo>
                <a:lnTo>
                  <a:pt x="448" y="2253"/>
                </a:lnTo>
                <a:lnTo>
                  <a:pt x="448" y="2255"/>
                </a:lnTo>
                <a:lnTo>
                  <a:pt x="450" y="2253"/>
                </a:lnTo>
                <a:lnTo>
                  <a:pt x="451" y="2252"/>
                </a:lnTo>
                <a:lnTo>
                  <a:pt x="451" y="2253"/>
                </a:lnTo>
                <a:lnTo>
                  <a:pt x="451" y="2255"/>
                </a:lnTo>
                <a:lnTo>
                  <a:pt x="451" y="2256"/>
                </a:lnTo>
                <a:lnTo>
                  <a:pt x="451" y="2258"/>
                </a:lnTo>
                <a:lnTo>
                  <a:pt x="453" y="2259"/>
                </a:lnTo>
                <a:lnTo>
                  <a:pt x="453" y="2258"/>
                </a:lnTo>
                <a:lnTo>
                  <a:pt x="454" y="2256"/>
                </a:lnTo>
                <a:lnTo>
                  <a:pt x="454" y="2252"/>
                </a:lnTo>
                <a:lnTo>
                  <a:pt x="456" y="2249"/>
                </a:lnTo>
                <a:lnTo>
                  <a:pt x="457" y="2246"/>
                </a:lnTo>
                <a:lnTo>
                  <a:pt x="459" y="2244"/>
                </a:lnTo>
                <a:lnTo>
                  <a:pt x="460" y="2247"/>
                </a:lnTo>
                <a:lnTo>
                  <a:pt x="464" y="2243"/>
                </a:lnTo>
                <a:lnTo>
                  <a:pt x="465" y="2241"/>
                </a:lnTo>
                <a:lnTo>
                  <a:pt x="464" y="2239"/>
                </a:lnTo>
                <a:lnTo>
                  <a:pt x="464" y="2238"/>
                </a:lnTo>
                <a:lnTo>
                  <a:pt x="464" y="2233"/>
                </a:lnTo>
                <a:lnTo>
                  <a:pt x="465" y="2232"/>
                </a:lnTo>
                <a:lnTo>
                  <a:pt x="467" y="2227"/>
                </a:lnTo>
                <a:lnTo>
                  <a:pt x="468" y="2227"/>
                </a:lnTo>
                <a:lnTo>
                  <a:pt x="467" y="2236"/>
                </a:lnTo>
                <a:lnTo>
                  <a:pt x="468" y="2238"/>
                </a:lnTo>
                <a:lnTo>
                  <a:pt x="470" y="2239"/>
                </a:lnTo>
                <a:lnTo>
                  <a:pt x="468" y="2241"/>
                </a:lnTo>
                <a:lnTo>
                  <a:pt x="470" y="2243"/>
                </a:lnTo>
                <a:lnTo>
                  <a:pt x="468" y="2246"/>
                </a:lnTo>
                <a:lnTo>
                  <a:pt x="470" y="2247"/>
                </a:lnTo>
                <a:lnTo>
                  <a:pt x="471" y="2246"/>
                </a:lnTo>
                <a:lnTo>
                  <a:pt x="474" y="2244"/>
                </a:lnTo>
                <a:lnTo>
                  <a:pt x="476" y="2246"/>
                </a:lnTo>
                <a:lnTo>
                  <a:pt x="474" y="2247"/>
                </a:lnTo>
                <a:lnTo>
                  <a:pt x="470" y="2249"/>
                </a:lnTo>
                <a:lnTo>
                  <a:pt x="467" y="2250"/>
                </a:lnTo>
                <a:lnTo>
                  <a:pt x="465" y="2250"/>
                </a:lnTo>
                <a:lnTo>
                  <a:pt x="465" y="2252"/>
                </a:lnTo>
                <a:lnTo>
                  <a:pt x="470" y="2252"/>
                </a:lnTo>
                <a:lnTo>
                  <a:pt x="468" y="2253"/>
                </a:lnTo>
                <a:lnTo>
                  <a:pt x="467" y="2253"/>
                </a:lnTo>
                <a:lnTo>
                  <a:pt x="465" y="2253"/>
                </a:lnTo>
                <a:lnTo>
                  <a:pt x="464" y="2253"/>
                </a:lnTo>
                <a:lnTo>
                  <a:pt x="464" y="2256"/>
                </a:lnTo>
                <a:lnTo>
                  <a:pt x="464" y="2258"/>
                </a:lnTo>
                <a:lnTo>
                  <a:pt x="462" y="2256"/>
                </a:lnTo>
                <a:lnTo>
                  <a:pt x="460" y="2259"/>
                </a:lnTo>
                <a:lnTo>
                  <a:pt x="462" y="2262"/>
                </a:lnTo>
                <a:lnTo>
                  <a:pt x="465" y="2264"/>
                </a:lnTo>
                <a:lnTo>
                  <a:pt x="467" y="2262"/>
                </a:lnTo>
                <a:lnTo>
                  <a:pt x="468" y="2262"/>
                </a:lnTo>
                <a:lnTo>
                  <a:pt x="468" y="2264"/>
                </a:lnTo>
                <a:lnTo>
                  <a:pt x="468" y="2265"/>
                </a:lnTo>
                <a:lnTo>
                  <a:pt x="468" y="2267"/>
                </a:lnTo>
                <a:lnTo>
                  <a:pt x="470" y="2267"/>
                </a:lnTo>
                <a:lnTo>
                  <a:pt x="471" y="2269"/>
                </a:lnTo>
                <a:lnTo>
                  <a:pt x="471" y="2270"/>
                </a:lnTo>
                <a:lnTo>
                  <a:pt x="470" y="2273"/>
                </a:lnTo>
                <a:lnTo>
                  <a:pt x="470" y="2276"/>
                </a:lnTo>
                <a:lnTo>
                  <a:pt x="470" y="2280"/>
                </a:lnTo>
                <a:lnTo>
                  <a:pt x="468" y="2278"/>
                </a:lnTo>
                <a:lnTo>
                  <a:pt x="467" y="2278"/>
                </a:lnTo>
                <a:lnTo>
                  <a:pt x="467" y="2275"/>
                </a:lnTo>
                <a:lnTo>
                  <a:pt x="468" y="2273"/>
                </a:lnTo>
                <a:lnTo>
                  <a:pt x="465" y="2269"/>
                </a:lnTo>
                <a:lnTo>
                  <a:pt x="464" y="2267"/>
                </a:lnTo>
                <a:lnTo>
                  <a:pt x="462" y="2270"/>
                </a:lnTo>
                <a:lnTo>
                  <a:pt x="460" y="2270"/>
                </a:lnTo>
                <a:lnTo>
                  <a:pt x="459" y="2270"/>
                </a:lnTo>
                <a:lnTo>
                  <a:pt x="457" y="2270"/>
                </a:lnTo>
                <a:lnTo>
                  <a:pt x="456" y="2273"/>
                </a:lnTo>
                <a:lnTo>
                  <a:pt x="456" y="2275"/>
                </a:lnTo>
                <a:lnTo>
                  <a:pt x="456" y="2281"/>
                </a:lnTo>
                <a:lnTo>
                  <a:pt x="456" y="2286"/>
                </a:lnTo>
                <a:lnTo>
                  <a:pt x="457" y="2289"/>
                </a:lnTo>
                <a:lnTo>
                  <a:pt x="459" y="2290"/>
                </a:lnTo>
                <a:lnTo>
                  <a:pt x="460" y="2298"/>
                </a:lnTo>
                <a:lnTo>
                  <a:pt x="462" y="2299"/>
                </a:lnTo>
                <a:lnTo>
                  <a:pt x="462" y="2301"/>
                </a:lnTo>
                <a:lnTo>
                  <a:pt x="465" y="2299"/>
                </a:lnTo>
                <a:lnTo>
                  <a:pt x="467" y="2301"/>
                </a:lnTo>
                <a:lnTo>
                  <a:pt x="468" y="2302"/>
                </a:lnTo>
                <a:lnTo>
                  <a:pt x="468" y="2304"/>
                </a:lnTo>
                <a:lnTo>
                  <a:pt x="468" y="2306"/>
                </a:lnTo>
                <a:lnTo>
                  <a:pt x="470" y="2309"/>
                </a:lnTo>
                <a:lnTo>
                  <a:pt x="471" y="2309"/>
                </a:lnTo>
                <a:lnTo>
                  <a:pt x="471" y="2310"/>
                </a:lnTo>
                <a:lnTo>
                  <a:pt x="471" y="2313"/>
                </a:lnTo>
                <a:lnTo>
                  <a:pt x="470" y="2310"/>
                </a:lnTo>
                <a:lnTo>
                  <a:pt x="467" y="2304"/>
                </a:lnTo>
                <a:lnTo>
                  <a:pt x="465" y="2302"/>
                </a:lnTo>
                <a:lnTo>
                  <a:pt x="464" y="2302"/>
                </a:lnTo>
                <a:lnTo>
                  <a:pt x="462" y="2304"/>
                </a:lnTo>
                <a:lnTo>
                  <a:pt x="460" y="2307"/>
                </a:lnTo>
                <a:lnTo>
                  <a:pt x="460" y="2309"/>
                </a:lnTo>
                <a:lnTo>
                  <a:pt x="459" y="2313"/>
                </a:lnTo>
                <a:lnTo>
                  <a:pt x="460" y="2315"/>
                </a:lnTo>
                <a:lnTo>
                  <a:pt x="460" y="2317"/>
                </a:lnTo>
                <a:lnTo>
                  <a:pt x="460" y="2318"/>
                </a:lnTo>
                <a:lnTo>
                  <a:pt x="462" y="2320"/>
                </a:lnTo>
                <a:lnTo>
                  <a:pt x="462" y="2321"/>
                </a:lnTo>
                <a:lnTo>
                  <a:pt x="462" y="2323"/>
                </a:lnTo>
                <a:lnTo>
                  <a:pt x="462" y="2324"/>
                </a:lnTo>
                <a:lnTo>
                  <a:pt x="464" y="2324"/>
                </a:lnTo>
                <a:lnTo>
                  <a:pt x="465" y="2327"/>
                </a:lnTo>
                <a:lnTo>
                  <a:pt x="467" y="2327"/>
                </a:lnTo>
                <a:lnTo>
                  <a:pt x="468" y="2327"/>
                </a:lnTo>
                <a:lnTo>
                  <a:pt x="467" y="2330"/>
                </a:lnTo>
                <a:lnTo>
                  <a:pt x="468" y="2332"/>
                </a:lnTo>
                <a:lnTo>
                  <a:pt x="470" y="2333"/>
                </a:lnTo>
                <a:lnTo>
                  <a:pt x="471" y="2333"/>
                </a:lnTo>
                <a:lnTo>
                  <a:pt x="474" y="2333"/>
                </a:lnTo>
                <a:lnTo>
                  <a:pt x="476" y="2333"/>
                </a:lnTo>
                <a:lnTo>
                  <a:pt x="478" y="2333"/>
                </a:lnTo>
                <a:lnTo>
                  <a:pt x="476" y="2336"/>
                </a:lnTo>
                <a:lnTo>
                  <a:pt x="478" y="2339"/>
                </a:lnTo>
                <a:lnTo>
                  <a:pt x="478" y="2343"/>
                </a:lnTo>
                <a:lnTo>
                  <a:pt x="476" y="2344"/>
                </a:lnTo>
                <a:lnTo>
                  <a:pt x="474" y="2344"/>
                </a:lnTo>
                <a:lnTo>
                  <a:pt x="474" y="2343"/>
                </a:lnTo>
                <a:lnTo>
                  <a:pt x="476" y="2341"/>
                </a:lnTo>
                <a:lnTo>
                  <a:pt x="476" y="2339"/>
                </a:lnTo>
                <a:lnTo>
                  <a:pt x="473" y="2338"/>
                </a:lnTo>
                <a:lnTo>
                  <a:pt x="471" y="2338"/>
                </a:lnTo>
                <a:lnTo>
                  <a:pt x="470" y="2338"/>
                </a:lnTo>
                <a:lnTo>
                  <a:pt x="468" y="2338"/>
                </a:lnTo>
                <a:lnTo>
                  <a:pt x="467" y="2336"/>
                </a:lnTo>
                <a:lnTo>
                  <a:pt x="467" y="2335"/>
                </a:lnTo>
                <a:lnTo>
                  <a:pt x="467" y="2333"/>
                </a:lnTo>
                <a:lnTo>
                  <a:pt x="465" y="2333"/>
                </a:lnTo>
                <a:lnTo>
                  <a:pt x="465" y="2332"/>
                </a:lnTo>
                <a:lnTo>
                  <a:pt x="464" y="2333"/>
                </a:lnTo>
                <a:lnTo>
                  <a:pt x="464" y="2335"/>
                </a:lnTo>
                <a:lnTo>
                  <a:pt x="464" y="2336"/>
                </a:lnTo>
                <a:lnTo>
                  <a:pt x="465" y="2336"/>
                </a:lnTo>
                <a:lnTo>
                  <a:pt x="464" y="2338"/>
                </a:lnTo>
                <a:lnTo>
                  <a:pt x="464" y="2339"/>
                </a:lnTo>
                <a:lnTo>
                  <a:pt x="467" y="2341"/>
                </a:lnTo>
                <a:lnTo>
                  <a:pt x="467" y="2343"/>
                </a:lnTo>
                <a:lnTo>
                  <a:pt x="468" y="2352"/>
                </a:lnTo>
                <a:lnTo>
                  <a:pt x="468" y="2353"/>
                </a:lnTo>
                <a:lnTo>
                  <a:pt x="468" y="2355"/>
                </a:lnTo>
                <a:lnTo>
                  <a:pt x="470" y="2355"/>
                </a:lnTo>
                <a:lnTo>
                  <a:pt x="470" y="2357"/>
                </a:lnTo>
                <a:lnTo>
                  <a:pt x="468" y="2357"/>
                </a:lnTo>
                <a:lnTo>
                  <a:pt x="470" y="2360"/>
                </a:lnTo>
                <a:lnTo>
                  <a:pt x="470" y="2361"/>
                </a:lnTo>
                <a:lnTo>
                  <a:pt x="471" y="2363"/>
                </a:lnTo>
                <a:lnTo>
                  <a:pt x="471" y="2361"/>
                </a:lnTo>
                <a:lnTo>
                  <a:pt x="473" y="2360"/>
                </a:lnTo>
                <a:lnTo>
                  <a:pt x="474" y="2360"/>
                </a:lnTo>
                <a:lnTo>
                  <a:pt x="474" y="2361"/>
                </a:lnTo>
                <a:lnTo>
                  <a:pt x="473" y="2363"/>
                </a:lnTo>
                <a:lnTo>
                  <a:pt x="471" y="2364"/>
                </a:lnTo>
                <a:lnTo>
                  <a:pt x="471" y="2366"/>
                </a:lnTo>
                <a:lnTo>
                  <a:pt x="471" y="2367"/>
                </a:lnTo>
                <a:lnTo>
                  <a:pt x="473" y="2367"/>
                </a:lnTo>
                <a:lnTo>
                  <a:pt x="474" y="2367"/>
                </a:lnTo>
                <a:lnTo>
                  <a:pt x="471" y="2370"/>
                </a:lnTo>
                <a:lnTo>
                  <a:pt x="473" y="2372"/>
                </a:lnTo>
                <a:lnTo>
                  <a:pt x="476" y="2381"/>
                </a:lnTo>
                <a:lnTo>
                  <a:pt x="478" y="2384"/>
                </a:lnTo>
                <a:lnTo>
                  <a:pt x="478" y="2387"/>
                </a:lnTo>
                <a:lnTo>
                  <a:pt x="479" y="2389"/>
                </a:lnTo>
                <a:lnTo>
                  <a:pt x="481" y="2392"/>
                </a:lnTo>
                <a:lnTo>
                  <a:pt x="481" y="2397"/>
                </a:lnTo>
                <a:lnTo>
                  <a:pt x="482" y="2397"/>
                </a:lnTo>
                <a:lnTo>
                  <a:pt x="482" y="2398"/>
                </a:lnTo>
                <a:lnTo>
                  <a:pt x="482" y="2400"/>
                </a:lnTo>
                <a:lnTo>
                  <a:pt x="482" y="2401"/>
                </a:lnTo>
                <a:lnTo>
                  <a:pt x="481" y="2403"/>
                </a:lnTo>
                <a:lnTo>
                  <a:pt x="481" y="2404"/>
                </a:lnTo>
                <a:lnTo>
                  <a:pt x="481" y="2406"/>
                </a:lnTo>
                <a:lnTo>
                  <a:pt x="482" y="2407"/>
                </a:lnTo>
                <a:lnTo>
                  <a:pt x="482" y="2409"/>
                </a:lnTo>
                <a:lnTo>
                  <a:pt x="482" y="2410"/>
                </a:lnTo>
                <a:lnTo>
                  <a:pt x="482" y="2412"/>
                </a:lnTo>
                <a:lnTo>
                  <a:pt x="482" y="2413"/>
                </a:lnTo>
                <a:lnTo>
                  <a:pt x="484" y="2415"/>
                </a:lnTo>
                <a:lnTo>
                  <a:pt x="485" y="2415"/>
                </a:lnTo>
                <a:lnTo>
                  <a:pt x="488" y="2415"/>
                </a:lnTo>
                <a:lnTo>
                  <a:pt x="490" y="2417"/>
                </a:lnTo>
                <a:lnTo>
                  <a:pt x="487" y="2418"/>
                </a:lnTo>
                <a:lnTo>
                  <a:pt x="485" y="2418"/>
                </a:lnTo>
                <a:lnTo>
                  <a:pt x="484" y="2418"/>
                </a:lnTo>
                <a:lnTo>
                  <a:pt x="482" y="2420"/>
                </a:lnTo>
                <a:lnTo>
                  <a:pt x="484" y="2423"/>
                </a:lnTo>
                <a:lnTo>
                  <a:pt x="487" y="2426"/>
                </a:lnTo>
                <a:lnTo>
                  <a:pt x="488" y="2429"/>
                </a:lnTo>
                <a:lnTo>
                  <a:pt x="487" y="2432"/>
                </a:lnTo>
                <a:lnTo>
                  <a:pt x="488" y="2434"/>
                </a:lnTo>
                <a:lnTo>
                  <a:pt x="488" y="2435"/>
                </a:lnTo>
                <a:lnTo>
                  <a:pt x="487" y="2437"/>
                </a:lnTo>
                <a:lnTo>
                  <a:pt x="487" y="2438"/>
                </a:lnTo>
                <a:lnTo>
                  <a:pt x="487" y="2440"/>
                </a:lnTo>
                <a:lnTo>
                  <a:pt x="490" y="2443"/>
                </a:lnTo>
                <a:lnTo>
                  <a:pt x="490" y="2444"/>
                </a:lnTo>
                <a:lnTo>
                  <a:pt x="493" y="2450"/>
                </a:lnTo>
                <a:lnTo>
                  <a:pt x="494" y="2452"/>
                </a:lnTo>
                <a:lnTo>
                  <a:pt x="493" y="2453"/>
                </a:lnTo>
                <a:lnTo>
                  <a:pt x="491" y="2452"/>
                </a:lnTo>
                <a:lnTo>
                  <a:pt x="490" y="2450"/>
                </a:lnTo>
                <a:lnTo>
                  <a:pt x="488" y="2450"/>
                </a:lnTo>
                <a:lnTo>
                  <a:pt x="490" y="2452"/>
                </a:lnTo>
                <a:lnTo>
                  <a:pt x="491" y="2453"/>
                </a:lnTo>
                <a:lnTo>
                  <a:pt x="491" y="2455"/>
                </a:lnTo>
                <a:lnTo>
                  <a:pt x="491" y="2457"/>
                </a:lnTo>
                <a:lnTo>
                  <a:pt x="493" y="2460"/>
                </a:lnTo>
                <a:lnTo>
                  <a:pt x="493" y="2463"/>
                </a:lnTo>
                <a:lnTo>
                  <a:pt x="494" y="2467"/>
                </a:lnTo>
                <a:lnTo>
                  <a:pt x="496" y="2469"/>
                </a:lnTo>
                <a:lnTo>
                  <a:pt x="496" y="2470"/>
                </a:lnTo>
                <a:lnTo>
                  <a:pt x="494" y="2472"/>
                </a:lnTo>
                <a:lnTo>
                  <a:pt x="496" y="2475"/>
                </a:lnTo>
                <a:lnTo>
                  <a:pt x="497" y="2476"/>
                </a:lnTo>
                <a:lnTo>
                  <a:pt x="497" y="2480"/>
                </a:lnTo>
                <a:lnTo>
                  <a:pt x="496" y="2483"/>
                </a:lnTo>
                <a:lnTo>
                  <a:pt x="496" y="2481"/>
                </a:lnTo>
                <a:lnTo>
                  <a:pt x="494" y="2481"/>
                </a:lnTo>
                <a:lnTo>
                  <a:pt x="494" y="2483"/>
                </a:lnTo>
                <a:lnTo>
                  <a:pt x="496" y="2484"/>
                </a:lnTo>
                <a:lnTo>
                  <a:pt x="494" y="2486"/>
                </a:lnTo>
                <a:lnTo>
                  <a:pt x="496" y="2487"/>
                </a:lnTo>
                <a:lnTo>
                  <a:pt x="499" y="2489"/>
                </a:lnTo>
                <a:lnTo>
                  <a:pt x="497" y="2492"/>
                </a:lnTo>
                <a:lnTo>
                  <a:pt x="496" y="2494"/>
                </a:lnTo>
                <a:lnTo>
                  <a:pt x="496" y="2495"/>
                </a:lnTo>
                <a:lnTo>
                  <a:pt x="497" y="2500"/>
                </a:lnTo>
                <a:lnTo>
                  <a:pt x="496" y="2501"/>
                </a:lnTo>
                <a:lnTo>
                  <a:pt x="497" y="2504"/>
                </a:lnTo>
                <a:lnTo>
                  <a:pt x="497" y="2507"/>
                </a:lnTo>
                <a:lnTo>
                  <a:pt x="499" y="2509"/>
                </a:lnTo>
                <a:lnTo>
                  <a:pt x="501" y="2510"/>
                </a:lnTo>
                <a:lnTo>
                  <a:pt x="499" y="2513"/>
                </a:lnTo>
                <a:lnTo>
                  <a:pt x="499" y="2518"/>
                </a:lnTo>
                <a:lnTo>
                  <a:pt x="499" y="2521"/>
                </a:lnTo>
                <a:lnTo>
                  <a:pt x="501" y="2523"/>
                </a:lnTo>
                <a:lnTo>
                  <a:pt x="502" y="2523"/>
                </a:lnTo>
                <a:lnTo>
                  <a:pt x="502" y="2524"/>
                </a:lnTo>
                <a:lnTo>
                  <a:pt x="502" y="2526"/>
                </a:lnTo>
                <a:lnTo>
                  <a:pt x="501" y="2527"/>
                </a:lnTo>
                <a:lnTo>
                  <a:pt x="501" y="2529"/>
                </a:lnTo>
                <a:lnTo>
                  <a:pt x="502" y="2532"/>
                </a:lnTo>
                <a:lnTo>
                  <a:pt x="504" y="2531"/>
                </a:lnTo>
                <a:lnTo>
                  <a:pt x="505" y="2531"/>
                </a:lnTo>
                <a:lnTo>
                  <a:pt x="507" y="2534"/>
                </a:lnTo>
                <a:lnTo>
                  <a:pt x="505" y="2535"/>
                </a:lnTo>
                <a:lnTo>
                  <a:pt x="505" y="2534"/>
                </a:lnTo>
                <a:lnTo>
                  <a:pt x="505" y="2532"/>
                </a:lnTo>
                <a:lnTo>
                  <a:pt x="502" y="2534"/>
                </a:lnTo>
                <a:lnTo>
                  <a:pt x="501" y="2534"/>
                </a:lnTo>
                <a:lnTo>
                  <a:pt x="501" y="2535"/>
                </a:lnTo>
                <a:lnTo>
                  <a:pt x="502" y="2537"/>
                </a:lnTo>
                <a:lnTo>
                  <a:pt x="504" y="2538"/>
                </a:lnTo>
                <a:lnTo>
                  <a:pt x="505" y="2540"/>
                </a:lnTo>
                <a:lnTo>
                  <a:pt x="507" y="2540"/>
                </a:lnTo>
                <a:lnTo>
                  <a:pt x="505" y="2540"/>
                </a:lnTo>
                <a:lnTo>
                  <a:pt x="505" y="2541"/>
                </a:lnTo>
                <a:lnTo>
                  <a:pt x="504" y="2541"/>
                </a:lnTo>
                <a:lnTo>
                  <a:pt x="505" y="2543"/>
                </a:lnTo>
                <a:lnTo>
                  <a:pt x="507" y="2543"/>
                </a:lnTo>
                <a:lnTo>
                  <a:pt x="507" y="2544"/>
                </a:lnTo>
                <a:lnTo>
                  <a:pt x="505" y="2544"/>
                </a:lnTo>
                <a:lnTo>
                  <a:pt x="504" y="2543"/>
                </a:lnTo>
                <a:lnTo>
                  <a:pt x="502" y="2541"/>
                </a:lnTo>
                <a:lnTo>
                  <a:pt x="502" y="2540"/>
                </a:lnTo>
                <a:lnTo>
                  <a:pt x="501" y="2540"/>
                </a:lnTo>
                <a:lnTo>
                  <a:pt x="501" y="2538"/>
                </a:lnTo>
                <a:lnTo>
                  <a:pt x="499" y="2540"/>
                </a:lnTo>
                <a:lnTo>
                  <a:pt x="499" y="2543"/>
                </a:lnTo>
                <a:lnTo>
                  <a:pt x="501" y="2543"/>
                </a:lnTo>
                <a:lnTo>
                  <a:pt x="501" y="2544"/>
                </a:lnTo>
                <a:lnTo>
                  <a:pt x="502" y="2550"/>
                </a:lnTo>
                <a:lnTo>
                  <a:pt x="504" y="2553"/>
                </a:lnTo>
                <a:lnTo>
                  <a:pt x="505" y="2555"/>
                </a:lnTo>
                <a:lnTo>
                  <a:pt x="505" y="2557"/>
                </a:lnTo>
                <a:lnTo>
                  <a:pt x="508" y="2558"/>
                </a:lnTo>
                <a:lnTo>
                  <a:pt x="507" y="2558"/>
                </a:lnTo>
                <a:lnTo>
                  <a:pt x="505" y="2560"/>
                </a:lnTo>
                <a:lnTo>
                  <a:pt x="505" y="2561"/>
                </a:lnTo>
                <a:lnTo>
                  <a:pt x="507" y="2563"/>
                </a:lnTo>
                <a:lnTo>
                  <a:pt x="507" y="2566"/>
                </a:lnTo>
                <a:lnTo>
                  <a:pt x="510" y="2575"/>
                </a:lnTo>
                <a:lnTo>
                  <a:pt x="510" y="2578"/>
                </a:lnTo>
                <a:lnTo>
                  <a:pt x="510" y="2580"/>
                </a:lnTo>
                <a:lnTo>
                  <a:pt x="511" y="2580"/>
                </a:lnTo>
                <a:lnTo>
                  <a:pt x="513" y="2580"/>
                </a:lnTo>
                <a:lnTo>
                  <a:pt x="513" y="2581"/>
                </a:lnTo>
                <a:lnTo>
                  <a:pt x="513" y="2586"/>
                </a:lnTo>
                <a:lnTo>
                  <a:pt x="513" y="2592"/>
                </a:lnTo>
                <a:lnTo>
                  <a:pt x="514" y="2589"/>
                </a:lnTo>
                <a:lnTo>
                  <a:pt x="514" y="2586"/>
                </a:lnTo>
                <a:lnTo>
                  <a:pt x="516" y="2584"/>
                </a:lnTo>
                <a:lnTo>
                  <a:pt x="518" y="2583"/>
                </a:lnTo>
                <a:lnTo>
                  <a:pt x="518" y="2584"/>
                </a:lnTo>
                <a:lnTo>
                  <a:pt x="516" y="2586"/>
                </a:lnTo>
                <a:lnTo>
                  <a:pt x="516" y="2587"/>
                </a:lnTo>
                <a:lnTo>
                  <a:pt x="514" y="2589"/>
                </a:lnTo>
                <a:lnTo>
                  <a:pt x="514" y="2595"/>
                </a:lnTo>
                <a:lnTo>
                  <a:pt x="514" y="2597"/>
                </a:lnTo>
                <a:lnTo>
                  <a:pt x="513" y="2598"/>
                </a:lnTo>
                <a:lnTo>
                  <a:pt x="514" y="2598"/>
                </a:lnTo>
                <a:lnTo>
                  <a:pt x="514" y="2600"/>
                </a:lnTo>
                <a:lnTo>
                  <a:pt x="516" y="2600"/>
                </a:lnTo>
                <a:lnTo>
                  <a:pt x="516" y="2601"/>
                </a:lnTo>
                <a:lnTo>
                  <a:pt x="518" y="2603"/>
                </a:lnTo>
                <a:lnTo>
                  <a:pt x="519" y="2603"/>
                </a:lnTo>
                <a:lnTo>
                  <a:pt x="521" y="2603"/>
                </a:lnTo>
                <a:lnTo>
                  <a:pt x="521" y="2605"/>
                </a:lnTo>
                <a:lnTo>
                  <a:pt x="518" y="2605"/>
                </a:lnTo>
                <a:lnTo>
                  <a:pt x="518" y="2606"/>
                </a:lnTo>
                <a:lnTo>
                  <a:pt x="519" y="2609"/>
                </a:lnTo>
                <a:lnTo>
                  <a:pt x="522" y="2612"/>
                </a:lnTo>
                <a:lnTo>
                  <a:pt x="527" y="2617"/>
                </a:lnTo>
                <a:lnTo>
                  <a:pt x="528" y="2620"/>
                </a:lnTo>
                <a:lnTo>
                  <a:pt x="533" y="2627"/>
                </a:lnTo>
                <a:lnTo>
                  <a:pt x="533" y="2631"/>
                </a:lnTo>
                <a:lnTo>
                  <a:pt x="533" y="2635"/>
                </a:lnTo>
                <a:lnTo>
                  <a:pt x="533" y="2637"/>
                </a:lnTo>
                <a:lnTo>
                  <a:pt x="534" y="2638"/>
                </a:lnTo>
                <a:lnTo>
                  <a:pt x="536" y="2638"/>
                </a:lnTo>
                <a:lnTo>
                  <a:pt x="538" y="2638"/>
                </a:lnTo>
                <a:lnTo>
                  <a:pt x="538" y="2640"/>
                </a:lnTo>
                <a:lnTo>
                  <a:pt x="538" y="2642"/>
                </a:lnTo>
                <a:lnTo>
                  <a:pt x="538" y="2643"/>
                </a:lnTo>
                <a:lnTo>
                  <a:pt x="538" y="2646"/>
                </a:lnTo>
                <a:lnTo>
                  <a:pt x="539" y="2648"/>
                </a:lnTo>
                <a:lnTo>
                  <a:pt x="541" y="2651"/>
                </a:lnTo>
                <a:lnTo>
                  <a:pt x="545" y="2648"/>
                </a:lnTo>
                <a:lnTo>
                  <a:pt x="547" y="2646"/>
                </a:lnTo>
                <a:lnTo>
                  <a:pt x="548" y="2646"/>
                </a:lnTo>
                <a:lnTo>
                  <a:pt x="551" y="2646"/>
                </a:lnTo>
                <a:lnTo>
                  <a:pt x="551" y="2648"/>
                </a:lnTo>
                <a:lnTo>
                  <a:pt x="547" y="2649"/>
                </a:lnTo>
                <a:lnTo>
                  <a:pt x="544" y="2649"/>
                </a:lnTo>
                <a:lnTo>
                  <a:pt x="542" y="2652"/>
                </a:lnTo>
                <a:lnTo>
                  <a:pt x="542" y="2654"/>
                </a:lnTo>
                <a:lnTo>
                  <a:pt x="542" y="2655"/>
                </a:lnTo>
                <a:lnTo>
                  <a:pt x="542" y="2657"/>
                </a:lnTo>
                <a:lnTo>
                  <a:pt x="542" y="2658"/>
                </a:lnTo>
                <a:lnTo>
                  <a:pt x="544" y="2661"/>
                </a:lnTo>
                <a:lnTo>
                  <a:pt x="544" y="2664"/>
                </a:lnTo>
                <a:lnTo>
                  <a:pt x="545" y="2666"/>
                </a:lnTo>
                <a:lnTo>
                  <a:pt x="547" y="2666"/>
                </a:lnTo>
                <a:lnTo>
                  <a:pt x="547" y="2664"/>
                </a:lnTo>
                <a:lnTo>
                  <a:pt x="554" y="2661"/>
                </a:lnTo>
                <a:lnTo>
                  <a:pt x="553" y="2663"/>
                </a:lnTo>
                <a:lnTo>
                  <a:pt x="554" y="2663"/>
                </a:lnTo>
                <a:lnTo>
                  <a:pt x="554" y="2664"/>
                </a:lnTo>
                <a:lnTo>
                  <a:pt x="550" y="2664"/>
                </a:lnTo>
                <a:lnTo>
                  <a:pt x="550" y="2666"/>
                </a:lnTo>
                <a:lnTo>
                  <a:pt x="548" y="2666"/>
                </a:lnTo>
                <a:lnTo>
                  <a:pt x="548" y="2668"/>
                </a:lnTo>
                <a:lnTo>
                  <a:pt x="547" y="2671"/>
                </a:lnTo>
                <a:lnTo>
                  <a:pt x="548" y="2671"/>
                </a:lnTo>
                <a:lnTo>
                  <a:pt x="551" y="2671"/>
                </a:lnTo>
                <a:lnTo>
                  <a:pt x="553" y="2672"/>
                </a:lnTo>
                <a:lnTo>
                  <a:pt x="553" y="2674"/>
                </a:lnTo>
                <a:lnTo>
                  <a:pt x="554" y="2674"/>
                </a:lnTo>
                <a:lnTo>
                  <a:pt x="556" y="2672"/>
                </a:lnTo>
                <a:lnTo>
                  <a:pt x="556" y="2674"/>
                </a:lnTo>
                <a:lnTo>
                  <a:pt x="561" y="2675"/>
                </a:lnTo>
                <a:lnTo>
                  <a:pt x="564" y="2680"/>
                </a:lnTo>
                <a:lnTo>
                  <a:pt x="564" y="2682"/>
                </a:lnTo>
                <a:lnTo>
                  <a:pt x="562" y="2682"/>
                </a:lnTo>
                <a:lnTo>
                  <a:pt x="562" y="2678"/>
                </a:lnTo>
                <a:lnTo>
                  <a:pt x="561" y="2678"/>
                </a:lnTo>
                <a:lnTo>
                  <a:pt x="558" y="2677"/>
                </a:lnTo>
                <a:lnTo>
                  <a:pt x="556" y="2677"/>
                </a:lnTo>
                <a:lnTo>
                  <a:pt x="554" y="2677"/>
                </a:lnTo>
                <a:lnTo>
                  <a:pt x="553" y="2677"/>
                </a:lnTo>
                <a:lnTo>
                  <a:pt x="551" y="2677"/>
                </a:lnTo>
                <a:lnTo>
                  <a:pt x="547" y="2677"/>
                </a:lnTo>
                <a:lnTo>
                  <a:pt x="548" y="2680"/>
                </a:lnTo>
                <a:lnTo>
                  <a:pt x="550" y="2682"/>
                </a:lnTo>
                <a:lnTo>
                  <a:pt x="553" y="2682"/>
                </a:lnTo>
                <a:lnTo>
                  <a:pt x="554" y="2682"/>
                </a:lnTo>
                <a:lnTo>
                  <a:pt x="556" y="2683"/>
                </a:lnTo>
                <a:lnTo>
                  <a:pt x="556" y="2685"/>
                </a:lnTo>
                <a:lnTo>
                  <a:pt x="562" y="2706"/>
                </a:lnTo>
                <a:lnTo>
                  <a:pt x="562" y="2705"/>
                </a:lnTo>
                <a:lnTo>
                  <a:pt x="564" y="2706"/>
                </a:lnTo>
                <a:lnTo>
                  <a:pt x="564" y="2708"/>
                </a:lnTo>
                <a:lnTo>
                  <a:pt x="561" y="2709"/>
                </a:lnTo>
                <a:lnTo>
                  <a:pt x="561" y="2711"/>
                </a:lnTo>
                <a:lnTo>
                  <a:pt x="559" y="2712"/>
                </a:lnTo>
                <a:lnTo>
                  <a:pt x="559" y="2715"/>
                </a:lnTo>
                <a:lnTo>
                  <a:pt x="564" y="2717"/>
                </a:lnTo>
                <a:lnTo>
                  <a:pt x="565" y="2719"/>
                </a:lnTo>
                <a:lnTo>
                  <a:pt x="567" y="2723"/>
                </a:lnTo>
                <a:lnTo>
                  <a:pt x="568" y="2725"/>
                </a:lnTo>
                <a:lnTo>
                  <a:pt x="570" y="2725"/>
                </a:lnTo>
                <a:lnTo>
                  <a:pt x="570" y="2726"/>
                </a:lnTo>
                <a:lnTo>
                  <a:pt x="571" y="2728"/>
                </a:lnTo>
                <a:lnTo>
                  <a:pt x="570" y="2731"/>
                </a:lnTo>
                <a:lnTo>
                  <a:pt x="570" y="2732"/>
                </a:lnTo>
                <a:lnTo>
                  <a:pt x="571" y="2734"/>
                </a:lnTo>
                <a:lnTo>
                  <a:pt x="574" y="2737"/>
                </a:lnTo>
                <a:lnTo>
                  <a:pt x="576" y="2738"/>
                </a:lnTo>
                <a:lnTo>
                  <a:pt x="578" y="2742"/>
                </a:lnTo>
                <a:lnTo>
                  <a:pt x="578" y="2743"/>
                </a:lnTo>
                <a:lnTo>
                  <a:pt x="579" y="2743"/>
                </a:lnTo>
                <a:lnTo>
                  <a:pt x="581" y="2743"/>
                </a:lnTo>
                <a:lnTo>
                  <a:pt x="582" y="2742"/>
                </a:lnTo>
                <a:lnTo>
                  <a:pt x="582" y="2740"/>
                </a:lnTo>
                <a:lnTo>
                  <a:pt x="584" y="2740"/>
                </a:lnTo>
                <a:lnTo>
                  <a:pt x="587" y="2738"/>
                </a:lnTo>
                <a:lnTo>
                  <a:pt x="587" y="2737"/>
                </a:lnTo>
                <a:lnTo>
                  <a:pt x="588" y="2738"/>
                </a:lnTo>
                <a:lnTo>
                  <a:pt x="590" y="2738"/>
                </a:lnTo>
                <a:lnTo>
                  <a:pt x="590" y="2740"/>
                </a:lnTo>
                <a:lnTo>
                  <a:pt x="590" y="2742"/>
                </a:lnTo>
                <a:lnTo>
                  <a:pt x="588" y="2742"/>
                </a:lnTo>
                <a:lnTo>
                  <a:pt x="587" y="2740"/>
                </a:lnTo>
                <a:lnTo>
                  <a:pt x="585" y="2742"/>
                </a:lnTo>
                <a:lnTo>
                  <a:pt x="584" y="2742"/>
                </a:lnTo>
                <a:lnTo>
                  <a:pt x="584" y="2743"/>
                </a:lnTo>
                <a:lnTo>
                  <a:pt x="582" y="2746"/>
                </a:lnTo>
                <a:lnTo>
                  <a:pt x="582" y="2745"/>
                </a:lnTo>
                <a:lnTo>
                  <a:pt x="581" y="2745"/>
                </a:lnTo>
                <a:lnTo>
                  <a:pt x="579" y="2745"/>
                </a:lnTo>
                <a:lnTo>
                  <a:pt x="578" y="2746"/>
                </a:lnTo>
                <a:lnTo>
                  <a:pt x="578" y="2748"/>
                </a:lnTo>
                <a:lnTo>
                  <a:pt x="576" y="2748"/>
                </a:lnTo>
                <a:lnTo>
                  <a:pt x="576" y="2749"/>
                </a:lnTo>
                <a:lnTo>
                  <a:pt x="578" y="2751"/>
                </a:lnTo>
                <a:lnTo>
                  <a:pt x="581" y="2752"/>
                </a:lnTo>
                <a:lnTo>
                  <a:pt x="581" y="2754"/>
                </a:lnTo>
                <a:lnTo>
                  <a:pt x="582" y="2754"/>
                </a:lnTo>
                <a:lnTo>
                  <a:pt x="582" y="2755"/>
                </a:lnTo>
                <a:lnTo>
                  <a:pt x="584" y="2754"/>
                </a:lnTo>
                <a:lnTo>
                  <a:pt x="585" y="2755"/>
                </a:lnTo>
                <a:lnTo>
                  <a:pt x="585" y="2758"/>
                </a:lnTo>
                <a:lnTo>
                  <a:pt x="587" y="2757"/>
                </a:lnTo>
                <a:lnTo>
                  <a:pt x="588" y="2755"/>
                </a:lnTo>
                <a:lnTo>
                  <a:pt x="590" y="2757"/>
                </a:lnTo>
                <a:lnTo>
                  <a:pt x="591" y="2758"/>
                </a:lnTo>
                <a:lnTo>
                  <a:pt x="593" y="2760"/>
                </a:lnTo>
                <a:lnTo>
                  <a:pt x="593" y="2765"/>
                </a:lnTo>
                <a:lnTo>
                  <a:pt x="594" y="2768"/>
                </a:lnTo>
                <a:lnTo>
                  <a:pt x="593" y="2769"/>
                </a:lnTo>
                <a:lnTo>
                  <a:pt x="594" y="2771"/>
                </a:lnTo>
                <a:lnTo>
                  <a:pt x="594" y="2772"/>
                </a:lnTo>
                <a:lnTo>
                  <a:pt x="596" y="2771"/>
                </a:lnTo>
                <a:lnTo>
                  <a:pt x="598" y="2771"/>
                </a:lnTo>
                <a:lnTo>
                  <a:pt x="599" y="2771"/>
                </a:lnTo>
                <a:lnTo>
                  <a:pt x="601" y="2771"/>
                </a:lnTo>
                <a:lnTo>
                  <a:pt x="601" y="2772"/>
                </a:lnTo>
                <a:lnTo>
                  <a:pt x="598" y="2772"/>
                </a:lnTo>
                <a:lnTo>
                  <a:pt x="596" y="2774"/>
                </a:lnTo>
                <a:lnTo>
                  <a:pt x="596" y="2777"/>
                </a:lnTo>
                <a:lnTo>
                  <a:pt x="596" y="2780"/>
                </a:lnTo>
                <a:lnTo>
                  <a:pt x="596" y="2782"/>
                </a:lnTo>
                <a:lnTo>
                  <a:pt x="598" y="2782"/>
                </a:lnTo>
                <a:lnTo>
                  <a:pt x="599" y="2782"/>
                </a:lnTo>
                <a:lnTo>
                  <a:pt x="601" y="2782"/>
                </a:lnTo>
                <a:lnTo>
                  <a:pt x="601" y="2780"/>
                </a:lnTo>
                <a:lnTo>
                  <a:pt x="601" y="2778"/>
                </a:lnTo>
                <a:lnTo>
                  <a:pt x="601" y="2777"/>
                </a:lnTo>
                <a:lnTo>
                  <a:pt x="602" y="2775"/>
                </a:lnTo>
                <a:lnTo>
                  <a:pt x="602" y="2777"/>
                </a:lnTo>
                <a:lnTo>
                  <a:pt x="602" y="2778"/>
                </a:lnTo>
                <a:lnTo>
                  <a:pt x="604" y="2778"/>
                </a:lnTo>
                <a:lnTo>
                  <a:pt x="604" y="2780"/>
                </a:lnTo>
                <a:lnTo>
                  <a:pt x="604" y="2782"/>
                </a:lnTo>
                <a:lnTo>
                  <a:pt x="608" y="2788"/>
                </a:lnTo>
                <a:lnTo>
                  <a:pt x="605" y="2786"/>
                </a:lnTo>
                <a:lnTo>
                  <a:pt x="605" y="2788"/>
                </a:lnTo>
                <a:lnTo>
                  <a:pt x="607" y="2789"/>
                </a:lnTo>
                <a:lnTo>
                  <a:pt x="605" y="2789"/>
                </a:lnTo>
                <a:lnTo>
                  <a:pt x="604" y="2786"/>
                </a:lnTo>
                <a:lnTo>
                  <a:pt x="602" y="2783"/>
                </a:lnTo>
                <a:lnTo>
                  <a:pt x="601" y="2780"/>
                </a:lnTo>
                <a:lnTo>
                  <a:pt x="601" y="2783"/>
                </a:lnTo>
                <a:lnTo>
                  <a:pt x="604" y="2788"/>
                </a:lnTo>
                <a:lnTo>
                  <a:pt x="604" y="2792"/>
                </a:lnTo>
                <a:lnTo>
                  <a:pt x="605" y="2794"/>
                </a:lnTo>
                <a:lnTo>
                  <a:pt x="605" y="2795"/>
                </a:lnTo>
                <a:lnTo>
                  <a:pt x="605" y="2798"/>
                </a:lnTo>
                <a:lnTo>
                  <a:pt x="605" y="2800"/>
                </a:lnTo>
                <a:lnTo>
                  <a:pt x="607" y="2800"/>
                </a:lnTo>
                <a:lnTo>
                  <a:pt x="607" y="2803"/>
                </a:lnTo>
                <a:lnTo>
                  <a:pt x="607" y="2808"/>
                </a:lnTo>
                <a:lnTo>
                  <a:pt x="608" y="2809"/>
                </a:lnTo>
                <a:lnTo>
                  <a:pt x="610" y="2811"/>
                </a:lnTo>
                <a:lnTo>
                  <a:pt x="616" y="2812"/>
                </a:lnTo>
                <a:lnTo>
                  <a:pt x="616" y="2814"/>
                </a:lnTo>
                <a:lnTo>
                  <a:pt x="615" y="2814"/>
                </a:lnTo>
                <a:lnTo>
                  <a:pt x="613" y="2814"/>
                </a:lnTo>
                <a:lnTo>
                  <a:pt x="610" y="2814"/>
                </a:lnTo>
                <a:lnTo>
                  <a:pt x="608" y="2812"/>
                </a:lnTo>
                <a:lnTo>
                  <a:pt x="608" y="2815"/>
                </a:lnTo>
                <a:lnTo>
                  <a:pt x="610" y="2817"/>
                </a:lnTo>
                <a:lnTo>
                  <a:pt x="613" y="2822"/>
                </a:lnTo>
                <a:lnTo>
                  <a:pt x="613" y="2825"/>
                </a:lnTo>
                <a:lnTo>
                  <a:pt x="613" y="2831"/>
                </a:lnTo>
                <a:lnTo>
                  <a:pt x="613" y="2832"/>
                </a:lnTo>
                <a:lnTo>
                  <a:pt x="615" y="2834"/>
                </a:lnTo>
                <a:lnTo>
                  <a:pt x="615" y="2835"/>
                </a:lnTo>
                <a:lnTo>
                  <a:pt x="615" y="2837"/>
                </a:lnTo>
                <a:lnTo>
                  <a:pt x="615" y="2838"/>
                </a:lnTo>
                <a:lnTo>
                  <a:pt x="615" y="2840"/>
                </a:lnTo>
                <a:lnTo>
                  <a:pt x="616" y="2842"/>
                </a:lnTo>
                <a:lnTo>
                  <a:pt x="619" y="2848"/>
                </a:lnTo>
                <a:lnTo>
                  <a:pt x="621" y="2849"/>
                </a:lnTo>
                <a:lnTo>
                  <a:pt x="624" y="2856"/>
                </a:lnTo>
                <a:lnTo>
                  <a:pt x="625" y="2859"/>
                </a:lnTo>
                <a:lnTo>
                  <a:pt x="627" y="2863"/>
                </a:lnTo>
                <a:lnTo>
                  <a:pt x="627" y="2871"/>
                </a:lnTo>
                <a:lnTo>
                  <a:pt x="630" y="2880"/>
                </a:lnTo>
                <a:lnTo>
                  <a:pt x="631" y="2883"/>
                </a:lnTo>
                <a:lnTo>
                  <a:pt x="633" y="2878"/>
                </a:lnTo>
                <a:lnTo>
                  <a:pt x="633" y="2877"/>
                </a:lnTo>
                <a:lnTo>
                  <a:pt x="634" y="2880"/>
                </a:lnTo>
                <a:lnTo>
                  <a:pt x="634" y="2882"/>
                </a:lnTo>
                <a:lnTo>
                  <a:pt x="636" y="2885"/>
                </a:lnTo>
                <a:lnTo>
                  <a:pt x="638" y="2885"/>
                </a:lnTo>
                <a:lnTo>
                  <a:pt x="638" y="2886"/>
                </a:lnTo>
                <a:lnTo>
                  <a:pt x="636" y="2886"/>
                </a:lnTo>
                <a:lnTo>
                  <a:pt x="634" y="2886"/>
                </a:lnTo>
                <a:lnTo>
                  <a:pt x="633" y="2885"/>
                </a:lnTo>
                <a:lnTo>
                  <a:pt x="633" y="2886"/>
                </a:lnTo>
                <a:lnTo>
                  <a:pt x="633" y="2888"/>
                </a:lnTo>
                <a:lnTo>
                  <a:pt x="631" y="2888"/>
                </a:lnTo>
                <a:lnTo>
                  <a:pt x="633" y="2889"/>
                </a:lnTo>
                <a:lnTo>
                  <a:pt x="631" y="2891"/>
                </a:lnTo>
                <a:lnTo>
                  <a:pt x="633" y="2897"/>
                </a:lnTo>
                <a:lnTo>
                  <a:pt x="633" y="2900"/>
                </a:lnTo>
                <a:lnTo>
                  <a:pt x="634" y="2908"/>
                </a:lnTo>
                <a:lnTo>
                  <a:pt x="634" y="2909"/>
                </a:lnTo>
                <a:lnTo>
                  <a:pt x="634" y="2912"/>
                </a:lnTo>
                <a:lnTo>
                  <a:pt x="636" y="2912"/>
                </a:lnTo>
                <a:lnTo>
                  <a:pt x="634" y="2912"/>
                </a:lnTo>
                <a:lnTo>
                  <a:pt x="634" y="2909"/>
                </a:lnTo>
                <a:lnTo>
                  <a:pt x="633" y="2906"/>
                </a:lnTo>
                <a:lnTo>
                  <a:pt x="633" y="2909"/>
                </a:lnTo>
                <a:lnTo>
                  <a:pt x="633" y="2914"/>
                </a:lnTo>
                <a:lnTo>
                  <a:pt x="634" y="2915"/>
                </a:lnTo>
                <a:lnTo>
                  <a:pt x="634" y="2917"/>
                </a:lnTo>
                <a:lnTo>
                  <a:pt x="634" y="2919"/>
                </a:lnTo>
                <a:lnTo>
                  <a:pt x="636" y="2920"/>
                </a:lnTo>
                <a:lnTo>
                  <a:pt x="636" y="2923"/>
                </a:lnTo>
                <a:lnTo>
                  <a:pt x="638" y="2931"/>
                </a:lnTo>
                <a:lnTo>
                  <a:pt x="639" y="2936"/>
                </a:lnTo>
                <a:lnTo>
                  <a:pt x="639" y="2942"/>
                </a:lnTo>
                <a:lnTo>
                  <a:pt x="641" y="2943"/>
                </a:lnTo>
                <a:lnTo>
                  <a:pt x="641" y="2945"/>
                </a:lnTo>
                <a:lnTo>
                  <a:pt x="641" y="2948"/>
                </a:lnTo>
                <a:lnTo>
                  <a:pt x="642" y="2951"/>
                </a:lnTo>
                <a:lnTo>
                  <a:pt x="642" y="2952"/>
                </a:lnTo>
                <a:lnTo>
                  <a:pt x="642" y="2956"/>
                </a:lnTo>
                <a:lnTo>
                  <a:pt x="647" y="2979"/>
                </a:lnTo>
                <a:lnTo>
                  <a:pt x="650" y="2979"/>
                </a:lnTo>
                <a:lnTo>
                  <a:pt x="653" y="2977"/>
                </a:lnTo>
                <a:lnTo>
                  <a:pt x="658" y="2977"/>
                </a:lnTo>
                <a:lnTo>
                  <a:pt x="656" y="2979"/>
                </a:lnTo>
                <a:lnTo>
                  <a:pt x="655" y="2979"/>
                </a:lnTo>
                <a:lnTo>
                  <a:pt x="653" y="2980"/>
                </a:lnTo>
                <a:lnTo>
                  <a:pt x="652" y="2982"/>
                </a:lnTo>
                <a:lnTo>
                  <a:pt x="650" y="2983"/>
                </a:lnTo>
                <a:lnTo>
                  <a:pt x="647" y="2982"/>
                </a:lnTo>
                <a:lnTo>
                  <a:pt x="647" y="2983"/>
                </a:lnTo>
                <a:lnTo>
                  <a:pt x="648" y="2983"/>
                </a:lnTo>
                <a:lnTo>
                  <a:pt x="648" y="2985"/>
                </a:lnTo>
                <a:lnTo>
                  <a:pt x="650" y="2986"/>
                </a:lnTo>
                <a:lnTo>
                  <a:pt x="650" y="2988"/>
                </a:lnTo>
                <a:lnTo>
                  <a:pt x="650" y="2989"/>
                </a:lnTo>
                <a:lnTo>
                  <a:pt x="650" y="2991"/>
                </a:lnTo>
                <a:lnTo>
                  <a:pt x="652" y="2993"/>
                </a:lnTo>
                <a:lnTo>
                  <a:pt x="653" y="2994"/>
                </a:lnTo>
                <a:lnTo>
                  <a:pt x="659" y="3017"/>
                </a:lnTo>
                <a:lnTo>
                  <a:pt x="662" y="3020"/>
                </a:lnTo>
                <a:lnTo>
                  <a:pt x="662" y="3022"/>
                </a:lnTo>
                <a:lnTo>
                  <a:pt x="662" y="3025"/>
                </a:lnTo>
                <a:lnTo>
                  <a:pt x="664" y="3026"/>
                </a:lnTo>
                <a:lnTo>
                  <a:pt x="665" y="3026"/>
                </a:lnTo>
                <a:lnTo>
                  <a:pt x="665" y="3028"/>
                </a:lnTo>
                <a:lnTo>
                  <a:pt x="665" y="3030"/>
                </a:lnTo>
                <a:lnTo>
                  <a:pt x="665" y="3031"/>
                </a:lnTo>
                <a:lnTo>
                  <a:pt x="671" y="3043"/>
                </a:lnTo>
                <a:lnTo>
                  <a:pt x="673" y="3048"/>
                </a:lnTo>
                <a:lnTo>
                  <a:pt x="674" y="3051"/>
                </a:lnTo>
                <a:lnTo>
                  <a:pt x="674" y="3053"/>
                </a:lnTo>
                <a:lnTo>
                  <a:pt x="674" y="3054"/>
                </a:lnTo>
                <a:lnTo>
                  <a:pt x="674" y="3053"/>
                </a:lnTo>
                <a:lnTo>
                  <a:pt x="676" y="3053"/>
                </a:lnTo>
                <a:lnTo>
                  <a:pt x="676" y="3051"/>
                </a:lnTo>
                <a:lnTo>
                  <a:pt x="678" y="3051"/>
                </a:lnTo>
                <a:lnTo>
                  <a:pt x="676" y="3056"/>
                </a:lnTo>
                <a:lnTo>
                  <a:pt x="678" y="3062"/>
                </a:lnTo>
                <a:lnTo>
                  <a:pt x="681" y="3071"/>
                </a:lnTo>
                <a:lnTo>
                  <a:pt x="682" y="3076"/>
                </a:lnTo>
                <a:lnTo>
                  <a:pt x="682" y="3077"/>
                </a:lnTo>
                <a:lnTo>
                  <a:pt x="684" y="3079"/>
                </a:lnTo>
                <a:lnTo>
                  <a:pt x="685" y="3077"/>
                </a:lnTo>
                <a:lnTo>
                  <a:pt x="685" y="3079"/>
                </a:lnTo>
                <a:lnTo>
                  <a:pt x="687" y="3079"/>
                </a:lnTo>
                <a:lnTo>
                  <a:pt x="688" y="3080"/>
                </a:lnTo>
                <a:lnTo>
                  <a:pt x="690" y="3083"/>
                </a:lnTo>
                <a:lnTo>
                  <a:pt x="688" y="3080"/>
                </a:lnTo>
                <a:lnTo>
                  <a:pt x="690" y="3079"/>
                </a:lnTo>
                <a:lnTo>
                  <a:pt x="693" y="3076"/>
                </a:lnTo>
                <a:lnTo>
                  <a:pt x="696" y="3077"/>
                </a:lnTo>
                <a:lnTo>
                  <a:pt x="696" y="3079"/>
                </a:lnTo>
                <a:lnTo>
                  <a:pt x="695" y="3079"/>
                </a:lnTo>
                <a:lnTo>
                  <a:pt x="692" y="3079"/>
                </a:lnTo>
                <a:lnTo>
                  <a:pt x="692" y="3080"/>
                </a:lnTo>
                <a:lnTo>
                  <a:pt x="692" y="3082"/>
                </a:lnTo>
                <a:lnTo>
                  <a:pt x="693" y="3085"/>
                </a:lnTo>
                <a:lnTo>
                  <a:pt x="695" y="3085"/>
                </a:lnTo>
                <a:lnTo>
                  <a:pt x="696" y="3086"/>
                </a:lnTo>
                <a:lnTo>
                  <a:pt x="698" y="3086"/>
                </a:lnTo>
                <a:lnTo>
                  <a:pt x="699" y="3086"/>
                </a:lnTo>
                <a:lnTo>
                  <a:pt x="701" y="3083"/>
                </a:lnTo>
                <a:lnTo>
                  <a:pt x="702" y="3083"/>
                </a:lnTo>
                <a:lnTo>
                  <a:pt x="701" y="3085"/>
                </a:lnTo>
                <a:lnTo>
                  <a:pt x="701" y="3086"/>
                </a:lnTo>
                <a:lnTo>
                  <a:pt x="701" y="3088"/>
                </a:lnTo>
                <a:lnTo>
                  <a:pt x="702" y="3089"/>
                </a:lnTo>
                <a:lnTo>
                  <a:pt x="696" y="3088"/>
                </a:lnTo>
                <a:lnTo>
                  <a:pt x="693" y="3088"/>
                </a:lnTo>
                <a:lnTo>
                  <a:pt x="696" y="3093"/>
                </a:lnTo>
                <a:lnTo>
                  <a:pt x="698" y="3096"/>
                </a:lnTo>
                <a:lnTo>
                  <a:pt x="698" y="3097"/>
                </a:lnTo>
                <a:lnTo>
                  <a:pt x="701" y="3096"/>
                </a:lnTo>
                <a:lnTo>
                  <a:pt x="713" y="3113"/>
                </a:lnTo>
                <a:lnTo>
                  <a:pt x="715" y="3116"/>
                </a:lnTo>
                <a:lnTo>
                  <a:pt x="721" y="3131"/>
                </a:lnTo>
                <a:lnTo>
                  <a:pt x="721" y="3133"/>
                </a:lnTo>
                <a:lnTo>
                  <a:pt x="722" y="3137"/>
                </a:lnTo>
                <a:lnTo>
                  <a:pt x="722" y="3139"/>
                </a:lnTo>
                <a:lnTo>
                  <a:pt x="722" y="3140"/>
                </a:lnTo>
                <a:lnTo>
                  <a:pt x="724" y="3142"/>
                </a:lnTo>
                <a:lnTo>
                  <a:pt x="725" y="3144"/>
                </a:lnTo>
                <a:lnTo>
                  <a:pt x="727" y="3144"/>
                </a:lnTo>
                <a:lnTo>
                  <a:pt x="729" y="3144"/>
                </a:lnTo>
                <a:lnTo>
                  <a:pt x="730" y="3145"/>
                </a:lnTo>
                <a:lnTo>
                  <a:pt x="732" y="3148"/>
                </a:lnTo>
                <a:lnTo>
                  <a:pt x="733" y="3153"/>
                </a:lnTo>
                <a:lnTo>
                  <a:pt x="733" y="3154"/>
                </a:lnTo>
                <a:lnTo>
                  <a:pt x="735" y="3154"/>
                </a:lnTo>
                <a:lnTo>
                  <a:pt x="736" y="3156"/>
                </a:lnTo>
                <a:lnTo>
                  <a:pt x="736" y="3157"/>
                </a:lnTo>
                <a:lnTo>
                  <a:pt x="735" y="3157"/>
                </a:lnTo>
                <a:lnTo>
                  <a:pt x="735" y="3159"/>
                </a:lnTo>
                <a:lnTo>
                  <a:pt x="735" y="3160"/>
                </a:lnTo>
                <a:lnTo>
                  <a:pt x="736" y="3162"/>
                </a:lnTo>
                <a:lnTo>
                  <a:pt x="744" y="3187"/>
                </a:lnTo>
                <a:lnTo>
                  <a:pt x="748" y="3207"/>
                </a:lnTo>
                <a:lnTo>
                  <a:pt x="750" y="3216"/>
                </a:lnTo>
                <a:lnTo>
                  <a:pt x="751" y="3221"/>
                </a:lnTo>
                <a:lnTo>
                  <a:pt x="755" y="3222"/>
                </a:lnTo>
                <a:lnTo>
                  <a:pt x="755" y="3224"/>
                </a:lnTo>
                <a:lnTo>
                  <a:pt x="753" y="3224"/>
                </a:lnTo>
                <a:lnTo>
                  <a:pt x="753" y="3225"/>
                </a:lnTo>
                <a:lnTo>
                  <a:pt x="753" y="3227"/>
                </a:lnTo>
                <a:lnTo>
                  <a:pt x="755" y="3228"/>
                </a:lnTo>
                <a:lnTo>
                  <a:pt x="755" y="3231"/>
                </a:lnTo>
                <a:lnTo>
                  <a:pt x="761" y="3245"/>
                </a:lnTo>
                <a:lnTo>
                  <a:pt x="761" y="3250"/>
                </a:lnTo>
                <a:lnTo>
                  <a:pt x="762" y="3251"/>
                </a:lnTo>
                <a:lnTo>
                  <a:pt x="766" y="3255"/>
                </a:lnTo>
                <a:lnTo>
                  <a:pt x="766" y="3256"/>
                </a:lnTo>
                <a:lnTo>
                  <a:pt x="767" y="3261"/>
                </a:lnTo>
                <a:lnTo>
                  <a:pt x="767" y="3264"/>
                </a:lnTo>
                <a:lnTo>
                  <a:pt x="767" y="3265"/>
                </a:lnTo>
                <a:lnTo>
                  <a:pt x="772" y="3271"/>
                </a:lnTo>
                <a:lnTo>
                  <a:pt x="773" y="3276"/>
                </a:lnTo>
                <a:lnTo>
                  <a:pt x="775" y="3285"/>
                </a:lnTo>
                <a:lnTo>
                  <a:pt x="776" y="3290"/>
                </a:lnTo>
                <a:lnTo>
                  <a:pt x="776" y="3292"/>
                </a:lnTo>
                <a:lnTo>
                  <a:pt x="778" y="3293"/>
                </a:lnTo>
                <a:lnTo>
                  <a:pt x="779" y="3295"/>
                </a:lnTo>
                <a:lnTo>
                  <a:pt x="781" y="3293"/>
                </a:lnTo>
                <a:lnTo>
                  <a:pt x="781" y="3292"/>
                </a:lnTo>
                <a:lnTo>
                  <a:pt x="781" y="3288"/>
                </a:lnTo>
                <a:lnTo>
                  <a:pt x="779" y="3285"/>
                </a:lnTo>
                <a:lnTo>
                  <a:pt x="781" y="3285"/>
                </a:lnTo>
                <a:lnTo>
                  <a:pt x="781" y="3287"/>
                </a:lnTo>
                <a:lnTo>
                  <a:pt x="782" y="3288"/>
                </a:lnTo>
                <a:lnTo>
                  <a:pt x="784" y="3288"/>
                </a:lnTo>
                <a:lnTo>
                  <a:pt x="784" y="3290"/>
                </a:lnTo>
                <a:lnTo>
                  <a:pt x="784" y="3292"/>
                </a:lnTo>
                <a:lnTo>
                  <a:pt x="782" y="3293"/>
                </a:lnTo>
                <a:lnTo>
                  <a:pt x="778" y="3296"/>
                </a:lnTo>
                <a:lnTo>
                  <a:pt x="778" y="3298"/>
                </a:lnTo>
                <a:lnTo>
                  <a:pt x="779" y="3299"/>
                </a:lnTo>
                <a:lnTo>
                  <a:pt x="779" y="3301"/>
                </a:lnTo>
                <a:lnTo>
                  <a:pt x="778" y="3302"/>
                </a:lnTo>
                <a:lnTo>
                  <a:pt x="778" y="3304"/>
                </a:lnTo>
                <a:lnTo>
                  <a:pt x="781" y="3313"/>
                </a:lnTo>
                <a:lnTo>
                  <a:pt x="782" y="3316"/>
                </a:lnTo>
                <a:lnTo>
                  <a:pt x="784" y="3318"/>
                </a:lnTo>
                <a:lnTo>
                  <a:pt x="784" y="3316"/>
                </a:lnTo>
                <a:lnTo>
                  <a:pt x="782" y="3313"/>
                </a:lnTo>
                <a:lnTo>
                  <a:pt x="782" y="3308"/>
                </a:lnTo>
                <a:lnTo>
                  <a:pt x="782" y="3307"/>
                </a:lnTo>
                <a:lnTo>
                  <a:pt x="781" y="3305"/>
                </a:lnTo>
                <a:lnTo>
                  <a:pt x="781" y="3302"/>
                </a:lnTo>
                <a:lnTo>
                  <a:pt x="781" y="3301"/>
                </a:lnTo>
                <a:lnTo>
                  <a:pt x="782" y="3302"/>
                </a:lnTo>
                <a:lnTo>
                  <a:pt x="782" y="3304"/>
                </a:lnTo>
                <a:lnTo>
                  <a:pt x="784" y="3304"/>
                </a:lnTo>
                <a:lnTo>
                  <a:pt x="785" y="3310"/>
                </a:lnTo>
                <a:lnTo>
                  <a:pt x="787" y="3311"/>
                </a:lnTo>
                <a:lnTo>
                  <a:pt x="787" y="3314"/>
                </a:lnTo>
                <a:lnTo>
                  <a:pt x="787" y="3319"/>
                </a:lnTo>
                <a:lnTo>
                  <a:pt x="788" y="3322"/>
                </a:lnTo>
                <a:lnTo>
                  <a:pt x="792" y="3321"/>
                </a:lnTo>
                <a:lnTo>
                  <a:pt x="792" y="3322"/>
                </a:lnTo>
                <a:lnTo>
                  <a:pt x="796" y="3327"/>
                </a:lnTo>
                <a:lnTo>
                  <a:pt x="796" y="3328"/>
                </a:lnTo>
                <a:lnTo>
                  <a:pt x="798" y="3333"/>
                </a:lnTo>
                <a:lnTo>
                  <a:pt x="799" y="3334"/>
                </a:lnTo>
                <a:lnTo>
                  <a:pt x="799" y="3338"/>
                </a:lnTo>
                <a:lnTo>
                  <a:pt x="798" y="3339"/>
                </a:lnTo>
                <a:lnTo>
                  <a:pt x="798" y="3342"/>
                </a:lnTo>
                <a:lnTo>
                  <a:pt x="799" y="3345"/>
                </a:lnTo>
                <a:lnTo>
                  <a:pt x="799" y="3347"/>
                </a:lnTo>
                <a:lnTo>
                  <a:pt x="799" y="3350"/>
                </a:lnTo>
                <a:lnTo>
                  <a:pt x="799" y="3351"/>
                </a:lnTo>
                <a:lnTo>
                  <a:pt x="799" y="3350"/>
                </a:lnTo>
                <a:lnTo>
                  <a:pt x="801" y="3351"/>
                </a:lnTo>
                <a:lnTo>
                  <a:pt x="801" y="3353"/>
                </a:lnTo>
                <a:lnTo>
                  <a:pt x="801" y="3359"/>
                </a:lnTo>
                <a:lnTo>
                  <a:pt x="801" y="3362"/>
                </a:lnTo>
                <a:lnTo>
                  <a:pt x="801" y="3364"/>
                </a:lnTo>
                <a:lnTo>
                  <a:pt x="801" y="3367"/>
                </a:lnTo>
                <a:lnTo>
                  <a:pt x="801" y="3368"/>
                </a:lnTo>
                <a:lnTo>
                  <a:pt x="802" y="3368"/>
                </a:lnTo>
                <a:lnTo>
                  <a:pt x="804" y="3367"/>
                </a:lnTo>
                <a:lnTo>
                  <a:pt x="806" y="3368"/>
                </a:lnTo>
                <a:lnTo>
                  <a:pt x="807" y="3370"/>
                </a:lnTo>
                <a:lnTo>
                  <a:pt x="810" y="3371"/>
                </a:lnTo>
                <a:lnTo>
                  <a:pt x="807" y="3374"/>
                </a:lnTo>
                <a:lnTo>
                  <a:pt x="806" y="3376"/>
                </a:lnTo>
                <a:lnTo>
                  <a:pt x="802" y="3374"/>
                </a:lnTo>
                <a:lnTo>
                  <a:pt x="798" y="3373"/>
                </a:lnTo>
                <a:lnTo>
                  <a:pt x="795" y="3373"/>
                </a:lnTo>
                <a:lnTo>
                  <a:pt x="795" y="3371"/>
                </a:lnTo>
                <a:lnTo>
                  <a:pt x="796" y="3361"/>
                </a:lnTo>
                <a:lnTo>
                  <a:pt x="798" y="3359"/>
                </a:lnTo>
                <a:lnTo>
                  <a:pt x="798" y="3358"/>
                </a:lnTo>
                <a:lnTo>
                  <a:pt x="799" y="3356"/>
                </a:lnTo>
                <a:lnTo>
                  <a:pt x="799" y="3355"/>
                </a:lnTo>
                <a:lnTo>
                  <a:pt x="798" y="3351"/>
                </a:lnTo>
                <a:lnTo>
                  <a:pt x="796" y="3350"/>
                </a:lnTo>
                <a:lnTo>
                  <a:pt x="796" y="3344"/>
                </a:lnTo>
                <a:lnTo>
                  <a:pt x="796" y="3342"/>
                </a:lnTo>
                <a:lnTo>
                  <a:pt x="796" y="3339"/>
                </a:lnTo>
                <a:lnTo>
                  <a:pt x="796" y="3338"/>
                </a:lnTo>
                <a:lnTo>
                  <a:pt x="795" y="3336"/>
                </a:lnTo>
                <a:lnTo>
                  <a:pt x="793" y="3333"/>
                </a:lnTo>
                <a:lnTo>
                  <a:pt x="793" y="3331"/>
                </a:lnTo>
                <a:lnTo>
                  <a:pt x="792" y="3333"/>
                </a:lnTo>
                <a:lnTo>
                  <a:pt x="792" y="3334"/>
                </a:lnTo>
                <a:lnTo>
                  <a:pt x="795" y="3338"/>
                </a:lnTo>
                <a:lnTo>
                  <a:pt x="793" y="3341"/>
                </a:lnTo>
                <a:lnTo>
                  <a:pt x="795" y="3348"/>
                </a:lnTo>
                <a:lnTo>
                  <a:pt x="795" y="3351"/>
                </a:lnTo>
                <a:lnTo>
                  <a:pt x="793" y="3351"/>
                </a:lnTo>
                <a:lnTo>
                  <a:pt x="792" y="3333"/>
                </a:lnTo>
                <a:lnTo>
                  <a:pt x="790" y="3330"/>
                </a:lnTo>
                <a:lnTo>
                  <a:pt x="790" y="3331"/>
                </a:lnTo>
                <a:lnTo>
                  <a:pt x="790" y="3333"/>
                </a:lnTo>
                <a:lnTo>
                  <a:pt x="790" y="3334"/>
                </a:lnTo>
                <a:lnTo>
                  <a:pt x="788" y="3334"/>
                </a:lnTo>
                <a:lnTo>
                  <a:pt x="788" y="3333"/>
                </a:lnTo>
                <a:lnTo>
                  <a:pt x="788" y="3331"/>
                </a:lnTo>
                <a:lnTo>
                  <a:pt x="788" y="3328"/>
                </a:lnTo>
                <a:lnTo>
                  <a:pt x="787" y="3331"/>
                </a:lnTo>
                <a:lnTo>
                  <a:pt x="785" y="3330"/>
                </a:lnTo>
                <a:lnTo>
                  <a:pt x="785" y="3328"/>
                </a:lnTo>
                <a:lnTo>
                  <a:pt x="785" y="3327"/>
                </a:lnTo>
                <a:lnTo>
                  <a:pt x="788" y="3327"/>
                </a:lnTo>
                <a:lnTo>
                  <a:pt x="788" y="3325"/>
                </a:lnTo>
                <a:lnTo>
                  <a:pt x="787" y="3322"/>
                </a:lnTo>
                <a:lnTo>
                  <a:pt x="785" y="3321"/>
                </a:lnTo>
                <a:lnTo>
                  <a:pt x="784" y="3322"/>
                </a:lnTo>
                <a:lnTo>
                  <a:pt x="784" y="3324"/>
                </a:lnTo>
                <a:lnTo>
                  <a:pt x="784" y="3328"/>
                </a:lnTo>
                <a:lnTo>
                  <a:pt x="785" y="3330"/>
                </a:lnTo>
                <a:lnTo>
                  <a:pt x="787" y="3339"/>
                </a:lnTo>
                <a:lnTo>
                  <a:pt x="790" y="3356"/>
                </a:lnTo>
                <a:lnTo>
                  <a:pt x="788" y="3359"/>
                </a:lnTo>
                <a:lnTo>
                  <a:pt x="792" y="3376"/>
                </a:lnTo>
                <a:lnTo>
                  <a:pt x="796" y="3396"/>
                </a:lnTo>
                <a:lnTo>
                  <a:pt x="804" y="3416"/>
                </a:lnTo>
                <a:lnTo>
                  <a:pt x="804" y="3414"/>
                </a:lnTo>
                <a:lnTo>
                  <a:pt x="801" y="3405"/>
                </a:lnTo>
                <a:lnTo>
                  <a:pt x="802" y="3405"/>
                </a:lnTo>
                <a:lnTo>
                  <a:pt x="804" y="3408"/>
                </a:lnTo>
                <a:lnTo>
                  <a:pt x="806" y="3416"/>
                </a:lnTo>
                <a:lnTo>
                  <a:pt x="807" y="3414"/>
                </a:lnTo>
                <a:lnTo>
                  <a:pt x="807" y="3413"/>
                </a:lnTo>
                <a:lnTo>
                  <a:pt x="807" y="3419"/>
                </a:lnTo>
                <a:lnTo>
                  <a:pt x="807" y="3421"/>
                </a:lnTo>
                <a:lnTo>
                  <a:pt x="806" y="3421"/>
                </a:lnTo>
                <a:lnTo>
                  <a:pt x="806" y="3419"/>
                </a:lnTo>
                <a:lnTo>
                  <a:pt x="806" y="3418"/>
                </a:lnTo>
                <a:lnTo>
                  <a:pt x="806" y="3421"/>
                </a:lnTo>
                <a:lnTo>
                  <a:pt x="809" y="3427"/>
                </a:lnTo>
                <a:lnTo>
                  <a:pt x="809" y="3432"/>
                </a:lnTo>
                <a:lnTo>
                  <a:pt x="810" y="3433"/>
                </a:lnTo>
                <a:lnTo>
                  <a:pt x="810" y="3435"/>
                </a:lnTo>
                <a:lnTo>
                  <a:pt x="812" y="3436"/>
                </a:lnTo>
                <a:lnTo>
                  <a:pt x="812" y="3438"/>
                </a:lnTo>
                <a:lnTo>
                  <a:pt x="812" y="3441"/>
                </a:lnTo>
                <a:lnTo>
                  <a:pt x="813" y="3441"/>
                </a:lnTo>
                <a:lnTo>
                  <a:pt x="813" y="3439"/>
                </a:lnTo>
                <a:lnTo>
                  <a:pt x="813" y="3438"/>
                </a:lnTo>
                <a:lnTo>
                  <a:pt x="815" y="3436"/>
                </a:lnTo>
                <a:lnTo>
                  <a:pt x="816" y="3435"/>
                </a:lnTo>
                <a:lnTo>
                  <a:pt x="815" y="3436"/>
                </a:lnTo>
                <a:lnTo>
                  <a:pt x="815" y="3438"/>
                </a:lnTo>
                <a:lnTo>
                  <a:pt x="815" y="3439"/>
                </a:lnTo>
                <a:lnTo>
                  <a:pt x="816" y="3438"/>
                </a:lnTo>
                <a:lnTo>
                  <a:pt x="816" y="3435"/>
                </a:lnTo>
                <a:lnTo>
                  <a:pt x="818" y="3433"/>
                </a:lnTo>
                <a:lnTo>
                  <a:pt x="819" y="3435"/>
                </a:lnTo>
                <a:lnTo>
                  <a:pt x="821" y="3436"/>
                </a:lnTo>
                <a:lnTo>
                  <a:pt x="821" y="3435"/>
                </a:lnTo>
                <a:lnTo>
                  <a:pt x="822" y="3433"/>
                </a:lnTo>
                <a:lnTo>
                  <a:pt x="824" y="3433"/>
                </a:lnTo>
                <a:lnTo>
                  <a:pt x="825" y="3433"/>
                </a:lnTo>
                <a:lnTo>
                  <a:pt x="825" y="3435"/>
                </a:lnTo>
                <a:lnTo>
                  <a:pt x="824" y="3435"/>
                </a:lnTo>
                <a:lnTo>
                  <a:pt x="822" y="3435"/>
                </a:lnTo>
                <a:lnTo>
                  <a:pt x="822" y="3436"/>
                </a:lnTo>
                <a:lnTo>
                  <a:pt x="824" y="3436"/>
                </a:lnTo>
                <a:lnTo>
                  <a:pt x="824" y="3438"/>
                </a:lnTo>
                <a:lnTo>
                  <a:pt x="819" y="3438"/>
                </a:lnTo>
                <a:lnTo>
                  <a:pt x="818" y="3438"/>
                </a:lnTo>
                <a:lnTo>
                  <a:pt x="818" y="3439"/>
                </a:lnTo>
                <a:lnTo>
                  <a:pt x="816" y="3441"/>
                </a:lnTo>
                <a:lnTo>
                  <a:pt x="816" y="3442"/>
                </a:lnTo>
                <a:lnTo>
                  <a:pt x="818" y="3444"/>
                </a:lnTo>
                <a:lnTo>
                  <a:pt x="819" y="3442"/>
                </a:lnTo>
                <a:lnTo>
                  <a:pt x="821" y="3442"/>
                </a:lnTo>
                <a:lnTo>
                  <a:pt x="819" y="3444"/>
                </a:lnTo>
                <a:lnTo>
                  <a:pt x="818" y="3445"/>
                </a:lnTo>
                <a:lnTo>
                  <a:pt x="816" y="3445"/>
                </a:lnTo>
                <a:lnTo>
                  <a:pt x="815" y="3442"/>
                </a:lnTo>
                <a:lnTo>
                  <a:pt x="813" y="3442"/>
                </a:lnTo>
                <a:lnTo>
                  <a:pt x="813" y="3444"/>
                </a:lnTo>
                <a:lnTo>
                  <a:pt x="815" y="3447"/>
                </a:lnTo>
                <a:lnTo>
                  <a:pt x="822" y="3455"/>
                </a:lnTo>
                <a:lnTo>
                  <a:pt x="824" y="3458"/>
                </a:lnTo>
                <a:lnTo>
                  <a:pt x="829" y="3464"/>
                </a:lnTo>
                <a:lnTo>
                  <a:pt x="832" y="3469"/>
                </a:lnTo>
                <a:lnTo>
                  <a:pt x="833" y="3472"/>
                </a:lnTo>
                <a:lnTo>
                  <a:pt x="839" y="3481"/>
                </a:lnTo>
                <a:lnTo>
                  <a:pt x="841" y="3484"/>
                </a:lnTo>
                <a:lnTo>
                  <a:pt x="846" y="3490"/>
                </a:lnTo>
                <a:lnTo>
                  <a:pt x="853" y="3504"/>
                </a:lnTo>
                <a:lnTo>
                  <a:pt x="858" y="3509"/>
                </a:lnTo>
                <a:lnTo>
                  <a:pt x="869" y="3518"/>
                </a:lnTo>
                <a:lnTo>
                  <a:pt x="870" y="3519"/>
                </a:lnTo>
                <a:lnTo>
                  <a:pt x="880" y="3530"/>
                </a:lnTo>
                <a:lnTo>
                  <a:pt x="881" y="3530"/>
                </a:lnTo>
                <a:lnTo>
                  <a:pt x="883" y="3532"/>
                </a:lnTo>
                <a:lnTo>
                  <a:pt x="886" y="3533"/>
                </a:lnTo>
                <a:lnTo>
                  <a:pt x="886" y="3535"/>
                </a:lnTo>
                <a:lnTo>
                  <a:pt x="887" y="3536"/>
                </a:lnTo>
                <a:lnTo>
                  <a:pt x="889" y="3536"/>
                </a:lnTo>
                <a:lnTo>
                  <a:pt x="901" y="3541"/>
                </a:lnTo>
                <a:lnTo>
                  <a:pt x="907" y="3543"/>
                </a:lnTo>
                <a:lnTo>
                  <a:pt x="912" y="3543"/>
                </a:lnTo>
                <a:lnTo>
                  <a:pt x="912" y="3538"/>
                </a:lnTo>
                <a:lnTo>
                  <a:pt x="915" y="3535"/>
                </a:lnTo>
                <a:lnTo>
                  <a:pt x="920" y="3533"/>
                </a:lnTo>
                <a:lnTo>
                  <a:pt x="930" y="3532"/>
                </a:lnTo>
                <a:lnTo>
                  <a:pt x="932" y="3530"/>
                </a:lnTo>
                <a:lnTo>
                  <a:pt x="935" y="3525"/>
                </a:lnTo>
                <a:lnTo>
                  <a:pt x="935" y="3524"/>
                </a:lnTo>
                <a:lnTo>
                  <a:pt x="955" y="3512"/>
                </a:lnTo>
                <a:lnTo>
                  <a:pt x="958" y="3509"/>
                </a:lnTo>
                <a:lnTo>
                  <a:pt x="960" y="3509"/>
                </a:lnTo>
                <a:lnTo>
                  <a:pt x="961" y="3507"/>
                </a:lnTo>
                <a:lnTo>
                  <a:pt x="963" y="3501"/>
                </a:lnTo>
                <a:lnTo>
                  <a:pt x="963" y="3499"/>
                </a:lnTo>
                <a:lnTo>
                  <a:pt x="966" y="3496"/>
                </a:lnTo>
                <a:lnTo>
                  <a:pt x="966" y="3495"/>
                </a:lnTo>
                <a:lnTo>
                  <a:pt x="967" y="3495"/>
                </a:lnTo>
                <a:lnTo>
                  <a:pt x="969" y="3482"/>
                </a:lnTo>
                <a:lnTo>
                  <a:pt x="967" y="3478"/>
                </a:lnTo>
                <a:lnTo>
                  <a:pt x="966" y="3475"/>
                </a:lnTo>
                <a:lnTo>
                  <a:pt x="969" y="3475"/>
                </a:lnTo>
                <a:lnTo>
                  <a:pt x="967" y="3473"/>
                </a:lnTo>
                <a:lnTo>
                  <a:pt x="969" y="3472"/>
                </a:lnTo>
                <a:lnTo>
                  <a:pt x="969" y="3470"/>
                </a:lnTo>
                <a:lnTo>
                  <a:pt x="970" y="3465"/>
                </a:lnTo>
                <a:lnTo>
                  <a:pt x="972" y="3464"/>
                </a:lnTo>
                <a:lnTo>
                  <a:pt x="975" y="3462"/>
                </a:lnTo>
                <a:lnTo>
                  <a:pt x="975" y="3461"/>
                </a:lnTo>
                <a:lnTo>
                  <a:pt x="975" y="3459"/>
                </a:lnTo>
                <a:lnTo>
                  <a:pt x="973" y="3461"/>
                </a:lnTo>
                <a:lnTo>
                  <a:pt x="972" y="3462"/>
                </a:lnTo>
                <a:lnTo>
                  <a:pt x="970" y="3462"/>
                </a:lnTo>
                <a:lnTo>
                  <a:pt x="970" y="3461"/>
                </a:lnTo>
                <a:lnTo>
                  <a:pt x="972" y="3458"/>
                </a:lnTo>
                <a:lnTo>
                  <a:pt x="972" y="3450"/>
                </a:lnTo>
                <a:lnTo>
                  <a:pt x="972" y="3448"/>
                </a:lnTo>
                <a:lnTo>
                  <a:pt x="975" y="3441"/>
                </a:lnTo>
                <a:lnTo>
                  <a:pt x="978" y="3438"/>
                </a:lnTo>
                <a:lnTo>
                  <a:pt x="990" y="3425"/>
                </a:lnTo>
                <a:lnTo>
                  <a:pt x="995" y="3422"/>
                </a:lnTo>
                <a:lnTo>
                  <a:pt x="998" y="3421"/>
                </a:lnTo>
                <a:lnTo>
                  <a:pt x="1001" y="3419"/>
                </a:lnTo>
                <a:lnTo>
                  <a:pt x="1015" y="3418"/>
                </a:lnTo>
                <a:lnTo>
                  <a:pt x="1016" y="3416"/>
                </a:lnTo>
                <a:lnTo>
                  <a:pt x="1018" y="3414"/>
                </a:lnTo>
                <a:lnTo>
                  <a:pt x="1018" y="3413"/>
                </a:lnTo>
                <a:lnTo>
                  <a:pt x="1020" y="3411"/>
                </a:lnTo>
                <a:lnTo>
                  <a:pt x="1024" y="3411"/>
                </a:lnTo>
                <a:lnTo>
                  <a:pt x="1026" y="3411"/>
                </a:lnTo>
                <a:lnTo>
                  <a:pt x="1027" y="3410"/>
                </a:lnTo>
                <a:lnTo>
                  <a:pt x="1029" y="3410"/>
                </a:lnTo>
                <a:lnTo>
                  <a:pt x="1030" y="3408"/>
                </a:lnTo>
                <a:lnTo>
                  <a:pt x="1034" y="3407"/>
                </a:lnTo>
                <a:lnTo>
                  <a:pt x="1037" y="3405"/>
                </a:lnTo>
                <a:lnTo>
                  <a:pt x="1038" y="3405"/>
                </a:lnTo>
                <a:lnTo>
                  <a:pt x="1041" y="3404"/>
                </a:lnTo>
                <a:lnTo>
                  <a:pt x="1043" y="3404"/>
                </a:lnTo>
                <a:lnTo>
                  <a:pt x="1044" y="3404"/>
                </a:lnTo>
                <a:lnTo>
                  <a:pt x="1046" y="3402"/>
                </a:lnTo>
                <a:lnTo>
                  <a:pt x="1047" y="3402"/>
                </a:lnTo>
                <a:lnTo>
                  <a:pt x="1050" y="3401"/>
                </a:lnTo>
                <a:lnTo>
                  <a:pt x="1053" y="3402"/>
                </a:lnTo>
                <a:lnTo>
                  <a:pt x="1057" y="3402"/>
                </a:lnTo>
                <a:lnTo>
                  <a:pt x="1060" y="3404"/>
                </a:lnTo>
                <a:lnTo>
                  <a:pt x="1061" y="3404"/>
                </a:lnTo>
                <a:lnTo>
                  <a:pt x="1064" y="3404"/>
                </a:lnTo>
                <a:lnTo>
                  <a:pt x="1067" y="3402"/>
                </a:lnTo>
                <a:lnTo>
                  <a:pt x="1069" y="3402"/>
                </a:lnTo>
                <a:lnTo>
                  <a:pt x="1071" y="3402"/>
                </a:lnTo>
                <a:lnTo>
                  <a:pt x="1072" y="3402"/>
                </a:lnTo>
                <a:lnTo>
                  <a:pt x="1074" y="3404"/>
                </a:lnTo>
                <a:lnTo>
                  <a:pt x="1080" y="3404"/>
                </a:lnTo>
                <a:lnTo>
                  <a:pt x="1086" y="3408"/>
                </a:lnTo>
                <a:lnTo>
                  <a:pt x="1092" y="3414"/>
                </a:lnTo>
                <a:lnTo>
                  <a:pt x="1093" y="3416"/>
                </a:lnTo>
                <a:lnTo>
                  <a:pt x="1095" y="3414"/>
                </a:lnTo>
                <a:lnTo>
                  <a:pt x="1093" y="3413"/>
                </a:lnTo>
                <a:lnTo>
                  <a:pt x="1087" y="3407"/>
                </a:lnTo>
                <a:lnTo>
                  <a:pt x="1086" y="3405"/>
                </a:lnTo>
                <a:lnTo>
                  <a:pt x="1084" y="3404"/>
                </a:lnTo>
                <a:lnTo>
                  <a:pt x="1084" y="3402"/>
                </a:lnTo>
                <a:lnTo>
                  <a:pt x="1084" y="3401"/>
                </a:lnTo>
                <a:lnTo>
                  <a:pt x="1084" y="3399"/>
                </a:lnTo>
                <a:lnTo>
                  <a:pt x="1084" y="3398"/>
                </a:lnTo>
                <a:lnTo>
                  <a:pt x="1084" y="3396"/>
                </a:lnTo>
                <a:lnTo>
                  <a:pt x="1083" y="3396"/>
                </a:lnTo>
                <a:lnTo>
                  <a:pt x="1080" y="3398"/>
                </a:lnTo>
                <a:lnTo>
                  <a:pt x="1078" y="3399"/>
                </a:lnTo>
                <a:lnTo>
                  <a:pt x="1075" y="3399"/>
                </a:lnTo>
                <a:lnTo>
                  <a:pt x="1063" y="3399"/>
                </a:lnTo>
                <a:lnTo>
                  <a:pt x="1058" y="3399"/>
                </a:lnTo>
                <a:lnTo>
                  <a:pt x="1055" y="3396"/>
                </a:lnTo>
                <a:lnTo>
                  <a:pt x="1047" y="3388"/>
                </a:lnTo>
                <a:lnTo>
                  <a:pt x="1044" y="3385"/>
                </a:lnTo>
                <a:lnTo>
                  <a:pt x="1043" y="3381"/>
                </a:lnTo>
                <a:lnTo>
                  <a:pt x="1043" y="3377"/>
                </a:lnTo>
                <a:lnTo>
                  <a:pt x="1044" y="3373"/>
                </a:lnTo>
                <a:lnTo>
                  <a:pt x="1044" y="3368"/>
                </a:lnTo>
                <a:lnTo>
                  <a:pt x="1046" y="3365"/>
                </a:lnTo>
                <a:lnTo>
                  <a:pt x="1046" y="3362"/>
                </a:lnTo>
                <a:lnTo>
                  <a:pt x="1047" y="3361"/>
                </a:lnTo>
                <a:lnTo>
                  <a:pt x="1049" y="3359"/>
                </a:lnTo>
                <a:lnTo>
                  <a:pt x="1049" y="3358"/>
                </a:lnTo>
                <a:lnTo>
                  <a:pt x="1049" y="3356"/>
                </a:lnTo>
                <a:lnTo>
                  <a:pt x="1055" y="3345"/>
                </a:lnTo>
                <a:lnTo>
                  <a:pt x="1058" y="3342"/>
                </a:lnTo>
                <a:lnTo>
                  <a:pt x="1060" y="3339"/>
                </a:lnTo>
                <a:lnTo>
                  <a:pt x="1061" y="3336"/>
                </a:lnTo>
                <a:lnTo>
                  <a:pt x="1063" y="3334"/>
                </a:lnTo>
                <a:lnTo>
                  <a:pt x="1064" y="3328"/>
                </a:lnTo>
                <a:lnTo>
                  <a:pt x="1071" y="3319"/>
                </a:lnTo>
                <a:lnTo>
                  <a:pt x="1075" y="3314"/>
                </a:lnTo>
                <a:lnTo>
                  <a:pt x="1078" y="3311"/>
                </a:lnTo>
                <a:lnTo>
                  <a:pt x="1077" y="3310"/>
                </a:lnTo>
                <a:lnTo>
                  <a:pt x="1075" y="3307"/>
                </a:lnTo>
                <a:lnTo>
                  <a:pt x="1074" y="3299"/>
                </a:lnTo>
                <a:lnTo>
                  <a:pt x="1074" y="3296"/>
                </a:lnTo>
                <a:lnTo>
                  <a:pt x="1075" y="3295"/>
                </a:lnTo>
                <a:lnTo>
                  <a:pt x="1077" y="3293"/>
                </a:lnTo>
                <a:lnTo>
                  <a:pt x="1078" y="3292"/>
                </a:lnTo>
                <a:lnTo>
                  <a:pt x="1078" y="3290"/>
                </a:lnTo>
                <a:lnTo>
                  <a:pt x="1078" y="3288"/>
                </a:lnTo>
                <a:lnTo>
                  <a:pt x="1080" y="3287"/>
                </a:lnTo>
                <a:lnTo>
                  <a:pt x="1081" y="3285"/>
                </a:lnTo>
                <a:lnTo>
                  <a:pt x="1086" y="3281"/>
                </a:lnTo>
                <a:lnTo>
                  <a:pt x="1089" y="3279"/>
                </a:lnTo>
                <a:lnTo>
                  <a:pt x="1090" y="3277"/>
                </a:lnTo>
                <a:lnTo>
                  <a:pt x="1090" y="3279"/>
                </a:lnTo>
                <a:lnTo>
                  <a:pt x="1093" y="3279"/>
                </a:lnTo>
                <a:lnTo>
                  <a:pt x="1095" y="3281"/>
                </a:lnTo>
                <a:lnTo>
                  <a:pt x="1101" y="3279"/>
                </a:lnTo>
                <a:lnTo>
                  <a:pt x="1103" y="3277"/>
                </a:lnTo>
                <a:lnTo>
                  <a:pt x="1103" y="3276"/>
                </a:lnTo>
                <a:lnTo>
                  <a:pt x="1106" y="3276"/>
                </a:lnTo>
                <a:lnTo>
                  <a:pt x="1108" y="3276"/>
                </a:lnTo>
                <a:lnTo>
                  <a:pt x="1111" y="3276"/>
                </a:lnTo>
                <a:lnTo>
                  <a:pt x="1109" y="3277"/>
                </a:lnTo>
                <a:lnTo>
                  <a:pt x="1108" y="3279"/>
                </a:lnTo>
                <a:lnTo>
                  <a:pt x="1106" y="3279"/>
                </a:lnTo>
                <a:lnTo>
                  <a:pt x="1104" y="3279"/>
                </a:lnTo>
                <a:lnTo>
                  <a:pt x="1104" y="3281"/>
                </a:lnTo>
                <a:lnTo>
                  <a:pt x="1106" y="3281"/>
                </a:lnTo>
                <a:lnTo>
                  <a:pt x="1108" y="3281"/>
                </a:lnTo>
                <a:lnTo>
                  <a:pt x="1124" y="3285"/>
                </a:lnTo>
                <a:lnTo>
                  <a:pt x="1126" y="3285"/>
                </a:lnTo>
                <a:lnTo>
                  <a:pt x="1126" y="3284"/>
                </a:lnTo>
                <a:lnTo>
                  <a:pt x="1124" y="3284"/>
                </a:lnTo>
                <a:lnTo>
                  <a:pt x="1121" y="3282"/>
                </a:lnTo>
                <a:lnTo>
                  <a:pt x="1120" y="3282"/>
                </a:lnTo>
                <a:lnTo>
                  <a:pt x="1118" y="3282"/>
                </a:lnTo>
                <a:lnTo>
                  <a:pt x="1118" y="3281"/>
                </a:lnTo>
                <a:lnTo>
                  <a:pt x="1117" y="3281"/>
                </a:lnTo>
                <a:lnTo>
                  <a:pt x="1115" y="3281"/>
                </a:lnTo>
                <a:lnTo>
                  <a:pt x="1114" y="3279"/>
                </a:lnTo>
                <a:lnTo>
                  <a:pt x="1112" y="3279"/>
                </a:lnTo>
                <a:lnTo>
                  <a:pt x="1111" y="3279"/>
                </a:lnTo>
                <a:lnTo>
                  <a:pt x="1112" y="3277"/>
                </a:lnTo>
                <a:lnTo>
                  <a:pt x="1124" y="3279"/>
                </a:lnTo>
                <a:lnTo>
                  <a:pt x="1127" y="3281"/>
                </a:lnTo>
                <a:lnTo>
                  <a:pt x="1126" y="3284"/>
                </a:lnTo>
                <a:lnTo>
                  <a:pt x="1129" y="3285"/>
                </a:lnTo>
                <a:lnTo>
                  <a:pt x="1130" y="3284"/>
                </a:lnTo>
                <a:lnTo>
                  <a:pt x="1132" y="3284"/>
                </a:lnTo>
                <a:lnTo>
                  <a:pt x="1134" y="3284"/>
                </a:lnTo>
                <a:lnTo>
                  <a:pt x="1134" y="3282"/>
                </a:lnTo>
                <a:lnTo>
                  <a:pt x="1135" y="3271"/>
                </a:lnTo>
                <a:lnTo>
                  <a:pt x="1135" y="3251"/>
                </a:lnTo>
                <a:lnTo>
                  <a:pt x="1134" y="3247"/>
                </a:lnTo>
                <a:lnTo>
                  <a:pt x="1134" y="3227"/>
                </a:lnTo>
                <a:lnTo>
                  <a:pt x="1134" y="3221"/>
                </a:lnTo>
                <a:lnTo>
                  <a:pt x="1132" y="3203"/>
                </a:lnTo>
                <a:lnTo>
                  <a:pt x="1134" y="3200"/>
                </a:lnTo>
                <a:lnTo>
                  <a:pt x="1134" y="3197"/>
                </a:lnTo>
                <a:lnTo>
                  <a:pt x="1134" y="3179"/>
                </a:lnTo>
                <a:lnTo>
                  <a:pt x="1132" y="3167"/>
                </a:lnTo>
                <a:lnTo>
                  <a:pt x="1132" y="3157"/>
                </a:lnTo>
                <a:lnTo>
                  <a:pt x="1130" y="3157"/>
                </a:lnTo>
                <a:lnTo>
                  <a:pt x="1129" y="3156"/>
                </a:lnTo>
                <a:lnTo>
                  <a:pt x="1126" y="3156"/>
                </a:lnTo>
                <a:lnTo>
                  <a:pt x="1124" y="3156"/>
                </a:lnTo>
                <a:lnTo>
                  <a:pt x="1124" y="3159"/>
                </a:lnTo>
                <a:lnTo>
                  <a:pt x="1123" y="3159"/>
                </a:lnTo>
                <a:lnTo>
                  <a:pt x="1118" y="3162"/>
                </a:lnTo>
                <a:lnTo>
                  <a:pt x="1117" y="3163"/>
                </a:lnTo>
                <a:lnTo>
                  <a:pt x="1118" y="3162"/>
                </a:lnTo>
                <a:lnTo>
                  <a:pt x="1123" y="3156"/>
                </a:lnTo>
                <a:lnTo>
                  <a:pt x="1124" y="3154"/>
                </a:lnTo>
                <a:lnTo>
                  <a:pt x="1126" y="3153"/>
                </a:lnTo>
                <a:lnTo>
                  <a:pt x="1127" y="3154"/>
                </a:lnTo>
                <a:lnTo>
                  <a:pt x="1129" y="3154"/>
                </a:lnTo>
                <a:lnTo>
                  <a:pt x="1130" y="3153"/>
                </a:lnTo>
                <a:lnTo>
                  <a:pt x="1130" y="3147"/>
                </a:lnTo>
                <a:lnTo>
                  <a:pt x="1129" y="3145"/>
                </a:lnTo>
                <a:lnTo>
                  <a:pt x="1127" y="3145"/>
                </a:lnTo>
                <a:lnTo>
                  <a:pt x="1129" y="3145"/>
                </a:lnTo>
                <a:lnTo>
                  <a:pt x="1129" y="3147"/>
                </a:lnTo>
                <a:lnTo>
                  <a:pt x="1127" y="3148"/>
                </a:lnTo>
                <a:lnTo>
                  <a:pt x="1127" y="3144"/>
                </a:lnTo>
                <a:lnTo>
                  <a:pt x="1124" y="3136"/>
                </a:lnTo>
                <a:lnTo>
                  <a:pt x="1124" y="3130"/>
                </a:lnTo>
                <a:lnTo>
                  <a:pt x="1124" y="3128"/>
                </a:lnTo>
                <a:lnTo>
                  <a:pt x="1126" y="3123"/>
                </a:lnTo>
                <a:lnTo>
                  <a:pt x="1126" y="3119"/>
                </a:lnTo>
                <a:lnTo>
                  <a:pt x="1127" y="3108"/>
                </a:lnTo>
                <a:lnTo>
                  <a:pt x="1127" y="3105"/>
                </a:lnTo>
                <a:lnTo>
                  <a:pt x="1129" y="3105"/>
                </a:lnTo>
                <a:lnTo>
                  <a:pt x="1129" y="3100"/>
                </a:lnTo>
                <a:lnTo>
                  <a:pt x="1130" y="3094"/>
                </a:lnTo>
                <a:lnTo>
                  <a:pt x="1134" y="3088"/>
                </a:lnTo>
                <a:lnTo>
                  <a:pt x="1134" y="3085"/>
                </a:lnTo>
                <a:lnTo>
                  <a:pt x="1135" y="3083"/>
                </a:lnTo>
                <a:lnTo>
                  <a:pt x="1135" y="3079"/>
                </a:lnTo>
                <a:lnTo>
                  <a:pt x="1135" y="3077"/>
                </a:lnTo>
                <a:lnTo>
                  <a:pt x="1135" y="3076"/>
                </a:lnTo>
                <a:lnTo>
                  <a:pt x="1138" y="3073"/>
                </a:lnTo>
                <a:lnTo>
                  <a:pt x="1141" y="3065"/>
                </a:lnTo>
                <a:lnTo>
                  <a:pt x="1141" y="3063"/>
                </a:lnTo>
                <a:lnTo>
                  <a:pt x="1143" y="3062"/>
                </a:lnTo>
                <a:lnTo>
                  <a:pt x="1149" y="3051"/>
                </a:lnTo>
                <a:lnTo>
                  <a:pt x="1146" y="3054"/>
                </a:lnTo>
                <a:lnTo>
                  <a:pt x="1143" y="3056"/>
                </a:lnTo>
                <a:lnTo>
                  <a:pt x="1143" y="3054"/>
                </a:lnTo>
                <a:lnTo>
                  <a:pt x="1143" y="3053"/>
                </a:lnTo>
                <a:lnTo>
                  <a:pt x="1149" y="3049"/>
                </a:lnTo>
                <a:lnTo>
                  <a:pt x="1151" y="3048"/>
                </a:lnTo>
                <a:lnTo>
                  <a:pt x="1154" y="3042"/>
                </a:lnTo>
                <a:lnTo>
                  <a:pt x="1154" y="3040"/>
                </a:lnTo>
                <a:lnTo>
                  <a:pt x="1157" y="3039"/>
                </a:lnTo>
                <a:lnTo>
                  <a:pt x="1157" y="3037"/>
                </a:lnTo>
                <a:lnTo>
                  <a:pt x="1160" y="3033"/>
                </a:lnTo>
                <a:lnTo>
                  <a:pt x="1160" y="3031"/>
                </a:lnTo>
                <a:lnTo>
                  <a:pt x="1163" y="3025"/>
                </a:lnTo>
                <a:lnTo>
                  <a:pt x="1166" y="3017"/>
                </a:lnTo>
                <a:lnTo>
                  <a:pt x="1166" y="3016"/>
                </a:lnTo>
                <a:lnTo>
                  <a:pt x="1166" y="3013"/>
                </a:lnTo>
                <a:lnTo>
                  <a:pt x="1167" y="3008"/>
                </a:lnTo>
                <a:lnTo>
                  <a:pt x="1167" y="3005"/>
                </a:lnTo>
                <a:lnTo>
                  <a:pt x="1169" y="3002"/>
                </a:lnTo>
                <a:lnTo>
                  <a:pt x="1171" y="3000"/>
                </a:lnTo>
                <a:lnTo>
                  <a:pt x="1171" y="2996"/>
                </a:lnTo>
                <a:lnTo>
                  <a:pt x="1172" y="2989"/>
                </a:lnTo>
                <a:lnTo>
                  <a:pt x="1174" y="2982"/>
                </a:lnTo>
                <a:lnTo>
                  <a:pt x="1174" y="2967"/>
                </a:lnTo>
                <a:lnTo>
                  <a:pt x="1175" y="2959"/>
                </a:lnTo>
                <a:lnTo>
                  <a:pt x="1175" y="2954"/>
                </a:lnTo>
                <a:lnTo>
                  <a:pt x="1177" y="2952"/>
                </a:lnTo>
                <a:lnTo>
                  <a:pt x="1178" y="2951"/>
                </a:lnTo>
                <a:lnTo>
                  <a:pt x="1178" y="2949"/>
                </a:lnTo>
                <a:lnTo>
                  <a:pt x="1178" y="2946"/>
                </a:lnTo>
                <a:lnTo>
                  <a:pt x="1178" y="2945"/>
                </a:lnTo>
                <a:lnTo>
                  <a:pt x="1178" y="2943"/>
                </a:lnTo>
                <a:lnTo>
                  <a:pt x="1180" y="2940"/>
                </a:lnTo>
                <a:lnTo>
                  <a:pt x="1180" y="2939"/>
                </a:lnTo>
                <a:lnTo>
                  <a:pt x="1180" y="2936"/>
                </a:lnTo>
                <a:lnTo>
                  <a:pt x="1178" y="2937"/>
                </a:lnTo>
                <a:lnTo>
                  <a:pt x="1178" y="2934"/>
                </a:lnTo>
                <a:lnTo>
                  <a:pt x="1178" y="2933"/>
                </a:lnTo>
                <a:lnTo>
                  <a:pt x="1180" y="2933"/>
                </a:lnTo>
                <a:lnTo>
                  <a:pt x="1180" y="2934"/>
                </a:lnTo>
                <a:lnTo>
                  <a:pt x="1181" y="2930"/>
                </a:lnTo>
                <a:lnTo>
                  <a:pt x="1181" y="2923"/>
                </a:lnTo>
                <a:lnTo>
                  <a:pt x="1181" y="2920"/>
                </a:lnTo>
                <a:lnTo>
                  <a:pt x="1181" y="2917"/>
                </a:lnTo>
                <a:lnTo>
                  <a:pt x="1180" y="2912"/>
                </a:lnTo>
                <a:lnTo>
                  <a:pt x="1180" y="2911"/>
                </a:lnTo>
                <a:lnTo>
                  <a:pt x="1178" y="2911"/>
                </a:lnTo>
                <a:lnTo>
                  <a:pt x="1178" y="2912"/>
                </a:lnTo>
                <a:lnTo>
                  <a:pt x="1177" y="2911"/>
                </a:lnTo>
                <a:lnTo>
                  <a:pt x="1175" y="2909"/>
                </a:lnTo>
                <a:lnTo>
                  <a:pt x="1174" y="2908"/>
                </a:lnTo>
                <a:lnTo>
                  <a:pt x="1174" y="2906"/>
                </a:lnTo>
                <a:lnTo>
                  <a:pt x="1172" y="2906"/>
                </a:lnTo>
                <a:lnTo>
                  <a:pt x="1171" y="2905"/>
                </a:lnTo>
                <a:lnTo>
                  <a:pt x="1169" y="2905"/>
                </a:lnTo>
                <a:lnTo>
                  <a:pt x="1164" y="2905"/>
                </a:lnTo>
                <a:lnTo>
                  <a:pt x="1163" y="2903"/>
                </a:lnTo>
                <a:lnTo>
                  <a:pt x="1161" y="2903"/>
                </a:lnTo>
                <a:lnTo>
                  <a:pt x="1160" y="2903"/>
                </a:lnTo>
                <a:lnTo>
                  <a:pt x="1158" y="2902"/>
                </a:lnTo>
                <a:lnTo>
                  <a:pt x="1158" y="2899"/>
                </a:lnTo>
                <a:lnTo>
                  <a:pt x="1155" y="2894"/>
                </a:lnTo>
                <a:lnTo>
                  <a:pt x="1154" y="2891"/>
                </a:lnTo>
                <a:lnTo>
                  <a:pt x="1154" y="2889"/>
                </a:lnTo>
                <a:lnTo>
                  <a:pt x="1155" y="2885"/>
                </a:lnTo>
                <a:lnTo>
                  <a:pt x="1157" y="2883"/>
                </a:lnTo>
                <a:lnTo>
                  <a:pt x="1157" y="2880"/>
                </a:lnTo>
                <a:lnTo>
                  <a:pt x="1158" y="2880"/>
                </a:lnTo>
                <a:lnTo>
                  <a:pt x="1158" y="2882"/>
                </a:lnTo>
                <a:lnTo>
                  <a:pt x="1160" y="2882"/>
                </a:lnTo>
                <a:lnTo>
                  <a:pt x="1160" y="2883"/>
                </a:lnTo>
                <a:lnTo>
                  <a:pt x="1160" y="2886"/>
                </a:lnTo>
                <a:lnTo>
                  <a:pt x="1160" y="2888"/>
                </a:lnTo>
                <a:lnTo>
                  <a:pt x="1161" y="2889"/>
                </a:lnTo>
                <a:lnTo>
                  <a:pt x="1161" y="2885"/>
                </a:lnTo>
                <a:lnTo>
                  <a:pt x="1161" y="2875"/>
                </a:lnTo>
                <a:lnTo>
                  <a:pt x="1163" y="2877"/>
                </a:lnTo>
                <a:lnTo>
                  <a:pt x="1166" y="2882"/>
                </a:lnTo>
                <a:lnTo>
                  <a:pt x="1167" y="2886"/>
                </a:lnTo>
                <a:lnTo>
                  <a:pt x="1172" y="2893"/>
                </a:lnTo>
                <a:lnTo>
                  <a:pt x="1175" y="2902"/>
                </a:lnTo>
                <a:lnTo>
                  <a:pt x="1178" y="2909"/>
                </a:lnTo>
                <a:lnTo>
                  <a:pt x="1178" y="2905"/>
                </a:lnTo>
                <a:lnTo>
                  <a:pt x="1175" y="2900"/>
                </a:lnTo>
                <a:lnTo>
                  <a:pt x="1174" y="2893"/>
                </a:lnTo>
                <a:lnTo>
                  <a:pt x="1171" y="2883"/>
                </a:lnTo>
                <a:lnTo>
                  <a:pt x="1171" y="2882"/>
                </a:lnTo>
                <a:lnTo>
                  <a:pt x="1169" y="2880"/>
                </a:lnTo>
                <a:lnTo>
                  <a:pt x="1171" y="2877"/>
                </a:lnTo>
                <a:lnTo>
                  <a:pt x="1172" y="2872"/>
                </a:lnTo>
                <a:lnTo>
                  <a:pt x="1172" y="2868"/>
                </a:lnTo>
                <a:lnTo>
                  <a:pt x="1171" y="2863"/>
                </a:lnTo>
                <a:lnTo>
                  <a:pt x="1164" y="2845"/>
                </a:lnTo>
                <a:lnTo>
                  <a:pt x="1163" y="2840"/>
                </a:lnTo>
                <a:lnTo>
                  <a:pt x="1160" y="2826"/>
                </a:lnTo>
                <a:lnTo>
                  <a:pt x="1160" y="2820"/>
                </a:lnTo>
                <a:lnTo>
                  <a:pt x="1161" y="2817"/>
                </a:lnTo>
                <a:lnTo>
                  <a:pt x="1160" y="2815"/>
                </a:lnTo>
                <a:lnTo>
                  <a:pt x="1158" y="2815"/>
                </a:lnTo>
                <a:lnTo>
                  <a:pt x="1157" y="2819"/>
                </a:lnTo>
                <a:lnTo>
                  <a:pt x="1155" y="2820"/>
                </a:lnTo>
                <a:lnTo>
                  <a:pt x="1154" y="2820"/>
                </a:lnTo>
                <a:lnTo>
                  <a:pt x="1152" y="2819"/>
                </a:lnTo>
                <a:lnTo>
                  <a:pt x="1154" y="2817"/>
                </a:lnTo>
                <a:lnTo>
                  <a:pt x="1155" y="2817"/>
                </a:lnTo>
                <a:lnTo>
                  <a:pt x="1155" y="2815"/>
                </a:lnTo>
                <a:lnTo>
                  <a:pt x="1157" y="2814"/>
                </a:lnTo>
                <a:lnTo>
                  <a:pt x="1158" y="2814"/>
                </a:lnTo>
                <a:lnTo>
                  <a:pt x="1160" y="2812"/>
                </a:lnTo>
                <a:lnTo>
                  <a:pt x="1161" y="2811"/>
                </a:lnTo>
                <a:lnTo>
                  <a:pt x="1163" y="2805"/>
                </a:lnTo>
                <a:lnTo>
                  <a:pt x="1164" y="2803"/>
                </a:lnTo>
                <a:lnTo>
                  <a:pt x="1166" y="2797"/>
                </a:lnTo>
                <a:lnTo>
                  <a:pt x="1164" y="2788"/>
                </a:lnTo>
                <a:lnTo>
                  <a:pt x="1166" y="2782"/>
                </a:lnTo>
                <a:lnTo>
                  <a:pt x="1166" y="2778"/>
                </a:lnTo>
                <a:lnTo>
                  <a:pt x="1167" y="2777"/>
                </a:lnTo>
                <a:lnTo>
                  <a:pt x="1166" y="2775"/>
                </a:lnTo>
                <a:lnTo>
                  <a:pt x="1163" y="2777"/>
                </a:lnTo>
                <a:lnTo>
                  <a:pt x="1161" y="2775"/>
                </a:lnTo>
                <a:lnTo>
                  <a:pt x="1163" y="2775"/>
                </a:lnTo>
                <a:lnTo>
                  <a:pt x="1164" y="2774"/>
                </a:lnTo>
                <a:lnTo>
                  <a:pt x="1166" y="2772"/>
                </a:lnTo>
                <a:lnTo>
                  <a:pt x="1164" y="2771"/>
                </a:lnTo>
                <a:lnTo>
                  <a:pt x="1164" y="2769"/>
                </a:lnTo>
                <a:lnTo>
                  <a:pt x="1163" y="2765"/>
                </a:lnTo>
                <a:lnTo>
                  <a:pt x="1163" y="2763"/>
                </a:lnTo>
                <a:lnTo>
                  <a:pt x="1160" y="2761"/>
                </a:lnTo>
                <a:lnTo>
                  <a:pt x="1160" y="2760"/>
                </a:lnTo>
                <a:lnTo>
                  <a:pt x="1158" y="2760"/>
                </a:lnTo>
                <a:lnTo>
                  <a:pt x="1158" y="2758"/>
                </a:lnTo>
                <a:lnTo>
                  <a:pt x="1158" y="2752"/>
                </a:lnTo>
                <a:lnTo>
                  <a:pt x="1155" y="2734"/>
                </a:lnTo>
                <a:lnTo>
                  <a:pt x="1155" y="2732"/>
                </a:lnTo>
                <a:lnTo>
                  <a:pt x="1154" y="2728"/>
                </a:lnTo>
                <a:lnTo>
                  <a:pt x="1154" y="2723"/>
                </a:lnTo>
                <a:lnTo>
                  <a:pt x="1154" y="2714"/>
                </a:lnTo>
                <a:lnTo>
                  <a:pt x="1157" y="2700"/>
                </a:lnTo>
                <a:lnTo>
                  <a:pt x="1157" y="2689"/>
                </a:lnTo>
                <a:lnTo>
                  <a:pt x="1160" y="2682"/>
                </a:lnTo>
                <a:lnTo>
                  <a:pt x="1160" y="2678"/>
                </a:lnTo>
                <a:lnTo>
                  <a:pt x="1161" y="2677"/>
                </a:lnTo>
                <a:lnTo>
                  <a:pt x="1164" y="2672"/>
                </a:lnTo>
                <a:lnTo>
                  <a:pt x="1166" y="2671"/>
                </a:lnTo>
                <a:lnTo>
                  <a:pt x="1167" y="2668"/>
                </a:lnTo>
                <a:lnTo>
                  <a:pt x="1169" y="2666"/>
                </a:lnTo>
                <a:lnTo>
                  <a:pt x="1167" y="2664"/>
                </a:lnTo>
                <a:lnTo>
                  <a:pt x="1167" y="2663"/>
                </a:lnTo>
                <a:lnTo>
                  <a:pt x="1169" y="2660"/>
                </a:lnTo>
                <a:lnTo>
                  <a:pt x="1169" y="2657"/>
                </a:lnTo>
                <a:lnTo>
                  <a:pt x="1174" y="2645"/>
                </a:lnTo>
                <a:lnTo>
                  <a:pt x="1175" y="2642"/>
                </a:lnTo>
                <a:lnTo>
                  <a:pt x="1183" y="2632"/>
                </a:lnTo>
                <a:lnTo>
                  <a:pt x="1186" y="2631"/>
                </a:lnTo>
                <a:lnTo>
                  <a:pt x="1191" y="2629"/>
                </a:lnTo>
                <a:lnTo>
                  <a:pt x="1191" y="2627"/>
                </a:lnTo>
                <a:lnTo>
                  <a:pt x="1192" y="2626"/>
                </a:lnTo>
                <a:lnTo>
                  <a:pt x="1194" y="2626"/>
                </a:lnTo>
                <a:lnTo>
                  <a:pt x="1195" y="2626"/>
                </a:lnTo>
                <a:lnTo>
                  <a:pt x="1195" y="2624"/>
                </a:lnTo>
                <a:lnTo>
                  <a:pt x="1198" y="2623"/>
                </a:lnTo>
                <a:lnTo>
                  <a:pt x="1200" y="2621"/>
                </a:lnTo>
                <a:lnTo>
                  <a:pt x="1201" y="2620"/>
                </a:lnTo>
                <a:lnTo>
                  <a:pt x="1203" y="2620"/>
                </a:lnTo>
                <a:lnTo>
                  <a:pt x="1203" y="2621"/>
                </a:lnTo>
                <a:lnTo>
                  <a:pt x="1204" y="2621"/>
                </a:lnTo>
                <a:lnTo>
                  <a:pt x="1206" y="2620"/>
                </a:lnTo>
                <a:lnTo>
                  <a:pt x="1207" y="2620"/>
                </a:lnTo>
                <a:lnTo>
                  <a:pt x="1212" y="2618"/>
                </a:lnTo>
                <a:lnTo>
                  <a:pt x="1214" y="2617"/>
                </a:lnTo>
                <a:lnTo>
                  <a:pt x="1215" y="2618"/>
                </a:lnTo>
                <a:lnTo>
                  <a:pt x="1220" y="2618"/>
                </a:lnTo>
                <a:lnTo>
                  <a:pt x="1222" y="2618"/>
                </a:lnTo>
                <a:lnTo>
                  <a:pt x="1223" y="2620"/>
                </a:lnTo>
                <a:lnTo>
                  <a:pt x="1226" y="2624"/>
                </a:lnTo>
                <a:lnTo>
                  <a:pt x="1226" y="2629"/>
                </a:lnTo>
                <a:lnTo>
                  <a:pt x="1226" y="2640"/>
                </a:lnTo>
                <a:lnTo>
                  <a:pt x="1228" y="2638"/>
                </a:lnTo>
                <a:lnTo>
                  <a:pt x="1229" y="2635"/>
                </a:lnTo>
                <a:lnTo>
                  <a:pt x="1231" y="2627"/>
                </a:lnTo>
                <a:lnTo>
                  <a:pt x="1234" y="2618"/>
                </a:lnTo>
                <a:lnTo>
                  <a:pt x="1235" y="2614"/>
                </a:lnTo>
                <a:lnTo>
                  <a:pt x="1234" y="2609"/>
                </a:lnTo>
                <a:lnTo>
                  <a:pt x="1232" y="2605"/>
                </a:lnTo>
                <a:lnTo>
                  <a:pt x="1234" y="2605"/>
                </a:lnTo>
                <a:lnTo>
                  <a:pt x="1234" y="2606"/>
                </a:lnTo>
                <a:lnTo>
                  <a:pt x="1235" y="2605"/>
                </a:lnTo>
                <a:lnTo>
                  <a:pt x="1234" y="2603"/>
                </a:lnTo>
                <a:lnTo>
                  <a:pt x="1235" y="2601"/>
                </a:lnTo>
                <a:lnTo>
                  <a:pt x="1235" y="2606"/>
                </a:lnTo>
                <a:lnTo>
                  <a:pt x="1237" y="2608"/>
                </a:lnTo>
                <a:lnTo>
                  <a:pt x="1237" y="2611"/>
                </a:lnTo>
                <a:lnTo>
                  <a:pt x="1235" y="2618"/>
                </a:lnTo>
                <a:lnTo>
                  <a:pt x="1235" y="2621"/>
                </a:lnTo>
                <a:lnTo>
                  <a:pt x="1237" y="2623"/>
                </a:lnTo>
                <a:lnTo>
                  <a:pt x="1237" y="2624"/>
                </a:lnTo>
                <a:lnTo>
                  <a:pt x="1240" y="2626"/>
                </a:lnTo>
                <a:lnTo>
                  <a:pt x="1243" y="2629"/>
                </a:lnTo>
                <a:lnTo>
                  <a:pt x="1244" y="2631"/>
                </a:lnTo>
                <a:lnTo>
                  <a:pt x="1244" y="2632"/>
                </a:lnTo>
                <a:lnTo>
                  <a:pt x="1246" y="2632"/>
                </a:lnTo>
                <a:lnTo>
                  <a:pt x="1246" y="2631"/>
                </a:lnTo>
                <a:lnTo>
                  <a:pt x="1246" y="2627"/>
                </a:lnTo>
                <a:lnTo>
                  <a:pt x="1244" y="2626"/>
                </a:lnTo>
                <a:lnTo>
                  <a:pt x="1244" y="2624"/>
                </a:lnTo>
                <a:lnTo>
                  <a:pt x="1248" y="2620"/>
                </a:lnTo>
                <a:lnTo>
                  <a:pt x="1249" y="2618"/>
                </a:lnTo>
                <a:lnTo>
                  <a:pt x="1254" y="2615"/>
                </a:lnTo>
                <a:lnTo>
                  <a:pt x="1259" y="2609"/>
                </a:lnTo>
                <a:lnTo>
                  <a:pt x="1260" y="2609"/>
                </a:lnTo>
                <a:lnTo>
                  <a:pt x="1260" y="2608"/>
                </a:lnTo>
                <a:lnTo>
                  <a:pt x="1260" y="2601"/>
                </a:lnTo>
                <a:lnTo>
                  <a:pt x="1260" y="2598"/>
                </a:lnTo>
                <a:lnTo>
                  <a:pt x="1263" y="2595"/>
                </a:lnTo>
                <a:lnTo>
                  <a:pt x="1263" y="2589"/>
                </a:lnTo>
                <a:lnTo>
                  <a:pt x="1266" y="2581"/>
                </a:lnTo>
                <a:lnTo>
                  <a:pt x="1268" y="2577"/>
                </a:lnTo>
                <a:lnTo>
                  <a:pt x="1269" y="2574"/>
                </a:lnTo>
                <a:lnTo>
                  <a:pt x="1271" y="2572"/>
                </a:lnTo>
                <a:lnTo>
                  <a:pt x="1269" y="2571"/>
                </a:lnTo>
                <a:lnTo>
                  <a:pt x="1269" y="2569"/>
                </a:lnTo>
                <a:lnTo>
                  <a:pt x="1269" y="2568"/>
                </a:lnTo>
                <a:lnTo>
                  <a:pt x="1271" y="2566"/>
                </a:lnTo>
                <a:lnTo>
                  <a:pt x="1275" y="2561"/>
                </a:lnTo>
                <a:lnTo>
                  <a:pt x="1277" y="2561"/>
                </a:lnTo>
                <a:lnTo>
                  <a:pt x="1278" y="2561"/>
                </a:lnTo>
                <a:lnTo>
                  <a:pt x="1280" y="2561"/>
                </a:lnTo>
                <a:lnTo>
                  <a:pt x="1281" y="2561"/>
                </a:lnTo>
                <a:lnTo>
                  <a:pt x="1283" y="2561"/>
                </a:lnTo>
                <a:lnTo>
                  <a:pt x="1283" y="2560"/>
                </a:lnTo>
                <a:lnTo>
                  <a:pt x="1285" y="2560"/>
                </a:lnTo>
                <a:lnTo>
                  <a:pt x="1286" y="2561"/>
                </a:lnTo>
                <a:lnTo>
                  <a:pt x="1286" y="2563"/>
                </a:lnTo>
                <a:lnTo>
                  <a:pt x="1286" y="2564"/>
                </a:lnTo>
                <a:lnTo>
                  <a:pt x="1285" y="2566"/>
                </a:lnTo>
                <a:lnTo>
                  <a:pt x="1291" y="2563"/>
                </a:lnTo>
                <a:lnTo>
                  <a:pt x="1292" y="2563"/>
                </a:lnTo>
                <a:lnTo>
                  <a:pt x="1297" y="2564"/>
                </a:lnTo>
                <a:lnTo>
                  <a:pt x="1299" y="2564"/>
                </a:lnTo>
                <a:lnTo>
                  <a:pt x="1297" y="2561"/>
                </a:lnTo>
                <a:lnTo>
                  <a:pt x="1299" y="2561"/>
                </a:lnTo>
                <a:lnTo>
                  <a:pt x="1300" y="2561"/>
                </a:lnTo>
                <a:lnTo>
                  <a:pt x="1300" y="2563"/>
                </a:lnTo>
                <a:lnTo>
                  <a:pt x="1300" y="2564"/>
                </a:lnTo>
                <a:lnTo>
                  <a:pt x="1302" y="2564"/>
                </a:lnTo>
                <a:lnTo>
                  <a:pt x="1305" y="2566"/>
                </a:lnTo>
                <a:lnTo>
                  <a:pt x="1306" y="2566"/>
                </a:lnTo>
                <a:lnTo>
                  <a:pt x="1308" y="2566"/>
                </a:lnTo>
                <a:lnTo>
                  <a:pt x="1311" y="2568"/>
                </a:lnTo>
                <a:lnTo>
                  <a:pt x="1312" y="2568"/>
                </a:lnTo>
                <a:lnTo>
                  <a:pt x="1314" y="2569"/>
                </a:lnTo>
                <a:lnTo>
                  <a:pt x="1318" y="2568"/>
                </a:lnTo>
                <a:lnTo>
                  <a:pt x="1320" y="2566"/>
                </a:lnTo>
                <a:lnTo>
                  <a:pt x="1328" y="2561"/>
                </a:lnTo>
                <a:lnTo>
                  <a:pt x="1331" y="2560"/>
                </a:lnTo>
                <a:lnTo>
                  <a:pt x="1332" y="2560"/>
                </a:lnTo>
                <a:lnTo>
                  <a:pt x="1336" y="2560"/>
                </a:lnTo>
                <a:lnTo>
                  <a:pt x="1337" y="2560"/>
                </a:lnTo>
                <a:lnTo>
                  <a:pt x="1337" y="2557"/>
                </a:lnTo>
                <a:lnTo>
                  <a:pt x="1339" y="2557"/>
                </a:lnTo>
                <a:lnTo>
                  <a:pt x="1340" y="2557"/>
                </a:lnTo>
                <a:lnTo>
                  <a:pt x="1342" y="2557"/>
                </a:lnTo>
                <a:lnTo>
                  <a:pt x="1343" y="2555"/>
                </a:lnTo>
                <a:lnTo>
                  <a:pt x="1345" y="2553"/>
                </a:lnTo>
                <a:lnTo>
                  <a:pt x="1345" y="2552"/>
                </a:lnTo>
                <a:lnTo>
                  <a:pt x="1348" y="2552"/>
                </a:lnTo>
                <a:lnTo>
                  <a:pt x="1351" y="2552"/>
                </a:lnTo>
                <a:lnTo>
                  <a:pt x="1354" y="2549"/>
                </a:lnTo>
                <a:lnTo>
                  <a:pt x="1358" y="2546"/>
                </a:lnTo>
                <a:lnTo>
                  <a:pt x="1360" y="2546"/>
                </a:lnTo>
                <a:lnTo>
                  <a:pt x="1362" y="2544"/>
                </a:lnTo>
                <a:lnTo>
                  <a:pt x="1366" y="2538"/>
                </a:lnTo>
                <a:lnTo>
                  <a:pt x="1371" y="2537"/>
                </a:lnTo>
                <a:lnTo>
                  <a:pt x="1371" y="2535"/>
                </a:lnTo>
                <a:lnTo>
                  <a:pt x="1369" y="2534"/>
                </a:lnTo>
                <a:lnTo>
                  <a:pt x="1369" y="2532"/>
                </a:lnTo>
                <a:lnTo>
                  <a:pt x="1369" y="2531"/>
                </a:lnTo>
                <a:lnTo>
                  <a:pt x="1371" y="2531"/>
                </a:lnTo>
                <a:lnTo>
                  <a:pt x="1371" y="2534"/>
                </a:lnTo>
                <a:lnTo>
                  <a:pt x="1373" y="2534"/>
                </a:lnTo>
                <a:lnTo>
                  <a:pt x="1373" y="2532"/>
                </a:lnTo>
                <a:lnTo>
                  <a:pt x="1373" y="2531"/>
                </a:lnTo>
                <a:lnTo>
                  <a:pt x="1374" y="2524"/>
                </a:lnTo>
                <a:lnTo>
                  <a:pt x="1376" y="2521"/>
                </a:lnTo>
                <a:lnTo>
                  <a:pt x="1376" y="2515"/>
                </a:lnTo>
                <a:lnTo>
                  <a:pt x="1377" y="2509"/>
                </a:lnTo>
                <a:lnTo>
                  <a:pt x="1377" y="2503"/>
                </a:lnTo>
                <a:lnTo>
                  <a:pt x="1377" y="2497"/>
                </a:lnTo>
                <a:lnTo>
                  <a:pt x="1377" y="2494"/>
                </a:lnTo>
                <a:lnTo>
                  <a:pt x="1376" y="2492"/>
                </a:lnTo>
                <a:lnTo>
                  <a:pt x="1377" y="2495"/>
                </a:lnTo>
                <a:lnTo>
                  <a:pt x="1377" y="2500"/>
                </a:lnTo>
                <a:lnTo>
                  <a:pt x="1377" y="2503"/>
                </a:lnTo>
                <a:lnTo>
                  <a:pt x="1376" y="2504"/>
                </a:lnTo>
                <a:lnTo>
                  <a:pt x="1374" y="2504"/>
                </a:lnTo>
                <a:lnTo>
                  <a:pt x="1373" y="2504"/>
                </a:lnTo>
                <a:lnTo>
                  <a:pt x="1371" y="2504"/>
                </a:lnTo>
                <a:lnTo>
                  <a:pt x="1371" y="2503"/>
                </a:lnTo>
                <a:lnTo>
                  <a:pt x="1368" y="2503"/>
                </a:lnTo>
                <a:lnTo>
                  <a:pt x="1366" y="2500"/>
                </a:lnTo>
                <a:lnTo>
                  <a:pt x="1366" y="2498"/>
                </a:lnTo>
                <a:lnTo>
                  <a:pt x="1366" y="2495"/>
                </a:lnTo>
                <a:lnTo>
                  <a:pt x="1369" y="2487"/>
                </a:lnTo>
                <a:lnTo>
                  <a:pt x="1371" y="2483"/>
                </a:lnTo>
                <a:lnTo>
                  <a:pt x="1373" y="2481"/>
                </a:lnTo>
                <a:lnTo>
                  <a:pt x="1376" y="2478"/>
                </a:lnTo>
                <a:lnTo>
                  <a:pt x="1377" y="2473"/>
                </a:lnTo>
                <a:lnTo>
                  <a:pt x="1379" y="2472"/>
                </a:lnTo>
                <a:lnTo>
                  <a:pt x="1383" y="2470"/>
                </a:lnTo>
                <a:lnTo>
                  <a:pt x="1383" y="2467"/>
                </a:lnTo>
                <a:lnTo>
                  <a:pt x="1386" y="2464"/>
                </a:lnTo>
                <a:lnTo>
                  <a:pt x="1388" y="2461"/>
                </a:lnTo>
                <a:lnTo>
                  <a:pt x="1411" y="2444"/>
                </a:lnTo>
                <a:lnTo>
                  <a:pt x="1416" y="2444"/>
                </a:lnTo>
                <a:lnTo>
                  <a:pt x="1419" y="2441"/>
                </a:lnTo>
                <a:lnTo>
                  <a:pt x="1423" y="2440"/>
                </a:lnTo>
                <a:lnTo>
                  <a:pt x="1425" y="2438"/>
                </a:lnTo>
                <a:lnTo>
                  <a:pt x="1426" y="2437"/>
                </a:lnTo>
                <a:lnTo>
                  <a:pt x="1428" y="2437"/>
                </a:lnTo>
                <a:lnTo>
                  <a:pt x="1428" y="2438"/>
                </a:lnTo>
                <a:lnTo>
                  <a:pt x="1434" y="2434"/>
                </a:lnTo>
                <a:lnTo>
                  <a:pt x="1436" y="2432"/>
                </a:lnTo>
                <a:lnTo>
                  <a:pt x="1439" y="2431"/>
                </a:lnTo>
                <a:lnTo>
                  <a:pt x="1440" y="2427"/>
                </a:lnTo>
                <a:lnTo>
                  <a:pt x="1443" y="2426"/>
                </a:lnTo>
                <a:lnTo>
                  <a:pt x="1446" y="2423"/>
                </a:lnTo>
                <a:lnTo>
                  <a:pt x="1456" y="2420"/>
                </a:lnTo>
                <a:lnTo>
                  <a:pt x="1457" y="2418"/>
                </a:lnTo>
                <a:lnTo>
                  <a:pt x="1459" y="2417"/>
                </a:lnTo>
                <a:lnTo>
                  <a:pt x="1460" y="2417"/>
                </a:lnTo>
                <a:lnTo>
                  <a:pt x="1462" y="2415"/>
                </a:lnTo>
                <a:lnTo>
                  <a:pt x="1462" y="2413"/>
                </a:lnTo>
                <a:lnTo>
                  <a:pt x="1459" y="2410"/>
                </a:lnTo>
                <a:lnTo>
                  <a:pt x="1462" y="2410"/>
                </a:lnTo>
                <a:lnTo>
                  <a:pt x="1463" y="2410"/>
                </a:lnTo>
                <a:lnTo>
                  <a:pt x="1465" y="2409"/>
                </a:lnTo>
                <a:lnTo>
                  <a:pt x="1466" y="2407"/>
                </a:lnTo>
                <a:lnTo>
                  <a:pt x="1468" y="2407"/>
                </a:lnTo>
                <a:lnTo>
                  <a:pt x="1468" y="2406"/>
                </a:lnTo>
                <a:lnTo>
                  <a:pt x="1466" y="2406"/>
                </a:lnTo>
                <a:lnTo>
                  <a:pt x="1465" y="2404"/>
                </a:lnTo>
                <a:lnTo>
                  <a:pt x="1463" y="2403"/>
                </a:lnTo>
                <a:lnTo>
                  <a:pt x="1462" y="2403"/>
                </a:lnTo>
                <a:lnTo>
                  <a:pt x="1462" y="2401"/>
                </a:lnTo>
                <a:lnTo>
                  <a:pt x="1465" y="2401"/>
                </a:lnTo>
                <a:lnTo>
                  <a:pt x="1466" y="2403"/>
                </a:lnTo>
                <a:lnTo>
                  <a:pt x="1466" y="2404"/>
                </a:lnTo>
                <a:lnTo>
                  <a:pt x="1468" y="2404"/>
                </a:lnTo>
                <a:lnTo>
                  <a:pt x="1469" y="2403"/>
                </a:lnTo>
                <a:lnTo>
                  <a:pt x="1471" y="2401"/>
                </a:lnTo>
                <a:lnTo>
                  <a:pt x="1477" y="2392"/>
                </a:lnTo>
                <a:lnTo>
                  <a:pt x="1479" y="2390"/>
                </a:lnTo>
                <a:lnTo>
                  <a:pt x="1480" y="2386"/>
                </a:lnTo>
                <a:lnTo>
                  <a:pt x="1480" y="2384"/>
                </a:lnTo>
                <a:lnTo>
                  <a:pt x="1482" y="2383"/>
                </a:lnTo>
                <a:lnTo>
                  <a:pt x="1482" y="2381"/>
                </a:lnTo>
                <a:lnTo>
                  <a:pt x="1482" y="2378"/>
                </a:lnTo>
                <a:lnTo>
                  <a:pt x="1482" y="2376"/>
                </a:lnTo>
                <a:lnTo>
                  <a:pt x="1483" y="2378"/>
                </a:lnTo>
                <a:lnTo>
                  <a:pt x="1485" y="2378"/>
                </a:lnTo>
                <a:lnTo>
                  <a:pt x="1487" y="2376"/>
                </a:lnTo>
                <a:lnTo>
                  <a:pt x="1490" y="2373"/>
                </a:lnTo>
                <a:lnTo>
                  <a:pt x="1491" y="2372"/>
                </a:lnTo>
                <a:lnTo>
                  <a:pt x="1493" y="2370"/>
                </a:lnTo>
                <a:lnTo>
                  <a:pt x="1493" y="2369"/>
                </a:lnTo>
                <a:lnTo>
                  <a:pt x="1494" y="2366"/>
                </a:lnTo>
                <a:lnTo>
                  <a:pt x="1496" y="2364"/>
                </a:lnTo>
                <a:lnTo>
                  <a:pt x="1499" y="2361"/>
                </a:lnTo>
                <a:lnTo>
                  <a:pt x="1514" y="2350"/>
                </a:lnTo>
                <a:lnTo>
                  <a:pt x="1543" y="2335"/>
                </a:lnTo>
                <a:lnTo>
                  <a:pt x="1546" y="2332"/>
                </a:lnTo>
                <a:lnTo>
                  <a:pt x="1548" y="2327"/>
                </a:lnTo>
                <a:lnTo>
                  <a:pt x="1548" y="2326"/>
                </a:lnTo>
                <a:lnTo>
                  <a:pt x="1548" y="2324"/>
                </a:lnTo>
                <a:lnTo>
                  <a:pt x="1550" y="2323"/>
                </a:lnTo>
                <a:lnTo>
                  <a:pt x="1550" y="2321"/>
                </a:lnTo>
                <a:lnTo>
                  <a:pt x="1553" y="2320"/>
                </a:lnTo>
                <a:lnTo>
                  <a:pt x="1554" y="2317"/>
                </a:lnTo>
                <a:lnTo>
                  <a:pt x="1557" y="2313"/>
                </a:lnTo>
                <a:lnTo>
                  <a:pt x="1559" y="2312"/>
                </a:lnTo>
                <a:lnTo>
                  <a:pt x="1564" y="2306"/>
                </a:lnTo>
                <a:lnTo>
                  <a:pt x="1568" y="2302"/>
                </a:lnTo>
                <a:lnTo>
                  <a:pt x="1570" y="2301"/>
                </a:lnTo>
                <a:lnTo>
                  <a:pt x="1567" y="2302"/>
                </a:lnTo>
                <a:lnTo>
                  <a:pt x="1565" y="2306"/>
                </a:lnTo>
                <a:lnTo>
                  <a:pt x="1562" y="2307"/>
                </a:lnTo>
                <a:lnTo>
                  <a:pt x="1559" y="2307"/>
                </a:lnTo>
                <a:lnTo>
                  <a:pt x="1559" y="2306"/>
                </a:lnTo>
                <a:lnTo>
                  <a:pt x="1559" y="2304"/>
                </a:lnTo>
                <a:lnTo>
                  <a:pt x="1560" y="2304"/>
                </a:lnTo>
                <a:lnTo>
                  <a:pt x="1562" y="2304"/>
                </a:lnTo>
                <a:lnTo>
                  <a:pt x="1564" y="2304"/>
                </a:lnTo>
                <a:lnTo>
                  <a:pt x="1564" y="2302"/>
                </a:lnTo>
                <a:lnTo>
                  <a:pt x="1565" y="2301"/>
                </a:lnTo>
                <a:lnTo>
                  <a:pt x="1568" y="2301"/>
                </a:lnTo>
                <a:lnTo>
                  <a:pt x="1570" y="2298"/>
                </a:lnTo>
                <a:lnTo>
                  <a:pt x="1571" y="2295"/>
                </a:lnTo>
                <a:lnTo>
                  <a:pt x="1576" y="2290"/>
                </a:lnTo>
                <a:lnTo>
                  <a:pt x="1577" y="2289"/>
                </a:lnTo>
                <a:lnTo>
                  <a:pt x="1577" y="2287"/>
                </a:lnTo>
                <a:lnTo>
                  <a:pt x="1579" y="2286"/>
                </a:lnTo>
                <a:lnTo>
                  <a:pt x="1588" y="2273"/>
                </a:lnTo>
                <a:lnTo>
                  <a:pt x="1588" y="2272"/>
                </a:lnTo>
                <a:lnTo>
                  <a:pt x="1596" y="2256"/>
                </a:lnTo>
                <a:lnTo>
                  <a:pt x="1601" y="2255"/>
                </a:lnTo>
                <a:lnTo>
                  <a:pt x="1602" y="2253"/>
                </a:lnTo>
                <a:lnTo>
                  <a:pt x="1604" y="2250"/>
                </a:lnTo>
                <a:lnTo>
                  <a:pt x="1607" y="2244"/>
                </a:lnTo>
                <a:lnTo>
                  <a:pt x="1608" y="2241"/>
                </a:lnTo>
                <a:lnTo>
                  <a:pt x="1611" y="2236"/>
                </a:lnTo>
                <a:lnTo>
                  <a:pt x="1611" y="2235"/>
                </a:lnTo>
                <a:lnTo>
                  <a:pt x="1610" y="2235"/>
                </a:lnTo>
                <a:lnTo>
                  <a:pt x="1608" y="2235"/>
                </a:lnTo>
                <a:lnTo>
                  <a:pt x="1607" y="2238"/>
                </a:lnTo>
                <a:lnTo>
                  <a:pt x="1607" y="2236"/>
                </a:lnTo>
                <a:lnTo>
                  <a:pt x="1605" y="2235"/>
                </a:lnTo>
                <a:lnTo>
                  <a:pt x="1605" y="2233"/>
                </a:lnTo>
                <a:lnTo>
                  <a:pt x="1607" y="2232"/>
                </a:lnTo>
                <a:lnTo>
                  <a:pt x="1607" y="2230"/>
                </a:lnTo>
                <a:lnTo>
                  <a:pt x="1607" y="2229"/>
                </a:lnTo>
                <a:lnTo>
                  <a:pt x="1608" y="2230"/>
                </a:lnTo>
                <a:lnTo>
                  <a:pt x="1610" y="2232"/>
                </a:lnTo>
                <a:lnTo>
                  <a:pt x="1611" y="2233"/>
                </a:lnTo>
                <a:lnTo>
                  <a:pt x="1613" y="2232"/>
                </a:lnTo>
                <a:lnTo>
                  <a:pt x="1620" y="2221"/>
                </a:lnTo>
                <a:lnTo>
                  <a:pt x="1631" y="2209"/>
                </a:lnTo>
                <a:lnTo>
                  <a:pt x="1639" y="2202"/>
                </a:lnTo>
                <a:lnTo>
                  <a:pt x="1650" y="2190"/>
                </a:lnTo>
                <a:lnTo>
                  <a:pt x="1656" y="2184"/>
                </a:lnTo>
                <a:lnTo>
                  <a:pt x="1660" y="2182"/>
                </a:lnTo>
                <a:lnTo>
                  <a:pt x="1665" y="2178"/>
                </a:lnTo>
                <a:lnTo>
                  <a:pt x="1670" y="2175"/>
                </a:lnTo>
                <a:lnTo>
                  <a:pt x="1678" y="2172"/>
                </a:lnTo>
                <a:lnTo>
                  <a:pt x="1685" y="2167"/>
                </a:lnTo>
                <a:lnTo>
                  <a:pt x="1688" y="2164"/>
                </a:lnTo>
                <a:lnTo>
                  <a:pt x="1664" y="2178"/>
                </a:lnTo>
                <a:lnTo>
                  <a:pt x="1662" y="2178"/>
                </a:lnTo>
                <a:lnTo>
                  <a:pt x="1662" y="2176"/>
                </a:lnTo>
                <a:lnTo>
                  <a:pt x="1660" y="2175"/>
                </a:lnTo>
                <a:lnTo>
                  <a:pt x="1662" y="2175"/>
                </a:lnTo>
                <a:lnTo>
                  <a:pt x="1662" y="2173"/>
                </a:lnTo>
                <a:lnTo>
                  <a:pt x="1664" y="2172"/>
                </a:lnTo>
                <a:lnTo>
                  <a:pt x="1664" y="2173"/>
                </a:lnTo>
                <a:lnTo>
                  <a:pt x="1664" y="2175"/>
                </a:lnTo>
                <a:lnTo>
                  <a:pt x="1665" y="2175"/>
                </a:lnTo>
                <a:lnTo>
                  <a:pt x="1667" y="2175"/>
                </a:lnTo>
                <a:lnTo>
                  <a:pt x="1668" y="2173"/>
                </a:lnTo>
                <a:lnTo>
                  <a:pt x="1670" y="2172"/>
                </a:lnTo>
                <a:lnTo>
                  <a:pt x="1670" y="2170"/>
                </a:lnTo>
                <a:lnTo>
                  <a:pt x="1671" y="2170"/>
                </a:lnTo>
                <a:lnTo>
                  <a:pt x="1671" y="2169"/>
                </a:lnTo>
                <a:lnTo>
                  <a:pt x="1671" y="2167"/>
                </a:lnTo>
                <a:lnTo>
                  <a:pt x="1671" y="2165"/>
                </a:lnTo>
                <a:lnTo>
                  <a:pt x="1670" y="2164"/>
                </a:lnTo>
                <a:lnTo>
                  <a:pt x="1670" y="2165"/>
                </a:lnTo>
                <a:lnTo>
                  <a:pt x="1668" y="2165"/>
                </a:lnTo>
                <a:lnTo>
                  <a:pt x="1667" y="2165"/>
                </a:lnTo>
                <a:lnTo>
                  <a:pt x="1662" y="2170"/>
                </a:lnTo>
                <a:lnTo>
                  <a:pt x="1657" y="2169"/>
                </a:lnTo>
                <a:lnTo>
                  <a:pt x="1656" y="2169"/>
                </a:lnTo>
                <a:lnTo>
                  <a:pt x="1656" y="2170"/>
                </a:lnTo>
                <a:lnTo>
                  <a:pt x="1654" y="2170"/>
                </a:lnTo>
                <a:lnTo>
                  <a:pt x="1654" y="2172"/>
                </a:lnTo>
                <a:lnTo>
                  <a:pt x="1656" y="2172"/>
                </a:lnTo>
                <a:lnTo>
                  <a:pt x="1656" y="2173"/>
                </a:lnTo>
                <a:lnTo>
                  <a:pt x="1654" y="2175"/>
                </a:lnTo>
                <a:lnTo>
                  <a:pt x="1654" y="2176"/>
                </a:lnTo>
                <a:lnTo>
                  <a:pt x="1653" y="2176"/>
                </a:lnTo>
                <a:lnTo>
                  <a:pt x="1651" y="2176"/>
                </a:lnTo>
                <a:lnTo>
                  <a:pt x="1651" y="2178"/>
                </a:lnTo>
                <a:lnTo>
                  <a:pt x="1654" y="2181"/>
                </a:lnTo>
                <a:lnTo>
                  <a:pt x="1653" y="2181"/>
                </a:lnTo>
                <a:lnTo>
                  <a:pt x="1651" y="2181"/>
                </a:lnTo>
                <a:lnTo>
                  <a:pt x="1651" y="2182"/>
                </a:lnTo>
                <a:lnTo>
                  <a:pt x="1651" y="2184"/>
                </a:lnTo>
                <a:lnTo>
                  <a:pt x="1650" y="2185"/>
                </a:lnTo>
                <a:lnTo>
                  <a:pt x="1648" y="2185"/>
                </a:lnTo>
                <a:lnTo>
                  <a:pt x="1648" y="2187"/>
                </a:lnTo>
                <a:lnTo>
                  <a:pt x="1647" y="2187"/>
                </a:lnTo>
                <a:lnTo>
                  <a:pt x="1647" y="2188"/>
                </a:lnTo>
                <a:lnTo>
                  <a:pt x="1645" y="2188"/>
                </a:lnTo>
                <a:lnTo>
                  <a:pt x="1644" y="2188"/>
                </a:lnTo>
                <a:lnTo>
                  <a:pt x="1645" y="2188"/>
                </a:lnTo>
                <a:lnTo>
                  <a:pt x="1645" y="2187"/>
                </a:lnTo>
                <a:lnTo>
                  <a:pt x="1645" y="2185"/>
                </a:lnTo>
                <a:lnTo>
                  <a:pt x="1644" y="2184"/>
                </a:lnTo>
                <a:lnTo>
                  <a:pt x="1644" y="2185"/>
                </a:lnTo>
                <a:lnTo>
                  <a:pt x="1642" y="2185"/>
                </a:lnTo>
                <a:lnTo>
                  <a:pt x="1642" y="2182"/>
                </a:lnTo>
                <a:lnTo>
                  <a:pt x="1644" y="2182"/>
                </a:lnTo>
                <a:lnTo>
                  <a:pt x="1644" y="2181"/>
                </a:lnTo>
                <a:lnTo>
                  <a:pt x="1645" y="2179"/>
                </a:lnTo>
                <a:lnTo>
                  <a:pt x="1647" y="2179"/>
                </a:lnTo>
                <a:lnTo>
                  <a:pt x="1645" y="2178"/>
                </a:lnTo>
                <a:lnTo>
                  <a:pt x="1645" y="2175"/>
                </a:lnTo>
                <a:lnTo>
                  <a:pt x="1647" y="2173"/>
                </a:lnTo>
                <a:lnTo>
                  <a:pt x="1648" y="2172"/>
                </a:lnTo>
                <a:lnTo>
                  <a:pt x="1650" y="2170"/>
                </a:lnTo>
                <a:lnTo>
                  <a:pt x="1651" y="2165"/>
                </a:lnTo>
                <a:lnTo>
                  <a:pt x="1653" y="2164"/>
                </a:lnTo>
                <a:lnTo>
                  <a:pt x="1651" y="2162"/>
                </a:lnTo>
                <a:lnTo>
                  <a:pt x="1654" y="2158"/>
                </a:lnTo>
                <a:lnTo>
                  <a:pt x="1656" y="2155"/>
                </a:lnTo>
                <a:lnTo>
                  <a:pt x="1659" y="2153"/>
                </a:lnTo>
                <a:lnTo>
                  <a:pt x="1659" y="2152"/>
                </a:lnTo>
                <a:lnTo>
                  <a:pt x="1660" y="2152"/>
                </a:lnTo>
                <a:lnTo>
                  <a:pt x="1662" y="2152"/>
                </a:lnTo>
                <a:lnTo>
                  <a:pt x="1664" y="2152"/>
                </a:lnTo>
                <a:lnTo>
                  <a:pt x="1668" y="2146"/>
                </a:lnTo>
                <a:lnTo>
                  <a:pt x="1673" y="2141"/>
                </a:lnTo>
                <a:lnTo>
                  <a:pt x="1674" y="2139"/>
                </a:lnTo>
                <a:lnTo>
                  <a:pt x="1678" y="2138"/>
                </a:lnTo>
                <a:lnTo>
                  <a:pt x="1679" y="2138"/>
                </a:lnTo>
                <a:lnTo>
                  <a:pt x="1682" y="2139"/>
                </a:lnTo>
                <a:lnTo>
                  <a:pt x="1687" y="2141"/>
                </a:lnTo>
                <a:lnTo>
                  <a:pt x="1688" y="2141"/>
                </a:lnTo>
                <a:lnTo>
                  <a:pt x="1687" y="2152"/>
                </a:lnTo>
                <a:lnTo>
                  <a:pt x="1688" y="2153"/>
                </a:lnTo>
                <a:lnTo>
                  <a:pt x="1687" y="2155"/>
                </a:lnTo>
                <a:lnTo>
                  <a:pt x="1687" y="2156"/>
                </a:lnTo>
                <a:lnTo>
                  <a:pt x="1688" y="2158"/>
                </a:lnTo>
                <a:lnTo>
                  <a:pt x="1687" y="2158"/>
                </a:lnTo>
                <a:lnTo>
                  <a:pt x="1682" y="2161"/>
                </a:lnTo>
                <a:lnTo>
                  <a:pt x="1682" y="2159"/>
                </a:lnTo>
                <a:lnTo>
                  <a:pt x="1684" y="2159"/>
                </a:lnTo>
                <a:lnTo>
                  <a:pt x="1682" y="2158"/>
                </a:lnTo>
                <a:lnTo>
                  <a:pt x="1679" y="2159"/>
                </a:lnTo>
                <a:lnTo>
                  <a:pt x="1676" y="2161"/>
                </a:lnTo>
                <a:lnTo>
                  <a:pt x="1674" y="2162"/>
                </a:lnTo>
                <a:lnTo>
                  <a:pt x="1673" y="2162"/>
                </a:lnTo>
                <a:lnTo>
                  <a:pt x="1674" y="2164"/>
                </a:lnTo>
                <a:lnTo>
                  <a:pt x="1676" y="2164"/>
                </a:lnTo>
                <a:lnTo>
                  <a:pt x="1676" y="2165"/>
                </a:lnTo>
                <a:lnTo>
                  <a:pt x="1676" y="2167"/>
                </a:lnTo>
                <a:lnTo>
                  <a:pt x="1679" y="2167"/>
                </a:lnTo>
                <a:lnTo>
                  <a:pt x="1685" y="2164"/>
                </a:lnTo>
                <a:lnTo>
                  <a:pt x="1691" y="2159"/>
                </a:lnTo>
                <a:lnTo>
                  <a:pt x="1694" y="2159"/>
                </a:lnTo>
                <a:lnTo>
                  <a:pt x="1693" y="2159"/>
                </a:lnTo>
                <a:lnTo>
                  <a:pt x="1693" y="2161"/>
                </a:lnTo>
                <a:lnTo>
                  <a:pt x="1699" y="2156"/>
                </a:lnTo>
                <a:lnTo>
                  <a:pt x="1702" y="2156"/>
                </a:lnTo>
                <a:lnTo>
                  <a:pt x="1704" y="2155"/>
                </a:lnTo>
                <a:lnTo>
                  <a:pt x="1708" y="2155"/>
                </a:lnTo>
                <a:lnTo>
                  <a:pt x="1710" y="2153"/>
                </a:lnTo>
                <a:lnTo>
                  <a:pt x="1714" y="2152"/>
                </a:lnTo>
                <a:lnTo>
                  <a:pt x="1719" y="2150"/>
                </a:lnTo>
                <a:lnTo>
                  <a:pt x="1730" y="2146"/>
                </a:lnTo>
                <a:lnTo>
                  <a:pt x="1733" y="2146"/>
                </a:lnTo>
                <a:lnTo>
                  <a:pt x="1733" y="2144"/>
                </a:lnTo>
                <a:lnTo>
                  <a:pt x="1734" y="2144"/>
                </a:lnTo>
                <a:lnTo>
                  <a:pt x="1736" y="2144"/>
                </a:lnTo>
                <a:lnTo>
                  <a:pt x="1736" y="2146"/>
                </a:lnTo>
                <a:lnTo>
                  <a:pt x="1737" y="2146"/>
                </a:lnTo>
                <a:lnTo>
                  <a:pt x="1741" y="2144"/>
                </a:lnTo>
                <a:lnTo>
                  <a:pt x="1754" y="2138"/>
                </a:lnTo>
                <a:lnTo>
                  <a:pt x="1765" y="2130"/>
                </a:lnTo>
                <a:lnTo>
                  <a:pt x="1764" y="2130"/>
                </a:lnTo>
                <a:lnTo>
                  <a:pt x="1762" y="2128"/>
                </a:lnTo>
                <a:lnTo>
                  <a:pt x="1761" y="2128"/>
                </a:lnTo>
                <a:lnTo>
                  <a:pt x="1759" y="2128"/>
                </a:lnTo>
                <a:lnTo>
                  <a:pt x="1759" y="2127"/>
                </a:lnTo>
                <a:lnTo>
                  <a:pt x="1758" y="2125"/>
                </a:lnTo>
                <a:lnTo>
                  <a:pt x="1758" y="2124"/>
                </a:lnTo>
                <a:lnTo>
                  <a:pt x="1756" y="2124"/>
                </a:lnTo>
                <a:lnTo>
                  <a:pt x="1754" y="2124"/>
                </a:lnTo>
                <a:lnTo>
                  <a:pt x="1751" y="2122"/>
                </a:lnTo>
                <a:lnTo>
                  <a:pt x="1750" y="2121"/>
                </a:lnTo>
                <a:lnTo>
                  <a:pt x="1747" y="2119"/>
                </a:lnTo>
                <a:lnTo>
                  <a:pt x="1745" y="2118"/>
                </a:lnTo>
                <a:lnTo>
                  <a:pt x="1744" y="2116"/>
                </a:lnTo>
                <a:lnTo>
                  <a:pt x="1744" y="2112"/>
                </a:lnTo>
                <a:lnTo>
                  <a:pt x="1744" y="2110"/>
                </a:lnTo>
                <a:lnTo>
                  <a:pt x="1745" y="2110"/>
                </a:lnTo>
                <a:lnTo>
                  <a:pt x="1745" y="2113"/>
                </a:lnTo>
                <a:lnTo>
                  <a:pt x="1745" y="2115"/>
                </a:lnTo>
                <a:lnTo>
                  <a:pt x="1748" y="2116"/>
                </a:lnTo>
                <a:lnTo>
                  <a:pt x="1748" y="2118"/>
                </a:lnTo>
                <a:lnTo>
                  <a:pt x="1750" y="2119"/>
                </a:lnTo>
                <a:lnTo>
                  <a:pt x="1751" y="2119"/>
                </a:lnTo>
                <a:lnTo>
                  <a:pt x="1756" y="2118"/>
                </a:lnTo>
                <a:lnTo>
                  <a:pt x="1762" y="2125"/>
                </a:lnTo>
                <a:lnTo>
                  <a:pt x="1767" y="2128"/>
                </a:lnTo>
                <a:lnTo>
                  <a:pt x="1770" y="2127"/>
                </a:lnTo>
                <a:lnTo>
                  <a:pt x="1768" y="2127"/>
                </a:lnTo>
                <a:lnTo>
                  <a:pt x="1767" y="2125"/>
                </a:lnTo>
                <a:lnTo>
                  <a:pt x="1767" y="2124"/>
                </a:lnTo>
                <a:lnTo>
                  <a:pt x="1770" y="2122"/>
                </a:lnTo>
                <a:lnTo>
                  <a:pt x="1774" y="2115"/>
                </a:lnTo>
                <a:lnTo>
                  <a:pt x="1774" y="2113"/>
                </a:lnTo>
                <a:lnTo>
                  <a:pt x="1776" y="2112"/>
                </a:lnTo>
                <a:lnTo>
                  <a:pt x="1776" y="2106"/>
                </a:lnTo>
                <a:lnTo>
                  <a:pt x="1778" y="2104"/>
                </a:lnTo>
                <a:lnTo>
                  <a:pt x="1779" y="2102"/>
                </a:lnTo>
                <a:lnTo>
                  <a:pt x="1781" y="2102"/>
                </a:lnTo>
                <a:lnTo>
                  <a:pt x="1785" y="2101"/>
                </a:lnTo>
                <a:lnTo>
                  <a:pt x="1790" y="2098"/>
                </a:lnTo>
                <a:lnTo>
                  <a:pt x="1799" y="2092"/>
                </a:lnTo>
                <a:lnTo>
                  <a:pt x="1802" y="2088"/>
                </a:lnTo>
                <a:lnTo>
                  <a:pt x="1799" y="2092"/>
                </a:lnTo>
                <a:lnTo>
                  <a:pt x="1798" y="2092"/>
                </a:lnTo>
                <a:lnTo>
                  <a:pt x="1796" y="2092"/>
                </a:lnTo>
                <a:lnTo>
                  <a:pt x="1798" y="2090"/>
                </a:lnTo>
                <a:lnTo>
                  <a:pt x="1799" y="2088"/>
                </a:lnTo>
                <a:lnTo>
                  <a:pt x="1801" y="2087"/>
                </a:lnTo>
                <a:lnTo>
                  <a:pt x="1802" y="2087"/>
                </a:lnTo>
                <a:lnTo>
                  <a:pt x="1804" y="2085"/>
                </a:lnTo>
                <a:lnTo>
                  <a:pt x="1805" y="2081"/>
                </a:lnTo>
                <a:lnTo>
                  <a:pt x="1807" y="2076"/>
                </a:lnTo>
                <a:lnTo>
                  <a:pt x="1807" y="2073"/>
                </a:lnTo>
                <a:lnTo>
                  <a:pt x="1805" y="2076"/>
                </a:lnTo>
                <a:lnTo>
                  <a:pt x="1805" y="2078"/>
                </a:lnTo>
                <a:lnTo>
                  <a:pt x="1805" y="2079"/>
                </a:lnTo>
                <a:lnTo>
                  <a:pt x="1804" y="2078"/>
                </a:lnTo>
                <a:lnTo>
                  <a:pt x="1802" y="2079"/>
                </a:lnTo>
                <a:lnTo>
                  <a:pt x="1801" y="2081"/>
                </a:lnTo>
                <a:lnTo>
                  <a:pt x="1799" y="2082"/>
                </a:lnTo>
                <a:lnTo>
                  <a:pt x="1799" y="2075"/>
                </a:lnTo>
                <a:lnTo>
                  <a:pt x="1801" y="2072"/>
                </a:lnTo>
                <a:lnTo>
                  <a:pt x="1802" y="2067"/>
                </a:lnTo>
                <a:lnTo>
                  <a:pt x="1804" y="2065"/>
                </a:lnTo>
                <a:lnTo>
                  <a:pt x="1819" y="2051"/>
                </a:lnTo>
                <a:lnTo>
                  <a:pt x="1824" y="2050"/>
                </a:lnTo>
                <a:lnTo>
                  <a:pt x="1827" y="2047"/>
                </a:lnTo>
                <a:lnTo>
                  <a:pt x="1828" y="2044"/>
                </a:lnTo>
                <a:lnTo>
                  <a:pt x="1830" y="2042"/>
                </a:lnTo>
                <a:lnTo>
                  <a:pt x="1828" y="2044"/>
                </a:lnTo>
                <a:lnTo>
                  <a:pt x="1825" y="2045"/>
                </a:lnTo>
                <a:lnTo>
                  <a:pt x="1825" y="2044"/>
                </a:lnTo>
                <a:lnTo>
                  <a:pt x="1824" y="2044"/>
                </a:lnTo>
                <a:lnTo>
                  <a:pt x="1822" y="2044"/>
                </a:lnTo>
                <a:lnTo>
                  <a:pt x="1822" y="2042"/>
                </a:lnTo>
                <a:lnTo>
                  <a:pt x="1821" y="2042"/>
                </a:lnTo>
                <a:lnTo>
                  <a:pt x="1821" y="2041"/>
                </a:lnTo>
                <a:lnTo>
                  <a:pt x="1822" y="2041"/>
                </a:lnTo>
                <a:lnTo>
                  <a:pt x="1824" y="2041"/>
                </a:lnTo>
                <a:lnTo>
                  <a:pt x="1825" y="2042"/>
                </a:lnTo>
                <a:lnTo>
                  <a:pt x="1825" y="2041"/>
                </a:lnTo>
                <a:lnTo>
                  <a:pt x="1825" y="2039"/>
                </a:lnTo>
                <a:lnTo>
                  <a:pt x="1825" y="2038"/>
                </a:lnTo>
                <a:lnTo>
                  <a:pt x="1825" y="2036"/>
                </a:lnTo>
                <a:lnTo>
                  <a:pt x="1824" y="2036"/>
                </a:lnTo>
                <a:lnTo>
                  <a:pt x="1822" y="2036"/>
                </a:lnTo>
                <a:lnTo>
                  <a:pt x="1818" y="2035"/>
                </a:lnTo>
                <a:lnTo>
                  <a:pt x="1814" y="2035"/>
                </a:lnTo>
                <a:lnTo>
                  <a:pt x="1814" y="2033"/>
                </a:lnTo>
                <a:lnTo>
                  <a:pt x="1818" y="2032"/>
                </a:lnTo>
                <a:lnTo>
                  <a:pt x="1819" y="2032"/>
                </a:lnTo>
                <a:lnTo>
                  <a:pt x="1821" y="2033"/>
                </a:lnTo>
                <a:lnTo>
                  <a:pt x="1822" y="2030"/>
                </a:lnTo>
                <a:lnTo>
                  <a:pt x="1821" y="2024"/>
                </a:lnTo>
                <a:lnTo>
                  <a:pt x="1811" y="1996"/>
                </a:lnTo>
                <a:lnTo>
                  <a:pt x="1810" y="1985"/>
                </a:lnTo>
                <a:lnTo>
                  <a:pt x="1813" y="1974"/>
                </a:lnTo>
                <a:lnTo>
                  <a:pt x="1818" y="1967"/>
                </a:lnTo>
                <a:lnTo>
                  <a:pt x="1831" y="1948"/>
                </a:lnTo>
                <a:lnTo>
                  <a:pt x="1836" y="1944"/>
                </a:lnTo>
                <a:lnTo>
                  <a:pt x="1845" y="1939"/>
                </a:lnTo>
                <a:lnTo>
                  <a:pt x="1847" y="1939"/>
                </a:lnTo>
                <a:lnTo>
                  <a:pt x="1848" y="1939"/>
                </a:lnTo>
                <a:lnTo>
                  <a:pt x="1850" y="1939"/>
                </a:lnTo>
                <a:lnTo>
                  <a:pt x="1850" y="1937"/>
                </a:lnTo>
                <a:lnTo>
                  <a:pt x="1855" y="1939"/>
                </a:lnTo>
                <a:lnTo>
                  <a:pt x="1859" y="1937"/>
                </a:lnTo>
                <a:lnTo>
                  <a:pt x="1865" y="1934"/>
                </a:lnTo>
                <a:lnTo>
                  <a:pt x="1871" y="1931"/>
                </a:lnTo>
                <a:lnTo>
                  <a:pt x="1885" y="1927"/>
                </a:lnTo>
                <a:lnTo>
                  <a:pt x="1888" y="1927"/>
                </a:lnTo>
                <a:lnTo>
                  <a:pt x="1892" y="1927"/>
                </a:lnTo>
                <a:lnTo>
                  <a:pt x="1895" y="1927"/>
                </a:lnTo>
                <a:lnTo>
                  <a:pt x="1899" y="1922"/>
                </a:lnTo>
                <a:lnTo>
                  <a:pt x="1907" y="1918"/>
                </a:lnTo>
                <a:lnTo>
                  <a:pt x="1910" y="1914"/>
                </a:lnTo>
                <a:lnTo>
                  <a:pt x="1913" y="1913"/>
                </a:lnTo>
                <a:lnTo>
                  <a:pt x="1913" y="1911"/>
                </a:lnTo>
                <a:lnTo>
                  <a:pt x="1913" y="1910"/>
                </a:lnTo>
                <a:lnTo>
                  <a:pt x="1914" y="1910"/>
                </a:lnTo>
                <a:lnTo>
                  <a:pt x="1918" y="1905"/>
                </a:lnTo>
                <a:lnTo>
                  <a:pt x="1919" y="1905"/>
                </a:lnTo>
                <a:lnTo>
                  <a:pt x="1921" y="1902"/>
                </a:lnTo>
                <a:lnTo>
                  <a:pt x="1925" y="1890"/>
                </a:lnTo>
                <a:lnTo>
                  <a:pt x="1927" y="1888"/>
                </a:lnTo>
                <a:lnTo>
                  <a:pt x="1927" y="1887"/>
                </a:lnTo>
                <a:lnTo>
                  <a:pt x="1927" y="1885"/>
                </a:lnTo>
                <a:lnTo>
                  <a:pt x="1927" y="1884"/>
                </a:lnTo>
                <a:lnTo>
                  <a:pt x="1927" y="1882"/>
                </a:lnTo>
                <a:lnTo>
                  <a:pt x="1932" y="1882"/>
                </a:lnTo>
                <a:lnTo>
                  <a:pt x="1933" y="1881"/>
                </a:lnTo>
                <a:lnTo>
                  <a:pt x="1936" y="1877"/>
                </a:lnTo>
                <a:lnTo>
                  <a:pt x="1939" y="1874"/>
                </a:lnTo>
                <a:lnTo>
                  <a:pt x="1939" y="1871"/>
                </a:lnTo>
                <a:lnTo>
                  <a:pt x="1938" y="1865"/>
                </a:lnTo>
                <a:lnTo>
                  <a:pt x="1936" y="1864"/>
                </a:lnTo>
                <a:lnTo>
                  <a:pt x="1932" y="1862"/>
                </a:lnTo>
                <a:lnTo>
                  <a:pt x="1928" y="1861"/>
                </a:lnTo>
                <a:lnTo>
                  <a:pt x="1925" y="1861"/>
                </a:lnTo>
                <a:lnTo>
                  <a:pt x="1924" y="1861"/>
                </a:lnTo>
                <a:lnTo>
                  <a:pt x="1922" y="1859"/>
                </a:lnTo>
                <a:lnTo>
                  <a:pt x="1919" y="1854"/>
                </a:lnTo>
                <a:lnTo>
                  <a:pt x="1918" y="1853"/>
                </a:lnTo>
                <a:lnTo>
                  <a:pt x="1918" y="1851"/>
                </a:lnTo>
                <a:lnTo>
                  <a:pt x="1916" y="1842"/>
                </a:lnTo>
                <a:lnTo>
                  <a:pt x="1914" y="1836"/>
                </a:lnTo>
                <a:lnTo>
                  <a:pt x="1913" y="1834"/>
                </a:lnTo>
                <a:lnTo>
                  <a:pt x="1913" y="1833"/>
                </a:lnTo>
                <a:lnTo>
                  <a:pt x="1916" y="1833"/>
                </a:lnTo>
                <a:lnTo>
                  <a:pt x="1916" y="1834"/>
                </a:lnTo>
                <a:lnTo>
                  <a:pt x="1918" y="1837"/>
                </a:lnTo>
                <a:lnTo>
                  <a:pt x="1918" y="1839"/>
                </a:lnTo>
                <a:lnTo>
                  <a:pt x="1918" y="1842"/>
                </a:lnTo>
                <a:lnTo>
                  <a:pt x="1919" y="1847"/>
                </a:lnTo>
                <a:lnTo>
                  <a:pt x="1919" y="1848"/>
                </a:lnTo>
                <a:lnTo>
                  <a:pt x="1921" y="1850"/>
                </a:lnTo>
                <a:lnTo>
                  <a:pt x="1921" y="1853"/>
                </a:lnTo>
                <a:lnTo>
                  <a:pt x="1924" y="1856"/>
                </a:lnTo>
                <a:lnTo>
                  <a:pt x="1925" y="1857"/>
                </a:lnTo>
                <a:lnTo>
                  <a:pt x="1927" y="1857"/>
                </a:lnTo>
                <a:lnTo>
                  <a:pt x="1928" y="1857"/>
                </a:lnTo>
                <a:lnTo>
                  <a:pt x="1930" y="1856"/>
                </a:lnTo>
                <a:lnTo>
                  <a:pt x="1930" y="1859"/>
                </a:lnTo>
                <a:lnTo>
                  <a:pt x="1935" y="1861"/>
                </a:lnTo>
                <a:lnTo>
                  <a:pt x="1939" y="1862"/>
                </a:lnTo>
                <a:lnTo>
                  <a:pt x="1942" y="1865"/>
                </a:lnTo>
                <a:lnTo>
                  <a:pt x="1942" y="1867"/>
                </a:lnTo>
                <a:lnTo>
                  <a:pt x="1944" y="1873"/>
                </a:lnTo>
                <a:lnTo>
                  <a:pt x="1944" y="1876"/>
                </a:lnTo>
                <a:lnTo>
                  <a:pt x="1942" y="1879"/>
                </a:lnTo>
                <a:lnTo>
                  <a:pt x="1939" y="1885"/>
                </a:lnTo>
                <a:lnTo>
                  <a:pt x="1938" y="1885"/>
                </a:lnTo>
                <a:lnTo>
                  <a:pt x="1938" y="1888"/>
                </a:lnTo>
                <a:lnTo>
                  <a:pt x="1936" y="1890"/>
                </a:lnTo>
                <a:lnTo>
                  <a:pt x="1938" y="1896"/>
                </a:lnTo>
                <a:lnTo>
                  <a:pt x="1938" y="1897"/>
                </a:lnTo>
                <a:lnTo>
                  <a:pt x="1938" y="1899"/>
                </a:lnTo>
                <a:lnTo>
                  <a:pt x="1942" y="1908"/>
                </a:lnTo>
                <a:lnTo>
                  <a:pt x="1942" y="1910"/>
                </a:lnTo>
                <a:lnTo>
                  <a:pt x="1942" y="1913"/>
                </a:lnTo>
                <a:lnTo>
                  <a:pt x="1942" y="1916"/>
                </a:lnTo>
                <a:lnTo>
                  <a:pt x="1942" y="1918"/>
                </a:lnTo>
                <a:lnTo>
                  <a:pt x="1941" y="1921"/>
                </a:lnTo>
                <a:lnTo>
                  <a:pt x="1941" y="1924"/>
                </a:lnTo>
                <a:lnTo>
                  <a:pt x="1941" y="1925"/>
                </a:lnTo>
                <a:lnTo>
                  <a:pt x="1941" y="1928"/>
                </a:lnTo>
                <a:lnTo>
                  <a:pt x="1942" y="1933"/>
                </a:lnTo>
                <a:lnTo>
                  <a:pt x="1944" y="1931"/>
                </a:lnTo>
                <a:lnTo>
                  <a:pt x="1945" y="1933"/>
                </a:lnTo>
                <a:lnTo>
                  <a:pt x="1947" y="1936"/>
                </a:lnTo>
                <a:lnTo>
                  <a:pt x="1947" y="1939"/>
                </a:lnTo>
                <a:lnTo>
                  <a:pt x="1948" y="1939"/>
                </a:lnTo>
                <a:lnTo>
                  <a:pt x="1950" y="1939"/>
                </a:lnTo>
                <a:lnTo>
                  <a:pt x="1951" y="1937"/>
                </a:lnTo>
                <a:lnTo>
                  <a:pt x="1951" y="1936"/>
                </a:lnTo>
                <a:lnTo>
                  <a:pt x="1951" y="1934"/>
                </a:lnTo>
                <a:lnTo>
                  <a:pt x="1950" y="1933"/>
                </a:lnTo>
                <a:lnTo>
                  <a:pt x="1950" y="1931"/>
                </a:lnTo>
                <a:lnTo>
                  <a:pt x="1951" y="1928"/>
                </a:lnTo>
                <a:lnTo>
                  <a:pt x="1951" y="1927"/>
                </a:lnTo>
                <a:lnTo>
                  <a:pt x="1951" y="1924"/>
                </a:lnTo>
                <a:lnTo>
                  <a:pt x="1948" y="1911"/>
                </a:lnTo>
                <a:lnTo>
                  <a:pt x="1948" y="1910"/>
                </a:lnTo>
                <a:lnTo>
                  <a:pt x="1950" y="1911"/>
                </a:lnTo>
                <a:lnTo>
                  <a:pt x="1951" y="1913"/>
                </a:lnTo>
                <a:lnTo>
                  <a:pt x="1951" y="1916"/>
                </a:lnTo>
                <a:lnTo>
                  <a:pt x="1951" y="1930"/>
                </a:lnTo>
                <a:lnTo>
                  <a:pt x="1953" y="1931"/>
                </a:lnTo>
                <a:lnTo>
                  <a:pt x="1953" y="1933"/>
                </a:lnTo>
                <a:lnTo>
                  <a:pt x="1955" y="1931"/>
                </a:lnTo>
                <a:lnTo>
                  <a:pt x="1956" y="1928"/>
                </a:lnTo>
                <a:lnTo>
                  <a:pt x="1956" y="1927"/>
                </a:lnTo>
                <a:lnTo>
                  <a:pt x="1956" y="1925"/>
                </a:lnTo>
                <a:lnTo>
                  <a:pt x="1955" y="1922"/>
                </a:lnTo>
                <a:lnTo>
                  <a:pt x="1955" y="1921"/>
                </a:lnTo>
                <a:lnTo>
                  <a:pt x="1955" y="1919"/>
                </a:lnTo>
                <a:lnTo>
                  <a:pt x="1955" y="1921"/>
                </a:lnTo>
                <a:lnTo>
                  <a:pt x="1956" y="1922"/>
                </a:lnTo>
                <a:lnTo>
                  <a:pt x="1958" y="1924"/>
                </a:lnTo>
                <a:lnTo>
                  <a:pt x="1958" y="1922"/>
                </a:lnTo>
                <a:lnTo>
                  <a:pt x="1959" y="1922"/>
                </a:lnTo>
                <a:lnTo>
                  <a:pt x="1961" y="1921"/>
                </a:lnTo>
                <a:lnTo>
                  <a:pt x="1959" y="1925"/>
                </a:lnTo>
                <a:lnTo>
                  <a:pt x="1959" y="1930"/>
                </a:lnTo>
                <a:lnTo>
                  <a:pt x="1961" y="1933"/>
                </a:lnTo>
                <a:lnTo>
                  <a:pt x="1962" y="1933"/>
                </a:lnTo>
                <a:lnTo>
                  <a:pt x="1964" y="1931"/>
                </a:lnTo>
                <a:lnTo>
                  <a:pt x="1965" y="1931"/>
                </a:lnTo>
                <a:lnTo>
                  <a:pt x="1967" y="1930"/>
                </a:lnTo>
                <a:lnTo>
                  <a:pt x="1969" y="1928"/>
                </a:lnTo>
                <a:lnTo>
                  <a:pt x="1969" y="1925"/>
                </a:lnTo>
                <a:lnTo>
                  <a:pt x="1969" y="1924"/>
                </a:lnTo>
                <a:lnTo>
                  <a:pt x="1967" y="1921"/>
                </a:lnTo>
                <a:lnTo>
                  <a:pt x="1967" y="1919"/>
                </a:lnTo>
                <a:lnTo>
                  <a:pt x="1967" y="1916"/>
                </a:lnTo>
                <a:lnTo>
                  <a:pt x="1967" y="1914"/>
                </a:lnTo>
                <a:lnTo>
                  <a:pt x="1969" y="1911"/>
                </a:lnTo>
                <a:lnTo>
                  <a:pt x="1969" y="1908"/>
                </a:lnTo>
                <a:lnTo>
                  <a:pt x="1970" y="1908"/>
                </a:lnTo>
                <a:lnTo>
                  <a:pt x="1970" y="1907"/>
                </a:lnTo>
                <a:lnTo>
                  <a:pt x="1970" y="1905"/>
                </a:lnTo>
                <a:lnTo>
                  <a:pt x="1969" y="1900"/>
                </a:lnTo>
                <a:lnTo>
                  <a:pt x="1969" y="1897"/>
                </a:lnTo>
                <a:lnTo>
                  <a:pt x="1969" y="1896"/>
                </a:lnTo>
                <a:lnTo>
                  <a:pt x="1970" y="1894"/>
                </a:lnTo>
                <a:lnTo>
                  <a:pt x="1972" y="1893"/>
                </a:lnTo>
                <a:lnTo>
                  <a:pt x="1970" y="1891"/>
                </a:lnTo>
                <a:lnTo>
                  <a:pt x="1973" y="1893"/>
                </a:lnTo>
                <a:lnTo>
                  <a:pt x="1973" y="1894"/>
                </a:lnTo>
                <a:lnTo>
                  <a:pt x="1970" y="1899"/>
                </a:lnTo>
                <a:lnTo>
                  <a:pt x="1973" y="1902"/>
                </a:lnTo>
                <a:lnTo>
                  <a:pt x="1975" y="1907"/>
                </a:lnTo>
                <a:lnTo>
                  <a:pt x="1975" y="1910"/>
                </a:lnTo>
                <a:lnTo>
                  <a:pt x="1972" y="1913"/>
                </a:lnTo>
                <a:lnTo>
                  <a:pt x="1972" y="1916"/>
                </a:lnTo>
                <a:lnTo>
                  <a:pt x="1972" y="1919"/>
                </a:lnTo>
                <a:lnTo>
                  <a:pt x="1975" y="1927"/>
                </a:lnTo>
                <a:lnTo>
                  <a:pt x="1973" y="1927"/>
                </a:lnTo>
                <a:lnTo>
                  <a:pt x="1973" y="1928"/>
                </a:lnTo>
                <a:lnTo>
                  <a:pt x="1973" y="1930"/>
                </a:lnTo>
                <a:lnTo>
                  <a:pt x="1973" y="1931"/>
                </a:lnTo>
                <a:lnTo>
                  <a:pt x="1973" y="1933"/>
                </a:lnTo>
                <a:lnTo>
                  <a:pt x="1972" y="1934"/>
                </a:lnTo>
                <a:lnTo>
                  <a:pt x="1970" y="1936"/>
                </a:lnTo>
                <a:lnTo>
                  <a:pt x="1970" y="1939"/>
                </a:lnTo>
                <a:lnTo>
                  <a:pt x="1970" y="1940"/>
                </a:lnTo>
                <a:lnTo>
                  <a:pt x="1972" y="1942"/>
                </a:lnTo>
                <a:lnTo>
                  <a:pt x="1975" y="1940"/>
                </a:lnTo>
                <a:lnTo>
                  <a:pt x="1975" y="1939"/>
                </a:lnTo>
                <a:lnTo>
                  <a:pt x="1975" y="1937"/>
                </a:lnTo>
                <a:lnTo>
                  <a:pt x="1975" y="1936"/>
                </a:lnTo>
                <a:lnTo>
                  <a:pt x="1975" y="1937"/>
                </a:lnTo>
                <a:lnTo>
                  <a:pt x="1976" y="1939"/>
                </a:lnTo>
                <a:lnTo>
                  <a:pt x="1978" y="1939"/>
                </a:lnTo>
                <a:lnTo>
                  <a:pt x="1979" y="1936"/>
                </a:lnTo>
                <a:lnTo>
                  <a:pt x="1979" y="1930"/>
                </a:lnTo>
                <a:lnTo>
                  <a:pt x="1981" y="1931"/>
                </a:lnTo>
                <a:lnTo>
                  <a:pt x="1981" y="1928"/>
                </a:lnTo>
                <a:lnTo>
                  <a:pt x="1979" y="1921"/>
                </a:lnTo>
                <a:lnTo>
                  <a:pt x="1981" y="1921"/>
                </a:lnTo>
                <a:lnTo>
                  <a:pt x="1982" y="1922"/>
                </a:lnTo>
                <a:lnTo>
                  <a:pt x="1982" y="1921"/>
                </a:lnTo>
                <a:lnTo>
                  <a:pt x="1984" y="1918"/>
                </a:lnTo>
                <a:lnTo>
                  <a:pt x="1984" y="1914"/>
                </a:lnTo>
                <a:lnTo>
                  <a:pt x="1982" y="1911"/>
                </a:lnTo>
                <a:lnTo>
                  <a:pt x="1981" y="1911"/>
                </a:lnTo>
                <a:lnTo>
                  <a:pt x="1979" y="1913"/>
                </a:lnTo>
                <a:lnTo>
                  <a:pt x="1978" y="1913"/>
                </a:lnTo>
                <a:lnTo>
                  <a:pt x="1978" y="1905"/>
                </a:lnTo>
                <a:lnTo>
                  <a:pt x="1978" y="1902"/>
                </a:lnTo>
                <a:lnTo>
                  <a:pt x="1981" y="1893"/>
                </a:lnTo>
                <a:lnTo>
                  <a:pt x="1981" y="1891"/>
                </a:lnTo>
                <a:lnTo>
                  <a:pt x="1981" y="1887"/>
                </a:lnTo>
                <a:lnTo>
                  <a:pt x="1981" y="1884"/>
                </a:lnTo>
                <a:lnTo>
                  <a:pt x="1982" y="1881"/>
                </a:lnTo>
                <a:lnTo>
                  <a:pt x="1984" y="1879"/>
                </a:lnTo>
                <a:lnTo>
                  <a:pt x="1984" y="1877"/>
                </a:lnTo>
                <a:lnTo>
                  <a:pt x="1982" y="1876"/>
                </a:lnTo>
                <a:lnTo>
                  <a:pt x="1982" y="1873"/>
                </a:lnTo>
                <a:lnTo>
                  <a:pt x="1982" y="1871"/>
                </a:lnTo>
                <a:lnTo>
                  <a:pt x="1984" y="1870"/>
                </a:lnTo>
                <a:lnTo>
                  <a:pt x="1984" y="1867"/>
                </a:lnTo>
                <a:lnTo>
                  <a:pt x="1985" y="1865"/>
                </a:lnTo>
                <a:lnTo>
                  <a:pt x="1985" y="1864"/>
                </a:lnTo>
                <a:lnTo>
                  <a:pt x="1985" y="1862"/>
                </a:lnTo>
                <a:lnTo>
                  <a:pt x="1987" y="1861"/>
                </a:lnTo>
                <a:lnTo>
                  <a:pt x="1988" y="1861"/>
                </a:lnTo>
                <a:lnTo>
                  <a:pt x="1988" y="1862"/>
                </a:lnTo>
                <a:lnTo>
                  <a:pt x="1988" y="1865"/>
                </a:lnTo>
                <a:lnTo>
                  <a:pt x="1987" y="1867"/>
                </a:lnTo>
                <a:lnTo>
                  <a:pt x="1984" y="1871"/>
                </a:lnTo>
                <a:lnTo>
                  <a:pt x="1984" y="1873"/>
                </a:lnTo>
                <a:lnTo>
                  <a:pt x="1985" y="1876"/>
                </a:lnTo>
                <a:lnTo>
                  <a:pt x="1985" y="1879"/>
                </a:lnTo>
                <a:lnTo>
                  <a:pt x="1985" y="1881"/>
                </a:lnTo>
                <a:lnTo>
                  <a:pt x="1985" y="1882"/>
                </a:lnTo>
                <a:lnTo>
                  <a:pt x="1985" y="1885"/>
                </a:lnTo>
                <a:lnTo>
                  <a:pt x="1984" y="1887"/>
                </a:lnTo>
                <a:lnTo>
                  <a:pt x="1984" y="1888"/>
                </a:lnTo>
                <a:lnTo>
                  <a:pt x="1984" y="1890"/>
                </a:lnTo>
                <a:lnTo>
                  <a:pt x="1984" y="1891"/>
                </a:lnTo>
                <a:lnTo>
                  <a:pt x="1985" y="1891"/>
                </a:lnTo>
                <a:lnTo>
                  <a:pt x="1987" y="1891"/>
                </a:lnTo>
                <a:lnTo>
                  <a:pt x="1988" y="1893"/>
                </a:lnTo>
                <a:lnTo>
                  <a:pt x="1990" y="1891"/>
                </a:lnTo>
                <a:lnTo>
                  <a:pt x="1990" y="1890"/>
                </a:lnTo>
                <a:lnTo>
                  <a:pt x="1990" y="1888"/>
                </a:lnTo>
                <a:lnTo>
                  <a:pt x="1993" y="1884"/>
                </a:lnTo>
                <a:lnTo>
                  <a:pt x="1993" y="1881"/>
                </a:lnTo>
                <a:lnTo>
                  <a:pt x="1991" y="1879"/>
                </a:lnTo>
                <a:lnTo>
                  <a:pt x="1990" y="1879"/>
                </a:lnTo>
                <a:lnTo>
                  <a:pt x="1990" y="1877"/>
                </a:lnTo>
                <a:lnTo>
                  <a:pt x="1990" y="1874"/>
                </a:lnTo>
                <a:lnTo>
                  <a:pt x="1990" y="1873"/>
                </a:lnTo>
                <a:lnTo>
                  <a:pt x="1991" y="1871"/>
                </a:lnTo>
                <a:lnTo>
                  <a:pt x="1993" y="1870"/>
                </a:lnTo>
                <a:lnTo>
                  <a:pt x="1995" y="1870"/>
                </a:lnTo>
                <a:lnTo>
                  <a:pt x="1996" y="1868"/>
                </a:lnTo>
                <a:lnTo>
                  <a:pt x="1993" y="1873"/>
                </a:lnTo>
                <a:lnTo>
                  <a:pt x="1991" y="1874"/>
                </a:lnTo>
                <a:lnTo>
                  <a:pt x="1991" y="1876"/>
                </a:lnTo>
                <a:lnTo>
                  <a:pt x="1991" y="1877"/>
                </a:lnTo>
                <a:lnTo>
                  <a:pt x="1996" y="1881"/>
                </a:lnTo>
                <a:lnTo>
                  <a:pt x="1996" y="1882"/>
                </a:lnTo>
                <a:lnTo>
                  <a:pt x="1996" y="1885"/>
                </a:lnTo>
                <a:lnTo>
                  <a:pt x="1995" y="1887"/>
                </a:lnTo>
                <a:lnTo>
                  <a:pt x="1993" y="1888"/>
                </a:lnTo>
                <a:lnTo>
                  <a:pt x="1991" y="1891"/>
                </a:lnTo>
                <a:lnTo>
                  <a:pt x="1991" y="1897"/>
                </a:lnTo>
                <a:lnTo>
                  <a:pt x="1990" y="1904"/>
                </a:lnTo>
                <a:lnTo>
                  <a:pt x="1990" y="1905"/>
                </a:lnTo>
                <a:lnTo>
                  <a:pt x="1990" y="1908"/>
                </a:lnTo>
                <a:lnTo>
                  <a:pt x="1988" y="1922"/>
                </a:lnTo>
                <a:lnTo>
                  <a:pt x="1988" y="1924"/>
                </a:lnTo>
                <a:lnTo>
                  <a:pt x="1993" y="1933"/>
                </a:lnTo>
                <a:lnTo>
                  <a:pt x="1991" y="1936"/>
                </a:lnTo>
                <a:lnTo>
                  <a:pt x="1993" y="1937"/>
                </a:lnTo>
                <a:lnTo>
                  <a:pt x="1996" y="1939"/>
                </a:lnTo>
                <a:lnTo>
                  <a:pt x="1999" y="1937"/>
                </a:lnTo>
                <a:lnTo>
                  <a:pt x="1999" y="1934"/>
                </a:lnTo>
                <a:lnTo>
                  <a:pt x="1999" y="1933"/>
                </a:lnTo>
                <a:lnTo>
                  <a:pt x="1998" y="1931"/>
                </a:lnTo>
                <a:lnTo>
                  <a:pt x="1998" y="1930"/>
                </a:lnTo>
                <a:lnTo>
                  <a:pt x="1998" y="1928"/>
                </a:lnTo>
                <a:lnTo>
                  <a:pt x="1998" y="1927"/>
                </a:lnTo>
                <a:lnTo>
                  <a:pt x="1999" y="1927"/>
                </a:lnTo>
                <a:lnTo>
                  <a:pt x="2001" y="1925"/>
                </a:lnTo>
                <a:lnTo>
                  <a:pt x="2001" y="1922"/>
                </a:lnTo>
                <a:lnTo>
                  <a:pt x="2002" y="1924"/>
                </a:lnTo>
                <a:lnTo>
                  <a:pt x="2002" y="1925"/>
                </a:lnTo>
                <a:lnTo>
                  <a:pt x="2002" y="1927"/>
                </a:lnTo>
                <a:lnTo>
                  <a:pt x="2001" y="1927"/>
                </a:lnTo>
                <a:lnTo>
                  <a:pt x="1999" y="1928"/>
                </a:lnTo>
                <a:lnTo>
                  <a:pt x="2001" y="1930"/>
                </a:lnTo>
                <a:lnTo>
                  <a:pt x="2002" y="1931"/>
                </a:lnTo>
                <a:lnTo>
                  <a:pt x="2004" y="1930"/>
                </a:lnTo>
                <a:lnTo>
                  <a:pt x="2006" y="1928"/>
                </a:lnTo>
                <a:lnTo>
                  <a:pt x="2006" y="1927"/>
                </a:lnTo>
                <a:lnTo>
                  <a:pt x="2004" y="1924"/>
                </a:lnTo>
                <a:lnTo>
                  <a:pt x="2004" y="1921"/>
                </a:lnTo>
                <a:lnTo>
                  <a:pt x="2004" y="1919"/>
                </a:lnTo>
                <a:lnTo>
                  <a:pt x="2006" y="1916"/>
                </a:lnTo>
                <a:lnTo>
                  <a:pt x="2006" y="1913"/>
                </a:lnTo>
                <a:lnTo>
                  <a:pt x="2007" y="1913"/>
                </a:lnTo>
                <a:lnTo>
                  <a:pt x="2007" y="1916"/>
                </a:lnTo>
                <a:lnTo>
                  <a:pt x="2009" y="1925"/>
                </a:lnTo>
                <a:lnTo>
                  <a:pt x="2009" y="1927"/>
                </a:lnTo>
                <a:lnTo>
                  <a:pt x="2010" y="1927"/>
                </a:lnTo>
                <a:lnTo>
                  <a:pt x="2013" y="1928"/>
                </a:lnTo>
                <a:lnTo>
                  <a:pt x="2018" y="1931"/>
                </a:lnTo>
                <a:lnTo>
                  <a:pt x="2019" y="1933"/>
                </a:lnTo>
                <a:lnTo>
                  <a:pt x="2021" y="1933"/>
                </a:lnTo>
                <a:lnTo>
                  <a:pt x="2021" y="1931"/>
                </a:lnTo>
                <a:lnTo>
                  <a:pt x="2022" y="1930"/>
                </a:lnTo>
                <a:lnTo>
                  <a:pt x="2024" y="1931"/>
                </a:lnTo>
                <a:lnTo>
                  <a:pt x="2025" y="1933"/>
                </a:lnTo>
                <a:lnTo>
                  <a:pt x="2027" y="1931"/>
                </a:lnTo>
                <a:lnTo>
                  <a:pt x="2028" y="1930"/>
                </a:lnTo>
                <a:lnTo>
                  <a:pt x="2027" y="1924"/>
                </a:lnTo>
                <a:lnTo>
                  <a:pt x="2025" y="1921"/>
                </a:lnTo>
                <a:lnTo>
                  <a:pt x="2024" y="1918"/>
                </a:lnTo>
                <a:lnTo>
                  <a:pt x="2022" y="1913"/>
                </a:lnTo>
                <a:lnTo>
                  <a:pt x="2021" y="1902"/>
                </a:lnTo>
                <a:lnTo>
                  <a:pt x="2019" y="1899"/>
                </a:lnTo>
                <a:lnTo>
                  <a:pt x="2016" y="1896"/>
                </a:lnTo>
                <a:lnTo>
                  <a:pt x="2015" y="1896"/>
                </a:lnTo>
                <a:lnTo>
                  <a:pt x="2013" y="1894"/>
                </a:lnTo>
                <a:lnTo>
                  <a:pt x="2012" y="1894"/>
                </a:lnTo>
                <a:lnTo>
                  <a:pt x="2010" y="1891"/>
                </a:lnTo>
                <a:lnTo>
                  <a:pt x="2010" y="1888"/>
                </a:lnTo>
                <a:lnTo>
                  <a:pt x="2012" y="1887"/>
                </a:lnTo>
                <a:lnTo>
                  <a:pt x="2013" y="1887"/>
                </a:lnTo>
                <a:lnTo>
                  <a:pt x="2013" y="1888"/>
                </a:lnTo>
                <a:lnTo>
                  <a:pt x="2013" y="1891"/>
                </a:lnTo>
                <a:lnTo>
                  <a:pt x="2015" y="1893"/>
                </a:lnTo>
                <a:lnTo>
                  <a:pt x="2016" y="1893"/>
                </a:lnTo>
                <a:lnTo>
                  <a:pt x="2019" y="1896"/>
                </a:lnTo>
                <a:lnTo>
                  <a:pt x="2021" y="1896"/>
                </a:lnTo>
                <a:lnTo>
                  <a:pt x="2021" y="1894"/>
                </a:lnTo>
                <a:lnTo>
                  <a:pt x="2021" y="1893"/>
                </a:lnTo>
                <a:lnTo>
                  <a:pt x="2022" y="1893"/>
                </a:lnTo>
                <a:lnTo>
                  <a:pt x="2022" y="1894"/>
                </a:lnTo>
                <a:lnTo>
                  <a:pt x="2025" y="1893"/>
                </a:lnTo>
                <a:lnTo>
                  <a:pt x="2025" y="1888"/>
                </a:lnTo>
                <a:lnTo>
                  <a:pt x="2025" y="1881"/>
                </a:lnTo>
                <a:lnTo>
                  <a:pt x="2024" y="1879"/>
                </a:lnTo>
                <a:lnTo>
                  <a:pt x="2024" y="1876"/>
                </a:lnTo>
                <a:lnTo>
                  <a:pt x="2022" y="1874"/>
                </a:lnTo>
                <a:lnTo>
                  <a:pt x="2024" y="1873"/>
                </a:lnTo>
                <a:lnTo>
                  <a:pt x="2024" y="1871"/>
                </a:lnTo>
                <a:lnTo>
                  <a:pt x="2024" y="1870"/>
                </a:lnTo>
                <a:lnTo>
                  <a:pt x="2024" y="1868"/>
                </a:lnTo>
                <a:lnTo>
                  <a:pt x="2025" y="1868"/>
                </a:lnTo>
                <a:lnTo>
                  <a:pt x="2025" y="1870"/>
                </a:lnTo>
                <a:lnTo>
                  <a:pt x="2025" y="1868"/>
                </a:lnTo>
                <a:lnTo>
                  <a:pt x="2027" y="1867"/>
                </a:lnTo>
                <a:lnTo>
                  <a:pt x="2027" y="1864"/>
                </a:lnTo>
                <a:lnTo>
                  <a:pt x="2027" y="1861"/>
                </a:lnTo>
                <a:lnTo>
                  <a:pt x="2025" y="1859"/>
                </a:lnTo>
                <a:lnTo>
                  <a:pt x="2021" y="1853"/>
                </a:lnTo>
                <a:lnTo>
                  <a:pt x="2021" y="1850"/>
                </a:lnTo>
                <a:lnTo>
                  <a:pt x="2022" y="1850"/>
                </a:lnTo>
                <a:lnTo>
                  <a:pt x="2021" y="1845"/>
                </a:lnTo>
                <a:lnTo>
                  <a:pt x="2019" y="1844"/>
                </a:lnTo>
                <a:lnTo>
                  <a:pt x="2018" y="1837"/>
                </a:lnTo>
                <a:lnTo>
                  <a:pt x="2018" y="1836"/>
                </a:lnTo>
                <a:lnTo>
                  <a:pt x="2019" y="1836"/>
                </a:lnTo>
                <a:lnTo>
                  <a:pt x="2019" y="1834"/>
                </a:lnTo>
                <a:lnTo>
                  <a:pt x="2019" y="1833"/>
                </a:lnTo>
                <a:lnTo>
                  <a:pt x="2019" y="1830"/>
                </a:lnTo>
                <a:lnTo>
                  <a:pt x="2018" y="1825"/>
                </a:lnTo>
                <a:lnTo>
                  <a:pt x="2016" y="1821"/>
                </a:lnTo>
                <a:lnTo>
                  <a:pt x="2016" y="1819"/>
                </a:lnTo>
                <a:lnTo>
                  <a:pt x="2013" y="1819"/>
                </a:lnTo>
                <a:lnTo>
                  <a:pt x="2015" y="1816"/>
                </a:lnTo>
                <a:lnTo>
                  <a:pt x="2015" y="1814"/>
                </a:lnTo>
                <a:lnTo>
                  <a:pt x="2015" y="1811"/>
                </a:lnTo>
                <a:lnTo>
                  <a:pt x="2013" y="1808"/>
                </a:lnTo>
                <a:lnTo>
                  <a:pt x="2013" y="1805"/>
                </a:lnTo>
                <a:lnTo>
                  <a:pt x="2012" y="1802"/>
                </a:lnTo>
                <a:lnTo>
                  <a:pt x="2012" y="1800"/>
                </a:lnTo>
                <a:lnTo>
                  <a:pt x="2010" y="1797"/>
                </a:lnTo>
                <a:lnTo>
                  <a:pt x="2010" y="1794"/>
                </a:lnTo>
                <a:lnTo>
                  <a:pt x="2012" y="1793"/>
                </a:lnTo>
                <a:lnTo>
                  <a:pt x="2012" y="1791"/>
                </a:lnTo>
                <a:lnTo>
                  <a:pt x="2013" y="1790"/>
                </a:lnTo>
                <a:lnTo>
                  <a:pt x="2013" y="1788"/>
                </a:lnTo>
                <a:lnTo>
                  <a:pt x="2015" y="1785"/>
                </a:lnTo>
                <a:lnTo>
                  <a:pt x="2015" y="1784"/>
                </a:lnTo>
                <a:lnTo>
                  <a:pt x="2015" y="1782"/>
                </a:lnTo>
                <a:lnTo>
                  <a:pt x="2013" y="1781"/>
                </a:lnTo>
                <a:lnTo>
                  <a:pt x="2010" y="1779"/>
                </a:lnTo>
                <a:lnTo>
                  <a:pt x="2009" y="1777"/>
                </a:lnTo>
                <a:lnTo>
                  <a:pt x="2007" y="1773"/>
                </a:lnTo>
                <a:lnTo>
                  <a:pt x="2006" y="1770"/>
                </a:lnTo>
                <a:lnTo>
                  <a:pt x="2004" y="1768"/>
                </a:lnTo>
                <a:lnTo>
                  <a:pt x="2004" y="1767"/>
                </a:lnTo>
                <a:lnTo>
                  <a:pt x="2004" y="1763"/>
                </a:lnTo>
                <a:lnTo>
                  <a:pt x="2006" y="1760"/>
                </a:lnTo>
                <a:lnTo>
                  <a:pt x="2006" y="1754"/>
                </a:lnTo>
                <a:lnTo>
                  <a:pt x="2007" y="1751"/>
                </a:lnTo>
                <a:lnTo>
                  <a:pt x="2012" y="1745"/>
                </a:lnTo>
                <a:lnTo>
                  <a:pt x="2015" y="1742"/>
                </a:lnTo>
                <a:lnTo>
                  <a:pt x="2015" y="1740"/>
                </a:lnTo>
                <a:lnTo>
                  <a:pt x="2016" y="1740"/>
                </a:lnTo>
                <a:lnTo>
                  <a:pt x="2016" y="1739"/>
                </a:lnTo>
                <a:lnTo>
                  <a:pt x="2015" y="1737"/>
                </a:lnTo>
                <a:lnTo>
                  <a:pt x="2012" y="1739"/>
                </a:lnTo>
                <a:lnTo>
                  <a:pt x="2012" y="1737"/>
                </a:lnTo>
                <a:lnTo>
                  <a:pt x="2010" y="1737"/>
                </a:lnTo>
                <a:lnTo>
                  <a:pt x="2004" y="1734"/>
                </a:lnTo>
                <a:lnTo>
                  <a:pt x="2002" y="1734"/>
                </a:lnTo>
                <a:lnTo>
                  <a:pt x="2001" y="1734"/>
                </a:lnTo>
                <a:lnTo>
                  <a:pt x="2001" y="1736"/>
                </a:lnTo>
                <a:lnTo>
                  <a:pt x="1999" y="1736"/>
                </a:lnTo>
                <a:lnTo>
                  <a:pt x="1998" y="1736"/>
                </a:lnTo>
                <a:lnTo>
                  <a:pt x="1991" y="1734"/>
                </a:lnTo>
                <a:lnTo>
                  <a:pt x="1990" y="1733"/>
                </a:lnTo>
                <a:lnTo>
                  <a:pt x="1988" y="1730"/>
                </a:lnTo>
                <a:lnTo>
                  <a:pt x="1988" y="1728"/>
                </a:lnTo>
                <a:lnTo>
                  <a:pt x="1990" y="1725"/>
                </a:lnTo>
                <a:lnTo>
                  <a:pt x="1991" y="1720"/>
                </a:lnTo>
                <a:lnTo>
                  <a:pt x="1996" y="1707"/>
                </a:lnTo>
                <a:lnTo>
                  <a:pt x="1998" y="1703"/>
                </a:lnTo>
                <a:lnTo>
                  <a:pt x="1996" y="1702"/>
                </a:lnTo>
                <a:lnTo>
                  <a:pt x="1995" y="1703"/>
                </a:lnTo>
                <a:lnTo>
                  <a:pt x="1993" y="1707"/>
                </a:lnTo>
                <a:lnTo>
                  <a:pt x="1991" y="1707"/>
                </a:lnTo>
                <a:lnTo>
                  <a:pt x="1991" y="1703"/>
                </a:lnTo>
                <a:lnTo>
                  <a:pt x="1990" y="1702"/>
                </a:lnTo>
                <a:lnTo>
                  <a:pt x="1987" y="1700"/>
                </a:lnTo>
                <a:lnTo>
                  <a:pt x="1985" y="1699"/>
                </a:lnTo>
                <a:lnTo>
                  <a:pt x="1982" y="1693"/>
                </a:lnTo>
                <a:lnTo>
                  <a:pt x="1982" y="1691"/>
                </a:lnTo>
                <a:lnTo>
                  <a:pt x="1981" y="1691"/>
                </a:lnTo>
                <a:lnTo>
                  <a:pt x="1979" y="1691"/>
                </a:lnTo>
                <a:lnTo>
                  <a:pt x="1978" y="1691"/>
                </a:lnTo>
                <a:lnTo>
                  <a:pt x="1978" y="1689"/>
                </a:lnTo>
                <a:lnTo>
                  <a:pt x="1978" y="1688"/>
                </a:lnTo>
                <a:lnTo>
                  <a:pt x="1978" y="1686"/>
                </a:lnTo>
                <a:lnTo>
                  <a:pt x="1976" y="1686"/>
                </a:lnTo>
                <a:lnTo>
                  <a:pt x="1975" y="1685"/>
                </a:lnTo>
                <a:lnTo>
                  <a:pt x="1975" y="1683"/>
                </a:lnTo>
                <a:lnTo>
                  <a:pt x="1978" y="1673"/>
                </a:lnTo>
                <a:lnTo>
                  <a:pt x="1976" y="1673"/>
                </a:lnTo>
                <a:lnTo>
                  <a:pt x="1976" y="1670"/>
                </a:lnTo>
                <a:lnTo>
                  <a:pt x="1976" y="1668"/>
                </a:lnTo>
                <a:lnTo>
                  <a:pt x="1978" y="1665"/>
                </a:lnTo>
                <a:lnTo>
                  <a:pt x="1979" y="1663"/>
                </a:lnTo>
                <a:lnTo>
                  <a:pt x="1979" y="1662"/>
                </a:lnTo>
                <a:lnTo>
                  <a:pt x="1978" y="1662"/>
                </a:lnTo>
                <a:lnTo>
                  <a:pt x="1978" y="1660"/>
                </a:lnTo>
                <a:lnTo>
                  <a:pt x="1979" y="1659"/>
                </a:lnTo>
                <a:lnTo>
                  <a:pt x="1981" y="1657"/>
                </a:lnTo>
                <a:lnTo>
                  <a:pt x="1982" y="1657"/>
                </a:lnTo>
                <a:lnTo>
                  <a:pt x="1984" y="1657"/>
                </a:lnTo>
                <a:lnTo>
                  <a:pt x="1985" y="1657"/>
                </a:lnTo>
                <a:lnTo>
                  <a:pt x="1987" y="1656"/>
                </a:lnTo>
                <a:lnTo>
                  <a:pt x="1991" y="1652"/>
                </a:lnTo>
                <a:lnTo>
                  <a:pt x="1991" y="1651"/>
                </a:lnTo>
                <a:lnTo>
                  <a:pt x="1991" y="1648"/>
                </a:lnTo>
                <a:lnTo>
                  <a:pt x="1991" y="1646"/>
                </a:lnTo>
                <a:lnTo>
                  <a:pt x="1991" y="1643"/>
                </a:lnTo>
                <a:lnTo>
                  <a:pt x="1990" y="1642"/>
                </a:lnTo>
                <a:lnTo>
                  <a:pt x="1991" y="1640"/>
                </a:lnTo>
                <a:lnTo>
                  <a:pt x="1993" y="1637"/>
                </a:lnTo>
                <a:lnTo>
                  <a:pt x="1990" y="1636"/>
                </a:lnTo>
                <a:lnTo>
                  <a:pt x="1990" y="1634"/>
                </a:lnTo>
                <a:lnTo>
                  <a:pt x="1988" y="1633"/>
                </a:lnTo>
                <a:lnTo>
                  <a:pt x="1988" y="1631"/>
                </a:lnTo>
                <a:lnTo>
                  <a:pt x="1988" y="1630"/>
                </a:lnTo>
                <a:lnTo>
                  <a:pt x="1988" y="1628"/>
                </a:lnTo>
                <a:lnTo>
                  <a:pt x="1988" y="1626"/>
                </a:lnTo>
                <a:lnTo>
                  <a:pt x="1988" y="1623"/>
                </a:lnTo>
                <a:lnTo>
                  <a:pt x="1988" y="1622"/>
                </a:lnTo>
                <a:lnTo>
                  <a:pt x="1990" y="1620"/>
                </a:lnTo>
                <a:lnTo>
                  <a:pt x="1991" y="1619"/>
                </a:lnTo>
                <a:lnTo>
                  <a:pt x="1993" y="1619"/>
                </a:lnTo>
                <a:lnTo>
                  <a:pt x="1993" y="1617"/>
                </a:lnTo>
                <a:lnTo>
                  <a:pt x="1995" y="1615"/>
                </a:lnTo>
                <a:lnTo>
                  <a:pt x="1995" y="1614"/>
                </a:lnTo>
                <a:lnTo>
                  <a:pt x="1995" y="1611"/>
                </a:lnTo>
                <a:lnTo>
                  <a:pt x="1995" y="1606"/>
                </a:lnTo>
                <a:lnTo>
                  <a:pt x="1991" y="1603"/>
                </a:lnTo>
                <a:lnTo>
                  <a:pt x="1988" y="1600"/>
                </a:lnTo>
                <a:lnTo>
                  <a:pt x="1987" y="1600"/>
                </a:lnTo>
                <a:lnTo>
                  <a:pt x="1985" y="1603"/>
                </a:lnTo>
                <a:lnTo>
                  <a:pt x="1984" y="1605"/>
                </a:lnTo>
                <a:lnTo>
                  <a:pt x="1982" y="1605"/>
                </a:lnTo>
                <a:lnTo>
                  <a:pt x="1978" y="1603"/>
                </a:lnTo>
                <a:lnTo>
                  <a:pt x="1972" y="1603"/>
                </a:lnTo>
                <a:lnTo>
                  <a:pt x="1969" y="1603"/>
                </a:lnTo>
                <a:lnTo>
                  <a:pt x="1961" y="1596"/>
                </a:lnTo>
                <a:lnTo>
                  <a:pt x="1936" y="1580"/>
                </a:lnTo>
                <a:lnTo>
                  <a:pt x="1933" y="1580"/>
                </a:lnTo>
                <a:lnTo>
                  <a:pt x="1933" y="1579"/>
                </a:lnTo>
                <a:lnTo>
                  <a:pt x="1932" y="1577"/>
                </a:lnTo>
                <a:lnTo>
                  <a:pt x="1932" y="1576"/>
                </a:lnTo>
                <a:lnTo>
                  <a:pt x="1932" y="1569"/>
                </a:lnTo>
                <a:lnTo>
                  <a:pt x="1930" y="1568"/>
                </a:lnTo>
                <a:lnTo>
                  <a:pt x="1928" y="1566"/>
                </a:lnTo>
                <a:lnTo>
                  <a:pt x="1928" y="1563"/>
                </a:lnTo>
                <a:lnTo>
                  <a:pt x="1927" y="1563"/>
                </a:lnTo>
                <a:lnTo>
                  <a:pt x="1925" y="1562"/>
                </a:lnTo>
                <a:lnTo>
                  <a:pt x="1925" y="1559"/>
                </a:lnTo>
                <a:lnTo>
                  <a:pt x="1925" y="1557"/>
                </a:lnTo>
                <a:lnTo>
                  <a:pt x="1927" y="1554"/>
                </a:lnTo>
                <a:lnTo>
                  <a:pt x="1928" y="1549"/>
                </a:lnTo>
                <a:lnTo>
                  <a:pt x="1928" y="1548"/>
                </a:lnTo>
                <a:lnTo>
                  <a:pt x="1930" y="1548"/>
                </a:lnTo>
                <a:lnTo>
                  <a:pt x="1932" y="1548"/>
                </a:lnTo>
                <a:lnTo>
                  <a:pt x="1932" y="1545"/>
                </a:lnTo>
                <a:lnTo>
                  <a:pt x="1932" y="1543"/>
                </a:lnTo>
                <a:lnTo>
                  <a:pt x="1933" y="1543"/>
                </a:lnTo>
                <a:lnTo>
                  <a:pt x="1935" y="1542"/>
                </a:lnTo>
                <a:lnTo>
                  <a:pt x="1935" y="1540"/>
                </a:lnTo>
                <a:lnTo>
                  <a:pt x="1936" y="1539"/>
                </a:lnTo>
                <a:lnTo>
                  <a:pt x="1936" y="1536"/>
                </a:lnTo>
                <a:lnTo>
                  <a:pt x="1935" y="1531"/>
                </a:lnTo>
                <a:lnTo>
                  <a:pt x="1933" y="1530"/>
                </a:lnTo>
                <a:lnTo>
                  <a:pt x="1939" y="1526"/>
                </a:lnTo>
                <a:lnTo>
                  <a:pt x="1941" y="1525"/>
                </a:lnTo>
                <a:lnTo>
                  <a:pt x="1942" y="1526"/>
                </a:lnTo>
                <a:lnTo>
                  <a:pt x="1944" y="1526"/>
                </a:lnTo>
                <a:lnTo>
                  <a:pt x="1945" y="1530"/>
                </a:lnTo>
                <a:lnTo>
                  <a:pt x="1945" y="1531"/>
                </a:lnTo>
                <a:lnTo>
                  <a:pt x="1945" y="1534"/>
                </a:lnTo>
                <a:lnTo>
                  <a:pt x="1947" y="1534"/>
                </a:lnTo>
                <a:lnTo>
                  <a:pt x="1951" y="1536"/>
                </a:lnTo>
                <a:lnTo>
                  <a:pt x="1953" y="1536"/>
                </a:lnTo>
                <a:lnTo>
                  <a:pt x="1955" y="1534"/>
                </a:lnTo>
                <a:lnTo>
                  <a:pt x="1956" y="1531"/>
                </a:lnTo>
                <a:lnTo>
                  <a:pt x="1959" y="1526"/>
                </a:lnTo>
                <a:lnTo>
                  <a:pt x="1961" y="1523"/>
                </a:lnTo>
                <a:lnTo>
                  <a:pt x="1961" y="1520"/>
                </a:lnTo>
                <a:lnTo>
                  <a:pt x="1962" y="1517"/>
                </a:lnTo>
                <a:lnTo>
                  <a:pt x="1964" y="1512"/>
                </a:lnTo>
                <a:lnTo>
                  <a:pt x="1965" y="1505"/>
                </a:lnTo>
                <a:lnTo>
                  <a:pt x="1964" y="1497"/>
                </a:lnTo>
                <a:lnTo>
                  <a:pt x="1965" y="1496"/>
                </a:lnTo>
                <a:lnTo>
                  <a:pt x="1969" y="1496"/>
                </a:lnTo>
                <a:lnTo>
                  <a:pt x="1970" y="1496"/>
                </a:lnTo>
                <a:lnTo>
                  <a:pt x="1973" y="1497"/>
                </a:lnTo>
                <a:lnTo>
                  <a:pt x="1976" y="1497"/>
                </a:lnTo>
                <a:lnTo>
                  <a:pt x="1976" y="1499"/>
                </a:lnTo>
                <a:lnTo>
                  <a:pt x="1978" y="1497"/>
                </a:lnTo>
                <a:lnTo>
                  <a:pt x="1979" y="1497"/>
                </a:lnTo>
                <a:lnTo>
                  <a:pt x="1979" y="1496"/>
                </a:lnTo>
                <a:lnTo>
                  <a:pt x="1981" y="1496"/>
                </a:lnTo>
                <a:lnTo>
                  <a:pt x="1984" y="1496"/>
                </a:lnTo>
                <a:lnTo>
                  <a:pt x="1987" y="1496"/>
                </a:lnTo>
                <a:lnTo>
                  <a:pt x="1993" y="1499"/>
                </a:lnTo>
                <a:lnTo>
                  <a:pt x="1999" y="1499"/>
                </a:lnTo>
                <a:lnTo>
                  <a:pt x="2001" y="1496"/>
                </a:lnTo>
                <a:lnTo>
                  <a:pt x="2002" y="1496"/>
                </a:lnTo>
                <a:lnTo>
                  <a:pt x="2010" y="1499"/>
                </a:lnTo>
                <a:lnTo>
                  <a:pt x="2012" y="1499"/>
                </a:lnTo>
                <a:lnTo>
                  <a:pt x="2010" y="1496"/>
                </a:lnTo>
                <a:lnTo>
                  <a:pt x="2013" y="1496"/>
                </a:lnTo>
                <a:lnTo>
                  <a:pt x="2013" y="1494"/>
                </a:lnTo>
                <a:lnTo>
                  <a:pt x="2013" y="1493"/>
                </a:lnTo>
                <a:lnTo>
                  <a:pt x="2013" y="1491"/>
                </a:lnTo>
                <a:lnTo>
                  <a:pt x="2013" y="1489"/>
                </a:lnTo>
                <a:lnTo>
                  <a:pt x="2018" y="1486"/>
                </a:lnTo>
                <a:lnTo>
                  <a:pt x="2018" y="1485"/>
                </a:lnTo>
                <a:lnTo>
                  <a:pt x="2018" y="1483"/>
                </a:lnTo>
                <a:lnTo>
                  <a:pt x="2018" y="1482"/>
                </a:lnTo>
                <a:lnTo>
                  <a:pt x="2012" y="1482"/>
                </a:lnTo>
                <a:lnTo>
                  <a:pt x="2010" y="1482"/>
                </a:lnTo>
                <a:lnTo>
                  <a:pt x="2009" y="1480"/>
                </a:lnTo>
                <a:lnTo>
                  <a:pt x="2006" y="1478"/>
                </a:lnTo>
                <a:lnTo>
                  <a:pt x="2004" y="1478"/>
                </a:lnTo>
                <a:lnTo>
                  <a:pt x="2002" y="1475"/>
                </a:lnTo>
                <a:lnTo>
                  <a:pt x="2001" y="1474"/>
                </a:lnTo>
                <a:lnTo>
                  <a:pt x="2001" y="1472"/>
                </a:lnTo>
                <a:lnTo>
                  <a:pt x="2001" y="1471"/>
                </a:lnTo>
                <a:lnTo>
                  <a:pt x="1999" y="1471"/>
                </a:lnTo>
                <a:lnTo>
                  <a:pt x="1999" y="1469"/>
                </a:lnTo>
                <a:lnTo>
                  <a:pt x="2002" y="1465"/>
                </a:lnTo>
                <a:lnTo>
                  <a:pt x="2001" y="1463"/>
                </a:lnTo>
                <a:lnTo>
                  <a:pt x="2001" y="1462"/>
                </a:lnTo>
                <a:lnTo>
                  <a:pt x="1999" y="1460"/>
                </a:lnTo>
                <a:lnTo>
                  <a:pt x="1998" y="1459"/>
                </a:lnTo>
                <a:lnTo>
                  <a:pt x="1998" y="1457"/>
                </a:lnTo>
                <a:lnTo>
                  <a:pt x="1995" y="1456"/>
                </a:lnTo>
                <a:lnTo>
                  <a:pt x="1995" y="1459"/>
                </a:lnTo>
                <a:lnTo>
                  <a:pt x="1993" y="1459"/>
                </a:lnTo>
                <a:lnTo>
                  <a:pt x="1991" y="1459"/>
                </a:lnTo>
                <a:lnTo>
                  <a:pt x="1990" y="1460"/>
                </a:lnTo>
                <a:lnTo>
                  <a:pt x="1988" y="1462"/>
                </a:lnTo>
                <a:lnTo>
                  <a:pt x="1987" y="1462"/>
                </a:lnTo>
                <a:lnTo>
                  <a:pt x="1985" y="1462"/>
                </a:lnTo>
                <a:lnTo>
                  <a:pt x="1982" y="1460"/>
                </a:lnTo>
                <a:lnTo>
                  <a:pt x="1981" y="1459"/>
                </a:lnTo>
                <a:lnTo>
                  <a:pt x="1976" y="1459"/>
                </a:lnTo>
                <a:lnTo>
                  <a:pt x="1975" y="1457"/>
                </a:lnTo>
                <a:lnTo>
                  <a:pt x="1973" y="1457"/>
                </a:lnTo>
                <a:lnTo>
                  <a:pt x="1972" y="1456"/>
                </a:lnTo>
                <a:lnTo>
                  <a:pt x="1970" y="1452"/>
                </a:lnTo>
                <a:lnTo>
                  <a:pt x="1969" y="1449"/>
                </a:lnTo>
                <a:lnTo>
                  <a:pt x="1965" y="1448"/>
                </a:lnTo>
                <a:lnTo>
                  <a:pt x="1964" y="1446"/>
                </a:lnTo>
                <a:lnTo>
                  <a:pt x="1964" y="1438"/>
                </a:lnTo>
                <a:lnTo>
                  <a:pt x="1961" y="1435"/>
                </a:lnTo>
                <a:lnTo>
                  <a:pt x="1953" y="1429"/>
                </a:lnTo>
                <a:lnTo>
                  <a:pt x="1948" y="1422"/>
                </a:lnTo>
                <a:lnTo>
                  <a:pt x="1945" y="1420"/>
                </a:lnTo>
                <a:lnTo>
                  <a:pt x="1941" y="1422"/>
                </a:lnTo>
                <a:lnTo>
                  <a:pt x="1939" y="1423"/>
                </a:lnTo>
                <a:lnTo>
                  <a:pt x="1936" y="1423"/>
                </a:lnTo>
                <a:lnTo>
                  <a:pt x="1935" y="1423"/>
                </a:lnTo>
                <a:lnTo>
                  <a:pt x="1933" y="1423"/>
                </a:lnTo>
                <a:lnTo>
                  <a:pt x="1933" y="1420"/>
                </a:lnTo>
                <a:lnTo>
                  <a:pt x="1933" y="1419"/>
                </a:lnTo>
                <a:lnTo>
                  <a:pt x="1932" y="1417"/>
                </a:lnTo>
                <a:lnTo>
                  <a:pt x="1932" y="1415"/>
                </a:lnTo>
                <a:lnTo>
                  <a:pt x="1930" y="1412"/>
                </a:lnTo>
                <a:lnTo>
                  <a:pt x="1930" y="1408"/>
                </a:lnTo>
                <a:lnTo>
                  <a:pt x="1930" y="1406"/>
                </a:lnTo>
                <a:lnTo>
                  <a:pt x="1932" y="1406"/>
                </a:lnTo>
                <a:lnTo>
                  <a:pt x="1933" y="1398"/>
                </a:lnTo>
                <a:lnTo>
                  <a:pt x="1935" y="1394"/>
                </a:lnTo>
                <a:lnTo>
                  <a:pt x="1938" y="1392"/>
                </a:lnTo>
                <a:lnTo>
                  <a:pt x="1938" y="1389"/>
                </a:lnTo>
                <a:lnTo>
                  <a:pt x="1938" y="1388"/>
                </a:lnTo>
                <a:lnTo>
                  <a:pt x="1936" y="1388"/>
                </a:lnTo>
                <a:lnTo>
                  <a:pt x="1936" y="1386"/>
                </a:lnTo>
                <a:lnTo>
                  <a:pt x="1936" y="1385"/>
                </a:lnTo>
                <a:lnTo>
                  <a:pt x="1938" y="1380"/>
                </a:lnTo>
                <a:lnTo>
                  <a:pt x="1939" y="1378"/>
                </a:lnTo>
                <a:lnTo>
                  <a:pt x="1942" y="1377"/>
                </a:lnTo>
                <a:lnTo>
                  <a:pt x="1942" y="1375"/>
                </a:lnTo>
                <a:lnTo>
                  <a:pt x="1944" y="1375"/>
                </a:lnTo>
                <a:lnTo>
                  <a:pt x="1944" y="1374"/>
                </a:lnTo>
                <a:lnTo>
                  <a:pt x="1945" y="1374"/>
                </a:lnTo>
                <a:lnTo>
                  <a:pt x="1947" y="1372"/>
                </a:lnTo>
                <a:lnTo>
                  <a:pt x="1953" y="1371"/>
                </a:lnTo>
                <a:lnTo>
                  <a:pt x="1955" y="1369"/>
                </a:lnTo>
                <a:lnTo>
                  <a:pt x="1955" y="1368"/>
                </a:lnTo>
                <a:lnTo>
                  <a:pt x="1955" y="1363"/>
                </a:lnTo>
                <a:lnTo>
                  <a:pt x="1955" y="1361"/>
                </a:lnTo>
                <a:lnTo>
                  <a:pt x="1956" y="1358"/>
                </a:lnTo>
                <a:lnTo>
                  <a:pt x="1958" y="1357"/>
                </a:lnTo>
                <a:lnTo>
                  <a:pt x="1962" y="1354"/>
                </a:lnTo>
                <a:lnTo>
                  <a:pt x="1964" y="1354"/>
                </a:lnTo>
                <a:lnTo>
                  <a:pt x="1964" y="1352"/>
                </a:lnTo>
                <a:lnTo>
                  <a:pt x="1965" y="1352"/>
                </a:lnTo>
                <a:lnTo>
                  <a:pt x="1967" y="1352"/>
                </a:lnTo>
                <a:lnTo>
                  <a:pt x="1969" y="1352"/>
                </a:lnTo>
                <a:lnTo>
                  <a:pt x="1972" y="1352"/>
                </a:lnTo>
                <a:lnTo>
                  <a:pt x="1970" y="1349"/>
                </a:lnTo>
                <a:lnTo>
                  <a:pt x="1969" y="1343"/>
                </a:lnTo>
                <a:lnTo>
                  <a:pt x="1967" y="1340"/>
                </a:lnTo>
                <a:lnTo>
                  <a:pt x="1965" y="1338"/>
                </a:lnTo>
                <a:lnTo>
                  <a:pt x="1959" y="1337"/>
                </a:lnTo>
                <a:lnTo>
                  <a:pt x="1956" y="1337"/>
                </a:lnTo>
                <a:lnTo>
                  <a:pt x="1956" y="1340"/>
                </a:lnTo>
                <a:lnTo>
                  <a:pt x="1955" y="1342"/>
                </a:lnTo>
                <a:lnTo>
                  <a:pt x="1955" y="1340"/>
                </a:lnTo>
                <a:lnTo>
                  <a:pt x="1953" y="1338"/>
                </a:lnTo>
                <a:lnTo>
                  <a:pt x="1953" y="1337"/>
                </a:lnTo>
                <a:lnTo>
                  <a:pt x="1953" y="1335"/>
                </a:lnTo>
                <a:lnTo>
                  <a:pt x="1955" y="1332"/>
                </a:lnTo>
                <a:lnTo>
                  <a:pt x="1956" y="1324"/>
                </a:lnTo>
                <a:lnTo>
                  <a:pt x="1958" y="1323"/>
                </a:lnTo>
                <a:lnTo>
                  <a:pt x="1959" y="1321"/>
                </a:lnTo>
                <a:lnTo>
                  <a:pt x="1959" y="1320"/>
                </a:lnTo>
                <a:lnTo>
                  <a:pt x="1961" y="1320"/>
                </a:lnTo>
                <a:lnTo>
                  <a:pt x="1961" y="1323"/>
                </a:lnTo>
                <a:lnTo>
                  <a:pt x="1961" y="1324"/>
                </a:lnTo>
                <a:lnTo>
                  <a:pt x="1961" y="1327"/>
                </a:lnTo>
                <a:lnTo>
                  <a:pt x="1962" y="1329"/>
                </a:lnTo>
                <a:lnTo>
                  <a:pt x="1965" y="1331"/>
                </a:lnTo>
                <a:lnTo>
                  <a:pt x="1967" y="1331"/>
                </a:lnTo>
                <a:lnTo>
                  <a:pt x="1969" y="1332"/>
                </a:lnTo>
                <a:lnTo>
                  <a:pt x="1970" y="1334"/>
                </a:lnTo>
                <a:lnTo>
                  <a:pt x="1972" y="1335"/>
                </a:lnTo>
                <a:lnTo>
                  <a:pt x="1973" y="1337"/>
                </a:lnTo>
                <a:lnTo>
                  <a:pt x="1976" y="1338"/>
                </a:lnTo>
                <a:lnTo>
                  <a:pt x="1979" y="1338"/>
                </a:lnTo>
                <a:lnTo>
                  <a:pt x="1979" y="1340"/>
                </a:lnTo>
                <a:lnTo>
                  <a:pt x="1981" y="1340"/>
                </a:lnTo>
                <a:lnTo>
                  <a:pt x="1981" y="1342"/>
                </a:lnTo>
                <a:lnTo>
                  <a:pt x="1982" y="1343"/>
                </a:lnTo>
                <a:lnTo>
                  <a:pt x="1982" y="1345"/>
                </a:lnTo>
                <a:lnTo>
                  <a:pt x="1984" y="1345"/>
                </a:lnTo>
                <a:lnTo>
                  <a:pt x="1985" y="1345"/>
                </a:lnTo>
                <a:lnTo>
                  <a:pt x="1985" y="1346"/>
                </a:lnTo>
                <a:lnTo>
                  <a:pt x="1985" y="1348"/>
                </a:lnTo>
                <a:lnTo>
                  <a:pt x="1987" y="1348"/>
                </a:lnTo>
                <a:lnTo>
                  <a:pt x="1987" y="1349"/>
                </a:lnTo>
                <a:lnTo>
                  <a:pt x="1987" y="1351"/>
                </a:lnTo>
                <a:lnTo>
                  <a:pt x="1988" y="1352"/>
                </a:lnTo>
                <a:lnTo>
                  <a:pt x="1990" y="1352"/>
                </a:lnTo>
                <a:lnTo>
                  <a:pt x="1991" y="1354"/>
                </a:lnTo>
                <a:lnTo>
                  <a:pt x="1991" y="1355"/>
                </a:lnTo>
                <a:lnTo>
                  <a:pt x="1990" y="1358"/>
                </a:lnTo>
                <a:lnTo>
                  <a:pt x="1990" y="1360"/>
                </a:lnTo>
                <a:lnTo>
                  <a:pt x="1985" y="1361"/>
                </a:lnTo>
                <a:lnTo>
                  <a:pt x="1987" y="1363"/>
                </a:lnTo>
                <a:lnTo>
                  <a:pt x="1995" y="1360"/>
                </a:lnTo>
                <a:lnTo>
                  <a:pt x="1999" y="1361"/>
                </a:lnTo>
                <a:lnTo>
                  <a:pt x="1999" y="1363"/>
                </a:lnTo>
                <a:lnTo>
                  <a:pt x="1999" y="1366"/>
                </a:lnTo>
                <a:lnTo>
                  <a:pt x="2001" y="1368"/>
                </a:lnTo>
                <a:lnTo>
                  <a:pt x="2002" y="1368"/>
                </a:lnTo>
                <a:lnTo>
                  <a:pt x="2004" y="1368"/>
                </a:lnTo>
                <a:lnTo>
                  <a:pt x="2006" y="1363"/>
                </a:lnTo>
                <a:lnTo>
                  <a:pt x="2007" y="1361"/>
                </a:lnTo>
                <a:lnTo>
                  <a:pt x="2010" y="1363"/>
                </a:lnTo>
                <a:lnTo>
                  <a:pt x="2015" y="1368"/>
                </a:lnTo>
                <a:lnTo>
                  <a:pt x="2018" y="1369"/>
                </a:lnTo>
                <a:lnTo>
                  <a:pt x="2021" y="1368"/>
                </a:lnTo>
                <a:lnTo>
                  <a:pt x="2024" y="1366"/>
                </a:lnTo>
                <a:lnTo>
                  <a:pt x="2022" y="1363"/>
                </a:lnTo>
                <a:lnTo>
                  <a:pt x="2021" y="1363"/>
                </a:lnTo>
                <a:lnTo>
                  <a:pt x="2019" y="1361"/>
                </a:lnTo>
                <a:lnTo>
                  <a:pt x="2021" y="1360"/>
                </a:lnTo>
                <a:lnTo>
                  <a:pt x="2019" y="1360"/>
                </a:lnTo>
                <a:lnTo>
                  <a:pt x="2018" y="1360"/>
                </a:lnTo>
                <a:lnTo>
                  <a:pt x="2016" y="1355"/>
                </a:lnTo>
                <a:lnTo>
                  <a:pt x="2013" y="1354"/>
                </a:lnTo>
                <a:lnTo>
                  <a:pt x="2012" y="1354"/>
                </a:lnTo>
                <a:lnTo>
                  <a:pt x="2009" y="1351"/>
                </a:lnTo>
                <a:lnTo>
                  <a:pt x="2009" y="1349"/>
                </a:lnTo>
                <a:lnTo>
                  <a:pt x="2010" y="1346"/>
                </a:lnTo>
                <a:lnTo>
                  <a:pt x="2012" y="1345"/>
                </a:lnTo>
                <a:lnTo>
                  <a:pt x="2012" y="1343"/>
                </a:lnTo>
                <a:lnTo>
                  <a:pt x="2013" y="1342"/>
                </a:lnTo>
                <a:lnTo>
                  <a:pt x="2015" y="1343"/>
                </a:lnTo>
                <a:lnTo>
                  <a:pt x="2016" y="1343"/>
                </a:lnTo>
                <a:lnTo>
                  <a:pt x="2018" y="1345"/>
                </a:lnTo>
                <a:lnTo>
                  <a:pt x="2019" y="1348"/>
                </a:lnTo>
                <a:lnTo>
                  <a:pt x="2021" y="1348"/>
                </a:lnTo>
                <a:lnTo>
                  <a:pt x="2021" y="1349"/>
                </a:lnTo>
                <a:lnTo>
                  <a:pt x="2024" y="1349"/>
                </a:lnTo>
                <a:lnTo>
                  <a:pt x="2024" y="1351"/>
                </a:lnTo>
                <a:lnTo>
                  <a:pt x="2025" y="1352"/>
                </a:lnTo>
                <a:lnTo>
                  <a:pt x="2024" y="1352"/>
                </a:lnTo>
                <a:lnTo>
                  <a:pt x="2025" y="1354"/>
                </a:lnTo>
                <a:lnTo>
                  <a:pt x="2027" y="1354"/>
                </a:lnTo>
                <a:lnTo>
                  <a:pt x="2028" y="1355"/>
                </a:lnTo>
                <a:lnTo>
                  <a:pt x="2030" y="1355"/>
                </a:lnTo>
                <a:lnTo>
                  <a:pt x="2030" y="1357"/>
                </a:lnTo>
                <a:lnTo>
                  <a:pt x="2028" y="1358"/>
                </a:lnTo>
                <a:lnTo>
                  <a:pt x="2027" y="1357"/>
                </a:lnTo>
                <a:lnTo>
                  <a:pt x="2025" y="1357"/>
                </a:lnTo>
                <a:lnTo>
                  <a:pt x="2025" y="1361"/>
                </a:lnTo>
                <a:lnTo>
                  <a:pt x="2027" y="1363"/>
                </a:lnTo>
                <a:lnTo>
                  <a:pt x="2028" y="1366"/>
                </a:lnTo>
                <a:lnTo>
                  <a:pt x="2030" y="1369"/>
                </a:lnTo>
                <a:lnTo>
                  <a:pt x="2030" y="1375"/>
                </a:lnTo>
                <a:lnTo>
                  <a:pt x="2032" y="1378"/>
                </a:lnTo>
                <a:lnTo>
                  <a:pt x="2032" y="1380"/>
                </a:lnTo>
                <a:lnTo>
                  <a:pt x="2039" y="1383"/>
                </a:lnTo>
                <a:lnTo>
                  <a:pt x="2039" y="1385"/>
                </a:lnTo>
                <a:lnTo>
                  <a:pt x="2041" y="1386"/>
                </a:lnTo>
                <a:lnTo>
                  <a:pt x="2041" y="1388"/>
                </a:lnTo>
                <a:lnTo>
                  <a:pt x="2042" y="1389"/>
                </a:lnTo>
                <a:lnTo>
                  <a:pt x="2046" y="1391"/>
                </a:lnTo>
                <a:lnTo>
                  <a:pt x="2049" y="1394"/>
                </a:lnTo>
                <a:lnTo>
                  <a:pt x="2050" y="1395"/>
                </a:lnTo>
                <a:lnTo>
                  <a:pt x="2052" y="1397"/>
                </a:lnTo>
                <a:lnTo>
                  <a:pt x="2053" y="1397"/>
                </a:lnTo>
                <a:lnTo>
                  <a:pt x="2055" y="1395"/>
                </a:lnTo>
                <a:lnTo>
                  <a:pt x="2056" y="1394"/>
                </a:lnTo>
                <a:lnTo>
                  <a:pt x="2058" y="1394"/>
                </a:lnTo>
                <a:lnTo>
                  <a:pt x="2059" y="1397"/>
                </a:lnTo>
                <a:lnTo>
                  <a:pt x="2061" y="1397"/>
                </a:lnTo>
                <a:lnTo>
                  <a:pt x="2065" y="1397"/>
                </a:lnTo>
                <a:lnTo>
                  <a:pt x="2067" y="1397"/>
                </a:lnTo>
                <a:lnTo>
                  <a:pt x="2069" y="1400"/>
                </a:lnTo>
                <a:lnTo>
                  <a:pt x="2070" y="1401"/>
                </a:lnTo>
                <a:lnTo>
                  <a:pt x="2072" y="1401"/>
                </a:lnTo>
                <a:lnTo>
                  <a:pt x="2073" y="1400"/>
                </a:lnTo>
                <a:lnTo>
                  <a:pt x="2073" y="1398"/>
                </a:lnTo>
                <a:lnTo>
                  <a:pt x="2073" y="1397"/>
                </a:lnTo>
                <a:lnTo>
                  <a:pt x="2073" y="1394"/>
                </a:lnTo>
                <a:lnTo>
                  <a:pt x="2078" y="1389"/>
                </a:lnTo>
                <a:lnTo>
                  <a:pt x="2079" y="1388"/>
                </a:lnTo>
                <a:lnTo>
                  <a:pt x="2078" y="1386"/>
                </a:lnTo>
                <a:lnTo>
                  <a:pt x="2076" y="1386"/>
                </a:lnTo>
                <a:lnTo>
                  <a:pt x="2075" y="1386"/>
                </a:lnTo>
                <a:lnTo>
                  <a:pt x="2075" y="1385"/>
                </a:lnTo>
                <a:lnTo>
                  <a:pt x="2075" y="1383"/>
                </a:lnTo>
                <a:lnTo>
                  <a:pt x="2076" y="1382"/>
                </a:lnTo>
                <a:lnTo>
                  <a:pt x="2078" y="1382"/>
                </a:lnTo>
                <a:lnTo>
                  <a:pt x="2076" y="1382"/>
                </a:lnTo>
                <a:lnTo>
                  <a:pt x="2075" y="1380"/>
                </a:lnTo>
                <a:lnTo>
                  <a:pt x="2073" y="1378"/>
                </a:lnTo>
                <a:lnTo>
                  <a:pt x="2075" y="1377"/>
                </a:lnTo>
                <a:lnTo>
                  <a:pt x="2076" y="1375"/>
                </a:lnTo>
                <a:lnTo>
                  <a:pt x="2079" y="1375"/>
                </a:lnTo>
                <a:lnTo>
                  <a:pt x="2078" y="1374"/>
                </a:lnTo>
                <a:lnTo>
                  <a:pt x="2078" y="1371"/>
                </a:lnTo>
                <a:lnTo>
                  <a:pt x="2079" y="1369"/>
                </a:lnTo>
                <a:lnTo>
                  <a:pt x="2081" y="1368"/>
                </a:lnTo>
                <a:lnTo>
                  <a:pt x="2083" y="1369"/>
                </a:lnTo>
                <a:lnTo>
                  <a:pt x="2083" y="1371"/>
                </a:lnTo>
                <a:lnTo>
                  <a:pt x="2083" y="1374"/>
                </a:lnTo>
                <a:lnTo>
                  <a:pt x="2083" y="1375"/>
                </a:lnTo>
                <a:lnTo>
                  <a:pt x="2083" y="1377"/>
                </a:lnTo>
                <a:lnTo>
                  <a:pt x="2084" y="1377"/>
                </a:lnTo>
                <a:lnTo>
                  <a:pt x="2086" y="1377"/>
                </a:lnTo>
                <a:lnTo>
                  <a:pt x="2087" y="1377"/>
                </a:lnTo>
                <a:lnTo>
                  <a:pt x="2089" y="1378"/>
                </a:lnTo>
                <a:lnTo>
                  <a:pt x="2090" y="1380"/>
                </a:lnTo>
                <a:lnTo>
                  <a:pt x="2090" y="1382"/>
                </a:lnTo>
                <a:lnTo>
                  <a:pt x="2090" y="1383"/>
                </a:lnTo>
                <a:lnTo>
                  <a:pt x="2092" y="1386"/>
                </a:lnTo>
                <a:lnTo>
                  <a:pt x="2092" y="1388"/>
                </a:lnTo>
                <a:lnTo>
                  <a:pt x="2092" y="1389"/>
                </a:lnTo>
                <a:lnTo>
                  <a:pt x="2092" y="1391"/>
                </a:lnTo>
                <a:lnTo>
                  <a:pt x="2093" y="1392"/>
                </a:lnTo>
                <a:lnTo>
                  <a:pt x="2095" y="1395"/>
                </a:lnTo>
                <a:lnTo>
                  <a:pt x="2095" y="1397"/>
                </a:lnTo>
                <a:lnTo>
                  <a:pt x="2096" y="1397"/>
                </a:lnTo>
                <a:lnTo>
                  <a:pt x="2096" y="1398"/>
                </a:lnTo>
                <a:lnTo>
                  <a:pt x="2098" y="1397"/>
                </a:lnTo>
                <a:lnTo>
                  <a:pt x="2099" y="1398"/>
                </a:lnTo>
                <a:lnTo>
                  <a:pt x="2099" y="1400"/>
                </a:lnTo>
                <a:lnTo>
                  <a:pt x="2098" y="1401"/>
                </a:lnTo>
                <a:lnTo>
                  <a:pt x="2096" y="1403"/>
                </a:lnTo>
                <a:lnTo>
                  <a:pt x="2098" y="1403"/>
                </a:lnTo>
                <a:lnTo>
                  <a:pt x="2099" y="1405"/>
                </a:lnTo>
                <a:lnTo>
                  <a:pt x="2101" y="1405"/>
                </a:lnTo>
                <a:lnTo>
                  <a:pt x="2099" y="1408"/>
                </a:lnTo>
                <a:lnTo>
                  <a:pt x="2096" y="1415"/>
                </a:lnTo>
                <a:lnTo>
                  <a:pt x="2095" y="1419"/>
                </a:lnTo>
                <a:lnTo>
                  <a:pt x="2096" y="1429"/>
                </a:lnTo>
                <a:lnTo>
                  <a:pt x="2099" y="1437"/>
                </a:lnTo>
                <a:lnTo>
                  <a:pt x="2101" y="1442"/>
                </a:lnTo>
                <a:lnTo>
                  <a:pt x="2099" y="1449"/>
                </a:lnTo>
                <a:lnTo>
                  <a:pt x="2099" y="1459"/>
                </a:lnTo>
                <a:lnTo>
                  <a:pt x="2098" y="1465"/>
                </a:lnTo>
                <a:lnTo>
                  <a:pt x="2096" y="1468"/>
                </a:lnTo>
                <a:lnTo>
                  <a:pt x="2096" y="1469"/>
                </a:lnTo>
                <a:lnTo>
                  <a:pt x="2096" y="1472"/>
                </a:lnTo>
                <a:lnTo>
                  <a:pt x="2096" y="1477"/>
                </a:lnTo>
                <a:lnTo>
                  <a:pt x="2098" y="1482"/>
                </a:lnTo>
                <a:lnTo>
                  <a:pt x="2099" y="1485"/>
                </a:lnTo>
                <a:lnTo>
                  <a:pt x="2101" y="1485"/>
                </a:lnTo>
                <a:lnTo>
                  <a:pt x="2104" y="1483"/>
                </a:lnTo>
                <a:lnTo>
                  <a:pt x="2107" y="1483"/>
                </a:lnTo>
                <a:lnTo>
                  <a:pt x="2129" y="1493"/>
                </a:lnTo>
                <a:lnTo>
                  <a:pt x="2144" y="1497"/>
                </a:lnTo>
                <a:lnTo>
                  <a:pt x="2152" y="1500"/>
                </a:lnTo>
                <a:lnTo>
                  <a:pt x="2155" y="1500"/>
                </a:lnTo>
                <a:lnTo>
                  <a:pt x="2164" y="1499"/>
                </a:lnTo>
                <a:lnTo>
                  <a:pt x="2173" y="1499"/>
                </a:lnTo>
                <a:lnTo>
                  <a:pt x="2176" y="1499"/>
                </a:lnTo>
                <a:lnTo>
                  <a:pt x="2178" y="1499"/>
                </a:lnTo>
                <a:lnTo>
                  <a:pt x="2179" y="1499"/>
                </a:lnTo>
                <a:lnTo>
                  <a:pt x="2181" y="1500"/>
                </a:lnTo>
                <a:lnTo>
                  <a:pt x="2184" y="1500"/>
                </a:lnTo>
                <a:lnTo>
                  <a:pt x="2186" y="1500"/>
                </a:lnTo>
                <a:lnTo>
                  <a:pt x="2187" y="1499"/>
                </a:lnTo>
                <a:lnTo>
                  <a:pt x="2189" y="1499"/>
                </a:lnTo>
                <a:lnTo>
                  <a:pt x="2190" y="1499"/>
                </a:lnTo>
                <a:lnTo>
                  <a:pt x="2192" y="1500"/>
                </a:lnTo>
                <a:lnTo>
                  <a:pt x="2193" y="1502"/>
                </a:lnTo>
                <a:lnTo>
                  <a:pt x="2197" y="1502"/>
                </a:lnTo>
                <a:lnTo>
                  <a:pt x="2207" y="1500"/>
                </a:lnTo>
                <a:lnTo>
                  <a:pt x="2210" y="1499"/>
                </a:lnTo>
                <a:lnTo>
                  <a:pt x="2226" y="1496"/>
                </a:lnTo>
                <a:lnTo>
                  <a:pt x="2232" y="1496"/>
                </a:lnTo>
                <a:lnTo>
                  <a:pt x="2234" y="1496"/>
                </a:lnTo>
                <a:lnTo>
                  <a:pt x="2235" y="1494"/>
                </a:lnTo>
                <a:lnTo>
                  <a:pt x="2237" y="1494"/>
                </a:lnTo>
                <a:lnTo>
                  <a:pt x="2241" y="1497"/>
                </a:lnTo>
                <a:lnTo>
                  <a:pt x="2255" y="1502"/>
                </a:lnTo>
                <a:lnTo>
                  <a:pt x="2258" y="1503"/>
                </a:lnTo>
                <a:lnTo>
                  <a:pt x="2260" y="1502"/>
                </a:lnTo>
                <a:lnTo>
                  <a:pt x="2261" y="1502"/>
                </a:lnTo>
                <a:lnTo>
                  <a:pt x="2263" y="1502"/>
                </a:lnTo>
                <a:lnTo>
                  <a:pt x="2264" y="1502"/>
                </a:lnTo>
                <a:lnTo>
                  <a:pt x="2266" y="1500"/>
                </a:lnTo>
                <a:lnTo>
                  <a:pt x="2266" y="1499"/>
                </a:lnTo>
                <a:lnTo>
                  <a:pt x="2267" y="1500"/>
                </a:lnTo>
                <a:lnTo>
                  <a:pt x="2269" y="1500"/>
                </a:lnTo>
                <a:lnTo>
                  <a:pt x="2269" y="1502"/>
                </a:lnTo>
                <a:lnTo>
                  <a:pt x="2271" y="1503"/>
                </a:lnTo>
                <a:lnTo>
                  <a:pt x="2272" y="1503"/>
                </a:lnTo>
                <a:lnTo>
                  <a:pt x="2275" y="1503"/>
                </a:lnTo>
                <a:lnTo>
                  <a:pt x="2277" y="1503"/>
                </a:lnTo>
                <a:lnTo>
                  <a:pt x="2278" y="1502"/>
                </a:lnTo>
                <a:lnTo>
                  <a:pt x="2278" y="1500"/>
                </a:lnTo>
                <a:lnTo>
                  <a:pt x="2280" y="1500"/>
                </a:lnTo>
                <a:lnTo>
                  <a:pt x="2281" y="1502"/>
                </a:lnTo>
                <a:lnTo>
                  <a:pt x="2283" y="1500"/>
                </a:lnTo>
                <a:lnTo>
                  <a:pt x="2283" y="1499"/>
                </a:lnTo>
                <a:lnTo>
                  <a:pt x="2284" y="1499"/>
                </a:lnTo>
                <a:lnTo>
                  <a:pt x="2286" y="1499"/>
                </a:lnTo>
                <a:lnTo>
                  <a:pt x="2290" y="1499"/>
                </a:lnTo>
                <a:lnTo>
                  <a:pt x="2300" y="1497"/>
                </a:lnTo>
                <a:lnTo>
                  <a:pt x="2306" y="1499"/>
                </a:lnTo>
                <a:lnTo>
                  <a:pt x="2307" y="1497"/>
                </a:lnTo>
                <a:lnTo>
                  <a:pt x="2311" y="1497"/>
                </a:lnTo>
                <a:lnTo>
                  <a:pt x="2314" y="1497"/>
                </a:lnTo>
                <a:lnTo>
                  <a:pt x="2317" y="1497"/>
                </a:lnTo>
                <a:lnTo>
                  <a:pt x="2318" y="1499"/>
                </a:lnTo>
                <a:lnTo>
                  <a:pt x="2320" y="1500"/>
                </a:lnTo>
                <a:lnTo>
                  <a:pt x="2321" y="1502"/>
                </a:lnTo>
                <a:lnTo>
                  <a:pt x="2323" y="1502"/>
                </a:lnTo>
                <a:lnTo>
                  <a:pt x="2324" y="1503"/>
                </a:lnTo>
                <a:lnTo>
                  <a:pt x="2326" y="1503"/>
                </a:lnTo>
                <a:lnTo>
                  <a:pt x="2327" y="1503"/>
                </a:lnTo>
                <a:lnTo>
                  <a:pt x="2329" y="1506"/>
                </a:lnTo>
                <a:lnTo>
                  <a:pt x="2330" y="1506"/>
                </a:lnTo>
                <a:lnTo>
                  <a:pt x="2330" y="1508"/>
                </a:lnTo>
                <a:lnTo>
                  <a:pt x="2332" y="1509"/>
                </a:lnTo>
                <a:lnTo>
                  <a:pt x="2334" y="1509"/>
                </a:lnTo>
                <a:lnTo>
                  <a:pt x="2340" y="1509"/>
                </a:lnTo>
                <a:lnTo>
                  <a:pt x="2340" y="1511"/>
                </a:lnTo>
                <a:lnTo>
                  <a:pt x="2341" y="1512"/>
                </a:lnTo>
                <a:lnTo>
                  <a:pt x="2344" y="1514"/>
                </a:lnTo>
                <a:lnTo>
                  <a:pt x="2348" y="1515"/>
                </a:lnTo>
                <a:lnTo>
                  <a:pt x="2348" y="1519"/>
                </a:lnTo>
                <a:lnTo>
                  <a:pt x="2348" y="1520"/>
                </a:lnTo>
                <a:lnTo>
                  <a:pt x="2351" y="1520"/>
                </a:lnTo>
                <a:lnTo>
                  <a:pt x="2351" y="1522"/>
                </a:lnTo>
                <a:lnTo>
                  <a:pt x="2354" y="1523"/>
                </a:lnTo>
                <a:lnTo>
                  <a:pt x="2354" y="1525"/>
                </a:lnTo>
                <a:lnTo>
                  <a:pt x="2354" y="1526"/>
                </a:lnTo>
                <a:lnTo>
                  <a:pt x="2355" y="1526"/>
                </a:lnTo>
                <a:lnTo>
                  <a:pt x="2357" y="1528"/>
                </a:lnTo>
                <a:lnTo>
                  <a:pt x="2358" y="1530"/>
                </a:lnTo>
                <a:lnTo>
                  <a:pt x="2358" y="1533"/>
                </a:lnTo>
                <a:lnTo>
                  <a:pt x="2358" y="1534"/>
                </a:lnTo>
                <a:lnTo>
                  <a:pt x="2357" y="1536"/>
                </a:lnTo>
                <a:lnTo>
                  <a:pt x="2352" y="1537"/>
                </a:lnTo>
                <a:lnTo>
                  <a:pt x="2348" y="1539"/>
                </a:lnTo>
                <a:lnTo>
                  <a:pt x="2346" y="1539"/>
                </a:lnTo>
                <a:lnTo>
                  <a:pt x="2344" y="1539"/>
                </a:lnTo>
                <a:lnTo>
                  <a:pt x="2344" y="1537"/>
                </a:lnTo>
                <a:lnTo>
                  <a:pt x="2338" y="1533"/>
                </a:lnTo>
                <a:lnTo>
                  <a:pt x="2335" y="1531"/>
                </a:lnTo>
                <a:lnTo>
                  <a:pt x="2332" y="1533"/>
                </a:lnTo>
                <a:lnTo>
                  <a:pt x="2330" y="1534"/>
                </a:lnTo>
                <a:lnTo>
                  <a:pt x="2332" y="1537"/>
                </a:lnTo>
                <a:lnTo>
                  <a:pt x="2332" y="1540"/>
                </a:lnTo>
                <a:lnTo>
                  <a:pt x="2334" y="1542"/>
                </a:lnTo>
                <a:lnTo>
                  <a:pt x="2334" y="1545"/>
                </a:lnTo>
                <a:lnTo>
                  <a:pt x="2332" y="1546"/>
                </a:lnTo>
                <a:lnTo>
                  <a:pt x="2327" y="1562"/>
                </a:lnTo>
                <a:lnTo>
                  <a:pt x="2327" y="1566"/>
                </a:lnTo>
                <a:lnTo>
                  <a:pt x="2326" y="1571"/>
                </a:lnTo>
                <a:lnTo>
                  <a:pt x="2326" y="1572"/>
                </a:lnTo>
                <a:lnTo>
                  <a:pt x="2324" y="1574"/>
                </a:lnTo>
                <a:lnTo>
                  <a:pt x="2324" y="1576"/>
                </a:lnTo>
                <a:lnTo>
                  <a:pt x="2323" y="1576"/>
                </a:lnTo>
                <a:lnTo>
                  <a:pt x="2321" y="1577"/>
                </a:lnTo>
                <a:lnTo>
                  <a:pt x="2321" y="1579"/>
                </a:lnTo>
                <a:lnTo>
                  <a:pt x="2320" y="1580"/>
                </a:lnTo>
                <a:lnTo>
                  <a:pt x="2321" y="1588"/>
                </a:lnTo>
                <a:lnTo>
                  <a:pt x="2320" y="1593"/>
                </a:lnTo>
                <a:lnTo>
                  <a:pt x="2318" y="1594"/>
                </a:lnTo>
                <a:lnTo>
                  <a:pt x="2317" y="1596"/>
                </a:lnTo>
                <a:lnTo>
                  <a:pt x="2314" y="1596"/>
                </a:lnTo>
                <a:lnTo>
                  <a:pt x="2306" y="1596"/>
                </a:lnTo>
                <a:lnTo>
                  <a:pt x="2304" y="1597"/>
                </a:lnTo>
                <a:lnTo>
                  <a:pt x="2307" y="1602"/>
                </a:lnTo>
                <a:lnTo>
                  <a:pt x="2307" y="1603"/>
                </a:lnTo>
                <a:lnTo>
                  <a:pt x="2306" y="1602"/>
                </a:lnTo>
                <a:lnTo>
                  <a:pt x="2303" y="1600"/>
                </a:lnTo>
                <a:lnTo>
                  <a:pt x="2303" y="1599"/>
                </a:lnTo>
                <a:lnTo>
                  <a:pt x="2300" y="1600"/>
                </a:lnTo>
                <a:lnTo>
                  <a:pt x="2300" y="1602"/>
                </a:lnTo>
                <a:lnTo>
                  <a:pt x="2301" y="1606"/>
                </a:lnTo>
                <a:lnTo>
                  <a:pt x="2301" y="1609"/>
                </a:lnTo>
                <a:lnTo>
                  <a:pt x="2298" y="1620"/>
                </a:lnTo>
                <a:lnTo>
                  <a:pt x="2298" y="1622"/>
                </a:lnTo>
                <a:lnTo>
                  <a:pt x="2297" y="1623"/>
                </a:lnTo>
                <a:lnTo>
                  <a:pt x="2295" y="1622"/>
                </a:lnTo>
                <a:lnTo>
                  <a:pt x="2292" y="1619"/>
                </a:lnTo>
                <a:lnTo>
                  <a:pt x="2292" y="1617"/>
                </a:lnTo>
                <a:lnTo>
                  <a:pt x="2292" y="1615"/>
                </a:lnTo>
                <a:lnTo>
                  <a:pt x="2292" y="1614"/>
                </a:lnTo>
                <a:lnTo>
                  <a:pt x="2290" y="1614"/>
                </a:lnTo>
                <a:lnTo>
                  <a:pt x="2284" y="1612"/>
                </a:lnTo>
                <a:lnTo>
                  <a:pt x="2283" y="1614"/>
                </a:lnTo>
                <a:lnTo>
                  <a:pt x="2283" y="1617"/>
                </a:lnTo>
                <a:lnTo>
                  <a:pt x="2284" y="1619"/>
                </a:lnTo>
                <a:lnTo>
                  <a:pt x="2284" y="1622"/>
                </a:lnTo>
                <a:lnTo>
                  <a:pt x="2283" y="1623"/>
                </a:lnTo>
                <a:lnTo>
                  <a:pt x="2281" y="1623"/>
                </a:lnTo>
                <a:lnTo>
                  <a:pt x="2280" y="1623"/>
                </a:lnTo>
                <a:lnTo>
                  <a:pt x="2278" y="1622"/>
                </a:lnTo>
                <a:lnTo>
                  <a:pt x="2277" y="1620"/>
                </a:lnTo>
                <a:lnTo>
                  <a:pt x="2275" y="1615"/>
                </a:lnTo>
                <a:lnTo>
                  <a:pt x="2274" y="1615"/>
                </a:lnTo>
                <a:lnTo>
                  <a:pt x="2274" y="1617"/>
                </a:lnTo>
                <a:lnTo>
                  <a:pt x="2272" y="1625"/>
                </a:lnTo>
                <a:lnTo>
                  <a:pt x="2272" y="1626"/>
                </a:lnTo>
                <a:lnTo>
                  <a:pt x="2271" y="1628"/>
                </a:lnTo>
                <a:lnTo>
                  <a:pt x="2269" y="1630"/>
                </a:lnTo>
                <a:lnTo>
                  <a:pt x="2267" y="1631"/>
                </a:lnTo>
                <a:lnTo>
                  <a:pt x="2263" y="1631"/>
                </a:lnTo>
                <a:lnTo>
                  <a:pt x="2260" y="1631"/>
                </a:lnTo>
                <a:lnTo>
                  <a:pt x="2252" y="1630"/>
                </a:lnTo>
                <a:lnTo>
                  <a:pt x="2249" y="1630"/>
                </a:lnTo>
                <a:lnTo>
                  <a:pt x="2247" y="1633"/>
                </a:lnTo>
                <a:lnTo>
                  <a:pt x="2247" y="1637"/>
                </a:lnTo>
                <a:lnTo>
                  <a:pt x="2246" y="1642"/>
                </a:lnTo>
                <a:lnTo>
                  <a:pt x="2244" y="1643"/>
                </a:lnTo>
                <a:lnTo>
                  <a:pt x="2243" y="1642"/>
                </a:lnTo>
                <a:lnTo>
                  <a:pt x="2241" y="1642"/>
                </a:lnTo>
                <a:lnTo>
                  <a:pt x="2240" y="1643"/>
                </a:lnTo>
                <a:lnTo>
                  <a:pt x="2238" y="1645"/>
                </a:lnTo>
                <a:lnTo>
                  <a:pt x="2238" y="1646"/>
                </a:lnTo>
                <a:lnTo>
                  <a:pt x="2234" y="1652"/>
                </a:lnTo>
                <a:lnTo>
                  <a:pt x="2234" y="1654"/>
                </a:lnTo>
                <a:lnTo>
                  <a:pt x="2234" y="1656"/>
                </a:lnTo>
                <a:lnTo>
                  <a:pt x="2235" y="1659"/>
                </a:lnTo>
                <a:lnTo>
                  <a:pt x="2235" y="1660"/>
                </a:lnTo>
                <a:lnTo>
                  <a:pt x="2235" y="1663"/>
                </a:lnTo>
                <a:lnTo>
                  <a:pt x="2234" y="1670"/>
                </a:lnTo>
                <a:lnTo>
                  <a:pt x="2232" y="1671"/>
                </a:lnTo>
                <a:lnTo>
                  <a:pt x="2230" y="1673"/>
                </a:lnTo>
                <a:lnTo>
                  <a:pt x="2229" y="1673"/>
                </a:lnTo>
                <a:lnTo>
                  <a:pt x="2227" y="1673"/>
                </a:lnTo>
                <a:lnTo>
                  <a:pt x="2226" y="1676"/>
                </a:lnTo>
                <a:lnTo>
                  <a:pt x="2226" y="1679"/>
                </a:lnTo>
                <a:lnTo>
                  <a:pt x="2227" y="1679"/>
                </a:lnTo>
                <a:lnTo>
                  <a:pt x="2229" y="1680"/>
                </a:lnTo>
                <a:lnTo>
                  <a:pt x="2230" y="1682"/>
                </a:lnTo>
                <a:lnTo>
                  <a:pt x="2229" y="1683"/>
                </a:lnTo>
                <a:lnTo>
                  <a:pt x="2227" y="1683"/>
                </a:lnTo>
                <a:lnTo>
                  <a:pt x="2226" y="1686"/>
                </a:lnTo>
                <a:lnTo>
                  <a:pt x="2227" y="1688"/>
                </a:lnTo>
                <a:lnTo>
                  <a:pt x="2229" y="1694"/>
                </a:lnTo>
                <a:lnTo>
                  <a:pt x="2230" y="1697"/>
                </a:lnTo>
                <a:lnTo>
                  <a:pt x="2230" y="1700"/>
                </a:lnTo>
                <a:lnTo>
                  <a:pt x="2232" y="1703"/>
                </a:lnTo>
                <a:lnTo>
                  <a:pt x="2234" y="1703"/>
                </a:lnTo>
                <a:lnTo>
                  <a:pt x="2235" y="1705"/>
                </a:lnTo>
                <a:lnTo>
                  <a:pt x="2235" y="1707"/>
                </a:lnTo>
                <a:lnTo>
                  <a:pt x="2237" y="1710"/>
                </a:lnTo>
                <a:lnTo>
                  <a:pt x="2237" y="1716"/>
                </a:lnTo>
                <a:lnTo>
                  <a:pt x="2238" y="1717"/>
                </a:lnTo>
                <a:lnTo>
                  <a:pt x="2240" y="1719"/>
                </a:lnTo>
                <a:lnTo>
                  <a:pt x="2241" y="1719"/>
                </a:lnTo>
                <a:lnTo>
                  <a:pt x="2241" y="1720"/>
                </a:lnTo>
                <a:lnTo>
                  <a:pt x="2240" y="1722"/>
                </a:lnTo>
                <a:lnTo>
                  <a:pt x="2240" y="1723"/>
                </a:lnTo>
                <a:lnTo>
                  <a:pt x="2240" y="1725"/>
                </a:lnTo>
                <a:lnTo>
                  <a:pt x="2240" y="1726"/>
                </a:lnTo>
                <a:lnTo>
                  <a:pt x="2243" y="1747"/>
                </a:lnTo>
                <a:lnTo>
                  <a:pt x="2244" y="1751"/>
                </a:lnTo>
                <a:lnTo>
                  <a:pt x="2246" y="1754"/>
                </a:lnTo>
                <a:lnTo>
                  <a:pt x="2249" y="1756"/>
                </a:lnTo>
                <a:lnTo>
                  <a:pt x="2249" y="1751"/>
                </a:lnTo>
                <a:lnTo>
                  <a:pt x="2247" y="1742"/>
                </a:lnTo>
                <a:lnTo>
                  <a:pt x="2247" y="1736"/>
                </a:lnTo>
                <a:lnTo>
                  <a:pt x="2247" y="1733"/>
                </a:lnTo>
                <a:lnTo>
                  <a:pt x="2249" y="1731"/>
                </a:lnTo>
                <a:lnTo>
                  <a:pt x="2252" y="1731"/>
                </a:lnTo>
                <a:lnTo>
                  <a:pt x="2253" y="1733"/>
                </a:lnTo>
                <a:lnTo>
                  <a:pt x="2255" y="1736"/>
                </a:lnTo>
                <a:lnTo>
                  <a:pt x="2255" y="1737"/>
                </a:lnTo>
                <a:lnTo>
                  <a:pt x="2255" y="1736"/>
                </a:lnTo>
                <a:lnTo>
                  <a:pt x="2256" y="1737"/>
                </a:lnTo>
                <a:lnTo>
                  <a:pt x="2256" y="1739"/>
                </a:lnTo>
                <a:lnTo>
                  <a:pt x="2258" y="1740"/>
                </a:lnTo>
                <a:lnTo>
                  <a:pt x="2258" y="1745"/>
                </a:lnTo>
                <a:lnTo>
                  <a:pt x="2260" y="1747"/>
                </a:lnTo>
                <a:lnTo>
                  <a:pt x="2261" y="1754"/>
                </a:lnTo>
                <a:lnTo>
                  <a:pt x="2261" y="1757"/>
                </a:lnTo>
                <a:lnTo>
                  <a:pt x="2263" y="1759"/>
                </a:lnTo>
                <a:lnTo>
                  <a:pt x="2263" y="1762"/>
                </a:lnTo>
                <a:lnTo>
                  <a:pt x="2264" y="1763"/>
                </a:lnTo>
                <a:lnTo>
                  <a:pt x="2266" y="1765"/>
                </a:lnTo>
                <a:lnTo>
                  <a:pt x="2266" y="1767"/>
                </a:lnTo>
                <a:lnTo>
                  <a:pt x="2267" y="1767"/>
                </a:lnTo>
                <a:lnTo>
                  <a:pt x="2269" y="1767"/>
                </a:lnTo>
                <a:lnTo>
                  <a:pt x="2269" y="1768"/>
                </a:lnTo>
                <a:lnTo>
                  <a:pt x="2269" y="1770"/>
                </a:lnTo>
                <a:lnTo>
                  <a:pt x="2271" y="1770"/>
                </a:lnTo>
                <a:lnTo>
                  <a:pt x="2272" y="1770"/>
                </a:lnTo>
                <a:lnTo>
                  <a:pt x="2272" y="1768"/>
                </a:lnTo>
                <a:lnTo>
                  <a:pt x="2272" y="1767"/>
                </a:lnTo>
                <a:lnTo>
                  <a:pt x="2274" y="1767"/>
                </a:lnTo>
                <a:lnTo>
                  <a:pt x="2274" y="1765"/>
                </a:lnTo>
                <a:lnTo>
                  <a:pt x="2275" y="1765"/>
                </a:lnTo>
                <a:lnTo>
                  <a:pt x="2275" y="1767"/>
                </a:lnTo>
                <a:lnTo>
                  <a:pt x="2277" y="1767"/>
                </a:lnTo>
                <a:lnTo>
                  <a:pt x="2278" y="1765"/>
                </a:lnTo>
                <a:lnTo>
                  <a:pt x="2280" y="1765"/>
                </a:lnTo>
                <a:lnTo>
                  <a:pt x="2281" y="1763"/>
                </a:lnTo>
                <a:lnTo>
                  <a:pt x="2283" y="1763"/>
                </a:lnTo>
                <a:lnTo>
                  <a:pt x="2284" y="1762"/>
                </a:lnTo>
                <a:lnTo>
                  <a:pt x="2284" y="1760"/>
                </a:lnTo>
                <a:lnTo>
                  <a:pt x="2286" y="1757"/>
                </a:lnTo>
                <a:lnTo>
                  <a:pt x="2286" y="1756"/>
                </a:lnTo>
                <a:lnTo>
                  <a:pt x="2287" y="1756"/>
                </a:lnTo>
                <a:lnTo>
                  <a:pt x="2289" y="1756"/>
                </a:lnTo>
                <a:lnTo>
                  <a:pt x="2290" y="1754"/>
                </a:lnTo>
                <a:lnTo>
                  <a:pt x="2290" y="1753"/>
                </a:lnTo>
                <a:lnTo>
                  <a:pt x="2290" y="1751"/>
                </a:lnTo>
                <a:lnTo>
                  <a:pt x="2289" y="1747"/>
                </a:lnTo>
                <a:lnTo>
                  <a:pt x="2287" y="1739"/>
                </a:lnTo>
                <a:lnTo>
                  <a:pt x="2286" y="1736"/>
                </a:lnTo>
                <a:lnTo>
                  <a:pt x="2286" y="1730"/>
                </a:lnTo>
                <a:lnTo>
                  <a:pt x="2287" y="1723"/>
                </a:lnTo>
                <a:lnTo>
                  <a:pt x="2290" y="1719"/>
                </a:lnTo>
                <a:lnTo>
                  <a:pt x="2292" y="1714"/>
                </a:lnTo>
                <a:lnTo>
                  <a:pt x="2293" y="1713"/>
                </a:lnTo>
                <a:lnTo>
                  <a:pt x="2300" y="1710"/>
                </a:lnTo>
                <a:lnTo>
                  <a:pt x="2301" y="1710"/>
                </a:lnTo>
                <a:lnTo>
                  <a:pt x="2303" y="1708"/>
                </a:lnTo>
                <a:lnTo>
                  <a:pt x="2304" y="1703"/>
                </a:lnTo>
                <a:lnTo>
                  <a:pt x="2304" y="1699"/>
                </a:lnTo>
                <a:lnTo>
                  <a:pt x="2301" y="1683"/>
                </a:lnTo>
                <a:lnTo>
                  <a:pt x="2301" y="1679"/>
                </a:lnTo>
                <a:lnTo>
                  <a:pt x="2301" y="1677"/>
                </a:lnTo>
                <a:lnTo>
                  <a:pt x="2303" y="1676"/>
                </a:lnTo>
                <a:lnTo>
                  <a:pt x="2304" y="1676"/>
                </a:lnTo>
                <a:lnTo>
                  <a:pt x="2304" y="1677"/>
                </a:lnTo>
                <a:lnTo>
                  <a:pt x="2306" y="1679"/>
                </a:lnTo>
                <a:lnTo>
                  <a:pt x="2311" y="1685"/>
                </a:lnTo>
                <a:lnTo>
                  <a:pt x="2312" y="1685"/>
                </a:lnTo>
                <a:lnTo>
                  <a:pt x="2314" y="1685"/>
                </a:lnTo>
                <a:lnTo>
                  <a:pt x="2315" y="1683"/>
                </a:lnTo>
                <a:lnTo>
                  <a:pt x="2318" y="1677"/>
                </a:lnTo>
                <a:lnTo>
                  <a:pt x="2320" y="1676"/>
                </a:lnTo>
                <a:lnTo>
                  <a:pt x="2324" y="1674"/>
                </a:lnTo>
                <a:lnTo>
                  <a:pt x="2326" y="1677"/>
                </a:lnTo>
                <a:lnTo>
                  <a:pt x="2327" y="1682"/>
                </a:lnTo>
                <a:lnTo>
                  <a:pt x="2329" y="1685"/>
                </a:lnTo>
                <a:lnTo>
                  <a:pt x="2330" y="1683"/>
                </a:lnTo>
                <a:lnTo>
                  <a:pt x="2332" y="1677"/>
                </a:lnTo>
                <a:lnTo>
                  <a:pt x="2334" y="1676"/>
                </a:lnTo>
                <a:lnTo>
                  <a:pt x="2335" y="1677"/>
                </a:lnTo>
                <a:lnTo>
                  <a:pt x="2335" y="1680"/>
                </a:lnTo>
                <a:lnTo>
                  <a:pt x="2334" y="1685"/>
                </a:lnTo>
                <a:lnTo>
                  <a:pt x="2335" y="1689"/>
                </a:lnTo>
                <a:lnTo>
                  <a:pt x="2338" y="1703"/>
                </a:lnTo>
                <a:lnTo>
                  <a:pt x="2338" y="1710"/>
                </a:lnTo>
                <a:lnTo>
                  <a:pt x="2340" y="1711"/>
                </a:lnTo>
                <a:lnTo>
                  <a:pt x="2341" y="1713"/>
                </a:lnTo>
                <a:lnTo>
                  <a:pt x="2341" y="1714"/>
                </a:lnTo>
                <a:lnTo>
                  <a:pt x="2341" y="1716"/>
                </a:lnTo>
                <a:lnTo>
                  <a:pt x="2341" y="1717"/>
                </a:lnTo>
                <a:lnTo>
                  <a:pt x="2343" y="1719"/>
                </a:lnTo>
                <a:lnTo>
                  <a:pt x="2344" y="1720"/>
                </a:lnTo>
                <a:lnTo>
                  <a:pt x="2344" y="1722"/>
                </a:lnTo>
                <a:lnTo>
                  <a:pt x="2343" y="1723"/>
                </a:lnTo>
                <a:lnTo>
                  <a:pt x="2343" y="1725"/>
                </a:lnTo>
                <a:lnTo>
                  <a:pt x="2344" y="1726"/>
                </a:lnTo>
                <a:lnTo>
                  <a:pt x="2344" y="1728"/>
                </a:lnTo>
                <a:lnTo>
                  <a:pt x="2344" y="1730"/>
                </a:lnTo>
                <a:lnTo>
                  <a:pt x="2344" y="1731"/>
                </a:lnTo>
                <a:lnTo>
                  <a:pt x="2343" y="1736"/>
                </a:lnTo>
                <a:lnTo>
                  <a:pt x="2341" y="1737"/>
                </a:lnTo>
                <a:lnTo>
                  <a:pt x="2341" y="1742"/>
                </a:lnTo>
                <a:lnTo>
                  <a:pt x="2344" y="1760"/>
                </a:lnTo>
                <a:lnTo>
                  <a:pt x="2344" y="1768"/>
                </a:lnTo>
                <a:lnTo>
                  <a:pt x="2344" y="1773"/>
                </a:lnTo>
                <a:lnTo>
                  <a:pt x="2346" y="1776"/>
                </a:lnTo>
                <a:lnTo>
                  <a:pt x="2351" y="1777"/>
                </a:lnTo>
                <a:lnTo>
                  <a:pt x="2351" y="1779"/>
                </a:lnTo>
                <a:lnTo>
                  <a:pt x="2352" y="1788"/>
                </a:lnTo>
                <a:lnTo>
                  <a:pt x="2352" y="1793"/>
                </a:lnTo>
                <a:lnTo>
                  <a:pt x="2354" y="1794"/>
                </a:lnTo>
                <a:lnTo>
                  <a:pt x="2357" y="1797"/>
                </a:lnTo>
                <a:lnTo>
                  <a:pt x="2358" y="1799"/>
                </a:lnTo>
                <a:lnTo>
                  <a:pt x="2358" y="1800"/>
                </a:lnTo>
                <a:lnTo>
                  <a:pt x="2358" y="1810"/>
                </a:lnTo>
                <a:lnTo>
                  <a:pt x="2358" y="1818"/>
                </a:lnTo>
                <a:lnTo>
                  <a:pt x="2358" y="1819"/>
                </a:lnTo>
                <a:lnTo>
                  <a:pt x="2360" y="1822"/>
                </a:lnTo>
                <a:lnTo>
                  <a:pt x="2360" y="1825"/>
                </a:lnTo>
                <a:lnTo>
                  <a:pt x="2366" y="1864"/>
                </a:lnTo>
                <a:lnTo>
                  <a:pt x="2366" y="1867"/>
                </a:lnTo>
                <a:lnTo>
                  <a:pt x="2364" y="1868"/>
                </a:lnTo>
                <a:lnTo>
                  <a:pt x="2363" y="1868"/>
                </a:lnTo>
                <a:lnTo>
                  <a:pt x="2361" y="1870"/>
                </a:lnTo>
                <a:lnTo>
                  <a:pt x="2364" y="1877"/>
                </a:lnTo>
                <a:lnTo>
                  <a:pt x="2366" y="1885"/>
                </a:lnTo>
                <a:lnTo>
                  <a:pt x="2366" y="1887"/>
                </a:lnTo>
                <a:lnTo>
                  <a:pt x="2366" y="1888"/>
                </a:lnTo>
                <a:lnTo>
                  <a:pt x="2366" y="1887"/>
                </a:lnTo>
                <a:lnTo>
                  <a:pt x="2367" y="1887"/>
                </a:lnTo>
                <a:lnTo>
                  <a:pt x="2369" y="1885"/>
                </a:lnTo>
                <a:lnTo>
                  <a:pt x="2369" y="1884"/>
                </a:lnTo>
                <a:lnTo>
                  <a:pt x="2370" y="1884"/>
                </a:lnTo>
                <a:lnTo>
                  <a:pt x="2372" y="1884"/>
                </a:lnTo>
                <a:lnTo>
                  <a:pt x="2374" y="1882"/>
                </a:lnTo>
                <a:lnTo>
                  <a:pt x="2374" y="1881"/>
                </a:lnTo>
                <a:lnTo>
                  <a:pt x="2374" y="1879"/>
                </a:lnTo>
                <a:lnTo>
                  <a:pt x="2374" y="1877"/>
                </a:lnTo>
                <a:lnTo>
                  <a:pt x="2374" y="1876"/>
                </a:lnTo>
                <a:lnTo>
                  <a:pt x="2374" y="1873"/>
                </a:lnTo>
                <a:lnTo>
                  <a:pt x="2375" y="1873"/>
                </a:lnTo>
                <a:lnTo>
                  <a:pt x="2375" y="1871"/>
                </a:lnTo>
                <a:lnTo>
                  <a:pt x="2375" y="1868"/>
                </a:lnTo>
                <a:lnTo>
                  <a:pt x="2375" y="1867"/>
                </a:lnTo>
                <a:lnTo>
                  <a:pt x="2377" y="1867"/>
                </a:lnTo>
                <a:lnTo>
                  <a:pt x="2378" y="1867"/>
                </a:lnTo>
                <a:lnTo>
                  <a:pt x="2385" y="1873"/>
                </a:lnTo>
                <a:lnTo>
                  <a:pt x="2391" y="1879"/>
                </a:lnTo>
                <a:lnTo>
                  <a:pt x="2392" y="1882"/>
                </a:lnTo>
                <a:lnTo>
                  <a:pt x="2394" y="1885"/>
                </a:lnTo>
                <a:lnTo>
                  <a:pt x="2394" y="1888"/>
                </a:lnTo>
                <a:lnTo>
                  <a:pt x="2395" y="1890"/>
                </a:lnTo>
                <a:lnTo>
                  <a:pt x="2397" y="1888"/>
                </a:lnTo>
                <a:lnTo>
                  <a:pt x="2397" y="1885"/>
                </a:lnTo>
                <a:lnTo>
                  <a:pt x="2398" y="1882"/>
                </a:lnTo>
                <a:lnTo>
                  <a:pt x="2400" y="1882"/>
                </a:lnTo>
                <a:lnTo>
                  <a:pt x="2401" y="1884"/>
                </a:lnTo>
                <a:lnTo>
                  <a:pt x="2401" y="1885"/>
                </a:lnTo>
                <a:lnTo>
                  <a:pt x="2403" y="1887"/>
                </a:lnTo>
                <a:lnTo>
                  <a:pt x="2404" y="1887"/>
                </a:lnTo>
                <a:lnTo>
                  <a:pt x="2404" y="1885"/>
                </a:lnTo>
                <a:lnTo>
                  <a:pt x="2404" y="1884"/>
                </a:lnTo>
                <a:lnTo>
                  <a:pt x="2404" y="1882"/>
                </a:lnTo>
                <a:lnTo>
                  <a:pt x="2404" y="1881"/>
                </a:lnTo>
                <a:lnTo>
                  <a:pt x="2403" y="1879"/>
                </a:lnTo>
                <a:lnTo>
                  <a:pt x="2403" y="1877"/>
                </a:lnTo>
                <a:lnTo>
                  <a:pt x="2406" y="1873"/>
                </a:lnTo>
                <a:lnTo>
                  <a:pt x="2407" y="1871"/>
                </a:lnTo>
                <a:lnTo>
                  <a:pt x="2409" y="1871"/>
                </a:lnTo>
                <a:lnTo>
                  <a:pt x="2409" y="1870"/>
                </a:lnTo>
                <a:lnTo>
                  <a:pt x="2409" y="1862"/>
                </a:lnTo>
                <a:lnTo>
                  <a:pt x="2409" y="1861"/>
                </a:lnTo>
                <a:lnTo>
                  <a:pt x="2411" y="1861"/>
                </a:lnTo>
                <a:lnTo>
                  <a:pt x="2411" y="1859"/>
                </a:lnTo>
                <a:lnTo>
                  <a:pt x="2414" y="1861"/>
                </a:lnTo>
                <a:lnTo>
                  <a:pt x="2415" y="1861"/>
                </a:lnTo>
                <a:lnTo>
                  <a:pt x="2417" y="1862"/>
                </a:lnTo>
                <a:lnTo>
                  <a:pt x="2418" y="1862"/>
                </a:lnTo>
                <a:lnTo>
                  <a:pt x="2420" y="1862"/>
                </a:lnTo>
                <a:lnTo>
                  <a:pt x="2418" y="1859"/>
                </a:lnTo>
                <a:lnTo>
                  <a:pt x="2418" y="1857"/>
                </a:lnTo>
                <a:lnTo>
                  <a:pt x="2418" y="1856"/>
                </a:lnTo>
                <a:lnTo>
                  <a:pt x="2420" y="1857"/>
                </a:lnTo>
                <a:lnTo>
                  <a:pt x="2421" y="1856"/>
                </a:lnTo>
                <a:lnTo>
                  <a:pt x="2423" y="1856"/>
                </a:lnTo>
                <a:lnTo>
                  <a:pt x="2423" y="1854"/>
                </a:lnTo>
                <a:lnTo>
                  <a:pt x="2423" y="1853"/>
                </a:lnTo>
                <a:lnTo>
                  <a:pt x="2423" y="1837"/>
                </a:lnTo>
                <a:lnTo>
                  <a:pt x="2421" y="1833"/>
                </a:lnTo>
                <a:lnTo>
                  <a:pt x="2418" y="1828"/>
                </a:lnTo>
                <a:lnTo>
                  <a:pt x="2417" y="1827"/>
                </a:lnTo>
                <a:lnTo>
                  <a:pt x="2417" y="1822"/>
                </a:lnTo>
                <a:lnTo>
                  <a:pt x="2417" y="1821"/>
                </a:lnTo>
                <a:lnTo>
                  <a:pt x="2417" y="1814"/>
                </a:lnTo>
                <a:lnTo>
                  <a:pt x="2417" y="1813"/>
                </a:lnTo>
                <a:lnTo>
                  <a:pt x="2417" y="1810"/>
                </a:lnTo>
                <a:lnTo>
                  <a:pt x="2415" y="1805"/>
                </a:lnTo>
                <a:lnTo>
                  <a:pt x="2414" y="1803"/>
                </a:lnTo>
                <a:lnTo>
                  <a:pt x="2414" y="1800"/>
                </a:lnTo>
                <a:lnTo>
                  <a:pt x="2415" y="1791"/>
                </a:lnTo>
                <a:lnTo>
                  <a:pt x="2418" y="1788"/>
                </a:lnTo>
                <a:lnTo>
                  <a:pt x="2418" y="1785"/>
                </a:lnTo>
                <a:lnTo>
                  <a:pt x="2423" y="1781"/>
                </a:lnTo>
                <a:lnTo>
                  <a:pt x="2425" y="1777"/>
                </a:lnTo>
                <a:lnTo>
                  <a:pt x="2425" y="1776"/>
                </a:lnTo>
                <a:lnTo>
                  <a:pt x="2423" y="1773"/>
                </a:lnTo>
                <a:lnTo>
                  <a:pt x="2421" y="1768"/>
                </a:lnTo>
                <a:lnTo>
                  <a:pt x="2421" y="1767"/>
                </a:lnTo>
                <a:lnTo>
                  <a:pt x="2420" y="1762"/>
                </a:lnTo>
                <a:lnTo>
                  <a:pt x="2420" y="1759"/>
                </a:lnTo>
                <a:lnTo>
                  <a:pt x="2421" y="1757"/>
                </a:lnTo>
                <a:lnTo>
                  <a:pt x="2425" y="1756"/>
                </a:lnTo>
                <a:lnTo>
                  <a:pt x="2426" y="1757"/>
                </a:lnTo>
                <a:lnTo>
                  <a:pt x="2428" y="1759"/>
                </a:lnTo>
                <a:lnTo>
                  <a:pt x="2429" y="1760"/>
                </a:lnTo>
                <a:lnTo>
                  <a:pt x="2431" y="1763"/>
                </a:lnTo>
                <a:lnTo>
                  <a:pt x="2434" y="1762"/>
                </a:lnTo>
                <a:lnTo>
                  <a:pt x="2435" y="1760"/>
                </a:lnTo>
                <a:lnTo>
                  <a:pt x="2438" y="1759"/>
                </a:lnTo>
                <a:lnTo>
                  <a:pt x="2438" y="1757"/>
                </a:lnTo>
                <a:lnTo>
                  <a:pt x="2443" y="1748"/>
                </a:lnTo>
                <a:lnTo>
                  <a:pt x="2443" y="1747"/>
                </a:lnTo>
                <a:lnTo>
                  <a:pt x="2443" y="1745"/>
                </a:lnTo>
                <a:lnTo>
                  <a:pt x="2443" y="1742"/>
                </a:lnTo>
                <a:lnTo>
                  <a:pt x="2443" y="1734"/>
                </a:lnTo>
                <a:lnTo>
                  <a:pt x="2443" y="1730"/>
                </a:lnTo>
                <a:lnTo>
                  <a:pt x="2443" y="1726"/>
                </a:lnTo>
                <a:lnTo>
                  <a:pt x="2444" y="1725"/>
                </a:lnTo>
                <a:lnTo>
                  <a:pt x="2446" y="1722"/>
                </a:lnTo>
                <a:lnTo>
                  <a:pt x="2446" y="1720"/>
                </a:lnTo>
                <a:lnTo>
                  <a:pt x="2446" y="1719"/>
                </a:lnTo>
                <a:lnTo>
                  <a:pt x="2446" y="1711"/>
                </a:lnTo>
                <a:lnTo>
                  <a:pt x="2446" y="1708"/>
                </a:lnTo>
                <a:lnTo>
                  <a:pt x="2449" y="1685"/>
                </a:lnTo>
                <a:lnTo>
                  <a:pt x="2449" y="1680"/>
                </a:lnTo>
                <a:lnTo>
                  <a:pt x="2448" y="1679"/>
                </a:lnTo>
                <a:lnTo>
                  <a:pt x="2446" y="1677"/>
                </a:lnTo>
                <a:lnTo>
                  <a:pt x="2446" y="1676"/>
                </a:lnTo>
                <a:lnTo>
                  <a:pt x="2443" y="1673"/>
                </a:lnTo>
                <a:lnTo>
                  <a:pt x="2441" y="1659"/>
                </a:lnTo>
                <a:lnTo>
                  <a:pt x="2441" y="1654"/>
                </a:lnTo>
                <a:lnTo>
                  <a:pt x="2441" y="1652"/>
                </a:lnTo>
                <a:lnTo>
                  <a:pt x="2440" y="1651"/>
                </a:lnTo>
                <a:lnTo>
                  <a:pt x="2440" y="1649"/>
                </a:lnTo>
                <a:lnTo>
                  <a:pt x="2437" y="1646"/>
                </a:lnTo>
                <a:lnTo>
                  <a:pt x="2437" y="1645"/>
                </a:lnTo>
                <a:lnTo>
                  <a:pt x="2437" y="1642"/>
                </a:lnTo>
                <a:lnTo>
                  <a:pt x="2435" y="1639"/>
                </a:lnTo>
                <a:lnTo>
                  <a:pt x="2437" y="1637"/>
                </a:lnTo>
                <a:lnTo>
                  <a:pt x="2437" y="1636"/>
                </a:lnTo>
                <a:lnTo>
                  <a:pt x="2437" y="1634"/>
                </a:lnTo>
                <a:lnTo>
                  <a:pt x="2438" y="1631"/>
                </a:lnTo>
                <a:lnTo>
                  <a:pt x="2440" y="1631"/>
                </a:lnTo>
                <a:lnTo>
                  <a:pt x="2443" y="1631"/>
                </a:lnTo>
                <a:lnTo>
                  <a:pt x="2444" y="1637"/>
                </a:lnTo>
                <a:lnTo>
                  <a:pt x="2446" y="1639"/>
                </a:lnTo>
                <a:lnTo>
                  <a:pt x="2449" y="1642"/>
                </a:lnTo>
                <a:lnTo>
                  <a:pt x="2451" y="1643"/>
                </a:lnTo>
                <a:lnTo>
                  <a:pt x="2451" y="1645"/>
                </a:lnTo>
                <a:lnTo>
                  <a:pt x="2451" y="1646"/>
                </a:lnTo>
                <a:lnTo>
                  <a:pt x="2452" y="1646"/>
                </a:lnTo>
                <a:lnTo>
                  <a:pt x="2455" y="1646"/>
                </a:lnTo>
                <a:lnTo>
                  <a:pt x="2458" y="1645"/>
                </a:lnTo>
                <a:lnTo>
                  <a:pt x="2460" y="1643"/>
                </a:lnTo>
                <a:lnTo>
                  <a:pt x="2460" y="1645"/>
                </a:lnTo>
                <a:lnTo>
                  <a:pt x="2462" y="1645"/>
                </a:lnTo>
                <a:lnTo>
                  <a:pt x="2463" y="1645"/>
                </a:lnTo>
                <a:lnTo>
                  <a:pt x="2463" y="1643"/>
                </a:lnTo>
                <a:lnTo>
                  <a:pt x="2463" y="1642"/>
                </a:lnTo>
                <a:lnTo>
                  <a:pt x="2466" y="1640"/>
                </a:lnTo>
                <a:lnTo>
                  <a:pt x="2471" y="1640"/>
                </a:lnTo>
                <a:lnTo>
                  <a:pt x="2475" y="1640"/>
                </a:lnTo>
                <a:lnTo>
                  <a:pt x="2478" y="1642"/>
                </a:lnTo>
                <a:lnTo>
                  <a:pt x="2483" y="1648"/>
                </a:lnTo>
                <a:lnTo>
                  <a:pt x="2484" y="1649"/>
                </a:lnTo>
                <a:lnTo>
                  <a:pt x="2492" y="1648"/>
                </a:lnTo>
                <a:lnTo>
                  <a:pt x="2495" y="1649"/>
                </a:lnTo>
                <a:lnTo>
                  <a:pt x="2499" y="1649"/>
                </a:lnTo>
                <a:lnTo>
                  <a:pt x="2502" y="1651"/>
                </a:lnTo>
                <a:lnTo>
                  <a:pt x="2503" y="1651"/>
                </a:lnTo>
                <a:lnTo>
                  <a:pt x="2509" y="1656"/>
                </a:lnTo>
                <a:lnTo>
                  <a:pt x="2511" y="1657"/>
                </a:lnTo>
                <a:lnTo>
                  <a:pt x="2512" y="1659"/>
                </a:lnTo>
                <a:lnTo>
                  <a:pt x="2514" y="1660"/>
                </a:lnTo>
                <a:lnTo>
                  <a:pt x="2515" y="1660"/>
                </a:lnTo>
                <a:lnTo>
                  <a:pt x="2515" y="1659"/>
                </a:lnTo>
                <a:lnTo>
                  <a:pt x="2517" y="1659"/>
                </a:lnTo>
                <a:lnTo>
                  <a:pt x="2517" y="1656"/>
                </a:lnTo>
                <a:lnTo>
                  <a:pt x="2517" y="1654"/>
                </a:lnTo>
                <a:lnTo>
                  <a:pt x="2517" y="1651"/>
                </a:lnTo>
                <a:lnTo>
                  <a:pt x="2517" y="1649"/>
                </a:lnTo>
                <a:lnTo>
                  <a:pt x="2521" y="1642"/>
                </a:lnTo>
                <a:lnTo>
                  <a:pt x="2523" y="1640"/>
                </a:lnTo>
                <a:lnTo>
                  <a:pt x="2523" y="1636"/>
                </a:lnTo>
                <a:lnTo>
                  <a:pt x="2523" y="1634"/>
                </a:lnTo>
                <a:lnTo>
                  <a:pt x="2525" y="1633"/>
                </a:lnTo>
                <a:lnTo>
                  <a:pt x="2525" y="1631"/>
                </a:lnTo>
                <a:lnTo>
                  <a:pt x="2525" y="1626"/>
                </a:lnTo>
                <a:lnTo>
                  <a:pt x="2526" y="1622"/>
                </a:lnTo>
                <a:lnTo>
                  <a:pt x="2531" y="1609"/>
                </a:lnTo>
                <a:lnTo>
                  <a:pt x="2531" y="1606"/>
                </a:lnTo>
                <a:lnTo>
                  <a:pt x="2532" y="1603"/>
                </a:lnTo>
                <a:lnTo>
                  <a:pt x="2532" y="1600"/>
                </a:lnTo>
                <a:lnTo>
                  <a:pt x="2535" y="1599"/>
                </a:lnTo>
                <a:lnTo>
                  <a:pt x="2535" y="1597"/>
                </a:lnTo>
                <a:lnTo>
                  <a:pt x="2535" y="1596"/>
                </a:lnTo>
                <a:lnTo>
                  <a:pt x="2535" y="1594"/>
                </a:lnTo>
                <a:lnTo>
                  <a:pt x="2535" y="1593"/>
                </a:lnTo>
                <a:lnTo>
                  <a:pt x="2537" y="1591"/>
                </a:lnTo>
                <a:lnTo>
                  <a:pt x="2539" y="1591"/>
                </a:lnTo>
                <a:lnTo>
                  <a:pt x="2539" y="1589"/>
                </a:lnTo>
                <a:lnTo>
                  <a:pt x="2539" y="1585"/>
                </a:lnTo>
                <a:lnTo>
                  <a:pt x="2540" y="1583"/>
                </a:lnTo>
                <a:lnTo>
                  <a:pt x="2540" y="1582"/>
                </a:lnTo>
                <a:lnTo>
                  <a:pt x="2542" y="1580"/>
                </a:lnTo>
                <a:lnTo>
                  <a:pt x="2543" y="1574"/>
                </a:lnTo>
                <a:lnTo>
                  <a:pt x="2545" y="1572"/>
                </a:lnTo>
                <a:lnTo>
                  <a:pt x="2545" y="1571"/>
                </a:lnTo>
                <a:lnTo>
                  <a:pt x="2549" y="1568"/>
                </a:lnTo>
                <a:lnTo>
                  <a:pt x="2551" y="1565"/>
                </a:lnTo>
                <a:lnTo>
                  <a:pt x="2552" y="1557"/>
                </a:lnTo>
                <a:lnTo>
                  <a:pt x="2554" y="1556"/>
                </a:lnTo>
                <a:lnTo>
                  <a:pt x="2555" y="1556"/>
                </a:lnTo>
                <a:lnTo>
                  <a:pt x="2557" y="1556"/>
                </a:lnTo>
                <a:lnTo>
                  <a:pt x="2557" y="1554"/>
                </a:lnTo>
                <a:lnTo>
                  <a:pt x="2558" y="1554"/>
                </a:lnTo>
                <a:lnTo>
                  <a:pt x="2560" y="1552"/>
                </a:lnTo>
                <a:lnTo>
                  <a:pt x="2560" y="1549"/>
                </a:lnTo>
                <a:lnTo>
                  <a:pt x="2562" y="1548"/>
                </a:lnTo>
                <a:lnTo>
                  <a:pt x="2562" y="1545"/>
                </a:lnTo>
                <a:lnTo>
                  <a:pt x="2562" y="1542"/>
                </a:lnTo>
                <a:lnTo>
                  <a:pt x="2566" y="1536"/>
                </a:lnTo>
                <a:lnTo>
                  <a:pt x="2568" y="1533"/>
                </a:lnTo>
                <a:lnTo>
                  <a:pt x="2569" y="1522"/>
                </a:lnTo>
                <a:lnTo>
                  <a:pt x="2571" y="1520"/>
                </a:lnTo>
                <a:lnTo>
                  <a:pt x="2572" y="1515"/>
                </a:lnTo>
                <a:lnTo>
                  <a:pt x="2572" y="1511"/>
                </a:lnTo>
                <a:lnTo>
                  <a:pt x="2572" y="1506"/>
                </a:lnTo>
                <a:lnTo>
                  <a:pt x="2571" y="1502"/>
                </a:lnTo>
                <a:lnTo>
                  <a:pt x="2566" y="1500"/>
                </a:lnTo>
                <a:lnTo>
                  <a:pt x="2563" y="1499"/>
                </a:lnTo>
                <a:lnTo>
                  <a:pt x="2560" y="1497"/>
                </a:lnTo>
                <a:lnTo>
                  <a:pt x="2557" y="1494"/>
                </a:lnTo>
                <a:lnTo>
                  <a:pt x="2557" y="1489"/>
                </a:lnTo>
                <a:lnTo>
                  <a:pt x="2563" y="1471"/>
                </a:lnTo>
                <a:lnTo>
                  <a:pt x="2565" y="1466"/>
                </a:lnTo>
                <a:lnTo>
                  <a:pt x="2566" y="1465"/>
                </a:lnTo>
                <a:lnTo>
                  <a:pt x="2568" y="1463"/>
                </a:lnTo>
                <a:lnTo>
                  <a:pt x="2571" y="1460"/>
                </a:lnTo>
                <a:lnTo>
                  <a:pt x="2572" y="1460"/>
                </a:lnTo>
                <a:lnTo>
                  <a:pt x="2576" y="1459"/>
                </a:lnTo>
                <a:lnTo>
                  <a:pt x="2577" y="1459"/>
                </a:lnTo>
                <a:lnTo>
                  <a:pt x="2580" y="1457"/>
                </a:lnTo>
                <a:lnTo>
                  <a:pt x="2582" y="1452"/>
                </a:lnTo>
                <a:lnTo>
                  <a:pt x="2583" y="1451"/>
                </a:lnTo>
                <a:lnTo>
                  <a:pt x="2585" y="1449"/>
                </a:lnTo>
                <a:lnTo>
                  <a:pt x="2586" y="1449"/>
                </a:lnTo>
                <a:lnTo>
                  <a:pt x="2586" y="1448"/>
                </a:lnTo>
                <a:lnTo>
                  <a:pt x="2586" y="1446"/>
                </a:lnTo>
                <a:lnTo>
                  <a:pt x="2588" y="1446"/>
                </a:lnTo>
                <a:lnTo>
                  <a:pt x="2597" y="1431"/>
                </a:lnTo>
                <a:lnTo>
                  <a:pt x="2597" y="1429"/>
                </a:lnTo>
                <a:lnTo>
                  <a:pt x="2598" y="1429"/>
                </a:lnTo>
                <a:lnTo>
                  <a:pt x="2600" y="1429"/>
                </a:lnTo>
                <a:lnTo>
                  <a:pt x="2602" y="1429"/>
                </a:lnTo>
                <a:lnTo>
                  <a:pt x="2602" y="1426"/>
                </a:lnTo>
                <a:lnTo>
                  <a:pt x="2602" y="1423"/>
                </a:lnTo>
                <a:lnTo>
                  <a:pt x="2600" y="1411"/>
                </a:lnTo>
                <a:lnTo>
                  <a:pt x="2600" y="1408"/>
                </a:lnTo>
                <a:lnTo>
                  <a:pt x="2600" y="1406"/>
                </a:lnTo>
                <a:lnTo>
                  <a:pt x="2602" y="1405"/>
                </a:lnTo>
                <a:lnTo>
                  <a:pt x="2605" y="1403"/>
                </a:lnTo>
                <a:lnTo>
                  <a:pt x="2606" y="1401"/>
                </a:lnTo>
                <a:lnTo>
                  <a:pt x="2611" y="1397"/>
                </a:lnTo>
                <a:lnTo>
                  <a:pt x="2614" y="1392"/>
                </a:lnTo>
                <a:lnTo>
                  <a:pt x="2616" y="1391"/>
                </a:lnTo>
                <a:lnTo>
                  <a:pt x="2616" y="1388"/>
                </a:lnTo>
                <a:lnTo>
                  <a:pt x="2614" y="1386"/>
                </a:lnTo>
                <a:lnTo>
                  <a:pt x="2611" y="1385"/>
                </a:lnTo>
                <a:lnTo>
                  <a:pt x="2609" y="1383"/>
                </a:lnTo>
                <a:lnTo>
                  <a:pt x="2608" y="1375"/>
                </a:lnTo>
                <a:lnTo>
                  <a:pt x="2608" y="1374"/>
                </a:lnTo>
                <a:lnTo>
                  <a:pt x="2609" y="1374"/>
                </a:lnTo>
                <a:lnTo>
                  <a:pt x="2609" y="1372"/>
                </a:lnTo>
                <a:lnTo>
                  <a:pt x="2609" y="1371"/>
                </a:lnTo>
                <a:lnTo>
                  <a:pt x="2608" y="1371"/>
                </a:lnTo>
                <a:lnTo>
                  <a:pt x="2606" y="1371"/>
                </a:lnTo>
                <a:lnTo>
                  <a:pt x="2606" y="1369"/>
                </a:lnTo>
                <a:lnTo>
                  <a:pt x="2605" y="1366"/>
                </a:lnTo>
                <a:lnTo>
                  <a:pt x="2605" y="1361"/>
                </a:lnTo>
                <a:lnTo>
                  <a:pt x="2605" y="1355"/>
                </a:lnTo>
                <a:lnTo>
                  <a:pt x="2605" y="1352"/>
                </a:lnTo>
                <a:lnTo>
                  <a:pt x="2606" y="1348"/>
                </a:lnTo>
                <a:lnTo>
                  <a:pt x="2606" y="1346"/>
                </a:lnTo>
                <a:lnTo>
                  <a:pt x="2606" y="1343"/>
                </a:lnTo>
                <a:lnTo>
                  <a:pt x="2605" y="1340"/>
                </a:lnTo>
                <a:lnTo>
                  <a:pt x="2605" y="1337"/>
                </a:lnTo>
                <a:lnTo>
                  <a:pt x="2606" y="1335"/>
                </a:lnTo>
                <a:lnTo>
                  <a:pt x="2608" y="1334"/>
                </a:lnTo>
                <a:lnTo>
                  <a:pt x="2609" y="1331"/>
                </a:lnTo>
                <a:lnTo>
                  <a:pt x="2611" y="1327"/>
                </a:lnTo>
                <a:lnTo>
                  <a:pt x="2611" y="1326"/>
                </a:lnTo>
                <a:lnTo>
                  <a:pt x="2613" y="1326"/>
                </a:lnTo>
                <a:lnTo>
                  <a:pt x="2613" y="1324"/>
                </a:lnTo>
                <a:lnTo>
                  <a:pt x="2613" y="1321"/>
                </a:lnTo>
                <a:lnTo>
                  <a:pt x="2614" y="1320"/>
                </a:lnTo>
                <a:lnTo>
                  <a:pt x="2614" y="1318"/>
                </a:lnTo>
                <a:lnTo>
                  <a:pt x="2616" y="1318"/>
                </a:lnTo>
                <a:lnTo>
                  <a:pt x="2617" y="1318"/>
                </a:lnTo>
                <a:lnTo>
                  <a:pt x="2619" y="1317"/>
                </a:lnTo>
                <a:lnTo>
                  <a:pt x="2620" y="1315"/>
                </a:lnTo>
                <a:lnTo>
                  <a:pt x="2620" y="1314"/>
                </a:lnTo>
                <a:lnTo>
                  <a:pt x="2622" y="1314"/>
                </a:lnTo>
                <a:lnTo>
                  <a:pt x="2623" y="1317"/>
                </a:lnTo>
                <a:lnTo>
                  <a:pt x="2625" y="1317"/>
                </a:lnTo>
                <a:lnTo>
                  <a:pt x="2626" y="1317"/>
                </a:lnTo>
                <a:lnTo>
                  <a:pt x="2628" y="1315"/>
                </a:lnTo>
                <a:lnTo>
                  <a:pt x="2631" y="1314"/>
                </a:lnTo>
                <a:lnTo>
                  <a:pt x="2639" y="1311"/>
                </a:lnTo>
                <a:lnTo>
                  <a:pt x="2640" y="1309"/>
                </a:lnTo>
                <a:lnTo>
                  <a:pt x="2643" y="1306"/>
                </a:lnTo>
                <a:lnTo>
                  <a:pt x="2645" y="1300"/>
                </a:lnTo>
                <a:lnTo>
                  <a:pt x="2648" y="1297"/>
                </a:lnTo>
                <a:lnTo>
                  <a:pt x="2653" y="1295"/>
                </a:lnTo>
                <a:lnTo>
                  <a:pt x="2654" y="1295"/>
                </a:lnTo>
                <a:lnTo>
                  <a:pt x="2656" y="1295"/>
                </a:lnTo>
                <a:lnTo>
                  <a:pt x="2657" y="1295"/>
                </a:lnTo>
                <a:lnTo>
                  <a:pt x="2659" y="1292"/>
                </a:lnTo>
                <a:lnTo>
                  <a:pt x="2660" y="1289"/>
                </a:lnTo>
                <a:lnTo>
                  <a:pt x="2660" y="1288"/>
                </a:lnTo>
                <a:lnTo>
                  <a:pt x="2662" y="1288"/>
                </a:lnTo>
                <a:lnTo>
                  <a:pt x="2666" y="1286"/>
                </a:lnTo>
                <a:lnTo>
                  <a:pt x="2668" y="1286"/>
                </a:lnTo>
                <a:lnTo>
                  <a:pt x="2669" y="1284"/>
                </a:lnTo>
                <a:lnTo>
                  <a:pt x="2671" y="1280"/>
                </a:lnTo>
                <a:lnTo>
                  <a:pt x="2676" y="1274"/>
                </a:lnTo>
                <a:lnTo>
                  <a:pt x="2679" y="1272"/>
                </a:lnTo>
                <a:lnTo>
                  <a:pt x="2683" y="1271"/>
                </a:lnTo>
                <a:lnTo>
                  <a:pt x="2686" y="1269"/>
                </a:lnTo>
                <a:lnTo>
                  <a:pt x="2690" y="1266"/>
                </a:lnTo>
                <a:lnTo>
                  <a:pt x="2691" y="1263"/>
                </a:lnTo>
                <a:lnTo>
                  <a:pt x="2696" y="1255"/>
                </a:lnTo>
                <a:lnTo>
                  <a:pt x="2699" y="1249"/>
                </a:lnTo>
                <a:lnTo>
                  <a:pt x="2705" y="1245"/>
                </a:lnTo>
                <a:lnTo>
                  <a:pt x="2711" y="1242"/>
                </a:lnTo>
                <a:lnTo>
                  <a:pt x="2737" y="1235"/>
                </a:lnTo>
                <a:lnTo>
                  <a:pt x="2743" y="1237"/>
                </a:lnTo>
                <a:lnTo>
                  <a:pt x="2745" y="1237"/>
                </a:lnTo>
                <a:lnTo>
                  <a:pt x="2746" y="1237"/>
                </a:lnTo>
                <a:lnTo>
                  <a:pt x="2749" y="1235"/>
                </a:lnTo>
                <a:lnTo>
                  <a:pt x="2753" y="1232"/>
                </a:lnTo>
                <a:lnTo>
                  <a:pt x="2753" y="1231"/>
                </a:lnTo>
                <a:lnTo>
                  <a:pt x="2754" y="1229"/>
                </a:lnTo>
                <a:lnTo>
                  <a:pt x="2757" y="1229"/>
                </a:lnTo>
                <a:lnTo>
                  <a:pt x="2757" y="1231"/>
                </a:lnTo>
                <a:lnTo>
                  <a:pt x="2759" y="1231"/>
                </a:lnTo>
                <a:lnTo>
                  <a:pt x="2760" y="1231"/>
                </a:lnTo>
                <a:lnTo>
                  <a:pt x="2762" y="1231"/>
                </a:lnTo>
                <a:lnTo>
                  <a:pt x="2763" y="1229"/>
                </a:lnTo>
                <a:lnTo>
                  <a:pt x="2763" y="1227"/>
                </a:lnTo>
                <a:lnTo>
                  <a:pt x="2765" y="1227"/>
                </a:lnTo>
                <a:lnTo>
                  <a:pt x="2768" y="1229"/>
                </a:lnTo>
                <a:lnTo>
                  <a:pt x="2771" y="1231"/>
                </a:lnTo>
                <a:lnTo>
                  <a:pt x="2773" y="1232"/>
                </a:lnTo>
                <a:lnTo>
                  <a:pt x="2774" y="1234"/>
                </a:lnTo>
                <a:lnTo>
                  <a:pt x="2776" y="1237"/>
                </a:lnTo>
                <a:lnTo>
                  <a:pt x="2777" y="1240"/>
                </a:lnTo>
                <a:lnTo>
                  <a:pt x="2780" y="1242"/>
                </a:lnTo>
                <a:lnTo>
                  <a:pt x="2780" y="1243"/>
                </a:lnTo>
                <a:lnTo>
                  <a:pt x="2780" y="1246"/>
                </a:lnTo>
                <a:lnTo>
                  <a:pt x="2779" y="1248"/>
                </a:lnTo>
                <a:lnTo>
                  <a:pt x="2779" y="1249"/>
                </a:lnTo>
                <a:lnTo>
                  <a:pt x="2780" y="1252"/>
                </a:lnTo>
                <a:lnTo>
                  <a:pt x="2794" y="1258"/>
                </a:lnTo>
                <a:lnTo>
                  <a:pt x="2796" y="1260"/>
                </a:lnTo>
                <a:lnTo>
                  <a:pt x="2796" y="1261"/>
                </a:lnTo>
                <a:lnTo>
                  <a:pt x="2797" y="1261"/>
                </a:lnTo>
                <a:lnTo>
                  <a:pt x="2799" y="1261"/>
                </a:lnTo>
                <a:lnTo>
                  <a:pt x="2800" y="1261"/>
                </a:lnTo>
                <a:lnTo>
                  <a:pt x="2802" y="1261"/>
                </a:lnTo>
                <a:lnTo>
                  <a:pt x="2804" y="1261"/>
                </a:lnTo>
                <a:lnTo>
                  <a:pt x="2804" y="1263"/>
                </a:lnTo>
                <a:lnTo>
                  <a:pt x="2805" y="1263"/>
                </a:lnTo>
                <a:lnTo>
                  <a:pt x="2805" y="1261"/>
                </a:lnTo>
                <a:lnTo>
                  <a:pt x="2807" y="1261"/>
                </a:lnTo>
                <a:lnTo>
                  <a:pt x="2807" y="1258"/>
                </a:lnTo>
                <a:lnTo>
                  <a:pt x="2807" y="1257"/>
                </a:lnTo>
                <a:lnTo>
                  <a:pt x="2807" y="1255"/>
                </a:lnTo>
                <a:lnTo>
                  <a:pt x="2805" y="1254"/>
                </a:lnTo>
                <a:lnTo>
                  <a:pt x="2804" y="1254"/>
                </a:lnTo>
                <a:lnTo>
                  <a:pt x="2804" y="1252"/>
                </a:lnTo>
                <a:lnTo>
                  <a:pt x="2804" y="1251"/>
                </a:lnTo>
                <a:lnTo>
                  <a:pt x="2804" y="1249"/>
                </a:lnTo>
                <a:lnTo>
                  <a:pt x="2800" y="1246"/>
                </a:lnTo>
                <a:lnTo>
                  <a:pt x="2785" y="1223"/>
                </a:lnTo>
                <a:lnTo>
                  <a:pt x="2782" y="1218"/>
                </a:lnTo>
                <a:lnTo>
                  <a:pt x="2782" y="1215"/>
                </a:lnTo>
                <a:lnTo>
                  <a:pt x="2783" y="1212"/>
                </a:lnTo>
                <a:lnTo>
                  <a:pt x="2783" y="1211"/>
                </a:lnTo>
                <a:lnTo>
                  <a:pt x="2783" y="1209"/>
                </a:lnTo>
                <a:lnTo>
                  <a:pt x="2782" y="1206"/>
                </a:lnTo>
                <a:lnTo>
                  <a:pt x="2782" y="1205"/>
                </a:lnTo>
                <a:lnTo>
                  <a:pt x="2782" y="1203"/>
                </a:lnTo>
                <a:lnTo>
                  <a:pt x="2780" y="1201"/>
                </a:lnTo>
                <a:lnTo>
                  <a:pt x="2780" y="1198"/>
                </a:lnTo>
                <a:lnTo>
                  <a:pt x="2782" y="1197"/>
                </a:lnTo>
                <a:lnTo>
                  <a:pt x="2783" y="1194"/>
                </a:lnTo>
                <a:lnTo>
                  <a:pt x="2785" y="1192"/>
                </a:lnTo>
                <a:lnTo>
                  <a:pt x="2788" y="1189"/>
                </a:lnTo>
                <a:lnTo>
                  <a:pt x="2790" y="1187"/>
                </a:lnTo>
                <a:lnTo>
                  <a:pt x="2793" y="1183"/>
                </a:lnTo>
                <a:lnTo>
                  <a:pt x="2794" y="1181"/>
                </a:lnTo>
                <a:lnTo>
                  <a:pt x="2797" y="1181"/>
                </a:lnTo>
                <a:lnTo>
                  <a:pt x="2799" y="1180"/>
                </a:lnTo>
                <a:lnTo>
                  <a:pt x="2800" y="1180"/>
                </a:lnTo>
                <a:lnTo>
                  <a:pt x="2800" y="1178"/>
                </a:lnTo>
                <a:lnTo>
                  <a:pt x="2800" y="1177"/>
                </a:lnTo>
                <a:lnTo>
                  <a:pt x="2804" y="1175"/>
                </a:lnTo>
                <a:lnTo>
                  <a:pt x="2805" y="1174"/>
                </a:lnTo>
                <a:lnTo>
                  <a:pt x="2805" y="1172"/>
                </a:lnTo>
                <a:lnTo>
                  <a:pt x="2807" y="1172"/>
                </a:lnTo>
                <a:lnTo>
                  <a:pt x="2811" y="1168"/>
                </a:lnTo>
                <a:lnTo>
                  <a:pt x="2813" y="1164"/>
                </a:lnTo>
                <a:lnTo>
                  <a:pt x="2814" y="1163"/>
                </a:lnTo>
                <a:lnTo>
                  <a:pt x="2816" y="1161"/>
                </a:lnTo>
                <a:lnTo>
                  <a:pt x="2817" y="1160"/>
                </a:lnTo>
                <a:lnTo>
                  <a:pt x="2819" y="1160"/>
                </a:lnTo>
                <a:lnTo>
                  <a:pt x="2820" y="1160"/>
                </a:lnTo>
                <a:lnTo>
                  <a:pt x="2822" y="1161"/>
                </a:lnTo>
                <a:lnTo>
                  <a:pt x="2822" y="1163"/>
                </a:lnTo>
                <a:lnTo>
                  <a:pt x="2822" y="1164"/>
                </a:lnTo>
                <a:lnTo>
                  <a:pt x="2825" y="1163"/>
                </a:lnTo>
                <a:lnTo>
                  <a:pt x="2826" y="1163"/>
                </a:lnTo>
                <a:lnTo>
                  <a:pt x="2826" y="1161"/>
                </a:lnTo>
                <a:lnTo>
                  <a:pt x="2826" y="1160"/>
                </a:lnTo>
                <a:lnTo>
                  <a:pt x="2826" y="1157"/>
                </a:lnTo>
                <a:lnTo>
                  <a:pt x="2826" y="1155"/>
                </a:lnTo>
                <a:lnTo>
                  <a:pt x="2828" y="1152"/>
                </a:lnTo>
                <a:lnTo>
                  <a:pt x="2830" y="1149"/>
                </a:ln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28" name="Freeform 8">
            <a:extLst>
              <a:ext uri="{FF2B5EF4-FFF2-40B4-BE49-F238E27FC236}">
                <a16:creationId xmlns:a16="http://schemas.microsoft.com/office/drawing/2014/main" id="{F1E47AB7-5EF1-E372-B73D-269968A053A6}"/>
              </a:ext>
            </a:extLst>
          </p:cNvPr>
          <p:cNvSpPr>
            <a:spLocks noEditPoints="1"/>
          </p:cNvSpPr>
          <p:nvPr>
            <p:custDataLst>
              <p:tags r:id="rId10"/>
            </p:custDataLst>
          </p:nvPr>
        </p:nvSpPr>
        <p:spPr bwMode="auto">
          <a:xfrm>
            <a:off x="1192639" y="2686137"/>
            <a:ext cx="1938107" cy="690750"/>
          </a:xfrm>
          <a:custGeom>
            <a:avLst/>
            <a:gdLst>
              <a:gd name="T0" fmla="*/ 1234 w 1658"/>
              <a:gd name="T1" fmla="*/ 54 h 591"/>
              <a:gd name="T2" fmla="*/ 1322 w 1658"/>
              <a:gd name="T3" fmla="*/ 63 h 591"/>
              <a:gd name="T4" fmla="*/ 1273 w 1658"/>
              <a:gd name="T5" fmla="*/ 80 h 591"/>
              <a:gd name="T6" fmla="*/ 1264 w 1658"/>
              <a:gd name="T7" fmla="*/ 140 h 591"/>
              <a:gd name="T8" fmla="*/ 1294 w 1658"/>
              <a:gd name="T9" fmla="*/ 96 h 591"/>
              <a:gd name="T10" fmla="*/ 1340 w 1658"/>
              <a:gd name="T11" fmla="*/ 102 h 591"/>
              <a:gd name="T12" fmla="*/ 1347 w 1658"/>
              <a:gd name="T13" fmla="*/ 145 h 591"/>
              <a:gd name="T14" fmla="*/ 1416 w 1658"/>
              <a:gd name="T15" fmla="*/ 137 h 591"/>
              <a:gd name="T16" fmla="*/ 1464 w 1658"/>
              <a:gd name="T17" fmla="*/ 109 h 591"/>
              <a:gd name="T18" fmla="*/ 1571 w 1658"/>
              <a:gd name="T19" fmla="*/ 57 h 591"/>
              <a:gd name="T20" fmla="*/ 1619 w 1658"/>
              <a:gd name="T21" fmla="*/ 99 h 591"/>
              <a:gd name="T22" fmla="*/ 1574 w 1658"/>
              <a:gd name="T23" fmla="*/ 114 h 591"/>
              <a:gd name="T24" fmla="*/ 1556 w 1658"/>
              <a:gd name="T25" fmla="*/ 161 h 591"/>
              <a:gd name="T26" fmla="*/ 1497 w 1658"/>
              <a:gd name="T27" fmla="*/ 179 h 591"/>
              <a:gd name="T28" fmla="*/ 1476 w 1658"/>
              <a:gd name="T29" fmla="*/ 204 h 591"/>
              <a:gd name="T30" fmla="*/ 1472 w 1658"/>
              <a:gd name="T31" fmla="*/ 244 h 591"/>
              <a:gd name="T32" fmla="*/ 1464 w 1658"/>
              <a:gd name="T33" fmla="*/ 214 h 591"/>
              <a:gd name="T34" fmla="*/ 1458 w 1658"/>
              <a:gd name="T35" fmla="*/ 230 h 591"/>
              <a:gd name="T36" fmla="*/ 1458 w 1658"/>
              <a:gd name="T37" fmla="*/ 242 h 591"/>
              <a:gd name="T38" fmla="*/ 1458 w 1658"/>
              <a:gd name="T39" fmla="*/ 253 h 591"/>
              <a:gd name="T40" fmla="*/ 1461 w 1658"/>
              <a:gd name="T41" fmla="*/ 271 h 591"/>
              <a:gd name="T42" fmla="*/ 1462 w 1658"/>
              <a:gd name="T43" fmla="*/ 286 h 591"/>
              <a:gd name="T44" fmla="*/ 1446 w 1658"/>
              <a:gd name="T45" fmla="*/ 292 h 591"/>
              <a:gd name="T46" fmla="*/ 1435 w 1658"/>
              <a:gd name="T47" fmla="*/ 309 h 591"/>
              <a:gd name="T48" fmla="*/ 1384 w 1658"/>
              <a:gd name="T49" fmla="*/ 342 h 591"/>
              <a:gd name="T50" fmla="*/ 1380 w 1658"/>
              <a:gd name="T51" fmla="*/ 405 h 591"/>
              <a:gd name="T52" fmla="*/ 1393 w 1658"/>
              <a:gd name="T53" fmla="*/ 470 h 591"/>
              <a:gd name="T54" fmla="*/ 1367 w 1658"/>
              <a:gd name="T55" fmla="*/ 466 h 591"/>
              <a:gd name="T56" fmla="*/ 1354 w 1658"/>
              <a:gd name="T57" fmla="*/ 429 h 591"/>
              <a:gd name="T58" fmla="*/ 1320 w 1658"/>
              <a:gd name="T59" fmla="*/ 391 h 591"/>
              <a:gd name="T60" fmla="*/ 1287 w 1658"/>
              <a:gd name="T61" fmla="*/ 381 h 591"/>
              <a:gd name="T62" fmla="*/ 1238 w 1658"/>
              <a:gd name="T63" fmla="*/ 384 h 591"/>
              <a:gd name="T64" fmla="*/ 1234 w 1658"/>
              <a:gd name="T65" fmla="*/ 396 h 591"/>
              <a:gd name="T66" fmla="*/ 1216 w 1658"/>
              <a:gd name="T67" fmla="*/ 403 h 591"/>
              <a:gd name="T68" fmla="*/ 1193 w 1658"/>
              <a:gd name="T69" fmla="*/ 397 h 591"/>
              <a:gd name="T70" fmla="*/ 1147 w 1658"/>
              <a:gd name="T71" fmla="*/ 397 h 591"/>
              <a:gd name="T72" fmla="*/ 1116 w 1658"/>
              <a:gd name="T73" fmla="*/ 416 h 591"/>
              <a:gd name="T74" fmla="*/ 1102 w 1658"/>
              <a:gd name="T75" fmla="*/ 429 h 591"/>
              <a:gd name="T76" fmla="*/ 1104 w 1658"/>
              <a:gd name="T77" fmla="*/ 462 h 591"/>
              <a:gd name="T78" fmla="*/ 1014 w 1658"/>
              <a:gd name="T79" fmla="*/ 392 h 591"/>
              <a:gd name="T80" fmla="*/ 874 w 1658"/>
              <a:gd name="T81" fmla="*/ 363 h 591"/>
              <a:gd name="T82" fmla="*/ 760 w 1658"/>
              <a:gd name="T83" fmla="*/ 328 h 591"/>
              <a:gd name="T84" fmla="*/ 686 w 1658"/>
              <a:gd name="T85" fmla="*/ 270 h 591"/>
              <a:gd name="T86" fmla="*/ 686 w 1658"/>
              <a:gd name="T87" fmla="*/ 237 h 591"/>
              <a:gd name="T88" fmla="*/ 652 w 1658"/>
              <a:gd name="T89" fmla="*/ 210 h 591"/>
              <a:gd name="T90" fmla="*/ 643 w 1658"/>
              <a:gd name="T91" fmla="*/ 133 h 591"/>
              <a:gd name="T92" fmla="*/ 651 w 1658"/>
              <a:gd name="T93" fmla="*/ 67 h 591"/>
              <a:gd name="T94" fmla="*/ 658 w 1658"/>
              <a:gd name="T95" fmla="*/ 27 h 591"/>
              <a:gd name="T96" fmla="*/ 677 w 1658"/>
              <a:gd name="T97" fmla="*/ 26 h 591"/>
              <a:gd name="T98" fmla="*/ 1170 w 1658"/>
              <a:gd name="T99" fmla="*/ 18 h 591"/>
              <a:gd name="T100" fmla="*/ 1216 w 1658"/>
              <a:gd name="T101" fmla="*/ 37 h 591"/>
              <a:gd name="T102" fmla="*/ 119 w 1658"/>
              <a:gd name="T103" fmla="*/ 583 h 591"/>
              <a:gd name="T104" fmla="*/ 94 w 1658"/>
              <a:gd name="T105" fmla="*/ 557 h 591"/>
              <a:gd name="T106" fmla="*/ 85 w 1658"/>
              <a:gd name="T107" fmla="*/ 549 h 591"/>
              <a:gd name="T108" fmla="*/ 73 w 1658"/>
              <a:gd name="T109" fmla="*/ 544 h 591"/>
              <a:gd name="T110" fmla="*/ 34 w 1658"/>
              <a:gd name="T111" fmla="*/ 536 h 591"/>
              <a:gd name="T112" fmla="*/ 723 w 1658"/>
              <a:gd name="T113" fmla="*/ 314 h 591"/>
              <a:gd name="T114" fmla="*/ 745 w 1658"/>
              <a:gd name="T115" fmla="*/ 328 h 591"/>
              <a:gd name="T116" fmla="*/ 670 w 1658"/>
              <a:gd name="T117" fmla="*/ 37 h 591"/>
              <a:gd name="T118" fmla="*/ 1535 w 1658"/>
              <a:gd name="T119" fmla="*/ 176 h 591"/>
              <a:gd name="T120" fmla="*/ 1557 w 1658"/>
              <a:gd name="T121" fmla="*/ 168 h 591"/>
              <a:gd name="T122" fmla="*/ 1563 w 1658"/>
              <a:gd name="T123" fmla="*/ 154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8" h="591">
                <a:moveTo>
                  <a:pt x="1216" y="37"/>
                </a:moveTo>
                <a:cubicBezTo>
                  <a:pt x="1214" y="38"/>
                  <a:pt x="1212" y="37"/>
                  <a:pt x="1210" y="38"/>
                </a:cubicBezTo>
                <a:cubicBezTo>
                  <a:pt x="1209" y="39"/>
                  <a:pt x="1208" y="40"/>
                  <a:pt x="1208" y="41"/>
                </a:cubicBezTo>
                <a:cubicBezTo>
                  <a:pt x="1207" y="43"/>
                  <a:pt x="1207" y="44"/>
                  <a:pt x="1205" y="45"/>
                </a:cubicBezTo>
                <a:cubicBezTo>
                  <a:pt x="1203" y="46"/>
                  <a:pt x="1201" y="47"/>
                  <a:pt x="1198" y="49"/>
                </a:cubicBezTo>
                <a:cubicBezTo>
                  <a:pt x="1197" y="50"/>
                  <a:pt x="1192" y="53"/>
                  <a:pt x="1192" y="55"/>
                </a:cubicBezTo>
                <a:cubicBezTo>
                  <a:pt x="1193" y="58"/>
                  <a:pt x="1196" y="58"/>
                  <a:pt x="1198" y="57"/>
                </a:cubicBezTo>
                <a:cubicBezTo>
                  <a:pt x="1201" y="56"/>
                  <a:pt x="1203" y="54"/>
                  <a:pt x="1206" y="53"/>
                </a:cubicBezTo>
                <a:cubicBezTo>
                  <a:pt x="1208" y="53"/>
                  <a:pt x="1212" y="51"/>
                  <a:pt x="1213" y="52"/>
                </a:cubicBezTo>
                <a:cubicBezTo>
                  <a:pt x="1214" y="53"/>
                  <a:pt x="1214" y="55"/>
                  <a:pt x="1214" y="56"/>
                </a:cubicBezTo>
                <a:cubicBezTo>
                  <a:pt x="1215" y="57"/>
                  <a:pt x="1216" y="58"/>
                  <a:pt x="1217" y="59"/>
                </a:cubicBezTo>
                <a:cubicBezTo>
                  <a:pt x="1219" y="60"/>
                  <a:pt x="1221" y="60"/>
                  <a:pt x="1224" y="58"/>
                </a:cubicBezTo>
                <a:cubicBezTo>
                  <a:pt x="1226" y="57"/>
                  <a:pt x="1227" y="55"/>
                  <a:pt x="1230" y="55"/>
                </a:cubicBezTo>
                <a:cubicBezTo>
                  <a:pt x="1231" y="54"/>
                  <a:pt x="1233" y="55"/>
                  <a:pt x="1234" y="54"/>
                </a:cubicBezTo>
                <a:cubicBezTo>
                  <a:pt x="1235" y="53"/>
                  <a:pt x="1236" y="53"/>
                  <a:pt x="1237" y="52"/>
                </a:cubicBezTo>
                <a:cubicBezTo>
                  <a:pt x="1239" y="51"/>
                  <a:pt x="1242" y="49"/>
                  <a:pt x="1245" y="48"/>
                </a:cubicBezTo>
                <a:cubicBezTo>
                  <a:pt x="1246" y="48"/>
                  <a:pt x="1248" y="48"/>
                  <a:pt x="1250" y="49"/>
                </a:cubicBezTo>
                <a:cubicBezTo>
                  <a:pt x="1252" y="50"/>
                  <a:pt x="1251" y="52"/>
                  <a:pt x="1251" y="54"/>
                </a:cubicBezTo>
                <a:cubicBezTo>
                  <a:pt x="1251" y="55"/>
                  <a:pt x="1253" y="58"/>
                  <a:pt x="1254" y="58"/>
                </a:cubicBezTo>
                <a:cubicBezTo>
                  <a:pt x="1256" y="58"/>
                  <a:pt x="1256" y="54"/>
                  <a:pt x="1258" y="54"/>
                </a:cubicBezTo>
                <a:cubicBezTo>
                  <a:pt x="1262" y="52"/>
                  <a:pt x="1267" y="59"/>
                  <a:pt x="1270" y="61"/>
                </a:cubicBezTo>
                <a:cubicBezTo>
                  <a:pt x="1274" y="63"/>
                  <a:pt x="1281" y="63"/>
                  <a:pt x="1286" y="62"/>
                </a:cubicBezTo>
                <a:cubicBezTo>
                  <a:pt x="1288" y="62"/>
                  <a:pt x="1290" y="60"/>
                  <a:pt x="1292" y="59"/>
                </a:cubicBezTo>
                <a:cubicBezTo>
                  <a:pt x="1295" y="58"/>
                  <a:pt x="1299" y="58"/>
                  <a:pt x="1301" y="57"/>
                </a:cubicBezTo>
                <a:cubicBezTo>
                  <a:pt x="1304" y="57"/>
                  <a:pt x="1306" y="56"/>
                  <a:pt x="1309" y="57"/>
                </a:cubicBezTo>
                <a:cubicBezTo>
                  <a:pt x="1310" y="57"/>
                  <a:pt x="1311" y="58"/>
                  <a:pt x="1313" y="58"/>
                </a:cubicBezTo>
                <a:cubicBezTo>
                  <a:pt x="1314" y="59"/>
                  <a:pt x="1314" y="60"/>
                  <a:pt x="1315" y="61"/>
                </a:cubicBezTo>
                <a:cubicBezTo>
                  <a:pt x="1317" y="64"/>
                  <a:pt x="1320" y="63"/>
                  <a:pt x="1322" y="63"/>
                </a:cubicBezTo>
                <a:cubicBezTo>
                  <a:pt x="1323" y="63"/>
                  <a:pt x="1325" y="62"/>
                  <a:pt x="1325" y="63"/>
                </a:cubicBezTo>
                <a:cubicBezTo>
                  <a:pt x="1326" y="64"/>
                  <a:pt x="1326" y="65"/>
                  <a:pt x="1326" y="65"/>
                </a:cubicBezTo>
                <a:cubicBezTo>
                  <a:pt x="1327" y="67"/>
                  <a:pt x="1330" y="72"/>
                  <a:pt x="1326" y="72"/>
                </a:cubicBezTo>
                <a:cubicBezTo>
                  <a:pt x="1323" y="72"/>
                  <a:pt x="1321" y="71"/>
                  <a:pt x="1319" y="73"/>
                </a:cubicBezTo>
                <a:cubicBezTo>
                  <a:pt x="1317" y="74"/>
                  <a:pt x="1315" y="74"/>
                  <a:pt x="1312" y="73"/>
                </a:cubicBezTo>
                <a:cubicBezTo>
                  <a:pt x="1311" y="72"/>
                  <a:pt x="1309" y="70"/>
                  <a:pt x="1306" y="70"/>
                </a:cubicBezTo>
                <a:cubicBezTo>
                  <a:pt x="1303" y="71"/>
                  <a:pt x="1301" y="73"/>
                  <a:pt x="1298" y="74"/>
                </a:cubicBezTo>
                <a:cubicBezTo>
                  <a:pt x="1296" y="75"/>
                  <a:pt x="1293" y="73"/>
                  <a:pt x="1290" y="74"/>
                </a:cubicBezTo>
                <a:cubicBezTo>
                  <a:pt x="1288" y="74"/>
                  <a:pt x="1288" y="77"/>
                  <a:pt x="1287" y="78"/>
                </a:cubicBezTo>
                <a:cubicBezTo>
                  <a:pt x="1286" y="79"/>
                  <a:pt x="1284" y="81"/>
                  <a:pt x="1283" y="80"/>
                </a:cubicBezTo>
                <a:cubicBezTo>
                  <a:pt x="1282" y="79"/>
                  <a:pt x="1285" y="75"/>
                  <a:pt x="1283" y="75"/>
                </a:cubicBezTo>
                <a:cubicBezTo>
                  <a:pt x="1282" y="75"/>
                  <a:pt x="1281" y="77"/>
                  <a:pt x="1279" y="77"/>
                </a:cubicBezTo>
                <a:cubicBezTo>
                  <a:pt x="1278" y="77"/>
                  <a:pt x="1278" y="74"/>
                  <a:pt x="1276" y="75"/>
                </a:cubicBezTo>
                <a:cubicBezTo>
                  <a:pt x="1274" y="76"/>
                  <a:pt x="1273" y="78"/>
                  <a:pt x="1273" y="80"/>
                </a:cubicBezTo>
                <a:cubicBezTo>
                  <a:pt x="1272" y="83"/>
                  <a:pt x="1271" y="85"/>
                  <a:pt x="1269" y="87"/>
                </a:cubicBezTo>
                <a:cubicBezTo>
                  <a:pt x="1267" y="89"/>
                  <a:pt x="1265" y="91"/>
                  <a:pt x="1263" y="93"/>
                </a:cubicBezTo>
                <a:cubicBezTo>
                  <a:pt x="1261" y="95"/>
                  <a:pt x="1261" y="98"/>
                  <a:pt x="1260" y="100"/>
                </a:cubicBezTo>
                <a:cubicBezTo>
                  <a:pt x="1259" y="103"/>
                  <a:pt x="1264" y="101"/>
                  <a:pt x="1264" y="100"/>
                </a:cubicBezTo>
                <a:cubicBezTo>
                  <a:pt x="1267" y="99"/>
                  <a:pt x="1269" y="96"/>
                  <a:pt x="1271" y="95"/>
                </a:cubicBezTo>
                <a:cubicBezTo>
                  <a:pt x="1272" y="94"/>
                  <a:pt x="1273" y="93"/>
                  <a:pt x="1273" y="92"/>
                </a:cubicBezTo>
                <a:cubicBezTo>
                  <a:pt x="1274" y="91"/>
                  <a:pt x="1274" y="90"/>
                  <a:pt x="1275" y="89"/>
                </a:cubicBezTo>
                <a:cubicBezTo>
                  <a:pt x="1277" y="87"/>
                  <a:pt x="1277" y="92"/>
                  <a:pt x="1276" y="94"/>
                </a:cubicBezTo>
                <a:cubicBezTo>
                  <a:pt x="1275" y="96"/>
                  <a:pt x="1273" y="97"/>
                  <a:pt x="1272" y="99"/>
                </a:cubicBezTo>
                <a:cubicBezTo>
                  <a:pt x="1271" y="102"/>
                  <a:pt x="1271" y="104"/>
                  <a:pt x="1270" y="107"/>
                </a:cubicBezTo>
                <a:cubicBezTo>
                  <a:pt x="1269" y="110"/>
                  <a:pt x="1268" y="112"/>
                  <a:pt x="1267" y="115"/>
                </a:cubicBezTo>
                <a:cubicBezTo>
                  <a:pt x="1266" y="118"/>
                  <a:pt x="1266" y="121"/>
                  <a:pt x="1265" y="124"/>
                </a:cubicBezTo>
                <a:cubicBezTo>
                  <a:pt x="1264" y="126"/>
                  <a:pt x="1263" y="128"/>
                  <a:pt x="1263" y="131"/>
                </a:cubicBezTo>
                <a:cubicBezTo>
                  <a:pt x="1263" y="134"/>
                  <a:pt x="1264" y="137"/>
                  <a:pt x="1264" y="140"/>
                </a:cubicBezTo>
                <a:cubicBezTo>
                  <a:pt x="1264" y="143"/>
                  <a:pt x="1264" y="146"/>
                  <a:pt x="1264" y="149"/>
                </a:cubicBezTo>
                <a:cubicBezTo>
                  <a:pt x="1264" y="151"/>
                  <a:pt x="1266" y="154"/>
                  <a:pt x="1267" y="156"/>
                </a:cubicBezTo>
                <a:cubicBezTo>
                  <a:pt x="1268" y="159"/>
                  <a:pt x="1270" y="160"/>
                  <a:pt x="1272" y="162"/>
                </a:cubicBezTo>
                <a:cubicBezTo>
                  <a:pt x="1272" y="163"/>
                  <a:pt x="1273" y="164"/>
                  <a:pt x="1274" y="163"/>
                </a:cubicBezTo>
                <a:cubicBezTo>
                  <a:pt x="1275" y="163"/>
                  <a:pt x="1277" y="161"/>
                  <a:pt x="1278" y="160"/>
                </a:cubicBezTo>
                <a:cubicBezTo>
                  <a:pt x="1280" y="158"/>
                  <a:pt x="1282" y="156"/>
                  <a:pt x="1284" y="154"/>
                </a:cubicBezTo>
                <a:cubicBezTo>
                  <a:pt x="1286" y="153"/>
                  <a:pt x="1288" y="151"/>
                  <a:pt x="1289" y="148"/>
                </a:cubicBezTo>
                <a:cubicBezTo>
                  <a:pt x="1290" y="145"/>
                  <a:pt x="1290" y="143"/>
                  <a:pt x="1290" y="140"/>
                </a:cubicBezTo>
                <a:cubicBezTo>
                  <a:pt x="1291" y="137"/>
                  <a:pt x="1292" y="135"/>
                  <a:pt x="1290" y="132"/>
                </a:cubicBezTo>
                <a:cubicBezTo>
                  <a:pt x="1289" y="130"/>
                  <a:pt x="1286" y="128"/>
                  <a:pt x="1286" y="126"/>
                </a:cubicBezTo>
                <a:cubicBezTo>
                  <a:pt x="1285" y="125"/>
                  <a:pt x="1286" y="123"/>
                  <a:pt x="1286" y="122"/>
                </a:cubicBezTo>
                <a:cubicBezTo>
                  <a:pt x="1286" y="120"/>
                  <a:pt x="1286" y="118"/>
                  <a:pt x="1285" y="117"/>
                </a:cubicBezTo>
                <a:cubicBezTo>
                  <a:pt x="1284" y="111"/>
                  <a:pt x="1289" y="106"/>
                  <a:pt x="1291" y="101"/>
                </a:cubicBezTo>
                <a:cubicBezTo>
                  <a:pt x="1292" y="99"/>
                  <a:pt x="1292" y="97"/>
                  <a:pt x="1294" y="96"/>
                </a:cubicBezTo>
                <a:cubicBezTo>
                  <a:pt x="1296" y="94"/>
                  <a:pt x="1298" y="94"/>
                  <a:pt x="1300" y="91"/>
                </a:cubicBezTo>
                <a:cubicBezTo>
                  <a:pt x="1301" y="90"/>
                  <a:pt x="1301" y="92"/>
                  <a:pt x="1302" y="92"/>
                </a:cubicBezTo>
                <a:cubicBezTo>
                  <a:pt x="1302" y="93"/>
                  <a:pt x="1301" y="94"/>
                  <a:pt x="1301" y="95"/>
                </a:cubicBezTo>
                <a:cubicBezTo>
                  <a:pt x="1302" y="98"/>
                  <a:pt x="1305" y="95"/>
                  <a:pt x="1305" y="93"/>
                </a:cubicBezTo>
                <a:cubicBezTo>
                  <a:pt x="1305" y="91"/>
                  <a:pt x="1304" y="89"/>
                  <a:pt x="1307" y="88"/>
                </a:cubicBezTo>
                <a:cubicBezTo>
                  <a:pt x="1309" y="88"/>
                  <a:pt x="1312" y="88"/>
                  <a:pt x="1312" y="85"/>
                </a:cubicBezTo>
                <a:cubicBezTo>
                  <a:pt x="1312" y="83"/>
                  <a:pt x="1312" y="80"/>
                  <a:pt x="1312" y="79"/>
                </a:cubicBezTo>
                <a:cubicBezTo>
                  <a:pt x="1313" y="77"/>
                  <a:pt x="1316" y="77"/>
                  <a:pt x="1318" y="77"/>
                </a:cubicBezTo>
                <a:cubicBezTo>
                  <a:pt x="1320" y="78"/>
                  <a:pt x="1322" y="80"/>
                  <a:pt x="1324" y="81"/>
                </a:cubicBezTo>
                <a:cubicBezTo>
                  <a:pt x="1326" y="83"/>
                  <a:pt x="1329" y="84"/>
                  <a:pt x="1332" y="85"/>
                </a:cubicBezTo>
                <a:cubicBezTo>
                  <a:pt x="1334" y="86"/>
                  <a:pt x="1337" y="87"/>
                  <a:pt x="1338" y="89"/>
                </a:cubicBezTo>
                <a:cubicBezTo>
                  <a:pt x="1340" y="91"/>
                  <a:pt x="1338" y="93"/>
                  <a:pt x="1339" y="95"/>
                </a:cubicBezTo>
                <a:cubicBezTo>
                  <a:pt x="1340" y="96"/>
                  <a:pt x="1341" y="98"/>
                  <a:pt x="1341" y="99"/>
                </a:cubicBezTo>
                <a:cubicBezTo>
                  <a:pt x="1341" y="100"/>
                  <a:pt x="1340" y="101"/>
                  <a:pt x="1340" y="102"/>
                </a:cubicBezTo>
                <a:cubicBezTo>
                  <a:pt x="1340" y="103"/>
                  <a:pt x="1340" y="104"/>
                  <a:pt x="1340" y="105"/>
                </a:cubicBezTo>
                <a:cubicBezTo>
                  <a:pt x="1339" y="107"/>
                  <a:pt x="1338" y="106"/>
                  <a:pt x="1337" y="107"/>
                </a:cubicBezTo>
                <a:cubicBezTo>
                  <a:pt x="1335" y="108"/>
                  <a:pt x="1336" y="111"/>
                  <a:pt x="1335" y="112"/>
                </a:cubicBezTo>
                <a:cubicBezTo>
                  <a:pt x="1334" y="114"/>
                  <a:pt x="1332" y="114"/>
                  <a:pt x="1331" y="115"/>
                </a:cubicBezTo>
                <a:cubicBezTo>
                  <a:pt x="1330" y="115"/>
                  <a:pt x="1330" y="116"/>
                  <a:pt x="1330" y="117"/>
                </a:cubicBezTo>
                <a:cubicBezTo>
                  <a:pt x="1329" y="118"/>
                  <a:pt x="1329" y="120"/>
                  <a:pt x="1329" y="121"/>
                </a:cubicBezTo>
                <a:cubicBezTo>
                  <a:pt x="1331" y="122"/>
                  <a:pt x="1334" y="121"/>
                  <a:pt x="1335" y="120"/>
                </a:cubicBezTo>
                <a:cubicBezTo>
                  <a:pt x="1337" y="119"/>
                  <a:pt x="1339" y="117"/>
                  <a:pt x="1341" y="116"/>
                </a:cubicBezTo>
                <a:cubicBezTo>
                  <a:pt x="1342" y="115"/>
                  <a:pt x="1345" y="113"/>
                  <a:pt x="1347" y="113"/>
                </a:cubicBezTo>
                <a:cubicBezTo>
                  <a:pt x="1350" y="114"/>
                  <a:pt x="1351" y="120"/>
                  <a:pt x="1352" y="122"/>
                </a:cubicBezTo>
                <a:cubicBezTo>
                  <a:pt x="1352" y="125"/>
                  <a:pt x="1353" y="127"/>
                  <a:pt x="1353" y="129"/>
                </a:cubicBezTo>
                <a:cubicBezTo>
                  <a:pt x="1353" y="131"/>
                  <a:pt x="1353" y="133"/>
                  <a:pt x="1355" y="133"/>
                </a:cubicBezTo>
                <a:cubicBezTo>
                  <a:pt x="1354" y="136"/>
                  <a:pt x="1353" y="139"/>
                  <a:pt x="1352" y="141"/>
                </a:cubicBezTo>
                <a:cubicBezTo>
                  <a:pt x="1350" y="143"/>
                  <a:pt x="1348" y="144"/>
                  <a:pt x="1347" y="145"/>
                </a:cubicBezTo>
                <a:cubicBezTo>
                  <a:pt x="1343" y="148"/>
                  <a:pt x="1340" y="153"/>
                  <a:pt x="1343" y="157"/>
                </a:cubicBezTo>
                <a:cubicBezTo>
                  <a:pt x="1341" y="158"/>
                  <a:pt x="1337" y="159"/>
                  <a:pt x="1338" y="161"/>
                </a:cubicBezTo>
                <a:cubicBezTo>
                  <a:pt x="1339" y="164"/>
                  <a:pt x="1340" y="165"/>
                  <a:pt x="1343" y="165"/>
                </a:cubicBezTo>
                <a:cubicBezTo>
                  <a:pt x="1345" y="165"/>
                  <a:pt x="1347" y="165"/>
                  <a:pt x="1348" y="167"/>
                </a:cubicBezTo>
                <a:cubicBezTo>
                  <a:pt x="1349" y="169"/>
                  <a:pt x="1352" y="168"/>
                  <a:pt x="1354" y="168"/>
                </a:cubicBezTo>
                <a:cubicBezTo>
                  <a:pt x="1360" y="168"/>
                  <a:pt x="1366" y="167"/>
                  <a:pt x="1371" y="164"/>
                </a:cubicBezTo>
                <a:cubicBezTo>
                  <a:pt x="1373" y="162"/>
                  <a:pt x="1375" y="160"/>
                  <a:pt x="1378" y="159"/>
                </a:cubicBezTo>
                <a:cubicBezTo>
                  <a:pt x="1380" y="158"/>
                  <a:pt x="1383" y="157"/>
                  <a:pt x="1386" y="156"/>
                </a:cubicBezTo>
                <a:cubicBezTo>
                  <a:pt x="1391" y="155"/>
                  <a:pt x="1396" y="154"/>
                  <a:pt x="1401" y="151"/>
                </a:cubicBezTo>
                <a:cubicBezTo>
                  <a:pt x="1403" y="149"/>
                  <a:pt x="1405" y="148"/>
                  <a:pt x="1407" y="147"/>
                </a:cubicBezTo>
                <a:cubicBezTo>
                  <a:pt x="1409" y="146"/>
                  <a:pt x="1410" y="145"/>
                  <a:pt x="1411" y="144"/>
                </a:cubicBezTo>
                <a:cubicBezTo>
                  <a:pt x="1412" y="144"/>
                  <a:pt x="1413" y="143"/>
                  <a:pt x="1415" y="143"/>
                </a:cubicBezTo>
                <a:cubicBezTo>
                  <a:pt x="1417" y="143"/>
                  <a:pt x="1419" y="142"/>
                  <a:pt x="1418" y="140"/>
                </a:cubicBezTo>
                <a:cubicBezTo>
                  <a:pt x="1418" y="139"/>
                  <a:pt x="1417" y="138"/>
                  <a:pt x="1416" y="137"/>
                </a:cubicBezTo>
                <a:cubicBezTo>
                  <a:pt x="1415" y="136"/>
                  <a:pt x="1415" y="135"/>
                  <a:pt x="1414" y="134"/>
                </a:cubicBezTo>
                <a:cubicBezTo>
                  <a:pt x="1414" y="132"/>
                  <a:pt x="1414" y="131"/>
                  <a:pt x="1413" y="130"/>
                </a:cubicBezTo>
                <a:cubicBezTo>
                  <a:pt x="1413" y="129"/>
                  <a:pt x="1414" y="129"/>
                  <a:pt x="1415" y="129"/>
                </a:cubicBezTo>
                <a:cubicBezTo>
                  <a:pt x="1418" y="128"/>
                  <a:pt x="1422" y="128"/>
                  <a:pt x="1425" y="128"/>
                </a:cubicBezTo>
                <a:cubicBezTo>
                  <a:pt x="1428" y="128"/>
                  <a:pt x="1431" y="127"/>
                  <a:pt x="1434" y="128"/>
                </a:cubicBezTo>
                <a:cubicBezTo>
                  <a:pt x="1437" y="128"/>
                  <a:pt x="1439" y="130"/>
                  <a:pt x="1442" y="130"/>
                </a:cubicBezTo>
                <a:cubicBezTo>
                  <a:pt x="1445" y="130"/>
                  <a:pt x="1448" y="130"/>
                  <a:pt x="1451" y="129"/>
                </a:cubicBezTo>
                <a:cubicBezTo>
                  <a:pt x="1453" y="129"/>
                  <a:pt x="1454" y="128"/>
                  <a:pt x="1455" y="127"/>
                </a:cubicBezTo>
                <a:cubicBezTo>
                  <a:pt x="1456" y="127"/>
                  <a:pt x="1457" y="125"/>
                  <a:pt x="1458" y="125"/>
                </a:cubicBezTo>
                <a:cubicBezTo>
                  <a:pt x="1459" y="124"/>
                  <a:pt x="1460" y="124"/>
                  <a:pt x="1460" y="123"/>
                </a:cubicBezTo>
                <a:cubicBezTo>
                  <a:pt x="1461" y="122"/>
                  <a:pt x="1461" y="121"/>
                  <a:pt x="1460" y="119"/>
                </a:cubicBezTo>
                <a:cubicBezTo>
                  <a:pt x="1460" y="118"/>
                  <a:pt x="1461" y="117"/>
                  <a:pt x="1462" y="117"/>
                </a:cubicBezTo>
                <a:cubicBezTo>
                  <a:pt x="1463" y="116"/>
                  <a:pt x="1463" y="116"/>
                  <a:pt x="1463" y="114"/>
                </a:cubicBezTo>
                <a:cubicBezTo>
                  <a:pt x="1463" y="113"/>
                  <a:pt x="1463" y="110"/>
                  <a:pt x="1464" y="109"/>
                </a:cubicBezTo>
                <a:cubicBezTo>
                  <a:pt x="1467" y="107"/>
                  <a:pt x="1469" y="105"/>
                  <a:pt x="1472" y="103"/>
                </a:cubicBezTo>
                <a:cubicBezTo>
                  <a:pt x="1477" y="100"/>
                  <a:pt x="1481" y="96"/>
                  <a:pt x="1487" y="95"/>
                </a:cubicBezTo>
                <a:cubicBezTo>
                  <a:pt x="1494" y="94"/>
                  <a:pt x="1500" y="95"/>
                  <a:pt x="1507" y="95"/>
                </a:cubicBezTo>
                <a:cubicBezTo>
                  <a:pt x="1513" y="95"/>
                  <a:pt x="1520" y="95"/>
                  <a:pt x="1526" y="95"/>
                </a:cubicBezTo>
                <a:cubicBezTo>
                  <a:pt x="1530" y="95"/>
                  <a:pt x="1533" y="95"/>
                  <a:pt x="1536" y="94"/>
                </a:cubicBezTo>
                <a:cubicBezTo>
                  <a:pt x="1539" y="94"/>
                  <a:pt x="1541" y="94"/>
                  <a:pt x="1542" y="91"/>
                </a:cubicBezTo>
                <a:cubicBezTo>
                  <a:pt x="1543" y="89"/>
                  <a:pt x="1544" y="88"/>
                  <a:pt x="1547" y="88"/>
                </a:cubicBezTo>
                <a:cubicBezTo>
                  <a:pt x="1548" y="89"/>
                  <a:pt x="1549" y="89"/>
                  <a:pt x="1550" y="89"/>
                </a:cubicBezTo>
                <a:cubicBezTo>
                  <a:pt x="1552" y="89"/>
                  <a:pt x="1553" y="87"/>
                  <a:pt x="1554" y="86"/>
                </a:cubicBezTo>
                <a:cubicBezTo>
                  <a:pt x="1556" y="84"/>
                  <a:pt x="1557" y="82"/>
                  <a:pt x="1559" y="80"/>
                </a:cubicBezTo>
                <a:cubicBezTo>
                  <a:pt x="1561" y="78"/>
                  <a:pt x="1563" y="75"/>
                  <a:pt x="1563" y="72"/>
                </a:cubicBezTo>
                <a:cubicBezTo>
                  <a:pt x="1564" y="71"/>
                  <a:pt x="1564" y="70"/>
                  <a:pt x="1564" y="68"/>
                </a:cubicBezTo>
                <a:cubicBezTo>
                  <a:pt x="1565" y="67"/>
                  <a:pt x="1566" y="66"/>
                  <a:pt x="1566" y="65"/>
                </a:cubicBezTo>
                <a:cubicBezTo>
                  <a:pt x="1568" y="63"/>
                  <a:pt x="1569" y="60"/>
                  <a:pt x="1571" y="57"/>
                </a:cubicBezTo>
                <a:cubicBezTo>
                  <a:pt x="1572" y="55"/>
                  <a:pt x="1573" y="52"/>
                  <a:pt x="1575" y="50"/>
                </a:cubicBezTo>
                <a:cubicBezTo>
                  <a:pt x="1576" y="48"/>
                  <a:pt x="1578" y="44"/>
                  <a:pt x="1580" y="44"/>
                </a:cubicBezTo>
                <a:cubicBezTo>
                  <a:pt x="1581" y="44"/>
                  <a:pt x="1582" y="45"/>
                  <a:pt x="1583" y="46"/>
                </a:cubicBezTo>
                <a:cubicBezTo>
                  <a:pt x="1583" y="46"/>
                  <a:pt x="1584" y="47"/>
                  <a:pt x="1585" y="47"/>
                </a:cubicBezTo>
                <a:cubicBezTo>
                  <a:pt x="1588" y="48"/>
                  <a:pt x="1591" y="46"/>
                  <a:pt x="1594" y="45"/>
                </a:cubicBezTo>
                <a:cubicBezTo>
                  <a:pt x="1597" y="45"/>
                  <a:pt x="1598" y="47"/>
                  <a:pt x="1600" y="48"/>
                </a:cubicBezTo>
                <a:cubicBezTo>
                  <a:pt x="1603" y="50"/>
                  <a:pt x="1603" y="51"/>
                  <a:pt x="1604" y="54"/>
                </a:cubicBezTo>
                <a:cubicBezTo>
                  <a:pt x="1604" y="61"/>
                  <a:pt x="1603" y="67"/>
                  <a:pt x="1604" y="74"/>
                </a:cubicBezTo>
                <a:cubicBezTo>
                  <a:pt x="1604" y="76"/>
                  <a:pt x="1604" y="79"/>
                  <a:pt x="1606" y="80"/>
                </a:cubicBezTo>
                <a:cubicBezTo>
                  <a:pt x="1609" y="81"/>
                  <a:pt x="1610" y="83"/>
                  <a:pt x="1610" y="86"/>
                </a:cubicBezTo>
                <a:cubicBezTo>
                  <a:pt x="1610" y="87"/>
                  <a:pt x="1610" y="90"/>
                  <a:pt x="1612" y="91"/>
                </a:cubicBezTo>
                <a:cubicBezTo>
                  <a:pt x="1613" y="91"/>
                  <a:pt x="1615" y="91"/>
                  <a:pt x="1616" y="92"/>
                </a:cubicBezTo>
                <a:cubicBezTo>
                  <a:pt x="1615" y="93"/>
                  <a:pt x="1616" y="94"/>
                  <a:pt x="1617" y="95"/>
                </a:cubicBezTo>
                <a:cubicBezTo>
                  <a:pt x="1618" y="96"/>
                  <a:pt x="1621" y="98"/>
                  <a:pt x="1619" y="99"/>
                </a:cubicBezTo>
                <a:cubicBezTo>
                  <a:pt x="1618" y="101"/>
                  <a:pt x="1615" y="101"/>
                  <a:pt x="1613" y="100"/>
                </a:cubicBezTo>
                <a:cubicBezTo>
                  <a:pt x="1612" y="100"/>
                  <a:pt x="1611" y="100"/>
                  <a:pt x="1610" y="100"/>
                </a:cubicBezTo>
                <a:cubicBezTo>
                  <a:pt x="1609" y="101"/>
                  <a:pt x="1608" y="102"/>
                  <a:pt x="1607" y="102"/>
                </a:cubicBezTo>
                <a:cubicBezTo>
                  <a:pt x="1604" y="104"/>
                  <a:pt x="1603" y="106"/>
                  <a:pt x="1600" y="105"/>
                </a:cubicBezTo>
                <a:cubicBezTo>
                  <a:pt x="1598" y="104"/>
                  <a:pt x="1597" y="104"/>
                  <a:pt x="1595" y="105"/>
                </a:cubicBezTo>
                <a:cubicBezTo>
                  <a:pt x="1594" y="106"/>
                  <a:pt x="1594" y="107"/>
                  <a:pt x="1593" y="107"/>
                </a:cubicBezTo>
                <a:cubicBezTo>
                  <a:pt x="1592" y="109"/>
                  <a:pt x="1591" y="108"/>
                  <a:pt x="1590" y="107"/>
                </a:cubicBezTo>
                <a:cubicBezTo>
                  <a:pt x="1589" y="107"/>
                  <a:pt x="1589" y="105"/>
                  <a:pt x="1589" y="104"/>
                </a:cubicBezTo>
                <a:cubicBezTo>
                  <a:pt x="1589" y="103"/>
                  <a:pt x="1588" y="103"/>
                  <a:pt x="1587" y="102"/>
                </a:cubicBezTo>
                <a:cubicBezTo>
                  <a:pt x="1586" y="102"/>
                  <a:pt x="1586" y="103"/>
                  <a:pt x="1586" y="104"/>
                </a:cubicBezTo>
                <a:cubicBezTo>
                  <a:pt x="1586" y="106"/>
                  <a:pt x="1586" y="107"/>
                  <a:pt x="1585" y="108"/>
                </a:cubicBezTo>
                <a:cubicBezTo>
                  <a:pt x="1584" y="111"/>
                  <a:pt x="1584" y="113"/>
                  <a:pt x="1581" y="113"/>
                </a:cubicBezTo>
                <a:cubicBezTo>
                  <a:pt x="1580" y="114"/>
                  <a:pt x="1579" y="114"/>
                  <a:pt x="1578" y="114"/>
                </a:cubicBezTo>
                <a:cubicBezTo>
                  <a:pt x="1576" y="114"/>
                  <a:pt x="1575" y="114"/>
                  <a:pt x="1574" y="114"/>
                </a:cubicBezTo>
                <a:cubicBezTo>
                  <a:pt x="1571" y="113"/>
                  <a:pt x="1571" y="115"/>
                  <a:pt x="1570" y="117"/>
                </a:cubicBezTo>
                <a:cubicBezTo>
                  <a:pt x="1568" y="119"/>
                  <a:pt x="1565" y="117"/>
                  <a:pt x="1564" y="120"/>
                </a:cubicBezTo>
                <a:cubicBezTo>
                  <a:pt x="1564" y="121"/>
                  <a:pt x="1564" y="122"/>
                  <a:pt x="1564" y="123"/>
                </a:cubicBezTo>
                <a:cubicBezTo>
                  <a:pt x="1563" y="124"/>
                  <a:pt x="1562" y="125"/>
                  <a:pt x="1562" y="125"/>
                </a:cubicBezTo>
                <a:cubicBezTo>
                  <a:pt x="1560" y="127"/>
                  <a:pt x="1558" y="129"/>
                  <a:pt x="1556" y="131"/>
                </a:cubicBezTo>
                <a:cubicBezTo>
                  <a:pt x="1555" y="133"/>
                  <a:pt x="1553" y="135"/>
                  <a:pt x="1553" y="137"/>
                </a:cubicBezTo>
                <a:cubicBezTo>
                  <a:pt x="1554" y="139"/>
                  <a:pt x="1556" y="141"/>
                  <a:pt x="1556" y="143"/>
                </a:cubicBezTo>
                <a:cubicBezTo>
                  <a:pt x="1555" y="144"/>
                  <a:pt x="1554" y="144"/>
                  <a:pt x="1553" y="145"/>
                </a:cubicBezTo>
                <a:cubicBezTo>
                  <a:pt x="1552" y="146"/>
                  <a:pt x="1551" y="147"/>
                  <a:pt x="1551" y="148"/>
                </a:cubicBezTo>
                <a:cubicBezTo>
                  <a:pt x="1551" y="149"/>
                  <a:pt x="1552" y="150"/>
                  <a:pt x="1553" y="151"/>
                </a:cubicBezTo>
                <a:cubicBezTo>
                  <a:pt x="1554" y="152"/>
                  <a:pt x="1555" y="153"/>
                  <a:pt x="1555" y="154"/>
                </a:cubicBezTo>
                <a:cubicBezTo>
                  <a:pt x="1556" y="155"/>
                  <a:pt x="1557" y="156"/>
                  <a:pt x="1557" y="157"/>
                </a:cubicBezTo>
                <a:cubicBezTo>
                  <a:pt x="1558" y="158"/>
                  <a:pt x="1559" y="159"/>
                  <a:pt x="1559" y="160"/>
                </a:cubicBezTo>
                <a:cubicBezTo>
                  <a:pt x="1560" y="162"/>
                  <a:pt x="1558" y="161"/>
                  <a:pt x="1556" y="161"/>
                </a:cubicBezTo>
                <a:cubicBezTo>
                  <a:pt x="1554" y="161"/>
                  <a:pt x="1553" y="163"/>
                  <a:pt x="1552" y="164"/>
                </a:cubicBezTo>
                <a:cubicBezTo>
                  <a:pt x="1550" y="166"/>
                  <a:pt x="1547" y="166"/>
                  <a:pt x="1548" y="163"/>
                </a:cubicBezTo>
                <a:cubicBezTo>
                  <a:pt x="1548" y="162"/>
                  <a:pt x="1549" y="162"/>
                  <a:pt x="1549" y="161"/>
                </a:cubicBezTo>
                <a:cubicBezTo>
                  <a:pt x="1548" y="160"/>
                  <a:pt x="1548" y="159"/>
                  <a:pt x="1547" y="160"/>
                </a:cubicBezTo>
                <a:cubicBezTo>
                  <a:pt x="1547" y="161"/>
                  <a:pt x="1547" y="162"/>
                  <a:pt x="1545" y="161"/>
                </a:cubicBezTo>
                <a:cubicBezTo>
                  <a:pt x="1545" y="161"/>
                  <a:pt x="1544" y="160"/>
                  <a:pt x="1543" y="160"/>
                </a:cubicBezTo>
                <a:cubicBezTo>
                  <a:pt x="1541" y="159"/>
                  <a:pt x="1542" y="164"/>
                  <a:pt x="1542" y="164"/>
                </a:cubicBezTo>
                <a:cubicBezTo>
                  <a:pt x="1543" y="167"/>
                  <a:pt x="1541" y="169"/>
                  <a:pt x="1539" y="169"/>
                </a:cubicBezTo>
                <a:cubicBezTo>
                  <a:pt x="1533" y="170"/>
                  <a:pt x="1527" y="169"/>
                  <a:pt x="1521" y="170"/>
                </a:cubicBezTo>
                <a:cubicBezTo>
                  <a:pt x="1515" y="171"/>
                  <a:pt x="1510" y="173"/>
                  <a:pt x="1505" y="176"/>
                </a:cubicBezTo>
                <a:cubicBezTo>
                  <a:pt x="1504" y="176"/>
                  <a:pt x="1503" y="177"/>
                  <a:pt x="1503" y="178"/>
                </a:cubicBezTo>
                <a:cubicBezTo>
                  <a:pt x="1502" y="179"/>
                  <a:pt x="1502" y="180"/>
                  <a:pt x="1501" y="180"/>
                </a:cubicBezTo>
                <a:cubicBezTo>
                  <a:pt x="1501" y="181"/>
                  <a:pt x="1500" y="181"/>
                  <a:pt x="1500" y="180"/>
                </a:cubicBezTo>
                <a:cubicBezTo>
                  <a:pt x="1500" y="179"/>
                  <a:pt x="1498" y="179"/>
                  <a:pt x="1497" y="179"/>
                </a:cubicBezTo>
                <a:cubicBezTo>
                  <a:pt x="1497" y="180"/>
                  <a:pt x="1496" y="181"/>
                  <a:pt x="1497" y="182"/>
                </a:cubicBezTo>
                <a:cubicBezTo>
                  <a:pt x="1497" y="183"/>
                  <a:pt x="1498" y="183"/>
                  <a:pt x="1497" y="184"/>
                </a:cubicBezTo>
                <a:cubicBezTo>
                  <a:pt x="1496" y="185"/>
                  <a:pt x="1495" y="186"/>
                  <a:pt x="1496" y="188"/>
                </a:cubicBezTo>
                <a:cubicBezTo>
                  <a:pt x="1497" y="188"/>
                  <a:pt x="1498" y="188"/>
                  <a:pt x="1498" y="188"/>
                </a:cubicBezTo>
                <a:cubicBezTo>
                  <a:pt x="1499" y="189"/>
                  <a:pt x="1499" y="190"/>
                  <a:pt x="1499" y="191"/>
                </a:cubicBezTo>
                <a:cubicBezTo>
                  <a:pt x="1499" y="193"/>
                  <a:pt x="1498" y="194"/>
                  <a:pt x="1498" y="195"/>
                </a:cubicBezTo>
                <a:cubicBezTo>
                  <a:pt x="1498" y="197"/>
                  <a:pt x="1498" y="198"/>
                  <a:pt x="1498" y="200"/>
                </a:cubicBezTo>
                <a:cubicBezTo>
                  <a:pt x="1497" y="203"/>
                  <a:pt x="1496" y="205"/>
                  <a:pt x="1494" y="206"/>
                </a:cubicBezTo>
                <a:cubicBezTo>
                  <a:pt x="1492" y="208"/>
                  <a:pt x="1490" y="210"/>
                  <a:pt x="1488" y="212"/>
                </a:cubicBezTo>
                <a:cubicBezTo>
                  <a:pt x="1487" y="214"/>
                  <a:pt x="1486" y="216"/>
                  <a:pt x="1484" y="217"/>
                </a:cubicBezTo>
                <a:cubicBezTo>
                  <a:pt x="1483" y="218"/>
                  <a:pt x="1483" y="214"/>
                  <a:pt x="1482" y="213"/>
                </a:cubicBezTo>
                <a:cubicBezTo>
                  <a:pt x="1480" y="212"/>
                  <a:pt x="1477" y="213"/>
                  <a:pt x="1476" y="210"/>
                </a:cubicBezTo>
                <a:cubicBezTo>
                  <a:pt x="1476" y="209"/>
                  <a:pt x="1475" y="208"/>
                  <a:pt x="1475" y="207"/>
                </a:cubicBezTo>
                <a:cubicBezTo>
                  <a:pt x="1475" y="206"/>
                  <a:pt x="1475" y="205"/>
                  <a:pt x="1476" y="204"/>
                </a:cubicBezTo>
                <a:cubicBezTo>
                  <a:pt x="1477" y="202"/>
                  <a:pt x="1478" y="201"/>
                  <a:pt x="1479" y="200"/>
                </a:cubicBezTo>
                <a:cubicBezTo>
                  <a:pt x="1480" y="199"/>
                  <a:pt x="1482" y="198"/>
                  <a:pt x="1481" y="196"/>
                </a:cubicBezTo>
                <a:cubicBezTo>
                  <a:pt x="1480" y="195"/>
                  <a:pt x="1479" y="197"/>
                  <a:pt x="1478" y="198"/>
                </a:cubicBezTo>
                <a:cubicBezTo>
                  <a:pt x="1477" y="199"/>
                  <a:pt x="1474" y="200"/>
                  <a:pt x="1473" y="202"/>
                </a:cubicBezTo>
                <a:cubicBezTo>
                  <a:pt x="1473" y="205"/>
                  <a:pt x="1472" y="207"/>
                  <a:pt x="1473" y="209"/>
                </a:cubicBezTo>
                <a:cubicBezTo>
                  <a:pt x="1473" y="210"/>
                  <a:pt x="1474" y="211"/>
                  <a:pt x="1474" y="212"/>
                </a:cubicBezTo>
                <a:cubicBezTo>
                  <a:pt x="1475" y="214"/>
                  <a:pt x="1475" y="215"/>
                  <a:pt x="1476" y="216"/>
                </a:cubicBezTo>
                <a:cubicBezTo>
                  <a:pt x="1478" y="217"/>
                  <a:pt x="1480" y="219"/>
                  <a:pt x="1478" y="221"/>
                </a:cubicBezTo>
                <a:cubicBezTo>
                  <a:pt x="1477" y="224"/>
                  <a:pt x="1480" y="224"/>
                  <a:pt x="1480" y="226"/>
                </a:cubicBezTo>
                <a:cubicBezTo>
                  <a:pt x="1481" y="228"/>
                  <a:pt x="1480" y="230"/>
                  <a:pt x="1479" y="231"/>
                </a:cubicBezTo>
                <a:cubicBezTo>
                  <a:pt x="1478" y="232"/>
                  <a:pt x="1477" y="233"/>
                  <a:pt x="1477" y="234"/>
                </a:cubicBezTo>
                <a:cubicBezTo>
                  <a:pt x="1477" y="235"/>
                  <a:pt x="1477" y="236"/>
                  <a:pt x="1476" y="237"/>
                </a:cubicBezTo>
                <a:cubicBezTo>
                  <a:pt x="1476" y="239"/>
                  <a:pt x="1475" y="240"/>
                  <a:pt x="1474" y="241"/>
                </a:cubicBezTo>
                <a:cubicBezTo>
                  <a:pt x="1473" y="242"/>
                  <a:pt x="1473" y="243"/>
                  <a:pt x="1472" y="244"/>
                </a:cubicBezTo>
                <a:cubicBezTo>
                  <a:pt x="1471" y="246"/>
                  <a:pt x="1470" y="249"/>
                  <a:pt x="1467" y="250"/>
                </a:cubicBezTo>
                <a:cubicBezTo>
                  <a:pt x="1465" y="252"/>
                  <a:pt x="1466" y="247"/>
                  <a:pt x="1467" y="246"/>
                </a:cubicBezTo>
                <a:cubicBezTo>
                  <a:pt x="1467" y="244"/>
                  <a:pt x="1468" y="243"/>
                  <a:pt x="1468" y="242"/>
                </a:cubicBezTo>
                <a:cubicBezTo>
                  <a:pt x="1469" y="241"/>
                  <a:pt x="1471" y="240"/>
                  <a:pt x="1471" y="238"/>
                </a:cubicBezTo>
                <a:cubicBezTo>
                  <a:pt x="1471" y="237"/>
                  <a:pt x="1470" y="237"/>
                  <a:pt x="1469" y="236"/>
                </a:cubicBezTo>
                <a:cubicBezTo>
                  <a:pt x="1469" y="236"/>
                  <a:pt x="1469" y="235"/>
                  <a:pt x="1469" y="235"/>
                </a:cubicBezTo>
                <a:cubicBezTo>
                  <a:pt x="1469" y="234"/>
                  <a:pt x="1469" y="234"/>
                  <a:pt x="1469" y="234"/>
                </a:cubicBezTo>
                <a:cubicBezTo>
                  <a:pt x="1468" y="233"/>
                  <a:pt x="1468" y="232"/>
                  <a:pt x="1468" y="230"/>
                </a:cubicBezTo>
                <a:cubicBezTo>
                  <a:pt x="1468" y="229"/>
                  <a:pt x="1468" y="228"/>
                  <a:pt x="1467" y="229"/>
                </a:cubicBezTo>
                <a:cubicBezTo>
                  <a:pt x="1466" y="230"/>
                  <a:pt x="1463" y="230"/>
                  <a:pt x="1462" y="229"/>
                </a:cubicBezTo>
                <a:cubicBezTo>
                  <a:pt x="1461" y="228"/>
                  <a:pt x="1460" y="224"/>
                  <a:pt x="1463" y="225"/>
                </a:cubicBezTo>
                <a:cubicBezTo>
                  <a:pt x="1465" y="225"/>
                  <a:pt x="1466" y="225"/>
                  <a:pt x="1465" y="223"/>
                </a:cubicBezTo>
                <a:cubicBezTo>
                  <a:pt x="1463" y="222"/>
                  <a:pt x="1462" y="219"/>
                  <a:pt x="1462" y="217"/>
                </a:cubicBezTo>
                <a:cubicBezTo>
                  <a:pt x="1462" y="216"/>
                  <a:pt x="1463" y="215"/>
                  <a:pt x="1464" y="214"/>
                </a:cubicBezTo>
                <a:cubicBezTo>
                  <a:pt x="1464" y="213"/>
                  <a:pt x="1463" y="213"/>
                  <a:pt x="1462" y="212"/>
                </a:cubicBezTo>
                <a:cubicBezTo>
                  <a:pt x="1462" y="212"/>
                  <a:pt x="1462" y="211"/>
                  <a:pt x="1462" y="210"/>
                </a:cubicBezTo>
                <a:cubicBezTo>
                  <a:pt x="1463" y="209"/>
                  <a:pt x="1463" y="209"/>
                  <a:pt x="1464" y="209"/>
                </a:cubicBezTo>
                <a:cubicBezTo>
                  <a:pt x="1466" y="210"/>
                  <a:pt x="1465" y="207"/>
                  <a:pt x="1466" y="206"/>
                </a:cubicBezTo>
                <a:cubicBezTo>
                  <a:pt x="1466" y="203"/>
                  <a:pt x="1463" y="204"/>
                  <a:pt x="1462" y="206"/>
                </a:cubicBezTo>
                <a:cubicBezTo>
                  <a:pt x="1461" y="208"/>
                  <a:pt x="1459" y="209"/>
                  <a:pt x="1457" y="209"/>
                </a:cubicBezTo>
                <a:cubicBezTo>
                  <a:pt x="1454" y="210"/>
                  <a:pt x="1455" y="212"/>
                  <a:pt x="1456" y="214"/>
                </a:cubicBezTo>
                <a:cubicBezTo>
                  <a:pt x="1458" y="216"/>
                  <a:pt x="1458" y="219"/>
                  <a:pt x="1457" y="221"/>
                </a:cubicBezTo>
                <a:cubicBezTo>
                  <a:pt x="1457" y="222"/>
                  <a:pt x="1456" y="223"/>
                  <a:pt x="1457" y="224"/>
                </a:cubicBezTo>
                <a:cubicBezTo>
                  <a:pt x="1457" y="224"/>
                  <a:pt x="1458" y="227"/>
                  <a:pt x="1457" y="227"/>
                </a:cubicBezTo>
                <a:cubicBezTo>
                  <a:pt x="1454" y="227"/>
                  <a:pt x="1456" y="224"/>
                  <a:pt x="1453" y="223"/>
                </a:cubicBezTo>
                <a:cubicBezTo>
                  <a:pt x="1453" y="223"/>
                  <a:pt x="1452" y="225"/>
                  <a:pt x="1452" y="226"/>
                </a:cubicBezTo>
                <a:cubicBezTo>
                  <a:pt x="1452" y="227"/>
                  <a:pt x="1454" y="228"/>
                  <a:pt x="1455" y="229"/>
                </a:cubicBezTo>
                <a:cubicBezTo>
                  <a:pt x="1456" y="229"/>
                  <a:pt x="1457" y="229"/>
                  <a:pt x="1458" y="230"/>
                </a:cubicBezTo>
                <a:cubicBezTo>
                  <a:pt x="1458" y="231"/>
                  <a:pt x="1459" y="231"/>
                  <a:pt x="1459" y="232"/>
                </a:cubicBezTo>
                <a:cubicBezTo>
                  <a:pt x="1460" y="235"/>
                  <a:pt x="1457" y="233"/>
                  <a:pt x="1457" y="233"/>
                </a:cubicBezTo>
                <a:cubicBezTo>
                  <a:pt x="1455" y="231"/>
                  <a:pt x="1453" y="232"/>
                  <a:pt x="1452" y="230"/>
                </a:cubicBezTo>
                <a:cubicBezTo>
                  <a:pt x="1450" y="228"/>
                  <a:pt x="1447" y="228"/>
                  <a:pt x="1446" y="225"/>
                </a:cubicBezTo>
                <a:cubicBezTo>
                  <a:pt x="1446" y="225"/>
                  <a:pt x="1447" y="223"/>
                  <a:pt x="1446" y="223"/>
                </a:cubicBezTo>
                <a:cubicBezTo>
                  <a:pt x="1446" y="222"/>
                  <a:pt x="1445" y="223"/>
                  <a:pt x="1445" y="223"/>
                </a:cubicBezTo>
                <a:cubicBezTo>
                  <a:pt x="1444" y="224"/>
                  <a:pt x="1444" y="225"/>
                  <a:pt x="1443" y="226"/>
                </a:cubicBezTo>
                <a:cubicBezTo>
                  <a:pt x="1443" y="227"/>
                  <a:pt x="1441" y="228"/>
                  <a:pt x="1442" y="229"/>
                </a:cubicBezTo>
                <a:cubicBezTo>
                  <a:pt x="1443" y="232"/>
                  <a:pt x="1445" y="229"/>
                  <a:pt x="1447" y="230"/>
                </a:cubicBezTo>
                <a:cubicBezTo>
                  <a:pt x="1448" y="231"/>
                  <a:pt x="1448" y="232"/>
                  <a:pt x="1449" y="232"/>
                </a:cubicBezTo>
                <a:cubicBezTo>
                  <a:pt x="1450" y="233"/>
                  <a:pt x="1451" y="233"/>
                  <a:pt x="1452" y="233"/>
                </a:cubicBezTo>
                <a:cubicBezTo>
                  <a:pt x="1453" y="234"/>
                  <a:pt x="1454" y="235"/>
                  <a:pt x="1455" y="235"/>
                </a:cubicBezTo>
                <a:cubicBezTo>
                  <a:pt x="1456" y="236"/>
                  <a:pt x="1457" y="237"/>
                  <a:pt x="1458" y="238"/>
                </a:cubicBezTo>
                <a:cubicBezTo>
                  <a:pt x="1459" y="238"/>
                  <a:pt x="1461" y="242"/>
                  <a:pt x="1458" y="242"/>
                </a:cubicBezTo>
                <a:cubicBezTo>
                  <a:pt x="1456" y="241"/>
                  <a:pt x="1455" y="239"/>
                  <a:pt x="1453" y="238"/>
                </a:cubicBezTo>
                <a:cubicBezTo>
                  <a:pt x="1452" y="237"/>
                  <a:pt x="1451" y="237"/>
                  <a:pt x="1450" y="237"/>
                </a:cubicBezTo>
                <a:cubicBezTo>
                  <a:pt x="1449" y="236"/>
                  <a:pt x="1449" y="235"/>
                  <a:pt x="1448" y="234"/>
                </a:cubicBezTo>
                <a:cubicBezTo>
                  <a:pt x="1446" y="232"/>
                  <a:pt x="1444" y="234"/>
                  <a:pt x="1446" y="236"/>
                </a:cubicBezTo>
                <a:cubicBezTo>
                  <a:pt x="1447" y="236"/>
                  <a:pt x="1448" y="236"/>
                  <a:pt x="1449" y="237"/>
                </a:cubicBezTo>
                <a:cubicBezTo>
                  <a:pt x="1450" y="238"/>
                  <a:pt x="1450" y="239"/>
                  <a:pt x="1451" y="240"/>
                </a:cubicBezTo>
                <a:cubicBezTo>
                  <a:pt x="1452" y="241"/>
                  <a:pt x="1454" y="241"/>
                  <a:pt x="1455" y="242"/>
                </a:cubicBezTo>
                <a:cubicBezTo>
                  <a:pt x="1456" y="242"/>
                  <a:pt x="1456" y="243"/>
                  <a:pt x="1457" y="244"/>
                </a:cubicBezTo>
                <a:cubicBezTo>
                  <a:pt x="1459" y="245"/>
                  <a:pt x="1461" y="246"/>
                  <a:pt x="1460" y="248"/>
                </a:cubicBezTo>
                <a:cubicBezTo>
                  <a:pt x="1460" y="250"/>
                  <a:pt x="1458" y="251"/>
                  <a:pt x="1457" y="249"/>
                </a:cubicBezTo>
                <a:cubicBezTo>
                  <a:pt x="1456" y="248"/>
                  <a:pt x="1454" y="245"/>
                  <a:pt x="1452" y="245"/>
                </a:cubicBezTo>
                <a:cubicBezTo>
                  <a:pt x="1449" y="246"/>
                  <a:pt x="1454" y="248"/>
                  <a:pt x="1454" y="249"/>
                </a:cubicBezTo>
                <a:cubicBezTo>
                  <a:pt x="1455" y="249"/>
                  <a:pt x="1455" y="250"/>
                  <a:pt x="1456" y="251"/>
                </a:cubicBezTo>
                <a:cubicBezTo>
                  <a:pt x="1457" y="252"/>
                  <a:pt x="1457" y="252"/>
                  <a:pt x="1458" y="253"/>
                </a:cubicBezTo>
                <a:cubicBezTo>
                  <a:pt x="1459" y="254"/>
                  <a:pt x="1458" y="256"/>
                  <a:pt x="1457" y="254"/>
                </a:cubicBezTo>
                <a:cubicBezTo>
                  <a:pt x="1455" y="253"/>
                  <a:pt x="1454" y="252"/>
                  <a:pt x="1452" y="251"/>
                </a:cubicBezTo>
                <a:cubicBezTo>
                  <a:pt x="1449" y="250"/>
                  <a:pt x="1447" y="249"/>
                  <a:pt x="1444" y="249"/>
                </a:cubicBezTo>
                <a:cubicBezTo>
                  <a:pt x="1443" y="249"/>
                  <a:pt x="1443" y="250"/>
                  <a:pt x="1443" y="251"/>
                </a:cubicBezTo>
                <a:cubicBezTo>
                  <a:pt x="1444" y="252"/>
                  <a:pt x="1445" y="252"/>
                  <a:pt x="1446" y="252"/>
                </a:cubicBezTo>
                <a:cubicBezTo>
                  <a:pt x="1448" y="252"/>
                  <a:pt x="1451" y="252"/>
                  <a:pt x="1453" y="253"/>
                </a:cubicBezTo>
                <a:cubicBezTo>
                  <a:pt x="1454" y="254"/>
                  <a:pt x="1454" y="257"/>
                  <a:pt x="1455" y="259"/>
                </a:cubicBezTo>
                <a:cubicBezTo>
                  <a:pt x="1457" y="260"/>
                  <a:pt x="1459" y="257"/>
                  <a:pt x="1461" y="258"/>
                </a:cubicBezTo>
                <a:cubicBezTo>
                  <a:pt x="1462" y="258"/>
                  <a:pt x="1463" y="258"/>
                  <a:pt x="1464" y="258"/>
                </a:cubicBezTo>
                <a:cubicBezTo>
                  <a:pt x="1465" y="259"/>
                  <a:pt x="1465" y="260"/>
                  <a:pt x="1465" y="261"/>
                </a:cubicBezTo>
                <a:cubicBezTo>
                  <a:pt x="1465" y="262"/>
                  <a:pt x="1465" y="263"/>
                  <a:pt x="1464" y="264"/>
                </a:cubicBezTo>
                <a:cubicBezTo>
                  <a:pt x="1464" y="265"/>
                  <a:pt x="1464" y="267"/>
                  <a:pt x="1465" y="268"/>
                </a:cubicBezTo>
                <a:cubicBezTo>
                  <a:pt x="1465" y="269"/>
                  <a:pt x="1465" y="270"/>
                  <a:pt x="1464" y="270"/>
                </a:cubicBezTo>
                <a:cubicBezTo>
                  <a:pt x="1463" y="270"/>
                  <a:pt x="1461" y="268"/>
                  <a:pt x="1461" y="271"/>
                </a:cubicBezTo>
                <a:cubicBezTo>
                  <a:pt x="1460" y="273"/>
                  <a:pt x="1459" y="271"/>
                  <a:pt x="1457" y="271"/>
                </a:cubicBezTo>
                <a:cubicBezTo>
                  <a:pt x="1456" y="271"/>
                  <a:pt x="1457" y="273"/>
                  <a:pt x="1457" y="273"/>
                </a:cubicBezTo>
                <a:cubicBezTo>
                  <a:pt x="1457" y="274"/>
                  <a:pt x="1455" y="274"/>
                  <a:pt x="1454" y="274"/>
                </a:cubicBezTo>
                <a:cubicBezTo>
                  <a:pt x="1453" y="273"/>
                  <a:pt x="1454" y="271"/>
                  <a:pt x="1454" y="269"/>
                </a:cubicBezTo>
                <a:cubicBezTo>
                  <a:pt x="1453" y="269"/>
                  <a:pt x="1453" y="268"/>
                  <a:pt x="1452" y="269"/>
                </a:cubicBezTo>
                <a:cubicBezTo>
                  <a:pt x="1451" y="269"/>
                  <a:pt x="1452" y="271"/>
                  <a:pt x="1452" y="271"/>
                </a:cubicBezTo>
                <a:cubicBezTo>
                  <a:pt x="1452" y="273"/>
                  <a:pt x="1452" y="274"/>
                  <a:pt x="1452" y="276"/>
                </a:cubicBezTo>
                <a:cubicBezTo>
                  <a:pt x="1451" y="279"/>
                  <a:pt x="1456" y="277"/>
                  <a:pt x="1457" y="277"/>
                </a:cubicBezTo>
                <a:cubicBezTo>
                  <a:pt x="1459" y="276"/>
                  <a:pt x="1463" y="275"/>
                  <a:pt x="1464" y="278"/>
                </a:cubicBezTo>
                <a:cubicBezTo>
                  <a:pt x="1464" y="278"/>
                  <a:pt x="1463" y="282"/>
                  <a:pt x="1464" y="281"/>
                </a:cubicBezTo>
                <a:cubicBezTo>
                  <a:pt x="1465" y="280"/>
                  <a:pt x="1465" y="278"/>
                  <a:pt x="1467" y="278"/>
                </a:cubicBezTo>
                <a:cubicBezTo>
                  <a:pt x="1470" y="279"/>
                  <a:pt x="1469" y="283"/>
                  <a:pt x="1467" y="283"/>
                </a:cubicBezTo>
                <a:cubicBezTo>
                  <a:pt x="1466" y="284"/>
                  <a:pt x="1465" y="284"/>
                  <a:pt x="1464" y="284"/>
                </a:cubicBezTo>
                <a:cubicBezTo>
                  <a:pt x="1463" y="284"/>
                  <a:pt x="1463" y="285"/>
                  <a:pt x="1462" y="286"/>
                </a:cubicBezTo>
                <a:cubicBezTo>
                  <a:pt x="1461" y="286"/>
                  <a:pt x="1460" y="287"/>
                  <a:pt x="1459" y="286"/>
                </a:cubicBezTo>
                <a:cubicBezTo>
                  <a:pt x="1459" y="286"/>
                  <a:pt x="1459" y="286"/>
                  <a:pt x="1458" y="286"/>
                </a:cubicBezTo>
                <a:cubicBezTo>
                  <a:pt x="1458" y="285"/>
                  <a:pt x="1457" y="285"/>
                  <a:pt x="1457" y="285"/>
                </a:cubicBezTo>
                <a:cubicBezTo>
                  <a:pt x="1456" y="285"/>
                  <a:pt x="1455" y="284"/>
                  <a:pt x="1454" y="284"/>
                </a:cubicBezTo>
                <a:cubicBezTo>
                  <a:pt x="1454" y="285"/>
                  <a:pt x="1453" y="285"/>
                  <a:pt x="1453" y="285"/>
                </a:cubicBezTo>
                <a:cubicBezTo>
                  <a:pt x="1452" y="285"/>
                  <a:pt x="1452" y="285"/>
                  <a:pt x="1451" y="285"/>
                </a:cubicBezTo>
                <a:cubicBezTo>
                  <a:pt x="1450" y="284"/>
                  <a:pt x="1450" y="284"/>
                  <a:pt x="1449" y="284"/>
                </a:cubicBezTo>
                <a:cubicBezTo>
                  <a:pt x="1448" y="284"/>
                  <a:pt x="1447" y="283"/>
                  <a:pt x="1447" y="284"/>
                </a:cubicBezTo>
                <a:cubicBezTo>
                  <a:pt x="1446" y="285"/>
                  <a:pt x="1447" y="286"/>
                  <a:pt x="1448" y="286"/>
                </a:cubicBezTo>
                <a:cubicBezTo>
                  <a:pt x="1449" y="285"/>
                  <a:pt x="1450" y="286"/>
                  <a:pt x="1451" y="287"/>
                </a:cubicBezTo>
                <a:cubicBezTo>
                  <a:pt x="1452" y="288"/>
                  <a:pt x="1454" y="288"/>
                  <a:pt x="1456" y="289"/>
                </a:cubicBezTo>
                <a:cubicBezTo>
                  <a:pt x="1458" y="290"/>
                  <a:pt x="1456" y="291"/>
                  <a:pt x="1454" y="292"/>
                </a:cubicBezTo>
                <a:cubicBezTo>
                  <a:pt x="1452" y="294"/>
                  <a:pt x="1451" y="293"/>
                  <a:pt x="1448" y="292"/>
                </a:cubicBezTo>
                <a:cubicBezTo>
                  <a:pt x="1448" y="291"/>
                  <a:pt x="1447" y="291"/>
                  <a:pt x="1446" y="292"/>
                </a:cubicBezTo>
                <a:cubicBezTo>
                  <a:pt x="1446" y="293"/>
                  <a:pt x="1447" y="293"/>
                  <a:pt x="1447" y="294"/>
                </a:cubicBezTo>
                <a:cubicBezTo>
                  <a:pt x="1448" y="295"/>
                  <a:pt x="1449" y="296"/>
                  <a:pt x="1450" y="296"/>
                </a:cubicBezTo>
                <a:cubicBezTo>
                  <a:pt x="1451" y="297"/>
                  <a:pt x="1453" y="296"/>
                  <a:pt x="1454" y="296"/>
                </a:cubicBezTo>
                <a:cubicBezTo>
                  <a:pt x="1455" y="296"/>
                  <a:pt x="1456" y="296"/>
                  <a:pt x="1457" y="296"/>
                </a:cubicBezTo>
                <a:cubicBezTo>
                  <a:pt x="1458" y="297"/>
                  <a:pt x="1456" y="297"/>
                  <a:pt x="1455" y="297"/>
                </a:cubicBezTo>
                <a:cubicBezTo>
                  <a:pt x="1454" y="297"/>
                  <a:pt x="1454" y="297"/>
                  <a:pt x="1453" y="298"/>
                </a:cubicBezTo>
                <a:cubicBezTo>
                  <a:pt x="1452" y="299"/>
                  <a:pt x="1450" y="299"/>
                  <a:pt x="1449" y="300"/>
                </a:cubicBezTo>
                <a:cubicBezTo>
                  <a:pt x="1448" y="300"/>
                  <a:pt x="1447" y="299"/>
                  <a:pt x="1447" y="299"/>
                </a:cubicBezTo>
                <a:cubicBezTo>
                  <a:pt x="1446" y="299"/>
                  <a:pt x="1445" y="299"/>
                  <a:pt x="1444" y="299"/>
                </a:cubicBezTo>
                <a:cubicBezTo>
                  <a:pt x="1443" y="300"/>
                  <a:pt x="1439" y="298"/>
                  <a:pt x="1439" y="300"/>
                </a:cubicBezTo>
                <a:cubicBezTo>
                  <a:pt x="1439" y="301"/>
                  <a:pt x="1441" y="302"/>
                  <a:pt x="1441" y="303"/>
                </a:cubicBezTo>
                <a:cubicBezTo>
                  <a:pt x="1441" y="304"/>
                  <a:pt x="1440" y="304"/>
                  <a:pt x="1440" y="304"/>
                </a:cubicBezTo>
                <a:cubicBezTo>
                  <a:pt x="1438" y="304"/>
                  <a:pt x="1438" y="305"/>
                  <a:pt x="1437" y="306"/>
                </a:cubicBezTo>
                <a:cubicBezTo>
                  <a:pt x="1437" y="307"/>
                  <a:pt x="1436" y="308"/>
                  <a:pt x="1435" y="309"/>
                </a:cubicBezTo>
                <a:cubicBezTo>
                  <a:pt x="1434" y="309"/>
                  <a:pt x="1433" y="310"/>
                  <a:pt x="1432" y="310"/>
                </a:cubicBezTo>
                <a:cubicBezTo>
                  <a:pt x="1431" y="312"/>
                  <a:pt x="1431" y="314"/>
                  <a:pt x="1429" y="315"/>
                </a:cubicBezTo>
                <a:cubicBezTo>
                  <a:pt x="1426" y="316"/>
                  <a:pt x="1423" y="315"/>
                  <a:pt x="1421" y="316"/>
                </a:cubicBezTo>
                <a:cubicBezTo>
                  <a:pt x="1420" y="316"/>
                  <a:pt x="1419" y="317"/>
                  <a:pt x="1418" y="318"/>
                </a:cubicBezTo>
                <a:cubicBezTo>
                  <a:pt x="1417" y="319"/>
                  <a:pt x="1415" y="320"/>
                  <a:pt x="1414" y="321"/>
                </a:cubicBezTo>
                <a:cubicBezTo>
                  <a:pt x="1413" y="321"/>
                  <a:pt x="1413" y="322"/>
                  <a:pt x="1412" y="324"/>
                </a:cubicBezTo>
                <a:cubicBezTo>
                  <a:pt x="1412" y="325"/>
                  <a:pt x="1411" y="325"/>
                  <a:pt x="1410" y="326"/>
                </a:cubicBezTo>
                <a:cubicBezTo>
                  <a:pt x="1408" y="327"/>
                  <a:pt x="1409" y="330"/>
                  <a:pt x="1407" y="331"/>
                </a:cubicBezTo>
                <a:cubicBezTo>
                  <a:pt x="1405" y="332"/>
                  <a:pt x="1404" y="334"/>
                  <a:pt x="1402" y="336"/>
                </a:cubicBezTo>
                <a:cubicBezTo>
                  <a:pt x="1401" y="336"/>
                  <a:pt x="1400" y="336"/>
                  <a:pt x="1398" y="336"/>
                </a:cubicBezTo>
                <a:cubicBezTo>
                  <a:pt x="1397" y="336"/>
                  <a:pt x="1397" y="337"/>
                  <a:pt x="1396" y="338"/>
                </a:cubicBezTo>
                <a:cubicBezTo>
                  <a:pt x="1395" y="340"/>
                  <a:pt x="1393" y="339"/>
                  <a:pt x="1391" y="340"/>
                </a:cubicBezTo>
                <a:cubicBezTo>
                  <a:pt x="1390" y="340"/>
                  <a:pt x="1389" y="341"/>
                  <a:pt x="1387" y="341"/>
                </a:cubicBezTo>
                <a:cubicBezTo>
                  <a:pt x="1386" y="341"/>
                  <a:pt x="1385" y="343"/>
                  <a:pt x="1384" y="342"/>
                </a:cubicBezTo>
                <a:cubicBezTo>
                  <a:pt x="1382" y="341"/>
                  <a:pt x="1382" y="343"/>
                  <a:pt x="1383" y="344"/>
                </a:cubicBezTo>
                <a:cubicBezTo>
                  <a:pt x="1384" y="347"/>
                  <a:pt x="1384" y="348"/>
                  <a:pt x="1382" y="350"/>
                </a:cubicBezTo>
                <a:cubicBezTo>
                  <a:pt x="1380" y="351"/>
                  <a:pt x="1379" y="354"/>
                  <a:pt x="1377" y="355"/>
                </a:cubicBezTo>
                <a:cubicBezTo>
                  <a:pt x="1376" y="356"/>
                  <a:pt x="1375" y="356"/>
                  <a:pt x="1375" y="356"/>
                </a:cubicBezTo>
                <a:cubicBezTo>
                  <a:pt x="1374" y="357"/>
                  <a:pt x="1374" y="358"/>
                  <a:pt x="1374" y="359"/>
                </a:cubicBezTo>
                <a:cubicBezTo>
                  <a:pt x="1374" y="360"/>
                  <a:pt x="1374" y="361"/>
                  <a:pt x="1374" y="362"/>
                </a:cubicBezTo>
                <a:cubicBezTo>
                  <a:pt x="1373" y="363"/>
                  <a:pt x="1372" y="362"/>
                  <a:pt x="1371" y="363"/>
                </a:cubicBezTo>
                <a:cubicBezTo>
                  <a:pt x="1370" y="363"/>
                  <a:pt x="1372" y="364"/>
                  <a:pt x="1372" y="365"/>
                </a:cubicBezTo>
                <a:cubicBezTo>
                  <a:pt x="1373" y="366"/>
                  <a:pt x="1372" y="366"/>
                  <a:pt x="1371" y="366"/>
                </a:cubicBezTo>
                <a:cubicBezTo>
                  <a:pt x="1370" y="368"/>
                  <a:pt x="1370" y="370"/>
                  <a:pt x="1370" y="372"/>
                </a:cubicBezTo>
                <a:cubicBezTo>
                  <a:pt x="1370" y="375"/>
                  <a:pt x="1371" y="378"/>
                  <a:pt x="1372" y="381"/>
                </a:cubicBezTo>
                <a:cubicBezTo>
                  <a:pt x="1373" y="383"/>
                  <a:pt x="1373" y="386"/>
                  <a:pt x="1373" y="389"/>
                </a:cubicBezTo>
                <a:cubicBezTo>
                  <a:pt x="1374" y="392"/>
                  <a:pt x="1375" y="395"/>
                  <a:pt x="1376" y="398"/>
                </a:cubicBezTo>
                <a:cubicBezTo>
                  <a:pt x="1377" y="400"/>
                  <a:pt x="1379" y="403"/>
                  <a:pt x="1380" y="405"/>
                </a:cubicBezTo>
                <a:cubicBezTo>
                  <a:pt x="1382" y="407"/>
                  <a:pt x="1384" y="409"/>
                  <a:pt x="1385" y="412"/>
                </a:cubicBezTo>
                <a:cubicBezTo>
                  <a:pt x="1385" y="413"/>
                  <a:pt x="1386" y="414"/>
                  <a:pt x="1386" y="415"/>
                </a:cubicBezTo>
                <a:cubicBezTo>
                  <a:pt x="1386" y="416"/>
                  <a:pt x="1384" y="414"/>
                  <a:pt x="1384" y="414"/>
                </a:cubicBezTo>
                <a:cubicBezTo>
                  <a:pt x="1384" y="413"/>
                  <a:pt x="1383" y="411"/>
                  <a:pt x="1382" y="411"/>
                </a:cubicBezTo>
                <a:cubicBezTo>
                  <a:pt x="1381" y="410"/>
                  <a:pt x="1382" y="413"/>
                  <a:pt x="1382" y="414"/>
                </a:cubicBezTo>
                <a:cubicBezTo>
                  <a:pt x="1384" y="416"/>
                  <a:pt x="1384" y="419"/>
                  <a:pt x="1385" y="421"/>
                </a:cubicBezTo>
                <a:cubicBezTo>
                  <a:pt x="1386" y="424"/>
                  <a:pt x="1388" y="427"/>
                  <a:pt x="1389" y="430"/>
                </a:cubicBezTo>
                <a:cubicBezTo>
                  <a:pt x="1390" y="432"/>
                  <a:pt x="1392" y="435"/>
                  <a:pt x="1392" y="438"/>
                </a:cubicBezTo>
                <a:cubicBezTo>
                  <a:pt x="1392" y="439"/>
                  <a:pt x="1391" y="439"/>
                  <a:pt x="1391" y="440"/>
                </a:cubicBezTo>
                <a:cubicBezTo>
                  <a:pt x="1391" y="442"/>
                  <a:pt x="1392" y="443"/>
                  <a:pt x="1393" y="444"/>
                </a:cubicBezTo>
                <a:cubicBezTo>
                  <a:pt x="1395" y="446"/>
                  <a:pt x="1395" y="448"/>
                  <a:pt x="1395" y="451"/>
                </a:cubicBezTo>
                <a:cubicBezTo>
                  <a:pt x="1395" y="454"/>
                  <a:pt x="1395" y="457"/>
                  <a:pt x="1395" y="460"/>
                </a:cubicBezTo>
                <a:cubicBezTo>
                  <a:pt x="1395" y="462"/>
                  <a:pt x="1395" y="464"/>
                  <a:pt x="1395" y="467"/>
                </a:cubicBezTo>
                <a:cubicBezTo>
                  <a:pt x="1394" y="468"/>
                  <a:pt x="1394" y="469"/>
                  <a:pt x="1393" y="470"/>
                </a:cubicBezTo>
                <a:cubicBezTo>
                  <a:pt x="1392" y="471"/>
                  <a:pt x="1392" y="473"/>
                  <a:pt x="1392" y="474"/>
                </a:cubicBezTo>
                <a:cubicBezTo>
                  <a:pt x="1392" y="475"/>
                  <a:pt x="1392" y="476"/>
                  <a:pt x="1391" y="477"/>
                </a:cubicBezTo>
                <a:cubicBezTo>
                  <a:pt x="1390" y="478"/>
                  <a:pt x="1389" y="479"/>
                  <a:pt x="1389" y="480"/>
                </a:cubicBezTo>
                <a:cubicBezTo>
                  <a:pt x="1388" y="481"/>
                  <a:pt x="1387" y="482"/>
                  <a:pt x="1387" y="482"/>
                </a:cubicBezTo>
                <a:cubicBezTo>
                  <a:pt x="1385" y="482"/>
                  <a:pt x="1387" y="479"/>
                  <a:pt x="1388" y="479"/>
                </a:cubicBezTo>
                <a:cubicBezTo>
                  <a:pt x="1389" y="478"/>
                  <a:pt x="1389" y="477"/>
                  <a:pt x="1388" y="476"/>
                </a:cubicBezTo>
                <a:cubicBezTo>
                  <a:pt x="1387" y="475"/>
                  <a:pt x="1387" y="477"/>
                  <a:pt x="1386" y="477"/>
                </a:cubicBezTo>
                <a:cubicBezTo>
                  <a:pt x="1385" y="480"/>
                  <a:pt x="1382" y="480"/>
                  <a:pt x="1380" y="479"/>
                </a:cubicBezTo>
                <a:cubicBezTo>
                  <a:pt x="1380" y="478"/>
                  <a:pt x="1378" y="478"/>
                  <a:pt x="1378" y="477"/>
                </a:cubicBezTo>
                <a:cubicBezTo>
                  <a:pt x="1378" y="476"/>
                  <a:pt x="1380" y="476"/>
                  <a:pt x="1380" y="476"/>
                </a:cubicBezTo>
                <a:cubicBezTo>
                  <a:pt x="1382" y="475"/>
                  <a:pt x="1377" y="473"/>
                  <a:pt x="1376" y="473"/>
                </a:cubicBezTo>
                <a:cubicBezTo>
                  <a:pt x="1374" y="471"/>
                  <a:pt x="1374" y="469"/>
                  <a:pt x="1372" y="467"/>
                </a:cubicBezTo>
                <a:cubicBezTo>
                  <a:pt x="1371" y="466"/>
                  <a:pt x="1371" y="466"/>
                  <a:pt x="1370" y="466"/>
                </a:cubicBezTo>
                <a:cubicBezTo>
                  <a:pt x="1369" y="466"/>
                  <a:pt x="1367" y="467"/>
                  <a:pt x="1367" y="466"/>
                </a:cubicBezTo>
                <a:cubicBezTo>
                  <a:pt x="1367" y="464"/>
                  <a:pt x="1366" y="463"/>
                  <a:pt x="1367" y="462"/>
                </a:cubicBezTo>
                <a:cubicBezTo>
                  <a:pt x="1367" y="460"/>
                  <a:pt x="1367" y="460"/>
                  <a:pt x="1366" y="458"/>
                </a:cubicBezTo>
                <a:cubicBezTo>
                  <a:pt x="1365" y="457"/>
                  <a:pt x="1364" y="454"/>
                  <a:pt x="1366" y="453"/>
                </a:cubicBezTo>
                <a:cubicBezTo>
                  <a:pt x="1366" y="452"/>
                  <a:pt x="1367" y="452"/>
                  <a:pt x="1367" y="451"/>
                </a:cubicBezTo>
                <a:cubicBezTo>
                  <a:pt x="1367" y="450"/>
                  <a:pt x="1365" y="450"/>
                  <a:pt x="1364" y="450"/>
                </a:cubicBezTo>
                <a:cubicBezTo>
                  <a:pt x="1362" y="451"/>
                  <a:pt x="1362" y="450"/>
                  <a:pt x="1362" y="448"/>
                </a:cubicBezTo>
                <a:cubicBezTo>
                  <a:pt x="1362" y="447"/>
                  <a:pt x="1365" y="445"/>
                  <a:pt x="1363" y="444"/>
                </a:cubicBezTo>
                <a:cubicBezTo>
                  <a:pt x="1362" y="444"/>
                  <a:pt x="1361" y="446"/>
                  <a:pt x="1359" y="446"/>
                </a:cubicBezTo>
                <a:cubicBezTo>
                  <a:pt x="1357" y="446"/>
                  <a:pt x="1355" y="444"/>
                  <a:pt x="1355" y="442"/>
                </a:cubicBezTo>
                <a:cubicBezTo>
                  <a:pt x="1354" y="441"/>
                  <a:pt x="1354" y="440"/>
                  <a:pt x="1353" y="439"/>
                </a:cubicBezTo>
                <a:cubicBezTo>
                  <a:pt x="1352" y="438"/>
                  <a:pt x="1351" y="437"/>
                  <a:pt x="1351" y="436"/>
                </a:cubicBezTo>
                <a:cubicBezTo>
                  <a:pt x="1351" y="434"/>
                  <a:pt x="1354" y="434"/>
                  <a:pt x="1355" y="432"/>
                </a:cubicBezTo>
                <a:cubicBezTo>
                  <a:pt x="1356" y="431"/>
                  <a:pt x="1357" y="429"/>
                  <a:pt x="1357" y="428"/>
                </a:cubicBezTo>
                <a:cubicBezTo>
                  <a:pt x="1357" y="426"/>
                  <a:pt x="1355" y="429"/>
                  <a:pt x="1354" y="429"/>
                </a:cubicBezTo>
                <a:cubicBezTo>
                  <a:pt x="1354" y="430"/>
                  <a:pt x="1353" y="429"/>
                  <a:pt x="1352" y="429"/>
                </a:cubicBezTo>
                <a:cubicBezTo>
                  <a:pt x="1352" y="429"/>
                  <a:pt x="1352" y="430"/>
                  <a:pt x="1351" y="431"/>
                </a:cubicBezTo>
                <a:cubicBezTo>
                  <a:pt x="1350" y="433"/>
                  <a:pt x="1349" y="430"/>
                  <a:pt x="1349" y="428"/>
                </a:cubicBezTo>
                <a:cubicBezTo>
                  <a:pt x="1348" y="426"/>
                  <a:pt x="1348" y="423"/>
                  <a:pt x="1349" y="420"/>
                </a:cubicBezTo>
                <a:cubicBezTo>
                  <a:pt x="1350" y="418"/>
                  <a:pt x="1352" y="416"/>
                  <a:pt x="1352" y="413"/>
                </a:cubicBezTo>
                <a:cubicBezTo>
                  <a:pt x="1351" y="411"/>
                  <a:pt x="1349" y="409"/>
                  <a:pt x="1349" y="407"/>
                </a:cubicBezTo>
                <a:cubicBezTo>
                  <a:pt x="1348" y="404"/>
                  <a:pt x="1347" y="403"/>
                  <a:pt x="1344" y="402"/>
                </a:cubicBezTo>
                <a:cubicBezTo>
                  <a:pt x="1342" y="401"/>
                  <a:pt x="1340" y="400"/>
                  <a:pt x="1339" y="396"/>
                </a:cubicBezTo>
                <a:cubicBezTo>
                  <a:pt x="1339" y="394"/>
                  <a:pt x="1336" y="392"/>
                  <a:pt x="1334" y="391"/>
                </a:cubicBezTo>
                <a:cubicBezTo>
                  <a:pt x="1333" y="391"/>
                  <a:pt x="1332" y="390"/>
                  <a:pt x="1331" y="390"/>
                </a:cubicBezTo>
                <a:cubicBezTo>
                  <a:pt x="1330" y="389"/>
                  <a:pt x="1330" y="388"/>
                  <a:pt x="1328" y="388"/>
                </a:cubicBezTo>
                <a:cubicBezTo>
                  <a:pt x="1327" y="387"/>
                  <a:pt x="1326" y="387"/>
                  <a:pt x="1325" y="388"/>
                </a:cubicBezTo>
                <a:cubicBezTo>
                  <a:pt x="1325" y="388"/>
                  <a:pt x="1324" y="389"/>
                  <a:pt x="1324" y="390"/>
                </a:cubicBezTo>
                <a:cubicBezTo>
                  <a:pt x="1323" y="391"/>
                  <a:pt x="1321" y="390"/>
                  <a:pt x="1320" y="391"/>
                </a:cubicBezTo>
                <a:cubicBezTo>
                  <a:pt x="1319" y="391"/>
                  <a:pt x="1318" y="391"/>
                  <a:pt x="1317" y="393"/>
                </a:cubicBezTo>
                <a:cubicBezTo>
                  <a:pt x="1317" y="394"/>
                  <a:pt x="1316" y="394"/>
                  <a:pt x="1315" y="395"/>
                </a:cubicBezTo>
                <a:cubicBezTo>
                  <a:pt x="1314" y="395"/>
                  <a:pt x="1313" y="396"/>
                  <a:pt x="1312" y="396"/>
                </a:cubicBezTo>
                <a:cubicBezTo>
                  <a:pt x="1311" y="396"/>
                  <a:pt x="1310" y="396"/>
                  <a:pt x="1310" y="395"/>
                </a:cubicBezTo>
                <a:cubicBezTo>
                  <a:pt x="1309" y="395"/>
                  <a:pt x="1307" y="394"/>
                  <a:pt x="1306" y="394"/>
                </a:cubicBezTo>
                <a:cubicBezTo>
                  <a:pt x="1305" y="393"/>
                  <a:pt x="1304" y="392"/>
                  <a:pt x="1304" y="391"/>
                </a:cubicBezTo>
                <a:cubicBezTo>
                  <a:pt x="1304" y="390"/>
                  <a:pt x="1304" y="389"/>
                  <a:pt x="1303" y="388"/>
                </a:cubicBezTo>
                <a:cubicBezTo>
                  <a:pt x="1302" y="387"/>
                  <a:pt x="1302" y="387"/>
                  <a:pt x="1302" y="386"/>
                </a:cubicBezTo>
                <a:cubicBezTo>
                  <a:pt x="1301" y="385"/>
                  <a:pt x="1302" y="384"/>
                  <a:pt x="1302" y="384"/>
                </a:cubicBezTo>
                <a:cubicBezTo>
                  <a:pt x="1302" y="382"/>
                  <a:pt x="1298" y="385"/>
                  <a:pt x="1297" y="385"/>
                </a:cubicBezTo>
                <a:cubicBezTo>
                  <a:pt x="1296" y="385"/>
                  <a:pt x="1294" y="385"/>
                  <a:pt x="1293" y="384"/>
                </a:cubicBezTo>
                <a:cubicBezTo>
                  <a:pt x="1292" y="383"/>
                  <a:pt x="1293" y="382"/>
                  <a:pt x="1293" y="381"/>
                </a:cubicBezTo>
                <a:cubicBezTo>
                  <a:pt x="1293" y="380"/>
                  <a:pt x="1291" y="380"/>
                  <a:pt x="1291" y="380"/>
                </a:cubicBezTo>
                <a:cubicBezTo>
                  <a:pt x="1289" y="381"/>
                  <a:pt x="1288" y="381"/>
                  <a:pt x="1287" y="381"/>
                </a:cubicBezTo>
                <a:cubicBezTo>
                  <a:pt x="1285" y="381"/>
                  <a:pt x="1282" y="383"/>
                  <a:pt x="1280" y="381"/>
                </a:cubicBezTo>
                <a:cubicBezTo>
                  <a:pt x="1278" y="380"/>
                  <a:pt x="1277" y="377"/>
                  <a:pt x="1275" y="379"/>
                </a:cubicBezTo>
                <a:cubicBezTo>
                  <a:pt x="1274" y="381"/>
                  <a:pt x="1273" y="383"/>
                  <a:pt x="1271" y="382"/>
                </a:cubicBezTo>
                <a:cubicBezTo>
                  <a:pt x="1269" y="381"/>
                  <a:pt x="1268" y="384"/>
                  <a:pt x="1267" y="384"/>
                </a:cubicBezTo>
                <a:cubicBezTo>
                  <a:pt x="1266" y="385"/>
                  <a:pt x="1265" y="383"/>
                  <a:pt x="1265" y="383"/>
                </a:cubicBezTo>
                <a:cubicBezTo>
                  <a:pt x="1264" y="382"/>
                  <a:pt x="1262" y="381"/>
                  <a:pt x="1262" y="380"/>
                </a:cubicBezTo>
                <a:cubicBezTo>
                  <a:pt x="1262" y="379"/>
                  <a:pt x="1262" y="376"/>
                  <a:pt x="1260" y="377"/>
                </a:cubicBezTo>
                <a:cubicBezTo>
                  <a:pt x="1259" y="377"/>
                  <a:pt x="1259" y="379"/>
                  <a:pt x="1259" y="381"/>
                </a:cubicBezTo>
                <a:cubicBezTo>
                  <a:pt x="1259" y="381"/>
                  <a:pt x="1259" y="383"/>
                  <a:pt x="1258" y="384"/>
                </a:cubicBezTo>
                <a:cubicBezTo>
                  <a:pt x="1257" y="384"/>
                  <a:pt x="1257" y="383"/>
                  <a:pt x="1256" y="383"/>
                </a:cubicBezTo>
                <a:cubicBezTo>
                  <a:pt x="1255" y="382"/>
                  <a:pt x="1254" y="381"/>
                  <a:pt x="1253" y="381"/>
                </a:cubicBezTo>
                <a:cubicBezTo>
                  <a:pt x="1250" y="381"/>
                  <a:pt x="1247" y="383"/>
                  <a:pt x="1245" y="382"/>
                </a:cubicBezTo>
                <a:cubicBezTo>
                  <a:pt x="1243" y="382"/>
                  <a:pt x="1242" y="381"/>
                  <a:pt x="1241" y="381"/>
                </a:cubicBezTo>
                <a:cubicBezTo>
                  <a:pt x="1240" y="382"/>
                  <a:pt x="1238" y="383"/>
                  <a:pt x="1238" y="384"/>
                </a:cubicBezTo>
                <a:cubicBezTo>
                  <a:pt x="1236" y="385"/>
                  <a:pt x="1236" y="386"/>
                  <a:pt x="1234" y="385"/>
                </a:cubicBezTo>
                <a:cubicBezTo>
                  <a:pt x="1233" y="385"/>
                  <a:pt x="1231" y="384"/>
                  <a:pt x="1230" y="384"/>
                </a:cubicBezTo>
                <a:cubicBezTo>
                  <a:pt x="1227" y="383"/>
                  <a:pt x="1224" y="384"/>
                  <a:pt x="1221" y="385"/>
                </a:cubicBezTo>
                <a:cubicBezTo>
                  <a:pt x="1221" y="385"/>
                  <a:pt x="1220" y="387"/>
                  <a:pt x="1220" y="387"/>
                </a:cubicBezTo>
                <a:cubicBezTo>
                  <a:pt x="1221" y="388"/>
                  <a:pt x="1224" y="388"/>
                  <a:pt x="1225" y="388"/>
                </a:cubicBezTo>
                <a:cubicBezTo>
                  <a:pt x="1227" y="388"/>
                  <a:pt x="1230" y="386"/>
                  <a:pt x="1231" y="388"/>
                </a:cubicBezTo>
                <a:cubicBezTo>
                  <a:pt x="1231" y="389"/>
                  <a:pt x="1230" y="391"/>
                  <a:pt x="1231" y="391"/>
                </a:cubicBezTo>
                <a:cubicBezTo>
                  <a:pt x="1232" y="392"/>
                  <a:pt x="1233" y="391"/>
                  <a:pt x="1233" y="391"/>
                </a:cubicBezTo>
                <a:cubicBezTo>
                  <a:pt x="1234" y="390"/>
                  <a:pt x="1235" y="390"/>
                  <a:pt x="1236" y="389"/>
                </a:cubicBezTo>
                <a:cubicBezTo>
                  <a:pt x="1236" y="389"/>
                  <a:pt x="1239" y="388"/>
                  <a:pt x="1239" y="388"/>
                </a:cubicBezTo>
                <a:cubicBezTo>
                  <a:pt x="1240" y="388"/>
                  <a:pt x="1238" y="390"/>
                  <a:pt x="1238" y="390"/>
                </a:cubicBezTo>
                <a:cubicBezTo>
                  <a:pt x="1237" y="391"/>
                  <a:pt x="1238" y="392"/>
                  <a:pt x="1237" y="393"/>
                </a:cubicBezTo>
                <a:cubicBezTo>
                  <a:pt x="1237" y="394"/>
                  <a:pt x="1235" y="393"/>
                  <a:pt x="1235" y="394"/>
                </a:cubicBezTo>
                <a:cubicBezTo>
                  <a:pt x="1233" y="394"/>
                  <a:pt x="1234" y="395"/>
                  <a:pt x="1234" y="396"/>
                </a:cubicBezTo>
                <a:cubicBezTo>
                  <a:pt x="1234" y="397"/>
                  <a:pt x="1230" y="396"/>
                  <a:pt x="1232" y="398"/>
                </a:cubicBezTo>
                <a:cubicBezTo>
                  <a:pt x="1233" y="401"/>
                  <a:pt x="1236" y="400"/>
                  <a:pt x="1238" y="400"/>
                </a:cubicBezTo>
                <a:cubicBezTo>
                  <a:pt x="1239" y="400"/>
                  <a:pt x="1239" y="401"/>
                  <a:pt x="1240" y="402"/>
                </a:cubicBezTo>
                <a:cubicBezTo>
                  <a:pt x="1241" y="403"/>
                  <a:pt x="1242" y="403"/>
                  <a:pt x="1243" y="404"/>
                </a:cubicBezTo>
                <a:cubicBezTo>
                  <a:pt x="1244" y="407"/>
                  <a:pt x="1241" y="408"/>
                  <a:pt x="1239" y="409"/>
                </a:cubicBezTo>
                <a:cubicBezTo>
                  <a:pt x="1237" y="409"/>
                  <a:pt x="1236" y="409"/>
                  <a:pt x="1238" y="407"/>
                </a:cubicBezTo>
                <a:cubicBezTo>
                  <a:pt x="1240" y="405"/>
                  <a:pt x="1234" y="404"/>
                  <a:pt x="1233" y="403"/>
                </a:cubicBezTo>
                <a:cubicBezTo>
                  <a:pt x="1233" y="402"/>
                  <a:pt x="1233" y="401"/>
                  <a:pt x="1232" y="401"/>
                </a:cubicBezTo>
                <a:cubicBezTo>
                  <a:pt x="1231" y="400"/>
                  <a:pt x="1230" y="399"/>
                  <a:pt x="1229" y="399"/>
                </a:cubicBezTo>
                <a:cubicBezTo>
                  <a:pt x="1228" y="398"/>
                  <a:pt x="1223" y="395"/>
                  <a:pt x="1223" y="397"/>
                </a:cubicBezTo>
                <a:cubicBezTo>
                  <a:pt x="1222" y="398"/>
                  <a:pt x="1226" y="400"/>
                  <a:pt x="1226" y="401"/>
                </a:cubicBezTo>
                <a:cubicBezTo>
                  <a:pt x="1227" y="402"/>
                  <a:pt x="1225" y="406"/>
                  <a:pt x="1223" y="406"/>
                </a:cubicBezTo>
                <a:cubicBezTo>
                  <a:pt x="1222" y="406"/>
                  <a:pt x="1222" y="403"/>
                  <a:pt x="1222" y="403"/>
                </a:cubicBezTo>
                <a:cubicBezTo>
                  <a:pt x="1220" y="400"/>
                  <a:pt x="1218" y="402"/>
                  <a:pt x="1216" y="403"/>
                </a:cubicBezTo>
                <a:cubicBezTo>
                  <a:pt x="1215" y="404"/>
                  <a:pt x="1215" y="405"/>
                  <a:pt x="1214" y="405"/>
                </a:cubicBezTo>
                <a:cubicBezTo>
                  <a:pt x="1213" y="406"/>
                  <a:pt x="1212" y="404"/>
                  <a:pt x="1211" y="404"/>
                </a:cubicBezTo>
                <a:cubicBezTo>
                  <a:pt x="1211" y="403"/>
                  <a:pt x="1210" y="402"/>
                  <a:pt x="1208" y="402"/>
                </a:cubicBezTo>
                <a:cubicBezTo>
                  <a:pt x="1207" y="401"/>
                  <a:pt x="1207" y="401"/>
                  <a:pt x="1207" y="400"/>
                </a:cubicBezTo>
                <a:cubicBezTo>
                  <a:pt x="1207" y="399"/>
                  <a:pt x="1207" y="397"/>
                  <a:pt x="1206" y="396"/>
                </a:cubicBezTo>
                <a:cubicBezTo>
                  <a:pt x="1206" y="396"/>
                  <a:pt x="1205" y="395"/>
                  <a:pt x="1205" y="396"/>
                </a:cubicBezTo>
                <a:cubicBezTo>
                  <a:pt x="1205" y="397"/>
                  <a:pt x="1205" y="397"/>
                  <a:pt x="1205" y="398"/>
                </a:cubicBezTo>
                <a:cubicBezTo>
                  <a:pt x="1204" y="399"/>
                  <a:pt x="1203" y="398"/>
                  <a:pt x="1202" y="398"/>
                </a:cubicBezTo>
                <a:cubicBezTo>
                  <a:pt x="1200" y="397"/>
                  <a:pt x="1200" y="395"/>
                  <a:pt x="1198" y="394"/>
                </a:cubicBezTo>
                <a:cubicBezTo>
                  <a:pt x="1195" y="392"/>
                  <a:pt x="1193" y="393"/>
                  <a:pt x="1190" y="394"/>
                </a:cubicBezTo>
                <a:cubicBezTo>
                  <a:pt x="1189" y="394"/>
                  <a:pt x="1189" y="395"/>
                  <a:pt x="1190" y="395"/>
                </a:cubicBezTo>
                <a:cubicBezTo>
                  <a:pt x="1191" y="396"/>
                  <a:pt x="1192" y="396"/>
                  <a:pt x="1194" y="396"/>
                </a:cubicBezTo>
                <a:cubicBezTo>
                  <a:pt x="1194" y="395"/>
                  <a:pt x="1198" y="396"/>
                  <a:pt x="1198" y="397"/>
                </a:cubicBezTo>
                <a:cubicBezTo>
                  <a:pt x="1198" y="399"/>
                  <a:pt x="1194" y="397"/>
                  <a:pt x="1193" y="397"/>
                </a:cubicBezTo>
                <a:cubicBezTo>
                  <a:pt x="1192" y="397"/>
                  <a:pt x="1191" y="397"/>
                  <a:pt x="1190" y="398"/>
                </a:cubicBezTo>
                <a:cubicBezTo>
                  <a:pt x="1188" y="398"/>
                  <a:pt x="1186" y="397"/>
                  <a:pt x="1185" y="397"/>
                </a:cubicBezTo>
                <a:cubicBezTo>
                  <a:pt x="1182" y="396"/>
                  <a:pt x="1181" y="395"/>
                  <a:pt x="1178" y="394"/>
                </a:cubicBezTo>
                <a:cubicBezTo>
                  <a:pt x="1177" y="393"/>
                  <a:pt x="1174" y="393"/>
                  <a:pt x="1173" y="392"/>
                </a:cubicBezTo>
                <a:cubicBezTo>
                  <a:pt x="1172" y="391"/>
                  <a:pt x="1171" y="387"/>
                  <a:pt x="1170" y="388"/>
                </a:cubicBezTo>
                <a:cubicBezTo>
                  <a:pt x="1168" y="389"/>
                  <a:pt x="1169" y="392"/>
                  <a:pt x="1169" y="393"/>
                </a:cubicBezTo>
                <a:cubicBezTo>
                  <a:pt x="1169" y="395"/>
                  <a:pt x="1166" y="394"/>
                  <a:pt x="1164" y="394"/>
                </a:cubicBezTo>
                <a:cubicBezTo>
                  <a:pt x="1164" y="394"/>
                  <a:pt x="1162" y="394"/>
                  <a:pt x="1162" y="393"/>
                </a:cubicBezTo>
                <a:cubicBezTo>
                  <a:pt x="1162" y="392"/>
                  <a:pt x="1163" y="392"/>
                  <a:pt x="1163" y="391"/>
                </a:cubicBezTo>
                <a:cubicBezTo>
                  <a:pt x="1162" y="391"/>
                  <a:pt x="1162" y="390"/>
                  <a:pt x="1162" y="391"/>
                </a:cubicBezTo>
                <a:cubicBezTo>
                  <a:pt x="1161" y="393"/>
                  <a:pt x="1161" y="394"/>
                  <a:pt x="1159" y="395"/>
                </a:cubicBezTo>
                <a:cubicBezTo>
                  <a:pt x="1157" y="396"/>
                  <a:pt x="1156" y="396"/>
                  <a:pt x="1155" y="396"/>
                </a:cubicBezTo>
                <a:cubicBezTo>
                  <a:pt x="1154" y="397"/>
                  <a:pt x="1153" y="398"/>
                  <a:pt x="1151" y="398"/>
                </a:cubicBezTo>
                <a:cubicBezTo>
                  <a:pt x="1150" y="398"/>
                  <a:pt x="1148" y="398"/>
                  <a:pt x="1147" y="397"/>
                </a:cubicBezTo>
                <a:cubicBezTo>
                  <a:pt x="1145" y="397"/>
                  <a:pt x="1145" y="397"/>
                  <a:pt x="1146" y="395"/>
                </a:cubicBezTo>
                <a:cubicBezTo>
                  <a:pt x="1146" y="395"/>
                  <a:pt x="1146" y="392"/>
                  <a:pt x="1145" y="393"/>
                </a:cubicBezTo>
                <a:cubicBezTo>
                  <a:pt x="1144" y="395"/>
                  <a:pt x="1144" y="396"/>
                  <a:pt x="1142" y="395"/>
                </a:cubicBezTo>
                <a:cubicBezTo>
                  <a:pt x="1141" y="395"/>
                  <a:pt x="1140" y="394"/>
                  <a:pt x="1140" y="395"/>
                </a:cubicBezTo>
                <a:cubicBezTo>
                  <a:pt x="1140" y="396"/>
                  <a:pt x="1141" y="397"/>
                  <a:pt x="1141" y="398"/>
                </a:cubicBezTo>
                <a:cubicBezTo>
                  <a:pt x="1142" y="399"/>
                  <a:pt x="1143" y="401"/>
                  <a:pt x="1142" y="402"/>
                </a:cubicBezTo>
                <a:cubicBezTo>
                  <a:pt x="1140" y="403"/>
                  <a:pt x="1138" y="403"/>
                  <a:pt x="1137" y="405"/>
                </a:cubicBezTo>
                <a:cubicBezTo>
                  <a:pt x="1137" y="407"/>
                  <a:pt x="1136" y="409"/>
                  <a:pt x="1135" y="410"/>
                </a:cubicBezTo>
                <a:cubicBezTo>
                  <a:pt x="1133" y="411"/>
                  <a:pt x="1131" y="411"/>
                  <a:pt x="1129" y="412"/>
                </a:cubicBezTo>
                <a:cubicBezTo>
                  <a:pt x="1127" y="413"/>
                  <a:pt x="1126" y="414"/>
                  <a:pt x="1124" y="415"/>
                </a:cubicBezTo>
                <a:cubicBezTo>
                  <a:pt x="1122" y="417"/>
                  <a:pt x="1122" y="414"/>
                  <a:pt x="1120" y="414"/>
                </a:cubicBezTo>
                <a:cubicBezTo>
                  <a:pt x="1119" y="413"/>
                  <a:pt x="1117" y="411"/>
                  <a:pt x="1116" y="413"/>
                </a:cubicBezTo>
                <a:cubicBezTo>
                  <a:pt x="1115" y="414"/>
                  <a:pt x="1114" y="413"/>
                  <a:pt x="1115" y="415"/>
                </a:cubicBezTo>
                <a:cubicBezTo>
                  <a:pt x="1115" y="415"/>
                  <a:pt x="1116" y="415"/>
                  <a:pt x="1116" y="416"/>
                </a:cubicBezTo>
                <a:cubicBezTo>
                  <a:pt x="1117" y="416"/>
                  <a:pt x="1116" y="418"/>
                  <a:pt x="1117" y="418"/>
                </a:cubicBezTo>
                <a:cubicBezTo>
                  <a:pt x="1117" y="418"/>
                  <a:pt x="1120" y="417"/>
                  <a:pt x="1120" y="417"/>
                </a:cubicBezTo>
                <a:cubicBezTo>
                  <a:pt x="1120" y="418"/>
                  <a:pt x="1118" y="418"/>
                  <a:pt x="1118" y="419"/>
                </a:cubicBezTo>
                <a:cubicBezTo>
                  <a:pt x="1117" y="419"/>
                  <a:pt x="1116" y="420"/>
                  <a:pt x="1115" y="421"/>
                </a:cubicBezTo>
                <a:cubicBezTo>
                  <a:pt x="1113" y="423"/>
                  <a:pt x="1113" y="420"/>
                  <a:pt x="1113" y="419"/>
                </a:cubicBezTo>
                <a:cubicBezTo>
                  <a:pt x="1112" y="416"/>
                  <a:pt x="1110" y="420"/>
                  <a:pt x="1110" y="421"/>
                </a:cubicBezTo>
                <a:cubicBezTo>
                  <a:pt x="1109" y="422"/>
                  <a:pt x="1108" y="422"/>
                  <a:pt x="1107" y="422"/>
                </a:cubicBezTo>
                <a:cubicBezTo>
                  <a:pt x="1106" y="422"/>
                  <a:pt x="1108" y="424"/>
                  <a:pt x="1108" y="424"/>
                </a:cubicBezTo>
                <a:cubicBezTo>
                  <a:pt x="1109" y="424"/>
                  <a:pt x="1110" y="424"/>
                  <a:pt x="1111" y="424"/>
                </a:cubicBezTo>
                <a:cubicBezTo>
                  <a:pt x="1112" y="423"/>
                  <a:pt x="1112" y="424"/>
                  <a:pt x="1111" y="424"/>
                </a:cubicBezTo>
                <a:cubicBezTo>
                  <a:pt x="1110" y="425"/>
                  <a:pt x="1109" y="428"/>
                  <a:pt x="1107" y="426"/>
                </a:cubicBezTo>
                <a:cubicBezTo>
                  <a:pt x="1107" y="426"/>
                  <a:pt x="1106" y="425"/>
                  <a:pt x="1106" y="426"/>
                </a:cubicBezTo>
                <a:cubicBezTo>
                  <a:pt x="1105" y="426"/>
                  <a:pt x="1105" y="427"/>
                  <a:pt x="1105" y="428"/>
                </a:cubicBezTo>
                <a:cubicBezTo>
                  <a:pt x="1104" y="429"/>
                  <a:pt x="1103" y="429"/>
                  <a:pt x="1102" y="429"/>
                </a:cubicBezTo>
                <a:cubicBezTo>
                  <a:pt x="1101" y="428"/>
                  <a:pt x="1099" y="428"/>
                  <a:pt x="1100" y="429"/>
                </a:cubicBezTo>
                <a:cubicBezTo>
                  <a:pt x="1101" y="431"/>
                  <a:pt x="1103" y="432"/>
                  <a:pt x="1105" y="431"/>
                </a:cubicBezTo>
                <a:cubicBezTo>
                  <a:pt x="1105" y="430"/>
                  <a:pt x="1106" y="429"/>
                  <a:pt x="1107" y="429"/>
                </a:cubicBezTo>
                <a:cubicBezTo>
                  <a:pt x="1108" y="429"/>
                  <a:pt x="1106" y="431"/>
                  <a:pt x="1106" y="431"/>
                </a:cubicBezTo>
                <a:cubicBezTo>
                  <a:pt x="1104" y="432"/>
                  <a:pt x="1102" y="434"/>
                  <a:pt x="1102" y="436"/>
                </a:cubicBezTo>
                <a:cubicBezTo>
                  <a:pt x="1102" y="438"/>
                  <a:pt x="1099" y="439"/>
                  <a:pt x="1098" y="438"/>
                </a:cubicBezTo>
                <a:cubicBezTo>
                  <a:pt x="1097" y="438"/>
                  <a:pt x="1096" y="435"/>
                  <a:pt x="1095" y="436"/>
                </a:cubicBezTo>
                <a:cubicBezTo>
                  <a:pt x="1094" y="437"/>
                  <a:pt x="1093" y="440"/>
                  <a:pt x="1095" y="440"/>
                </a:cubicBezTo>
                <a:cubicBezTo>
                  <a:pt x="1096" y="441"/>
                  <a:pt x="1098" y="440"/>
                  <a:pt x="1098" y="442"/>
                </a:cubicBezTo>
                <a:cubicBezTo>
                  <a:pt x="1098" y="443"/>
                  <a:pt x="1098" y="444"/>
                  <a:pt x="1098" y="445"/>
                </a:cubicBezTo>
                <a:cubicBezTo>
                  <a:pt x="1099" y="446"/>
                  <a:pt x="1098" y="448"/>
                  <a:pt x="1099" y="449"/>
                </a:cubicBezTo>
                <a:cubicBezTo>
                  <a:pt x="1100" y="450"/>
                  <a:pt x="1100" y="450"/>
                  <a:pt x="1100" y="452"/>
                </a:cubicBezTo>
                <a:cubicBezTo>
                  <a:pt x="1100" y="453"/>
                  <a:pt x="1101" y="454"/>
                  <a:pt x="1101" y="456"/>
                </a:cubicBezTo>
                <a:cubicBezTo>
                  <a:pt x="1101" y="458"/>
                  <a:pt x="1103" y="460"/>
                  <a:pt x="1104" y="462"/>
                </a:cubicBezTo>
                <a:cubicBezTo>
                  <a:pt x="1104" y="464"/>
                  <a:pt x="1103" y="466"/>
                  <a:pt x="1101" y="465"/>
                </a:cubicBezTo>
                <a:cubicBezTo>
                  <a:pt x="1100" y="465"/>
                  <a:pt x="1099" y="464"/>
                  <a:pt x="1098" y="463"/>
                </a:cubicBezTo>
                <a:cubicBezTo>
                  <a:pt x="1097" y="462"/>
                  <a:pt x="1096" y="461"/>
                  <a:pt x="1094" y="461"/>
                </a:cubicBezTo>
                <a:cubicBezTo>
                  <a:pt x="1091" y="460"/>
                  <a:pt x="1088" y="461"/>
                  <a:pt x="1086" y="460"/>
                </a:cubicBezTo>
                <a:cubicBezTo>
                  <a:pt x="1083" y="459"/>
                  <a:pt x="1080" y="458"/>
                  <a:pt x="1077" y="457"/>
                </a:cubicBezTo>
                <a:cubicBezTo>
                  <a:pt x="1075" y="456"/>
                  <a:pt x="1073" y="455"/>
                  <a:pt x="1071" y="453"/>
                </a:cubicBezTo>
                <a:cubicBezTo>
                  <a:pt x="1070" y="450"/>
                  <a:pt x="1069" y="447"/>
                  <a:pt x="1068" y="444"/>
                </a:cubicBezTo>
                <a:cubicBezTo>
                  <a:pt x="1067" y="442"/>
                  <a:pt x="1068" y="439"/>
                  <a:pt x="1067" y="436"/>
                </a:cubicBezTo>
                <a:cubicBezTo>
                  <a:pt x="1066" y="433"/>
                  <a:pt x="1065" y="432"/>
                  <a:pt x="1062" y="431"/>
                </a:cubicBezTo>
                <a:cubicBezTo>
                  <a:pt x="1060" y="430"/>
                  <a:pt x="1059" y="429"/>
                  <a:pt x="1057" y="427"/>
                </a:cubicBezTo>
                <a:cubicBezTo>
                  <a:pt x="1056" y="424"/>
                  <a:pt x="1054" y="421"/>
                  <a:pt x="1052" y="418"/>
                </a:cubicBezTo>
                <a:cubicBezTo>
                  <a:pt x="1049" y="413"/>
                  <a:pt x="1046" y="408"/>
                  <a:pt x="1043" y="403"/>
                </a:cubicBezTo>
                <a:cubicBezTo>
                  <a:pt x="1040" y="399"/>
                  <a:pt x="1036" y="394"/>
                  <a:pt x="1031" y="392"/>
                </a:cubicBezTo>
                <a:cubicBezTo>
                  <a:pt x="1026" y="390"/>
                  <a:pt x="1019" y="391"/>
                  <a:pt x="1014" y="392"/>
                </a:cubicBezTo>
                <a:cubicBezTo>
                  <a:pt x="1009" y="394"/>
                  <a:pt x="1007" y="399"/>
                  <a:pt x="1004" y="403"/>
                </a:cubicBezTo>
                <a:cubicBezTo>
                  <a:pt x="1003" y="404"/>
                  <a:pt x="1003" y="405"/>
                  <a:pt x="1002" y="406"/>
                </a:cubicBezTo>
                <a:cubicBezTo>
                  <a:pt x="1001" y="407"/>
                  <a:pt x="999" y="406"/>
                  <a:pt x="998" y="405"/>
                </a:cubicBezTo>
                <a:cubicBezTo>
                  <a:pt x="995" y="404"/>
                  <a:pt x="992" y="403"/>
                  <a:pt x="990" y="401"/>
                </a:cubicBezTo>
                <a:cubicBezTo>
                  <a:pt x="985" y="399"/>
                  <a:pt x="980" y="395"/>
                  <a:pt x="978" y="390"/>
                </a:cubicBezTo>
                <a:cubicBezTo>
                  <a:pt x="976" y="385"/>
                  <a:pt x="976" y="380"/>
                  <a:pt x="971" y="376"/>
                </a:cubicBezTo>
                <a:cubicBezTo>
                  <a:pt x="966" y="372"/>
                  <a:pt x="961" y="368"/>
                  <a:pt x="957" y="364"/>
                </a:cubicBezTo>
                <a:cubicBezTo>
                  <a:pt x="954" y="362"/>
                  <a:pt x="952" y="360"/>
                  <a:pt x="950" y="359"/>
                </a:cubicBezTo>
                <a:cubicBezTo>
                  <a:pt x="947" y="357"/>
                  <a:pt x="945" y="355"/>
                  <a:pt x="942" y="355"/>
                </a:cubicBezTo>
                <a:cubicBezTo>
                  <a:pt x="936" y="355"/>
                  <a:pt x="929" y="355"/>
                  <a:pt x="923" y="355"/>
                </a:cubicBezTo>
                <a:cubicBezTo>
                  <a:pt x="922" y="355"/>
                  <a:pt x="916" y="354"/>
                  <a:pt x="916" y="355"/>
                </a:cubicBezTo>
                <a:cubicBezTo>
                  <a:pt x="916" y="357"/>
                  <a:pt x="916" y="362"/>
                  <a:pt x="914" y="362"/>
                </a:cubicBezTo>
                <a:cubicBezTo>
                  <a:pt x="907" y="362"/>
                  <a:pt x="901" y="363"/>
                  <a:pt x="894" y="363"/>
                </a:cubicBezTo>
                <a:cubicBezTo>
                  <a:pt x="888" y="363"/>
                  <a:pt x="881" y="363"/>
                  <a:pt x="874" y="363"/>
                </a:cubicBezTo>
                <a:cubicBezTo>
                  <a:pt x="873" y="363"/>
                  <a:pt x="872" y="363"/>
                  <a:pt x="870" y="363"/>
                </a:cubicBezTo>
                <a:cubicBezTo>
                  <a:pt x="869" y="363"/>
                  <a:pt x="868" y="362"/>
                  <a:pt x="866" y="362"/>
                </a:cubicBezTo>
                <a:cubicBezTo>
                  <a:pt x="863" y="361"/>
                  <a:pt x="860" y="360"/>
                  <a:pt x="857" y="359"/>
                </a:cubicBezTo>
                <a:cubicBezTo>
                  <a:pt x="844" y="355"/>
                  <a:pt x="831" y="350"/>
                  <a:pt x="818" y="346"/>
                </a:cubicBezTo>
                <a:cubicBezTo>
                  <a:pt x="815" y="345"/>
                  <a:pt x="812" y="344"/>
                  <a:pt x="809" y="343"/>
                </a:cubicBezTo>
                <a:cubicBezTo>
                  <a:pt x="808" y="343"/>
                  <a:pt x="807" y="343"/>
                  <a:pt x="806" y="342"/>
                </a:cubicBezTo>
                <a:cubicBezTo>
                  <a:pt x="806" y="341"/>
                  <a:pt x="805" y="339"/>
                  <a:pt x="805" y="338"/>
                </a:cubicBezTo>
                <a:cubicBezTo>
                  <a:pt x="804" y="338"/>
                  <a:pt x="802" y="338"/>
                  <a:pt x="802" y="338"/>
                </a:cubicBezTo>
                <a:cubicBezTo>
                  <a:pt x="800" y="338"/>
                  <a:pt x="799" y="338"/>
                  <a:pt x="797" y="339"/>
                </a:cubicBezTo>
                <a:cubicBezTo>
                  <a:pt x="794" y="339"/>
                  <a:pt x="790" y="339"/>
                  <a:pt x="787" y="339"/>
                </a:cubicBezTo>
                <a:cubicBezTo>
                  <a:pt x="780" y="340"/>
                  <a:pt x="774" y="341"/>
                  <a:pt x="767" y="341"/>
                </a:cubicBezTo>
                <a:cubicBezTo>
                  <a:pt x="765" y="341"/>
                  <a:pt x="765" y="342"/>
                  <a:pt x="765" y="340"/>
                </a:cubicBezTo>
                <a:cubicBezTo>
                  <a:pt x="764" y="339"/>
                  <a:pt x="764" y="337"/>
                  <a:pt x="763" y="336"/>
                </a:cubicBezTo>
                <a:cubicBezTo>
                  <a:pt x="763" y="333"/>
                  <a:pt x="762" y="331"/>
                  <a:pt x="760" y="328"/>
                </a:cubicBezTo>
                <a:cubicBezTo>
                  <a:pt x="759" y="326"/>
                  <a:pt x="757" y="325"/>
                  <a:pt x="755" y="323"/>
                </a:cubicBezTo>
                <a:cubicBezTo>
                  <a:pt x="754" y="322"/>
                  <a:pt x="753" y="321"/>
                  <a:pt x="751" y="321"/>
                </a:cubicBezTo>
                <a:cubicBezTo>
                  <a:pt x="750" y="320"/>
                  <a:pt x="749" y="320"/>
                  <a:pt x="747" y="319"/>
                </a:cubicBezTo>
                <a:cubicBezTo>
                  <a:pt x="745" y="319"/>
                  <a:pt x="744" y="317"/>
                  <a:pt x="743" y="315"/>
                </a:cubicBezTo>
                <a:cubicBezTo>
                  <a:pt x="741" y="312"/>
                  <a:pt x="739" y="315"/>
                  <a:pt x="736" y="314"/>
                </a:cubicBezTo>
                <a:cubicBezTo>
                  <a:pt x="734" y="313"/>
                  <a:pt x="733" y="311"/>
                  <a:pt x="731" y="310"/>
                </a:cubicBezTo>
                <a:cubicBezTo>
                  <a:pt x="729" y="308"/>
                  <a:pt x="727" y="306"/>
                  <a:pt x="724" y="305"/>
                </a:cubicBezTo>
                <a:cubicBezTo>
                  <a:pt x="721" y="305"/>
                  <a:pt x="718" y="305"/>
                  <a:pt x="716" y="305"/>
                </a:cubicBezTo>
                <a:cubicBezTo>
                  <a:pt x="714" y="305"/>
                  <a:pt x="713" y="304"/>
                  <a:pt x="712" y="304"/>
                </a:cubicBezTo>
                <a:cubicBezTo>
                  <a:pt x="710" y="304"/>
                  <a:pt x="709" y="304"/>
                  <a:pt x="708" y="303"/>
                </a:cubicBezTo>
                <a:cubicBezTo>
                  <a:pt x="706" y="302"/>
                  <a:pt x="705" y="300"/>
                  <a:pt x="706" y="297"/>
                </a:cubicBezTo>
                <a:cubicBezTo>
                  <a:pt x="706" y="294"/>
                  <a:pt x="705" y="292"/>
                  <a:pt x="703" y="290"/>
                </a:cubicBezTo>
                <a:cubicBezTo>
                  <a:pt x="699" y="285"/>
                  <a:pt x="695" y="281"/>
                  <a:pt x="691" y="276"/>
                </a:cubicBezTo>
                <a:cubicBezTo>
                  <a:pt x="689" y="274"/>
                  <a:pt x="687" y="273"/>
                  <a:pt x="686" y="270"/>
                </a:cubicBezTo>
                <a:cubicBezTo>
                  <a:pt x="685" y="269"/>
                  <a:pt x="683" y="265"/>
                  <a:pt x="684" y="263"/>
                </a:cubicBezTo>
                <a:cubicBezTo>
                  <a:pt x="685" y="262"/>
                  <a:pt x="686" y="262"/>
                  <a:pt x="686" y="261"/>
                </a:cubicBezTo>
                <a:cubicBezTo>
                  <a:pt x="686" y="260"/>
                  <a:pt x="686" y="259"/>
                  <a:pt x="686" y="258"/>
                </a:cubicBezTo>
                <a:cubicBezTo>
                  <a:pt x="685" y="257"/>
                  <a:pt x="685" y="256"/>
                  <a:pt x="684" y="256"/>
                </a:cubicBezTo>
                <a:cubicBezTo>
                  <a:pt x="682" y="255"/>
                  <a:pt x="681" y="255"/>
                  <a:pt x="680" y="254"/>
                </a:cubicBezTo>
                <a:cubicBezTo>
                  <a:pt x="677" y="253"/>
                  <a:pt x="676" y="253"/>
                  <a:pt x="675" y="250"/>
                </a:cubicBezTo>
                <a:cubicBezTo>
                  <a:pt x="675" y="249"/>
                  <a:pt x="675" y="247"/>
                  <a:pt x="675" y="246"/>
                </a:cubicBezTo>
                <a:cubicBezTo>
                  <a:pt x="675" y="246"/>
                  <a:pt x="675" y="243"/>
                  <a:pt x="676" y="243"/>
                </a:cubicBezTo>
                <a:cubicBezTo>
                  <a:pt x="677" y="243"/>
                  <a:pt x="677" y="244"/>
                  <a:pt x="678" y="245"/>
                </a:cubicBezTo>
                <a:cubicBezTo>
                  <a:pt x="679" y="245"/>
                  <a:pt x="680" y="246"/>
                  <a:pt x="681" y="246"/>
                </a:cubicBezTo>
                <a:cubicBezTo>
                  <a:pt x="683" y="246"/>
                  <a:pt x="679" y="242"/>
                  <a:pt x="679" y="241"/>
                </a:cubicBezTo>
                <a:cubicBezTo>
                  <a:pt x="678" y="240"/>
                  <a:pt x="677" y="239"/>
                  <a:pt x="677" y="238"/>
                </a:cubicBezTo>
                <a:cubicBezTo>
                  <a:pt x="678" y="237"/>
                  <a:pt x="679" y="237"/>
                  <a:pt x="680" y="237"/>
                </a:cubicBezTo>
                <a:cubicBezTo>
                  <a:pt x="682" y="237"/>
                  <a:pt x="684" y="238"/>
                  <a:pt x="686" y="237"/>
                </a:cubicBezTo>
                <a:cubicBezTo>
                  <a:pt x="687" y="237"/>
                  <a:pt x="687" y="236"/>
                  <a:pt x="688" y="236"/>
                </a:cubicBezTo>
                <a:cubicBezTo>
                  <a:pt x="689" y="235"/>
                  <a:pt x="691" y="236"/>
                  <a:pt x="691" y="235"/>
                </a:cubicBezTo>
                <a:cubicBezTo>
                  <a:pt x="692" y="235"/>
                  <a:pt x="690" y="233"/>
                  <a:pt x="690" y="233"/>
                </a:cubicBezTo>
                <a:cubicBezTo>
                  <a:pt x="689" y="233"/>
                  <a:pt x="687" y="233"/>
                  <a:pt x="686" y="234"/>
                </a:cubicBezTo>
                <a:cubicBezTo>
                  <a:pt x="685" y="234"/>
                  <a:pt x="684" y="234"/>
                  <a:pt x="683" y="234"/>
                </a:cubicBezTo>
                <a:cubicBezTo>
                  <a:pt x="682" y="234"/>
                  <a:pt x="682" y="233"/>
                  <a:pt x="680" y="233"/>
                </a:cubicBezTo>
                <a:cubicBezTo>
                  <a:pt x="679" y="234"/>
                  <a:pt x="678" y="234"/>
                  <a:pt x="677" y="233"/>
                </a:cubicBezTo>
                <a:cubicBezTo>
                  <a:pt x="676" y="233"/>
                  <a:pt x="676" y="232"/>
                  <a:pt x="675" y="233"/>
                </a:cubicBezTo>
                <a:cubicBezTo>
                  <a:pt x="674" y="234"/>
                  <a:pt x="674" y="235"/>
                  <a:pt x="675" y="236"/>
                </a:cubicBezTo>
                <a:cubicBezTo>
                  <a:pt x="675" y="237"/>
                  <a:pt x="676" y="239"/>
                  <a:pt x="674" y="239"/>
                </a:cubicBezTo>
                <a:cubicBezTo>
                  <a:pt x="669" y="238"/>
                  <a:pt x="667" y="233"/>
                  <a:pt x="663" y="231"/>
                </a:cubicBezTo>
                <a:cubicBezTo>
                  <a:pt x="661" y="229"/>
                  <a:pt x="660" y="227"/>
                  <a:pt x="659" y="225"/>
                </a:cubicBezTo>
                <a:cubicBezTo>
                  <a:pt x="657" y="223"/>
                  <a:pt x="655" y="221"/>
                  <a:pt x="653" y="218"/>
                </a:cubicBezTo>
                <a:cubicBezTo>
                  <a:pt x="652" y="215"/>
                  <a:pt x="651" y="213"/>
                  <a:pt x="652" y="210"/>
                </a:cubicBezTo>
                <a:cubicBezTo>
                  <a:pt x="652" y="207"/>
                  <a:pt x="653" y="204"/>
                  <a:pt x="651" y="201"/>
                </a:cubicBezTo>
                <a:cubicBezTo>
                  <a:pt x="650" y="199"/>
                  <a:pt x="648" y="197"/>
                  <a:pt x="647" y="195"/>
                </a:cubicBezTo>
                <a:cubicBezTo>
                  <a:pt x="645" y="193"/>
                  <a:pt x="643" y="191"/>
                  <a:pt x="643" y="188"/>
                </a:cubicBezTo>
                <a:cubicBezTo>
                  <a:pt x="642" y="185"/>
                  <a:pt x="644" y="183"/>
                  <a:pt x="646" y="182"/>
                </a:cubicBezTo>
                <a:cubicBezTo>
                  <a:pt x="646" y="181"/>
                  <a:pt x="647" y="181"/>
                  <a:pt x="647" y="180"/>
                </a:cubicBezTo>
                <a:cubicBezTo>
                  <a:pt x="646" y="179"/>
                  <a:pt x="645" y="178"/>
                  <a:pt x="645" y="177"/>
                </a:cubicBezTo>
                <a:cubicBezTo>
                  <a:pt x="645" y="174"/>
                  <a:pt x="646" y="171"/>
                  <a:pt x="646" y="168"/>
                </a:cubicBezTo>
                <a:cubicBezTo>
                  <a:pt x="646" y="165"/>
                  <a:pt x="644" y="162"/>
                  <a:pt x="645" y="159"/>
                </a:cubicBezTo>
                <a:cubicBezTo>
                  <a:pt x="646" y="158"/>
                  <a:pt x="646" y="157"/>
                  <a:pt x="646" y="156"/>
                </a:cubicBezTo>
                <a:cubicBezTo>
                  <a:pt x="645" y="155"/>
                  <a:pt x="644" y="154"/>
                  <a:pt x="643" y="153"/>
                </a:cubicBezTo>
                <a:cubicBezTo>
                  <a:pt x="641" y="151"/>
                  <a:pt x="642" y="148"/>
                  <a:pt x="642" y="146"/>
                </a:cubicBezTo>
                <a:cubicBezTo>
                  <a:pt x="642" y="144"/>
                  <a:pt x="642" y="143"/>
                  <a:pt x="641" y="142"/>
                </a:cubicBezTo>
                <a:cubicBezTo>
                  <a:pt x="641" y="141"/>
                  <a:pt x="640" y="139"/>
                  <a:pt x="640" y="138"/>
                </a:cubicBezTo>
                <a:cubicBezTo>
                  <a:pt x="640" y="136"/>
                  <a:pt x="641" y="134"/>
                  <a:pt x="643" y="133"/>
                </a:cubicBezTo>
                <a:cubicBezTo>
                  <a:pt x="644" y="131"/>
                  <a:pt x="646" y="129"/>
                  <a:pt x="645" y="128"/>
                </a:cubicBezTo>
                <a:cubicBezTo>
                  <a:pt x="645" y="126"/>
                  <a:pt x="644" y="126"/>
                  <a:pt x="645" y="124"/>
                </a:cubicBezTo>
                <a:cubicBezTo>
                  <a:pt x="645" y="123"/>
                  <a:pt x="646" y="121"/>
                  <a:pt x="646" y="120"/>
                </a:cubicBezTo>
                <a:cubicBezTo>
                  <a:pt x="647" y="117"/>
                  <a:pt x="647" y="114"/>
                  <a:pt x="648" y="111"/>
                </a:cubicBezTo>
                <a:cubicBezTo>
                  <a:pt x="648" y="108"/>
                  <a:pt x="648" y="105"/>
                  <a:pt x="649" y="101"/>
                </a:cubicBezTo>
                <a:cubicBezTo>
                  <a:pt x="649" y="95"/>
                  <a:pt x="650" y="88"/>
                  <a:pt x="650" y="82"/>
                </a:cubicBezTo>
                <a:cubicBezTo>
                  <a:pt x="650" y="79"/>
                  <a:pt x="650" y="76"/>
                  <a:pt x="649" y="73"/>
                </a:cubicBezTo>
                <a:cubicBezTo>
                  <a:pt x="649" y="71"/>
                  <a:pt x="648" y="68"/>
                  <a:pt x="651" y="69"/>
                </a:cubicBezTo>
                <a:cubicBezTo>
                  <a:pt x="652" y="69"/>
                  <a:pt x="653" y="70"/>
                  <a:pt x="654" y="70"/>
                </a:cubicBezTo>
                <a:cubicBezTo>
                  <a:pt x="655" y="70"/>
                  <a:pt x="656" y="69"/>
                  <a:pt x="657" y="69"/>
                </a:cubicBezTo>
                <a:cubicBezTo>
                  <a:pt x="658" y="69"/>
                  <a:pt x="662" y="69"/>
                  <a:pt x="661" y="68"/>
                </a:cubicBezTo>
                <a:cubicBezTo>
                  <a:pt x="661" y="66"/>
                  <a:pt x="658" y="67"/>
                  <a:pt x="657" y="67"/>
                </a:cubicBezTo>
                <a:cubicBezTo>
                  <a:pt x="656" y="67"/>
                  <a:pt x="654" y="68"/>
                  <a:pt x="653" y="67"/>
                </a:cubicBezTo>
                <a:cubicBezTo>
                  <a:pt x="652" y="67"/>
                  <a:pt x="652" y="67"/>
                  <a:pt x="651" y="67"/>
                </a:cubicBezTo>
                <a:cubicBezTo>
                  <a:pt x="651" y="67"/>
                  <a:pt x="650" y="67"/>
                  <a:pt x="649" y="66"/>
                </a:cubicBezTo>
                <a:cubicBezTo>
                  <a:pt x="648" y="65"/>
                  <a:pt x="648" y="62"/>
                  <a:pt x="649" y="61"/>
                </a:cubicBezTo>
                <a:cubicBezTo>
                  <a:pt x="649" y="60"/>
                  <a:pt x="650" y="59"/>
                  <a:pt x="650" y="59"/>
                </a:cubicBezTo>
                <a:cubicBezTo>
                  <a:pt x="651" y="59"/>
                  <a:pt x="652" y="57"/>
                  <a:pt x="652" y="57"/>
                </a:cubicBezTo>
                <a:cubicBezTo>
                  <a:pt x="651" y="56"/>
                  <a:pt x="648" y="58"/>
                  <a:pt x="647" y="56"/>
                </a:cubicBezTo>
                <a:cubicBezTo>
                  <a:pt x="647" y="54"/>
                  <a:pt x="650" y="52"/>
                  <a:pt x="651" y="52"/>
                </a:cubicBezTo>
                <a:cubicBezTo>
                  <a:pt x="652" y="52"/>
                  <a:pt x="649" y="49"/>
                  <a:pt x="648" y="49"/>
                </a:cubicBezTo>
                <a:cubicBezTo>
                  <a:pt x="647" y="49"/>
                  <a:pt x="646" y="49"/>
                  <a:pt x="646" y="49"/>
                </a:cubicBezTo>
                <a:cubicBezTo>
                  <a:pt x="644" y="49"/>
                  <a:pt x="644" y="47"/>
                  <a:pt x="644" y="46"/>
                </a:cubicBezTo>
                <a:cubicBezTo>
                  <a:pt x="644" y="43"/>
                  <a:pt x="643" y="41"/>
                  <a:pt x="642" y="38"/>
                </a:cubicBezTo>
                <a:cubicBezTo>
                  <a:pt x="641" y="36"/>
                  <a:pt x="638" y="34"/>
                  <a:pt x="637" y="31"/>
                </a:cubicBezTo>
                <a:cubicBezTo>
                  <a:pt x="636" y="29"/>
                  <a:pt x="636" y="27"/>
                  <a:pt x="636" y="24"/>
                </a:cubicBezTo>
                <a:cubicBezTo>
                  <a:pt x="637" y="21"/>
                  <a:pt x="639" y="23"/>
                  <a:pt x="641" y="24"/>
                </a:cubicBezTo>
                <a:cubicBezTo>
                  <a:pt x="646" y="27"/>
                  <a:pt x="652" y="27"/>
                  <a:pt x="658" y="27"/>
                </a:cubicBezTo>
                <a:cubicBezTo>
                  <a:pt x="660" y="27"/>
                  <a:pt x="663" y="26"/>
                  <a:pt x="665" y="28"/>
                </a:cubicBezTo>
                <a:cubicBezTo>
                  <a:pt x="665" y="28"/>
                  <a:pt x="666" y="29"/>
                  <a:pt x="666" y="30"/>
                </a:cubicBezTo>
                <a:cubicBezTo>
                  <a:pt x="667" y="30"/>
                  <a:pt x="668" y="30"/>
                  <a:pt x="669" y="30"/>
                </a:cubicBezTo>
                <a:cubicBezTo>
                  <a:pt x="671" y="31"/>
                  <a:pt x="669" y="33"/>
                  <a:pt x="668" y="33"/>
                </a:cubicBezTo>
                <a:cubicBezTo>
                  <a:pt x="666" y="34"/>
                  <a:pt x="665" y="38"/>
                  <a:pt x="664" y="40"/>
                </a:cubicBezTo>
                <a:cubicBezTo>
                  <a:pt x="663" y="40"/>
                  <a:pt x="662" y="41"/>
                  <a:pt x="663" y="43"/>
                </a:cubicBezTo>
                <a:cubicBezTo>
                  <a:pt x="663" y="43"/>
                  <a:pt x="664" y="43"/>
                  <a:pt x="665" y="43"/>
                </a:cubicBezTo>
                <a:cubicBezTo>
                  <a:pt x="667" y="44"/>
                  <a:pt x="665" y="47"/>
                  <a:pt x="665" y="48"/>
                </a:cubicBezTo>
                <a:cubicBezTo>
                  <a:pt x="665" y="50"/>
                  <a:pt x="668" y="50"/>
                  <a:pt x="669" y="50"/>
                </a:cubicBezTo>
                <a:cubicBezTo>
                  <a:pt x="672" y="49"/>
                  <a:pt x="673" y="46"/>
                  <a:pt x="675" y="45"/>
                </a:cubicBezTo>
                <a:cubicBezTo>
                  <a:pt x="677" y="44"/>
                  <a:pt x="678" y="43"/>
                  <a:pt x="677" y="41"/>
                </a:cubicBezTo>
                <a:cubicBezTo>
                  <a:pt x="677" y="39"/>
                  <a:pt x="674" y="37"/>
                  <a:pt x="676" y="35"/>
                </a:cubicBezTo>
                <a:cubicBezTo>
                  <a:pt x="677" y="33"/>
                  <a:pt x="679" y="32"/>
                  <a:pt x="679" y="30"/>
                </a:cubicBezTo>
                <a:cubicBezTo>
                  <a:pt x="679" y="28"/>
                  <a:pt x="678" y="27"/>
                  <a:pt x="677" y="26"/>
                </a:cubicBezTo>
                <a:cubicBezTo>
                  <a:pt x="676" y="24"/>
                  <a:pt x="677" y="22"/>
                  <a:pt x="675" y="21"/>
                </a:cubicBezTo>
                <a:cubicBezTo>
                  <a:pt x="674" y="20"/>
                  <a:pt x="672" y="19"/>
                  <a:pt x="673" y="17"/>
                </a:cubicBezTo>
                <a:cubicBezTo>
                  <a:pt x="674" y="16"/>
                  <a:pt x="675" y="15"/>
                  <a:pt x="674" y="13"/>
                </a:cubicBezTo>
                <a:cubicBezTo>
                  <a:pt x="673" y="13"/>
                  <a:pt x="673" y="12"/>
                  <a:pt x="672" y="11"/>
                </a:cubicBezTo>
                <a:cubicBezTo>
                  <a:pt x="671" y="10"/>
                  <a:pt x="671" y="9"/>
                  <a:pt x="670" y="8"/>
                </a:cubicBezTo>
                <a:cubicBezTo>
                  <a:pt x="723" y="9"/>
                  <a:pt x="776" y="9"/>
                  <a:pt x="829" y="9"/>
                </a:cubicBezTo>
                <a:cubicBezTo>
                  <a:pt x="882" y="9"/>
                  <a:pt x="936" y="9"/>
                  <a:pt x="989" y="9"/>
                </a:cubicBezTo>
                <a:cubicBezTo>
                  <a:pt x="1039" y="9"/>
                  <a:pt x="1089" y="9"/>
                  <a:pt x="1139" y="8"/>
                </a:cubicBezTo>
                <a:cubicBezTo>
                  <a:pt x="1139" y="6"/>
                  <a:pt x="1138" y="3"/>
                  <a:pt x="1139" y="1"/>
                </a:cubicBezTo>
                <a:cubicBezTo>
                  <a:pt x="1140" y="0"/>
                  <a:pt x="1143" y="1"/>
                  <a:pt x="1144" y="2"/>
                </a:cubicBezTo>
                <a:cubicBezTo>
                  <a:pt x="1145" y="3"/>
                  <a:pt x="1145" y="6"/>
                  <a:pt x="1146" y="8"/>
                </a:cubicBezTo>
                <a:cubicBezTo>
                  <a:pt x="1146" y="10"/>
                  <a:pt x="1148" y="12"/>
                  <a:pt x="1149" y="14"/>
                </a:cubicBezTo>
                <a:cubicBezTo>
                  <a:pt x="1153" y="17"/>
                  <a:pt x="1158" y="18"/>
                  <a:pt x="1163" y="19"/>
                </a:cubicBezTo>
                <a:cubicBezTo>
                  <a:pt x="1165" y="19"/>
                  <a:pt x="1168" y="18"/>
                  <a:pt x="1170" y="18"/>
                </a:cubicBezTo>
                <a:cubicBezTo>
                  <a:pt x="1173" y="17"/>
                  <a:pt x="1176" y="17"/>
                  <a:pt x="1178" y="18"/>
                </a:cubicBezTo>
                <a:cubicBezTo>
                  <a:pt x="1180" y="20"/>
                  <a:pt x="1181" y="22"/>
                  <a:pt x="1183" y="23"/>
                </a:cubicBezTo>
                <a:cubicBezTo>
                  <a:pt x="1185" y="24"/>
                  <a:pt x="1187" y="24"/>
                  <a:pt x="1189" y="24"/>
                </a:cubicBezTo>
                <a:cubicBezTo>
                  <a:pt x="1191" y="23"/>
                  <a:pt x="1192" y="24"/>
                  <a:pt x="1194" y="26"/>
                </a:cubicBezTo>
                <a:cubicBezTo>
                  <a:pt x="1196" y="28"/>
                  <a:pt x="1198" y="29"/>
                  <a:pt x="1201" y="28"/>
                </a:cubicBezTo>
                <a:cubicBezTo>
                  <a:pt x="1204" y="28"/>
                  <a:pt x="1206" y="27"/>
                  <a:pt x="1209" y="27"/>
                </a:cubicBezTo>
                <a:cubicBezTo>
                  <a:pt x="1211" y="26"/>
                  <a:pt x="1214" y="28"/>
                  <a:pt x="1216" y="29"/>
                </a:cubicBezTo>
                <a:cubicBezTo>
                  <a:pt x="1222" y="30"/>
                  <a:pt x="1228" y="30"/>
                  <a:pt x="1233" y="30"/>
                </a:cubicBezTo>
                <a:cubicBezTo>
                  <a:pt x="1232" y="32"/>
                  <a:pt x="1231" y="32"/>
                  <a:pt x="1229" y="33"/>
                </a:cubicBezTo>
                <a:cubicBezTo>
                  <a:pt x="1227" y="33"/>
                  <a:pt x="1225" y="33"/>
                  <a:pt x="1223" y="34"/>
                </a:cubicBezTo>
                <a:cubicBezTo>
                  <a:pt x="1222" y="35"/>
                  <a:pt x="1220" y="36"/>
                  <a:pt x="1218" y="36"/>
                </a:cubicBezTo>
                <a:cubicBezTo>
                  <a:pt x="1217" y="37"/>
                  <a:pt x="1215" y="37"/>
                  <a:pt x="1214" y="38"/>
                </a:cubicBezTo>
                <a:cubicBezTo>
                  <a:pt x="1215" y="37"/>
                  <a:pt x="1215" y="37"/>
                  <a:pt x="1216" y="37"/>
                </a:cubicBezTo>
                <a:cubicBezTo>
                  <a:pt x="1213" y="38"/>
                  <a:pt x="1216" y="37"/>
                  <a:pt x="1216" y="37"/>
                </a:cubicBezTo>
                <a:close/>
                <a:moveTo>
                  <a:pt x="2" y="514"/>
                </a:moveTo>
                <a:cubicBezTo>
                  <a:pt x="1" y="515"/>
                  <a:pt x="0" y="516"/>
                  <a:pt x="1" y="516"/>
                </a:cubicBezTo>
                <a:cubicBezTo>
                  <a:pt x="2" y="516"/>
                  <a:pt x="4" y="517"/>
                  <a:pt x="4" y="516"/>
                </a:cubicBezTo>
                <a:cubicBezTo>
                  <a:pt x="5" y="515"/>
                  <a:pt x="4" y="514"/>
                  <a:pt x="3" y="514"/>
                </a:cubicBezTo>
                <a:cubicBezTo>
                  <a:pt x="2" y="514"/>
                  <a:pt x="2" y="514"/>
                  <a:pt x="1" y="515"/>
                </a:cubicBezTo>
                <a:cubicBezTo>
                  <a:pt x="1" y="515"/>
                  <a:pt x="1" y="515"/>
                  <a:pt x="2" y="514"/>
                </a:cubicBezTo>
                <a:cubicBezTo>
                  <a:pt x="1" y="515"/>
                  <a:pt x="2" y="514"/>
                  <a:pt x="2" y="514"/>
                </a:cubicBezTo>
                <a:close/>
                <a:moveTo>
                  <a:pt x="110" y="568"/>
                </a:moveTo>
                <a:cubicBezTo>
                  <a:pt x="111" y="569"/>
                  <a:pt x="112" y="569"/>
                  <a:pt x="113" y="570"/>
                </a:cubicBezTo>
                <a:cubicBezTo>
                  <a:pt x="115" y="570"/>
                  <a:pt x="116" y="570"/>
                  <a:pt x="117" y="571"/>
                </a:cubicBezTo>
                <a:cubicBezTo>
                  <a:pt x="118" y="571"/>
                  <a:pt x="119" y="573"/>
                  <a:pt x="119" y="574"/>
                </a:cubicBezTo>
                <a:cubicBezTo>
                  <a:pt x="120" y="575"/>
                  <a:pt x="121" y="576"/>
                  <a:pt x="122" y="577"/>
                </a:cubicBezTo>
                <a:cubicBezTo>
                  <a:pt x="123" y="578"/>
                  <a:pt x="123" y="580"/>
                  <a:pt x="122" y="581"/>
                </a:cubicBezTo>
                <a:cubicBezTo>
                  <a:pt x="122" y="582"/>
                  <a:pt x="120" y="582"/>
                  <a:pt x="119" y="583"/>
                </a:cubicBezTo>
                <a:cubicBezTo>
                  <a:pt x="118" y="583"/>
                  <a:pt x="117" y="584"/>
                  <a:pt x="115" y="584"/>
                </a:cubicBezTo>
                <a:cubicBezTo>
                  <a:pt x="114" y="585"/>
                  <a:pt x="114" y="587"/>
                  <a:pt x="113" y="588"/>
                </a:cubicBezTo>
                <a:cubicBezTo>
                  <a:pt x="111" y="591"/>
                  <a:pt x="107" y="590"/>
                  <a:pt x="107" y="587"/>
                </a:cubicBezTo>
                <a:cubicBezTo>
                  <a:pt x="107" y="585"/>
                  <a:pt x="107" y="583"/>
                  <a:pt x="106" y="582"/>
                </a:cubicBezTo>
                <a:cubicBezTo>
                  <a:pt x="105" y="580"/>
                  <a:pt x="104" y="579"/>
                  <a:pt x="104" y="577"/>
                </a:cubicBezTo>
                <a:cubicBezTo>
                  <a:pt x="104" y="576"/>
                  <a:pt x="105" y="575"/>
                  <a:pt x="106" y="574"/>
                </a:cubicBezTo>
                <a:cubicBezTo>
                  <a:pt x="108" y="573"/>
                  <a:pt x="108" y="572"/>
                  <a:pt x="107" y="570"/>
                </a:cubicBezTo>
                <a:cubicBezTo>
                  <a:pt x="107" y="569"/>
                  <a:pt x="107" y="568"/>
                  <a:pt x="108" y="567"/>
                </a:cubicBezTo>
                <a:cubicBezTo>
                  <a:pt x="109" y="567"/>
                  <a:pt x="110" y="568"/>
                  <a:pt x="111" y="569"/>
                </a:cubicBezTo>
                <a:cubicBezTo>
                  <a:pt x="111" y="568"/>
                  <a:pt x="110" y="568"/>
                  <a:pt x="110" y="568"/>
                </a:cubicBezTo>
                <a:cubicBezTo>
                  <a:pt x="111" y="569"/>
                  <a:pt x="110" y="568"/>
                  <a:pt x="110" y="568"/>
                </a:cubicBezTo>
                <a:close/>
                <a:moveTo>
                  <a:pt x="95" y="553"/>
                </a:moveTo>
                <a:cubicBezTo>
                  <a:pt x="94" y="553"/>
                  <a:pt x="93" y="553"/>
                  <a:pt x="92" y="554"/>
                </a:cubicBezTo>
                <a:cubicBezTo>
                  <a:pt x="92" y="555"/>
                  <a:pt x="94" y="556"/>
                  <a:pt x="94" y="557"/>
                </a:cubicBezTo>
                <a:cubicBezTo>
                  <a:pt x="97" y="559"/>
                  <a:pt x="98" y="562"/>
                  <a:pt x="100" y="559"/>
                </a:cubicBezTo>
                <a:cubicBezTo>
                  <a:pt x="101" y="558"/>
                  <a:pt x="103" y="558"/>
                  <a:pt x="103" y="557"/>
                </a:cubicBezTo>
                <a:cubicBezTo>
                  <a:pt x="104" y="556"/>
                  <a:pt x="102" y="555"/>
                  <a:pt x="101" y="555"/>
                </a:cubicBezTo>
                <a:cubicBezTo>
                  <a:pt x="100" y="554"/>
                  <a:pt x="99" y="554"/>
                  <a:pt x="98" y="553"/>
                </a:cubicBezTo>
                <a:cubicBezTo>
                  <a:pt x="97" y="553"/>
                  <a:pt x="95" y="553"/>
                  <a:pt x="94" y="553"/>
                </a:cubicBezTo>
                <a:cubicBezTo>
                  <a:pt x="94" y="553"/>
                  <a:pt x="95" y="553"/>
                  <a:pt x="95" y="553"/>
                </a:cubicBezTo>
                <a:cubicBezTo>
                  <a:pt x="94" y="553"/>
                  <a:pt x="95" y="553"/>
                  <a:pt x="95" y="553"/>
                </a:cubicBezTo>
                <a:close/>
                <a:moveTo>
                  <a:pt x="84" y="549"/>
                </a:moveTo>
                <a:cubicBezTo>
                  <a:pt x="85" y="549"/>
                  <a:pt x="86" y="548"/>
                  <a:pt x="87" y="548"/>
                </a:cubicBezTo>
                <a:cubicBezTo>
                  <a:pt x="88" y="549"/>
                  <a:pt x="89" y="549"/>
                  <a:pt x="90" y="549"/>
                </a:cubicBezTo>
                <a:cubicBezTo>
                  <a:pt x="91" y="549"/>
                  <a:pt x="91" y="549"/>
                  <a:pt x="91" y="550"/>
                </a:cubicBezTo>
                <a:cubicBezTo>
                  <a:pt x="91" y="551"/>
                  <a:pt x="89" y="551"/>
                  <a:pt x="88" y="551"/>
                </a:cubicBezTo>
                <a:cubicBezTo>
                  <a:pt x="86" y="551"/>
                  <a:pt x="83" y="553"/>
                  <a:pt x="82" y="551"/>
                </a:cubicBezTo>
                <a:cubicBezTo>
                  <a:pt x="81" y="550"/>
                  <a:pt x="83" y="549"/>
                  <a:pt x="85" y="549"/>
                </a:cubicBezTo>
                <a:cubicBezTo>
                  <a:pt x="84" y="549"/>
                  <a:pt x="84" y="549"/>
                  <a:pt x="84" y="549"/>
                </a:cubicBezTo>
                <a:cubicBezTo>
                  <a:pt x="85" y="549"/>
                  <a:pt x="84" y="549"/>
                  <a:pt x="84" y="549"/>
                </a:cubicBezTo>
                <a:close/>
                <a:moveTo>
                  <a:pt x="87" y="555"/>
                </a:moveTo>
                <a:cubicBezTo>
                  <a:pt x="84" y="555"/>
                  <a:pt x="87" y="558"/>
                  <a:pt x="89" y="558"/>
                </a:cubicBezTo>
                <a:cubicBezTo>
                  <a:pt x="91" y="558"/>
                  <a:pt x="89" y="554"/>
                  <a:pt x="87" y="555"/>
                </a:cubicBezTo>
                <a:cubicBezTo>
                  <a:pt x="87" y="555"/>
                  <a:pt x="87" y="555"/>
                  <a:pt x="87" y="555"/>
                </a:cubicBezTo>
                <a:cubicBezTo>
                  <a:pt x="84" y="556"/>
                  <a:pt x="87" y="555"/>
                  <a:pt x="87" y="555"/>
                </a:cubicBezTo>
                <a:close/>
                <a:moveTo>
                  <a:pt x="67" y="542"/>
                </a:moveTo>
                <a:cubicBezTo>
                  <a:pt x="67" y="542"/>
                  <a:pt x="66" y="542"/>
                  <a:pt x="66" y="543"/>
                </a:cubicBezTo>
                <a:cubicBezTo>
                  <a:pt x="65" y="543"/>
                  <a:pt x="67" y="545"/>
                  <a:pt x="67" y="546"/>
                </a:cubicBezTo>
                <a:cubicBezTo>
                  <a:pt x="68" y="547"/>
                  <a:pt x="69" y="546"/>
                  <a:pt x="71" y="546"/>
                </a:cubicBezTo>
                <a:cubicBezTo>
                  <a:pt x="72" y="546"/>
                  <a:pt x="72" y="547"/>
                  <a:pt x="73" y="548"/>
                </a:cubicBezTo>
                <a:cubicBezTo>
                  <a:pt x="74" y="548"/>
                  <a:pt x="75" y="547"/>
                  <a:pt x="75" y="546"/>
                </a:cubicBezTo>
                <a:cubicBezTo>
                  <a:pt x="74" y="545"/>
                  <a:pt x="73" y="544"/>
                  <a:pt x="73" y="544"/>
                </a:cubicBezTo>
                <a:cubicBezTo>
                  <a:pt x="71" y="541"/>
                  <a:pt x="69" y="540"/>
                  <a:pt x="67" y="542"/>
                </a:cubicBezTo>
                <a:cubicBezTo>
                  <a:pt x="67" y="542"/>
                  <a:pt x="67" y="542"/>
                  <a:pt x="67" y="542"/>
                </a:cubicBezTo>
                <a:cubicBezTo>
                  <a:pt x="67" y="542"/>
                  <a:pt x="67" y="542"/>
                  <a:pt x="67" y="542"/>
                </a:cubicBezTo>
                <a:close/>
                <a:moveTo>
                  <a:pt x="42" y="531"/>
                </a:moveTo>
                <a:cubicBezTo>
                  <a:pt x="44" y="532"/>
                  <a:pt x="47" y="531"/>
                  <a:pt x="47" y="534"/>
                </a:cubicBezTo>
                <a:cubicBezTo>
                  <a:pt x="48" y="537"/>
                  <a:pt x="45" y="537"/>
                  <a:pt x="42" y="536"/>
                </a:cubicBezTo>
                <a:cubicBezTo>
                  <a:pt x="41" y="536"/>
                  <a:pt x="39" y="535"/>
                  <a:pt x="40" y="533"/>
                </a:cubicBezTo>
                <a:cubicBezTo>
                  <a:pt x="41" y="531"/>
                  <a:pt x="42" y="531"/>
                  <a:pt x="43" y="532"/>
                </a:cubicBezTo>
                <a:cubicBezTo>
                  <a:pt x="43" y="532"/>
                  <a:pt x="42" y="532"/>
                  <a:pt x="42" y="531"/>
                </a:cubicBezTo>
                <a:cubicBezTo>
                  <a:pt x="43" y="532"/>
                  <a:pt x="42" y="531"/>
                  <a:pt x="42" y="531"/>
                </a:cubicBezTo>
                <a:close/>
                <a:moveTo>
                  <a:pt x="32" y="536"/>
                </a:moveTo>
                <a:cubicBezTo>
                  <a:pt x="32" y="536"/>
                  <a:pt x="31" y="539"/>
                  <a:pt x="31" y="540"/>
                </a:cubicBezTo>
                <a:cubicBezTo>
                  <a:pt x="31" y="540"/>
                  <a:pt x="33" y="540"/>
                  <a:pt x="33" y="539"/>
                </a:cubicBezTo>
                <a:cubicBezTo>
                  <a:pt x="33" y="538"/>
                  <a:pt x="35" y="537"/>
                  <a:pt x="34" y="536"/>
                </a:cubicBezTo>
                <a:cubicBezTo>
                  <a:pt x="34" y="535"/>
                  <a:pt x="33" y="536"/>
                  <a:pt x="32" y="536"/>
                </a:cubicBezTo>
                <a:cubicBezTo>
                  <a:pt x="32" y="536"/>
                  <a:pt x="32" y="536"/>
                  <a:pt x="32" y="536"/>
                </a:cubicBezTo>
                <a:cubicBezTo>
                  <a:pt x="32" y="537"/>
                  <a:pt x="32" y="536"/>
                  <a:pt x="32" y="536"/>
                </a:cubicBezTo>
                <a:close/>
                <a:moveTo>
                  <a:pt x="709" y="312"/>
                </a:moveTo>
                <a:cubicBezTo>
                  <a:pt x="708" y="313"/>
                  <a:pt x="711" y="314"/>
                  <a:pt x="711" y="314"/>
                </a:cubicBezTo>
                <a:cubicBezTo>
                  <a:pt x="712" y="315"/>
                  <a:pt x="713" y="317"/>
                  <a:pt x="714" y="316"/>
                </a:cubicBezTo>
                <a:cubicBezTo>
                  <a:pt x="714" y="316"/>
                  <a:pt x="714" y="316"/>
                  <a:pt x="714" y="315"/>
                </a:cubicBezTo>
                <a:cubicBezTo>
                  <a:pt x="715" y="314"/>
                  <a:pt x="714" y="314"/>
                  <a:pt x="713" y="314"/>
                </a:cubicBezTo>
                <a:cubicBezTo>
                  <a:pt x="712" y="313"/>
                  <a:pt x="710" y="312"/>
                  <a:pt x="709" y="313"/>
                </a:cubicBezTo>
                <a:cubicBezTo>
                  <a:pt x="709" y="312"/>
                  <a:pt x="709" y="312"/>
                  <a:pt x="709" y="312"/>
                </a:cubicBezTo>
                <a:cubicBezTo>
                  <a:pt x="708" y="313"/>
                  <a:pt x="709" y="312"/>
                  <a:pt x="709" y="312"/>
                </a:cubicBezTo>
                <a:close/>
                <a:moveTo>
                  <a:pt x="719" y="312"/>
                </a:moveTo>
                <a:cubicBezTo>
                  <a:pt x="718" y="313"/>
                  <a:pt x="719" y="315"/>
                  <a:pt x="720" y="315"/>
                </a:cubicBezTo>
                <a:cubicBezTo>
                  <a:pt x="721" y="315"/>
                  <a:pt x="722" y="314"/>
                  <a:pt x="723" y="314"/>
                </a:cubicBezTo>
                <a:cubicBezTo>
                  <a:pt x="724" y="314"/>
                  <a:pt x="725" y="312"/>
                  <a:pt x="723" y="312"/>
                </a:cubicBezTo>
                <a:cubicBezTo>
                  <a:pt x="722" y="312"/>
                  <a:pt x="720" y="312"/>
                  <a:pt x="719" y="313"/>
                </a:cubicBezTo>
                <a:cubicBezTo>
                  <a:pt x="719" y="313"/>
                  <a:pt x="719" y="312"/>
                  <a:pt x="719" y="312"/>
                </a:cubicBezTo>
                <a:cubicBezTo>
                  <a:pt x="718" y="313"/>
                  <a:pt x="719" y="312"/>
                  <a:pt x="719" y="312"/>
                </a:cubicBezTo>
                <a:close/>
                <a:moveTo>
                  <a:pt x="740" y="334"/>
                </a:moveTo>
                <a:cubicBezTo>
                  <a:pt x="741" y="335"/>
                  <a:pt x="741" y="338"/>
                  <a:pt x="742" y="338"/>
                </a:cubicBezTo>
                <a:cubicBezTo>
                  <a:pt x="743" y="338"/>
                  <a:pt x="744" y="337"/>
                  <a:pt x="744" y="336"/>
                </a:cubicBezTo>
                <a:cubicBezTo>
                  <a:pt x="743" y="334"/>
                  <a:pt x="742" y="333"/>
                  <a:pt x="741" y="333"/>
                </a:cubicBezTo>
                <a:cubicBezTo>
                  <a:pt x="740" y="333"/>
                  <a:pt x="741" y="335"/>
                  <a:pt x="741" y="336"/>
                </a:cubicBezTo>
                <a:cubicBezTo>
                  <a:pt x="741" y="335"/>
                  <a:pt x="740" y="335"/>
                  <a:pt x="740" y="334"/>
                </a:cubicBezTo>
                <a:cubicBezTo>
                  <a:pt x="741" y="335"/>
                  <a:pt x="740" y="334"/>
                  <a:pt x="740" y="334"/>
                </a:cubicBezTo>
                <a:close/>
                <a:moveTo>
                  <a:pt x="741" y="325"/>
                </a:moveTo>
                <a:cubicBezTo>
                  <a:pt x="741" y="325"/>
                  <a:pt x="742" y="326"/>
                  <a:pt x="742" y="326"/>
                </a:cubicBezTo>
                <a:cubicBezTo>
                  <a:pt x="743" y="326"/>
                  <a:pt x="744" y="327"/>
                  <a:pt x="745" y="328"/>
                </a:cubicBezTo>
                <a:cubicBezTo>
                  <a:pt x="746" y="328"/>
                  <a:pt x="747" y="328"/>
                  <a:pt x="745" y="327"/>
                </a:cubicBezTo>
                <a:cubicBezTo>
                  <a:pt x="744" y="326"/>
                  <a:pt x="744" y="324"/>
                  <a:pt x="742" y="324"/>
                </a:cubicBezTo>
                <a:cubicBezTo>
                  <a:pt x="742" y="324"/>
                  <a:pt x="741" y="323"/>
                  <a:pt x="740" y="324"/>
                </a:cubicBezTo>
                <a:cubicBezTo>
                  <a:pt x="740" y="324"/>
                  <a:pt x="741" y="325"/>
                  <a:pt x="741" y="325"/>
                </a:cubicBezTo>
                <a:cubicBezTo>
                  <a:pt x="741" y="325"/>
                  <a:pt x="741" y="325"/>
                  <a:pt x="741" y="325"/>
                </a:cubicBezTo>
                <a:cubicBezTo>
                  <a:pt x="741" y="325"/>
                  <a:pt x="741" y="325"/>
                  <a:pt x="741" y="325"/>
                </a:cubicBezTo>
                <a:close/>
                <a:moveTo>
                  <a:pt x="670" y="37"/>
                </a:moveTo>
                <a:cubicBezTo>
                  <a:pt x="669" y="38"/>
                  <a:pt x="666" y="39"/>
                  <a:pt x="667" y="41"/>
                </a:cubicBezTo>
                <a:cubicBezTo>
                  <a:pt x="667" y="42"/>
                  <a:pt x="668" y="43"/>
                  <a:pt x="669" y="43"/>
                </a:cubicBezTo>
                <a:cubicBezTo>
                  <a:pt x="669" y="43"/>
                  <a:pt x="671" y="43"/>
                  <a:pt x="672" y="43"/>
                </a:cubicBezTo>
                <a:cubicBezTo>
                  <a:pt x="673" y="42"/>
                  <a:pt x="672" y="39"/>
                  <a:pt x="671" y="38"/>
                </a:cubicBezTo>
                <a:cubicBezTo>
                  <a:pt x="671" y="36"/>
                  <a:pt x="670" y="37"/>
                  <a:pt x="669" y="38"/>
                </a:cubicBezTo>
                <a:cubicBezTo>
                  <a:pt x="669" y="38"/>
                  <a:pt x="669" y="37"/>
                  <a:pt x="670" y="37"/>
                </a:cubicBezTo>
                <a:cubicBezTo>
                  <a:pt x="669" y="38"/>
                  <a:pt x="670" y="37"/>
                  <a:pt x="670" y="37"/>
                </a:cubicBezTo>
                <a:close/>
                <a:moveTo>
                  <a:pt x="1657" y="344"/>
                </a:moveTo>
                <a:cubicBezTo>
                  <a:pt x="1656" y="346"/>
                  <a:pt x="1655" y="345"/>
                  <a:pt x="1654" y="346"/>
                </a:cubicBezTo>
                <a:cubicBezTo>
                  <a:pt x="1653" y="347"/>
                  <a:pt x="1655" y="349"/>
                  <a:pt x="1656" y="348"/>
                </a:cubicBezTo>
                <a:cubicBezTo>
                  <a:pt x="1657" y="347"/>
                  <a:pt x="1658" y="346"/>
                  <a:pt x="1658" y="344"/>
                </a:cubicBezTo>
                <a:cubicBezTo>
                  <a:pt x="1658" y="342"/>
                  <a:pt x="1657" y="343"/>
                  <a:pt x="1657" y="344"/>
                </a:cubicBezTo>
                <a:cubicBezTo>
                  <a:pt x="1657" y="344"/>
                  <a:pt x="1657" y="344"/>
                  <a:pt x="1657" y="344"/>
                </a:cubicBezTo>
                <a:cubicBezTo>
                  <a:pt x="1657" y="345"/>
                  <a:pt x="1657" y="344"/>
                  <a:pt x="1657" y="344"/>
                </a:cubicBezTo>
                <a:close/>
                <a:moveTo>
                  <a:pt x="1503" y="181"/>
                </a:moveTo>
                <a:cubicBezTo>
                  <a:pt x="1501" y="182"/>
                  <a:pt x="1501" y="183"/>
                  <a:pt x="1503" y="183"/>
                </a:cubicBezTo>
                <a:cubicBezTo>
                  <a:pt x="1505" y="184"/>
                  <a:pt x="1507" y="183"/>
                  <a:pt x="1509" y="183"/>
                </a:cubicBezTo>
                <a:cubicBezTo>
                  <a:pt x="1511" y="182"/>
                  <a:pt x="1513" y="182"/>
                  <a:pt x="1514" y="181"/>
                </a:cubicBezTo>
                <a:cubicBezTo>
                  <a:pt x="1516" y="181"/>
                  <a:pt x="1518" y="180"/>
                  <a:pt x="1520" y="180"/>
                </a:cubicBezTo>
                <a:cubicBezTo>
                  <a:pt x="1524" y="180"/>
                  <a:pt x="1527" y="178"/>
                  <a:pt x="1531" y="178"/>
                </a:cubicBezTo>
                <a:cubicBezTo>
                  <a:pt x="1532" y="177"/>
                  <a:pt x="1534" y="177"/>
                  <a:pt x="1535" y="176"/>
                </a:cubicBezTo>
                <a:cubicBezTo>
                  <a:pt x="1535" y="175"/>
                  <a:pt x="1533" y="176"/>
                  <a:pt x="1533" y="176"/>
                </a:cubicBezTo>
                <a:cubicBezTo>
                  <a:pt x="1531" y="176"/>
                  <a:pt x="1530" y="176"/>
                  <a:pt x="1529" y="176"/>
                </a:cubicBezTo>
                <a:cubicBezTo>
                  <a:pt x="1527" y="176"/>
                  <a:pt x="1527" y="176"/>
                  <a:pt x="1527" y="174"/>
                </a:cubicBezTo>
                <a:cubicBezTo>
                  <a:pt x="1526" y="172"/>
                  <a:pt x="1519" y="176"/>
                  <a:pt x="1518" y="177"/>
                </a:cubicBezTo>
                <a:cubicBezTo>
                  <a:pt x="1516" y="177"/>
                  <a:pt x="1515" y="178"/>
                  <a:pt x="1513" y="178"/>
                </a:cubicBezTo>
                <a:cubicBezTo>
                  <a:pt x="1511" y="177"/>
                  <a:pt x="1510" y="177"/>
                  <a:pt x="1508" y="177"/>
                </a:cubicBezTo>
                <a:cubicBezTo>
                  <a:pt x="1507" y="178"/>
                  <a:pt x="1506" y="179"/>
                  <a:pt x="1505" y="180"/>
                </a:cubicBezTo>
                <a:cubicBezTo>
                  <a:pt x="1505" y="181"/>
                  <a:pt x="1503" y="181"/>
                  <a:pt x="1502" y="182"/>
                </a:cubicBezTo>
                <a:cubicBezTo>
                  <a:pt x="1502" y="182"/>
                  <a:pt x="1502" y="181"/>
                  <a:pt x="1503" y="181"/>
                </a:cubicBezTo>
                <a:cubicBezTo>
                  <a:pt x="1501" y="182"/>
                  <a:pt x="1503" y="181"/>
                  <a:pt x="1503" y="181"/>
                </a:cubicBezTo>
                <a:close/>
                <a:moveTo>
                  <a:pt x="1556" y="167"/>
                </a:moveTo>
                <a:cubicBezTo>
                  <a:pt x="1555" y="167"/>
                  <a:pt x="1553" y="168"/>
                  <a:pt x="1553" y="169"/>
                </a:cubicBezTo>
                <a:cubicBezTo>
                  <a:pt x="1553" y="169"/>
                  <a:pt x="1555" y="169"/>
                  <a:pt x="1555" y="169"/>
                </a:cubicBezTo>
                <a:cubicBezTo>
                  <a:pt x="1556" y="169"/>
                  <a:pt x="1557" y="170"/>
                  <a:pt x="1557" y="168"/>
                </a:cubicBezTo>
                <a:cubicBezTo>
                  <a:pt x="1557" y="166"/>
                  <a:pt x="1556" y="167"/>
                  <a:pt x="1555" y="167"/>
                </a:cubicBezTo>
                <a:cubicBezTo>
                  <a:pt x="1556" y="167"/>
                  <a:pt x="1556" y="167"/>
                  <a:pt x="1556" y="167"/>
                </a:cubicBezTo>
                <a:cubicBezTo>
                  <a:pt x="1555" y="167"/>
                  <a:pt x="1556" y="167"/>
                  <a:pt x="1556" y="167"/>
                </a:cubicBezTo>
                <a:close/>
                <a:moveTo>
                  <a:pt x="1565" y="169"/>
                </a:moveTo>
                <a:cubicBezTo>
                  <a:pt x="1565" y="170"/>
                  <a:pt x="1564" y="170"/>
                  <a:pt x="1564" y="171"/>
                </a:cubicBezTo>
                <a:cubicBezTo>
                  <a:pt x="1565" y="171"/>
                  <a:pt x="1565" y="172"/>
                  <a:pt x="1566" y="171"/>
                </a:cubicBezTo>
                <a:cubicBezTo>
                  <a:pt x="1567" y="170"/>
                  <a:pt x="1565" y="167"/>
                  <a:pt x="1565" y="169"/>
                </a:cubicBezTo>
                <a:cubicBezTo>
                  <a:pt x="1565" y="169"/>
                  <a:pt x="1565" y="169"/>
                  <a:pt x="1565" y="169"/>
                </a:cubicBezTo>
                <a:cubicBezTo>
                  <a:pt x="1565" y="169"/>
                  <a:pt x="1565" y="169"/>
                  <a:pt x="1565" y="169"/>
                </a:cubicBezTo>
                <a:close/>
                <a:moveTo>
                  <a:pt x="1563" y="154"/>
                </a:moveTo>
                <a:cubicBezTo>
                  <a:pt x="1563" y="155"/>
                  <a:pt x="1564" y="155"/>
                  <a:pt x="1565" y="155"/>
                </a:cubicBezTo>
                <a:cubicBezTo>
                  <a:pt x="1565" y="156"/>
                  <a:pt x="1567" y="156"/>
                  <a:pt x="1566" y="155"/>
                </a:cubicBezTo>
                <a:cubicBezTo>
                  <a:pt x="1566" y="155"/>
                  <a:pt x="1565" y="154"/>
                  <a:pt x="1564" y="154"/>
                </a:cubicBezTo>
                <a:cubicBezTo>
                  <a:pt x="1563" y="153"/>
                  <a:pt x="1563" y="154"/>
                  <a:pt x="1563" y="154"/>
                </a:cubicBezTo>
                <a:cubicBezTo>
                  <a:pt x="1563" y="154"/>
                  <a:pt x="1563" y="154"/>
                  <a:pt x="1563" y="154"/>
                </a:cubicBezTo>
                <a:cubicBezTo>
                  <a:pt x="1563" y="155"/>
                  <a:pt x="1563" y="154"/>
                  <a:pt x="1563" y="154"/>
                </a:cubicBezTo>
                <a:close/>
                <a:moveTo>
                  <a:pt x="1565" y="161"/>
                </a:moveTo>
                <a:cubicBezTo>
                  <a:pt x="1564" y="162"/>
                  <a:pt x="1567" y="163"/>
                  <a:pt x="1567" y="162"/>
                </a:cubicBezTo>
                <a:cubicBezTo>
                  <a:pt x="1567" y="160"/>
                  <a:pt x="1566" y="160"/>
                  <a:pt x="1565" y="161"/>
                </a:cubicBezTo>
                <a:cubicBezTo>
                  <a:pt x="1565" y="161"/>
                  <a:pt x="1565" y="161"/>
                  <a:pt x="1565" y="161"/>
                </a:cubicBezTo>
                <a:cubicBezTo>
                  <a:pt x="1564" y="162"/>
                  <a:pt x="1565" y="161"/>
                  <a:pt x="1565" y="161"/>
                </a:cubicBezTo>
                <a:close/>
              </a:path>
            </a:pathLst>
          </a:custGeom>
          <a:solidFill>
            <a:srgbClr val="CC0000"/>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29" name="Freeform 30">
            <a:extLst>
              <a:ext uri="{FF2B5EF4-FFF2-40B4-BE49-F238E27FC236}">
                <a16:creationId xmlns:a16="http://schemas.microsoft.com/office/drawing/2014/main" id="{AACC39F3-8423-EE1C-F7E7-6F13050E4431}"/>
              </a:ext>
            </a:extLst>
          </p:cNvPr>
          <p:cNvSpPr>
            <a:spLocks noEditPoints="1"/>
          </p:cNvSpPr>
          <p:nvPr>
            <p:custDataLst>
              <p:tags r:id="rId11"/>
            </p:custDataLst>
          </p:nvPr>
        </p:nvSpPr>
        <p:spPr bwMode="auto">
          <a:xfrm>
            <a:off x="1613096" y="1519870"/>
            <a:ext cx="1756910" cy="1349467"/>
          </a:xfrm>
          <a:custGeom>
            <a:avLst/>
            <a:gdLst>
              <a:gd name="T0" fmla="*/ 235 w 1503"/>
              <a:gd name="T1" fmla="*/ 958 h 1154"/>
              <a:gd name="T2" fmla="*/ 188 w 1503"/>
              <a:gd name="T3" fmla="*/ 859 h 1154"/>
              <a:gd name="T4" fmla="*/ 138 w 1503"/>
              <a:gd name="T5" fmla="*/ 493 h 1154"/>
              <a:gd name="T6" fmla="*/ 450 w 1503"/>
              <a:gd name="T7" fmla="*/ 520 h 1154"/>
              <a:gd name="T8" fmla="*/ 624 w 1503"/>
              <a:gd name="T9" fmla="*/ 527 h 1154"/>
              <a:gd name="T10" fmla="*/ 764 w 1503"/>
              <a:gd name="T11" fmla="*/ 447 h 1154"/>
              <a:gd name="T12" fmla="*/ 894 w 1503"/>
              <a:gd name="T13" fmla="*/ 527 h 1154"/>
              <a:gd name="T14" fmla="*/ 959 w 1503"/>
              <a:gd name="T15" fmla="*/ 561 h 1154"/>
              <a:gd name="T16" fmla="*/ 829 w 1503"/>
              <a:gd name="T17" fmla="*/ 675 h 1154"/>
              <a:gd name="T18" fmla="*/ 1027 w 1503"/>
              <a:gd name="T19" fmla="*/ 946 h 1154"/>
              <a:gd name="T20" fmla="*/ 1145 w 1503"/>
              <a:gd name="T21" fmla="*/ 683 h 1154"/>
              <a:gd name="T22" fmla="*/ 1290 w 1503"/>
              <a:gd name="T23" fmla="*/ 762 h 1154"/>
              <a:gd name="T24" fmla="*/ 1345 w 1503"/>
              <a:gd name="T25" fmla="*/ 840 h 1154"/>
              <a:gd name="T26" fmla="*/ 1438 w 1503"/>
              <a:gd name="T27" fmla="*/ 901 h 1154"/>
              <a:gd name="T28" fmla="*/ 1285 w 1503"/>
              <a:gd name="T29" fmla="*/ 1024 h 1154"/>
              <a:gd name="T30" fmla="*/ 1271 w 1503"/>
              <a:gd name="T31" fmla="*/ 1084 h 1154"/>
              <a:gd name="T32" fmla="*/ 957 w 1503"/>
              <a:gd name="T33" fmla="*/ 1057 h 1154"/>
              <a:gd name="T34" fmla="*/ 1479 w 1503"/>
              <a:gd name="T35" fmla="*/ 995 h 1154"/>
              <a:gd name="T36" fmla="*/ 1363 w 1503"/>
              <a:gd name="T37" fmla="*/ 1054 h 1154"/>
              <a:gd name="T38" fmla="*/ 980 w 1503"/>
              <a:gd name="T39" fmla="*/ 688 h 1154"/>
              <a:gd name="T40" fmla="*/ 1291 w 1503"/>
              <a:gd name="T41" fmla="*/ 704 h 1154"/>
              <a:gd name="T42" fmla="*/ 1066 w 1503"/>
              <a:gd name="T43" fmla="*/ 621 h 1154"/>
              <a:gd name="T44" fmla="*/ 1265 w 1503"/>
              <a:gd name="T45" fmla="*/ 662 h 1154"/>
              <a:gd name="T46" fmla="*/ 1281 w 1503"/>
              <a:gd name="T47" fmla="*/ 580 h 1154"/>
              <a:gd name="T48" fmla="*/ 1320 w 1503"/>
              <a:gd name="T49" fmla="*/ 551 h 1154"/>
              <a:gd name="T50" fmla="*/ 1262 w 1503"/>
              <a:gd name="T51" fmla="*/ 493 h 1154"/>
              <a:gd name="T52" fmla="*/ 1163 w 1503"/>
              <a:gd name="T53" fmla="*/ 442 h 1154"/>
              <a:gd name="T54" fmla="*/ 1093 w 1503"/>
              <a:gd name="T55" fmla="*/ 385 h 1154"/>
              <a:gd name="T56" fmla="*/ 964 w 1503"/>
              <a:gd name="T57" fmla="*/ 381 h 1154"/>
              <a:gd name="T58" fmla="*/ 905 w 1503"/>
              <a:gd name="T59" fmla="*/ 438 h 1154"/>
              <a:gd name="T60" fmla="*/ 1101 w 1503"/>
              <a:gd name="T61" fmla="*/ 497 h 1154"/>
              <a:gd name="T62" fmla="*/ 1445 w 1503"/>
              <a:gd name="T63" fmla="*/ 1035 h 1154"/>
              <a:gd name="T64" fmla="*/ 1060 w 1503"/>
              <a:gd name="T65" fmla="*/ 489 h 1154"/>
              <a:gd name="T66" fmla="*/ 989 w 1503"/>
              <a:gd name="T67" fmla="*/ 323 h 1154"/>
              <a:gd name="T68" fmla="*/ 810 w 1503"/>
              <a:gd name="T69" fmla="*/ 247 h 1154"/>
              <a:gd name="T70" fmla="*/ 1046 w 1503"/>
              <a:gd name="T71" fmla="*/ 274 h 1154"/>
              <a:gd name="T72" fmla="*/ 1094 w 1503"/>
              <a:gd name="T73" fmla="*/ 161 h 1154"/>
              <a:gd name="T74" fmla="*/ 1207 w 1503"/>
              <a:gd name="T75" fmla="*/ 81 h 1154"/>
              <a:gd name="T76" fmla="*/ 1102 w 1503"/>
              <a:gd name="T77" fmla="*/ 18 h 1154"/>
              <a:gd name="T78" fmla="*/ 920 w 1503"/>
              <a:gd name="T79" fmla="*/ 50 h 1154"/>
              <a:gd name="T80" fmla="*/ 983 w 1503"/>
              <a:gd name="T81" fmla="*/ 93 h 1154"/>
              <a:gd name="T82" fmla="*/ 926 w 1503"/>
              <a:gd name="T83" fmla="*/ 123 h 1154"/>
              <a:gd name="T84" fmla="*/ 949 w 1503"/>
              <a:gd name="T85" fmla="*/ 216 h 1154"/>
              <a:gd name="T86" fmla="*/ 976 w 1503"/>
              <a:gd name="T87" fmla="*/ 258 h 1154"/>
              <a:gd name="T88" fmla="*/ 756 w 1503"/>
              <a:gd name="T89" fmla="*/ 130 h 1154"/>
              <a:gd name="T90" fmla="*/ 901 w 1503"/>
              <a:gd name="T91" fmla="*/ 163 h 1154"/>
              <a:gd name="T92" fmla="*/ 812 w 1503"/>
              <a:gd name="T93" fmla="*/ 213 h 1154"/>
              <a:gd name="T94" fmla="*/ 657 w 1503"/>
              <a:gd name="T95" fmla="*/ 192 h 1154"/>
              <a:gd name="T96" fmla="*/ 669 w 1503"/>
              <a:gd name="T97" fmla="*/ 258 h 1154"/>
              <a:gd name="T98" fmla="*/ 641 w 1503"/>
              <a:gd name="T99" fmla="*/ 279 h 1154"/>
              <a:gd name="T100" fmla="*/ 796 w 1503"/>
              <a:gd name="T101" fmla="*/ 384 h 1154"/>
              <a:gd name="T102" fmla="*/ 740 w 1503"/>
              <a:gd name="T103" fmla="*/ 476 h 1154"/>
              <a:gd name="T104" fmla="*/ 724 w 1503"/>
              <a:gd name="T105" fmla="*/ 424 h 1154"/>
              <a:gd name="T106" fmla="*/ 586 w 1503"/>
              <a:gd name="T107" fmla="*/ 368 h 1154"/>
              <a:gd name="T108" fmla="*/ 378 w 1503"/>
              <a:gd name="T109" fmla="*/ 402 h 1154"/>
              <a:gd name="T110" fmla="*/ 607 w 1503"/>
              <a:gd name="T111" fmla="*/ 496 h 1154"/>
              <a:gd name="T112" fmla="*/ 376 w 1503"/>
              <a:gd name="T113" fmla="*/ 264 h 1154"/>
              <a:gd name="T114" fmla="*/ 551 w 1503"/>
              <a:gd name="T115" fmla="*/ 249 h 1154"/>
              <a:gd name="T116" fmla="*/ 417 w 1503"/>
              <a:gd name="T117" fmla="*/ 292 h 1154"/>
              <a:gd name="T118" fmla="*/ 492 w 1503"/>
              <a:gd name="T119" fmla="*/ 202 h 1154"/>
              <a:gd name="T120" fmla="*/ 422 w 1503"/>
              <a:gd name="T121" fmla="*/ 363 h 1154"/>
              <a:gd name="T122" fmla="*/ 179 w 1503"/>
              <a:gd name="T123" fmla="*/ 878 h 1154"/>
              <a:gd name="T124" fmla="*/ 230 w 1503"/>
              <a:gd name="T125" fmla="*/ 959 h 1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3" h="1154">
                <a:moveTo>
                  <a:pt x="957" y="1057"/>
                </a:moveTo>
                <a:cubicBezTo>
                  <a:pt x="959" y="1057"/>
                  <a:pt x="960" y="1057"/>
                  <a:pt x="960" y="1055"/>
                </a:cubicBezTo>
                <a:cubicBezTo>
                  <a:pt x="960" y="1054"/>
                  <a:pt x="960" y="1053"/>
                  <a:pt x="960" y="1051"/>
                </a:cubicBezTo>
                <a:cubicBezTo>
                  <a:pt x="959" y="1050"/>
                  <a:pt x="958" y="1049"/>
                  <a:pt x="958" y="1047"/>
                </a:cubicBezTo>
                <a:cubicBezTo>
                  <a:pt x="958" y="1046"/>
                  <a:pt x="961" y="1044"/>
                  <a:pt x="959" y="1042"/>
                </a:cubicBezTo>
                <a:cubicBezTo>
                  <a:pt x="958" y="1040"/>
                  <a:pt x="956" y="1040"/>
                  <a:pt x="955" y="1038"/>
                </a:cubicBezTo>
                <a:cubicBezTo>
                  <a:pt x="953" y="1035"/>
                  <a:pt x="952" y="1033"/>
                  <a:pt x="953" y="1031"/>
                </a:cubicBezTo>
                <a:cubicBezTo>
                  <a:pt x="955" y="1028"/>
                  <a:pt x="953" y="1028"/>
                  <a:pt x="951" y="1028"/>
                </a:cubicBezTo>
                <a:cubicBezTo>
                  <a:pt x="946" y="1029"/>
                  <a:pt x="941" y="1029"/>
                  <a:pt x="937" y="1025"/>
                </a:cubicBezTo>
                <a:cubicBezTo>
                  <a:pt x="936" y="1023"/>
                  <a:pt x="935" y="1021"/>
                  <a:pt x="934" y="1019"/>
                </a:cubicBezTo>
                <a:cubicBezTo>
                  <a:pt x="932" y="1017"/>
                  <a:pt x="930" y="1014"/>
                  <a:pt x="928" y="1012"/>
                </a:cubicBezTo>
                <a:cubicBezTo>
                  <a:pt x="927" y="1011"/>
                  <a:pt x="925" y="1009"/>
                  <a:pt x="923" y="1009"/>
                </a:cubicBezTo>
                <a:cubicBezTo>
                  <a:pt x="920" y="1008"/>
                  <a:pt x="917" y="1010"/>
                  <a:pt x="914" y="1009"/>
                </a:cubicBezTo>
                <a:cubicBezTo>
                  <a:pt x="911" y="1008"/>
                  <a:pt x="909" y="1007"/>
                  <a:pt x="906" y="1006"/>
                </a:cubicBezTo>
                <a:cubicBezTo>
                  <a:pt x="904" y="1005"/>
                  <a:pt x="901" y="1004"/>
                  <a:pt x="898" y="1005"/>
                </a:cubicBezTo>
                <a:cubicBezTo>
                  <a:pt x="896" y="1006"/>
                  <a:pt x="899" y="1009"/>
                  <a:pt x="899" y="1011"/>
                </a:cubicBezTo>
                <a:cubicBezTo>
                  <a:pt x="899" y="1012"/>
                  <a:pt x="899" y="1013"/>
                  <a:pt x="898" y="1013"/>
                </a:cubicBezTo>
                <a:cubicBezTo>
                  <a:pt x="896" y="1013"/>
                  <a:pt x="896" y="1012"/>
                  <a:pt x="896" y="1011"/>
                </a:cubicBezTo>
                <a:cubicBezTo>
                  <a:pt x="895" y="1009"/>
                  <a:pt x="892" y="1008"/>
                  <a:pt x="891" y="1009"/>
                </a:cubicBezTo>
                <a:cubicBezTo>
                  <a:pt x="890" y="1010"/>
                  <a:pt x="890" y="1012"/>
                  <a:pt x="890" y="1013"/>
                </a:cubicBezTo>
                <a:cubicBezTo>
                  <a:pt x="890" y="1015"/>
                  <a:pt x="890" y="1016"/>
                  <a:pt x="888" y="1016"/>
                </a:cubicBezTo>
                <a:cubicBezTo>
                  <a:pt x="887" y="1016"/>
                  <a:pt x="885" y="1015"/>
                  <a:pt x="884" y="1015"/>
                </a:cubicBezTo>
                <a:cubicBezTo>
                  <a:pt x="881" y="1015"/>
                  <a:pt x="881" y="1018"/>
                  <a:pt x="880" y="1019"/>
                </a:cubicBezTo>
                <a:cubicBezTo>
                  <a:pt x="880" y="1020"/>
                  <a:pt x="879" y="1021"/>
                  <a:pt x="878" y="1022"/>
                </a:cubicBezTo>
                <a:cubicBezTo>
                  <a:pt x="878" y="1023"/>
                  <a:pt x="876" y="1025"/>
                  <a:pt x="875" y="1025"/>
                </a:cubicBezTo>
                <a:cubicBezTo>
                  <a:pt x="873" y="1026"/>
                  <a:pt x="870" y="1025"/>
                  <a:pt x="867" y="1025"/>
                </a:cubicBezTo>
                <a:cubicBezTo>
                  <a:pt x="864" y="1025"/>
                  <a:pt x="861" y="1025"/>
                  <a:pt x="857" y="1024"/>
                </a:cubicBezTo>
                <a:cubicBezTo>
                  <a:pt x="855" y="1023"/>
                  <a:pt x="852" y="1021"/>
                  <a:pt x="849" y="1022"/>
                </a:cubicBezTo>
                <a:cubicBezTo>
                  <a:pt x="846" y="1022"/>
                  <a:pt x="844" y="1023"/>
                  <a:pt x="841" y="1023"/>
                </a:cubicBezTo>
                <a:cubicBezTo>
                  <a:pt x="839" y="1024"/>
                  <a:pt x="837" y="1023"/>
                  <a:pt x="835" y="1021"/>
                </a:cubicBezTo>
                <a:cubicBezTo>
                  <a:pt x="834" y="1020"/>
                  <a:pt x="833" y="1019"/>
                  <a:pt x="832" y="1018"/>
                </a:cubicBezTo>
                <a:cubicBezTo>
                  <a:pt x="830" y="1018"/>
                  <a:pt x="829" y="1018"/>
                  <a:pt x="828" y="1019"/>
                </a:cubicBezTo>
                <a:cubicBezTo>
                  <a:pt x="825" y="1019"/>
                  <a:pt x="823" y="1018"/>
                  <a:pt x="822" y="1016"/>
                </a:cubicBezTo>
                <a:cubicBezTo>
                  <a:pt x="820" y="1014"/>
                  <a:pt x="818" y="1012"/>
                  <a:pt x="815" y="1012"/>
                </a:cubicBezTo>
                <a:cubicBezTo>
                  <a:pt x="813" y="1012"/>
                  <a:pt x="810" y="1013"/>
                  <a:pt x="808" y="1013"/>
                </a:cubicBezTo>
                <a:cubicBezTo>
                  <a:pt x="805" y="1014"/>
                  <a:pt x="801" y="1013"/>
                  <a:pt x="798" y="1013"/>
                </a:cubicBezTo>
                <a:cubicBezTo>
                  <a:pt x="795" y="1012"/>
                  <a:pt x="792" y="1011"/>
                  <a:pt x="790" y="1008"/>
                </a:cubicBezTo>
                <a:cubicBezTo>
                  <a:pt x="788" y="1005"/>
                  <a:pt x="787" y="1002"/>
                  <a:pt x="786" y="998"/>
                </a:cubicBezTo>
                <a:cubicBezTo>
                  <a:pt x="785" y="996"/>
                  <a:pt x="781" y="995"/>
                  <a:pt x="779" y="996"/>
                </a:cubicBezTo>
                <a:cubicBezTo>
                  <a:pt x="777" y="997"/>
                  <a:pt x="777" y="1001"/>
                  <a:pt x="777" y="1003"/>
                </a:cubicBezTo>
                <a:cubicBezTo>
                  <a:pt x="724" y="1003"/>
                  <a:pt x="671" y="1004"/>
                  <a:pt x="618" y="1004"/>
                </a:cubicBezTo>
                <a:cubicBezTo>
                  <a:pt x="565" y="1004"/>
                  <a:pt x="512" y="1004"/>
                  <a:pt x="458" y="1004"/>
                </a:cubicBezTo>
                <a:cubicBezTo>
                  <a:pt x="433" y="1004"/>
                  <a:pt x="407" y="1004"/>
                  <a:pt x="381" y="1004"/>
                </a:cubicBezTo>
                <a:cubicBezTo>
                  <a:pt x="368" y="1004"/>
                  <a:pt x="355" y="1003"/>
                  <a:pt x="342" y="1003"/>
                </a:cubicBezTo>
                <a:cubicBezTo>
                  <a:pt x="336" y="1003"/>
                  <a:pt x="329" y="1003"/>
                  <a:pt x="323" y="1003"/>
                </a:cubicBezTo>
                <a:cubicBezTo>
                  <a:pt x="320" y="1003"/>
                  <a:pt x="317" y="1003"/>
                  <a:pt x="314" y="1003"/>
                </a:cubicBezTo>
                <a:cubicBezTo>
                  <a:pt x="311" y="1003"/>
                  <a:pt x="308" y="1004"/>
                  <a:pt x="306" y="1002"/>
                </a:cubicBezTo>
                <a:cubicBezTo>
                  <a:pt x="306" y="1002"/>
                  <a:pt x="306" y="1002"/>
                  <a:pt x="305" y="1003"/>
                </a:cubicBezTo>
                <a:cubicBezTo>
                  <a:pt x="304" y="1002"/>
                  <a:pt x="305" y="999"/>
                  <a:pt x="305" y="999"/>
                </a:cubicBezTo>
                <a:cubicBezTo>
                  <a:pt x="306" y="998"/>
                  <a:pt x="309" y="994"/>
                  <a:pt x="306" y="995"/>
                </a:cubicBezTo>
                <a:cubicBezTo>
                  <a:pt x="305" y="995"/>
                  <a:pt x="303" y="997"/>
                  <a:pt x="302" y="995"/>
                </a:cubicBezTo>
                <a:cubicBezTo>
                  <a:pt x="302" y="994"/>
                  <a:pt x="302" y="989"/>
                  <a:pt x="299" y="990"/>
                </a:cubicBezTo>
                <a:cubicBezTo>
                  <a:pt x="299" y="991"/>
                  <a:pt x="298" y="992"/>
                  <a:pt x="298" y="992"/>
                </a:cubicBezTo>
                <a:cubicBezTo>
                  <a:pt x="298" y="993"/>
                  <a:pt x="297" y="994"/>
                  <a:pt x="296" y="994"/>
                </a:cubicBezTo>
                <a:cubicBezTo>
                  <a:pt x="294" y="995"/>
                  <a:pt x="291" y="994"/>
                  <a:pt x="291" y="992"/>
                </a:cubicBezTo>
                <a:cubicBezTo>
                  <a:pt x="292" y="991"/>
                  <a:pt x="296" y="989"/>
                  <a:pt x="294" y="988"/>
                </a:cubicBezTo>
                <a:cubicBezTo>
                  <a:pt x="294" y="987"/>
                  <a:pt x="292" y="988"/>
                  <a:pt x="292" y="988"/>
                </a:cubicBezTo>
                <a:cubicBezTo>
                  <a:pt x="291" y="987"/>
                  <a:pt x="290" y="986"/>
                  <a:pt x="290" y="984"/>
                </a:cubicBezTo>
                <a:cubicBezTo>
                  <a:pt x="290" y="982"/>
                  <a:pt x="292" y="981"/>
                  <a:pt x="290" y="979"/>
                </a:cubicBezTo>
                <a:cubicBezTo>
                  <a:pt x="288" y="977"/>
                  <a:pt x="288" y="981"/>
                  <a:pt x="288" y="982"/>
                </a:cubicBezTo>
                <a:cubicBezTo>
                  <a:pt x="289" y="984"/>
                  <a:pt x="288" y="985"/>
                  <a:pt x="286" y="986"/>
                </a:cubicBezTo>
                <a:cubicBezTo>
                  <a:pt x="284" y="986"/>
                  <a:pt x="280" y="984"/>
                  <a:pt x="279" y="983"/>
                </a:cubicBezTo>
                <a:cubicBezTo>
                  <a:pt x="277" y="982"/>
                  <a:pt x="277" y="980"/>
                  <a:pt x="277" y="978"/>
                </a:cubicBezTo>
                <a:cubicBezTo>
                  <a:pt x="278" y="976"/>
                  <a:pt x="278" y="975"/>
                  <a:pt x="280" y="974"/>
                </a:cubicBezTo>
                <a:cubicBezTo>
                  <a:pt x="281" y="973"/>
                  <a:pt x="282" y="972"/>
                  <a:pt x="283" y="971"/>
                </a:cubicBezTo>
                <a:cubicBezTo>
                  <a:pt x="283" y="970"/>
                  <a:pt x="281" y="971"/>
                  <a:pt x="281" y="971"/>
                </a:cubicBezTo>
                <a:cubicBezTo>
                  <a:pt x="280" y="972"/>
                  <a:pt x="279" y="972"/>
                  <a:pt x="278" y="973"/>
                </a:cubicBezTo>
                <a:cubicBezTo>
                  <a:pt x="276" y="973"/>
                  <a:pt x="273" y="974"/>
                  <a:pt x="272" y="972"/>
                </a:cubicBezTo>
                <a:cubicBezTo>
                  <a:pt x="272" y="971"/>
                  <a:pt x="273" y="970"/>
                  <a:pt x="273" y="969"/>
                </a:cubicBezTo>
                <a:cubicBezTo>
                  <a:pt x="274" y="968"/>
                  <a:pt x="273" y="967"/>
                  <a:pt x="273" y="966"/>
                </a:cubicBezTo>
                <a:cubicBezTo>
                  <a:pt x="273" y="964"/>
                  <a:pt x="273" y="964"/>
                  <a:pt x="274" y="963"/>
                </a:cubicBezTo>
                <a:cubicBezTo>
                  <a:pt x="274" y="963"/>
                  <a:pt x="274" y="961"/>
                  <a:pt x="273" y="961"/>
                </a:cubicBezTo>
                <a:cubicBezTo>
                  <a:pt x="271" y="963"/>
                  <a:pt x="272" y="965"/>
                  <a:pt x="272" y="967"/>
                </a:cubicBezTo>
                <a:cubicBezTo>
                  <a:pt x="272" y="969"/>
                  <a:pt x="270" y="971"/>
                  <a:pt x="268" y="971"/>
                </a:cubicBezTo>
                <a:cubicBezTo>
                  <a:pt x="267" y="971"/>
                  <a:pt x="266" y="971"/>
                  <a:pt x="266" y="971"/>
                </a:cubicBezTo>
                <a:cubicBezTo>
                  <a:pt x="264" y="970"/>
                  <a:pt x="265" y="969"/>
                  <a:pt x="265" y="968"/>
                </a:cubicBezTo>
                <a:cubicBezTo>
                  <a:pt x="264" y="967"/>
                  <a:pt x="261" y="966"/>
                  <a:pt x="261" y="968"/>
                </a:cubicBezTo>
                <a:cubicBezTo>
                  <a:pt x="261" y="969"/>
                  <a:pt x="261" y="970"/>
                  <a:pt x="260" y="970"/>
                </a:cubicBezTo>
                <a:cubicBezTo>
                  <a:pt x="259" y="971"/>
                  <a:pt x="258" y="971"/>
                  <a:pt x="256" y="971"/>
                </a:cubicBezTo>
                <a:cubicBezTo>
                  <a:pt x="255" y="971"/>
                  <a:pt x="251" y="972"/>
                  <a:pt x="253" y="970"/>
                </a:cubicBezTo>
                <a:cubicBezTo>
                  <a:pt x="254" y="968"/>
                  <a:pt x="258" y="969"/>
                  <a:pt x="259" y="968"/>
                </a:cubicBezTo>
                <a:cubicBezTo>
                  <a:pt x="260" y="967"/>
                  <a:pt x="260" y="966"/>
                  <a:pt x="260" y="965"/>
                </a:cubicBezTo>
                <a:cubicBezTo>
                  <a:pt x="261" y="964"/>
                  <a:pt x="261" y="964"/>
                  <a:pt x="262" y="963"/>
                </a:cubicBezTo>
                <a:cubicBezTo>
                  <a:pt x="262" y="963"/>
                  <a:pt x="262" y="961"/>
                  <a:pt x="262" y="960"/>
                </a:cubicBezTo>
                <a:cubicBezTo>
                  <a:pt x="262" y="960"/>
                  <a:pt x="261" y="957"/>
                  <a:pt x="260" y="958"/>
                </a:cubicBezTo>
                <a:cubicBezTo>
                  <a:pt x="259" y="959"/>
                  <a:pt x="261" y="961"/>
                  <a:pt x="259" y="963"/>
                </a:cubicBezTo>
                <a:cubicBezTo>
                  <a:pt x="258" y="964"/>
                  <a:pt x="256" y="967"/>
                  <a:pt x="254" y="966"/>
                </a:cubicBezTo>
                <a:cubicBezTo>
                  <a:pt x="252" y="965"/>
                  <a:pt x="252" y="963"/>
                  <a:pt x="251" y="961"/>
                </a:cubicBezTo>
                <a:cubicBezTo>
                  <a:pt x="251" y="960"/>
                  <a:pt x="248" y="959"/>
                  <a:pt x="247" y="959"/>
                </a:cubicBezTo>
                <a:cubicBezTo>
                  <a:pt x="245" y="958"/>
                  <a:pt x="245" y="959"/>
                  <a:pt x="245" y="960"/>
                </a:cubicBezTo>
                <a:cubicBezTo>
                  <a:pt x="244" y="961"/>
                  <a:pt x="243" y="962"/>
                  <a:pt x="242" y="962"/>
                </a:cubicBezTo>
                <a:cubicBezTo>
                  <a:pt x="241" y="963"/>
                  <a:pt x="241" y="962"/>
                  <a:pt x="241" y="962"/>
                </a:cubicBezTo>
                <a:cubicBezTo>
                  <a:pt x="241" y="961"/>
                  <a:pt x="242" y="960"/>
                  <a:pt x="242" y="959"/>
                </a:cubicBezTo>
                <a:cubicBezTo>
                  <a:pt x="243" y="958"/>
                  <a:pt x="243" y="955"/>
                  <a:pt x="241" y="957"/>
                </a:cubicBezTo>
                <a:cubicBezTo>
                  <a:pt x="239" y="958"/>
                  <a:pt x="238" y="958"/>
                  <a:pt x="235" y="958"/>
                </a:cubicBezTo>
                <a:cubicBezTo>
                  <a:pt x="234" y="958"/>
                  <a:pt x="232" y="958"/>
                  <a:pt x="231" y="957"/>
                </a:cubicBezTo>
                <a:cubicBezTo>
                  <a:pt x="230" y="957"/>
                  <a:pt x="228" y="958"/>
                  <a:pt x="227" y="957"/>
                </a:cubicBezTo>
                <a:cubicBezTo>
                  <a:pt x="226" y="957"/>
                  <a:pt x="224" y="957"/>
                  <a:pt x="225" y="956"/>
                </a:cubicBezTo>
                <a:cubicBezTo>
                  <a:pt x="225" y="955"/>
                  <a:pt x="227" y="955"/>
                  <a:pt x="227" y="955"/>
                </a:cubicBezTo>
                <a:cubicBezTo>
                  <a:pt x="230" y="955"/>
                  <a:pt x="232" y="955"/>
                  <a:pt x="234" y="953"/>
                </a:cubicBezTo>
                <a:cubicBezTo>
                  <a:pt x="235" y="953"/>
                  <a:pt x="236" y="952"/>
                  <a:pt x="235" y="952"/>
                </a:cubicBezTo>
                <a:cubicBezTo>
                  <a:pt x="233" y="952"/>
                  <a:pt x="232" y="953"/>
                  <a:pt x="231" y="953"/>
                </a:cubicBezTo>
                <a:cubicBezTo>
                  <a:pt x="230" y="954"/>
                  <a:pt x="228" y="953"/>
                  <a:pt x="227" y="953"/>
                </a:cubicBezTo>
                <a:cubicBezTo>
                  <a:pt x="225" y="952"/>
                  <a:pt x="228" y="950"/>
                  <a:pt x="228" y="949"/>
                </a:cubicBezTo>
                <a:cubicBezTo>
                  <a:pt x="229" y="948"/>
                  <a:pt x="230" y="946"/>
                  <a:pt x="232" y="946"/>
                </a:cubicBezTo>
                <a:cubicBezTo>
                  <a:pt x="235" y="946"/>
                  <a:pt x="238" y="947"/>
                  <a:pt x="240" y="947"/>
                </a:cubicBezTo>
                <a:cubicBezTo>
                  <a:pt x="241" y="947"/>
                  <a:pt x="246" y="944"/>
                  <a:pt x="244" y="943"/>
                </a:cubicBezTo>
                <a:cubicBezTo>
                  <a:pt x="242" y="942"/>
                  <a:pt x="241" y="944"/>
                  <a:pt x="240" y="945"/>
                </a:cubicBezTo>
                <a:cubicBezTo>
                  <a:pt x="238" y="946"/>
                  <a:pt x="236" y="945"/>
                  <a:pt x="234" y="945"/>
                </a:cubicBezTo>
                <a:cubicBezTo>
                  <a:pt x="234" y="945"/>
                  <a:pt x="233" y="945"/>
                  <a:pt x="232" y="944"/>
                </a:cubicBezTo>
                <a:cubicBezTo>
                  <a:pt x="231" y="943"/>
                  <a:pt x="231" y="942"/>
                  <a:pt x="231" y="941"/>
                </a:cubicBezTo>
                <a:cubicBezTo>
                  <a:pt x="231" y="940"/>
                  <a:pt x="230" y="941"/>
                  <a:pt x="230" y="941"/>
                </a:cubicBezTo>
                <a:cubicBezTo>
                  <a:pt x="229" y="943"/>
                  <a:pt x="230" y="944"/>
                  <a:pt x="229" y="945"/>
                </a:cubicBezTo>
                <a:cubicBezTo>
                  <a:pt x="228" y="946"/>
                  <a:pt x="224" y="949"/>
                  <a:pt x="223" y="947"/>
                </a:cubicBezTo>
                <a:cubicBezTo>
                  <a:pt x="223" y="946"/>
                  <a:pt x="223" y="945"/>
                  <a:pt x="223" y="944"/>
                </a:cubicBezTo>
                <a:cubicBezTo>
                  <a:pt x="224" y="943"/>
                  <a:pt x="223" y="941"/>
                  <a:pt x="224" y="940"/>
                </a:cubicBezTo>
                <a:cubicBezTo>
                  <a:pt x="224" y="939"/>
                  <a:pt x="225" y="939"/>
                  <a:pt x="226" y="939"/>
                </a:cubicBezTo>
                <a:cubicBezTo>
                  <a:pt x="227" y="938"/>
                  <a:pt x="228" y="937"/>
                  <a:pt x="229" y="936"/>
                </a:cubicBezTo>
                <a:cubicBezTo>
                  <a:pt x="230" y="936"/>
                  <a:pt x="231" y="936"/>
                  <a:pt x="231" y="935"/>
                </a:cubicBezTo>
                <a:cubicBezTo>
                  <a:pt x="232" y="934"/>
                  <a:pt x="232" y="933"/>
                  <a:pt x="232" y="932"/>
                </a:cubicBezTo>
                <a:cubicBezTo>
                  <a:pt x="233" y="932"/>
                  <a:pt x="234" y="932"/>
                  <a:pt x="235" y="932"/>
                </a:cubicBezTo>
                <a:cubicBezTo>
                  <a:pt x="236" y="932"/>
                  <a:pt x="236" y="934"/>
                  <a:pt x="237" y="935"/>
                </a:cubicBezTo>
                <a:cubicBezTo>
                  <a:pt x="237" y="935"/>
                  <a:pt x="238" y="936"/>
                  <a:pt x="240" y="936"/>
                </a:cubicBezTo>
                <a:cubicBezTo>
                  <a:pt x="240" y="937"/>
                  <a:pt x="241" y="938"/>
                  <a:pt x="242" y="938"/>
                </a:cubicBezTo>
                <a:cubicBezTo>
                  <a:pt x="244" y="938"/>
                  <a:pt x="240" y="933"/>
                  <a:pt x="240" y="933"/>
                </a:cubicBezTo>
                <a:cubicBezTo>
                  <a:pt x="239" y="930"/>
                  <a:pt x="242" y="931"/>
                  <a:pt x="241" y="929"/>
                </a:cubicBezTo>
                <a:cubicBezTo>
                  <a:pt x="241" y="928"/>
                  <a:pt x="238" y="929"/>
                  <a:pt x="237" y="929"/>
                </a:cubicBezTo>
                <a:cubicBezTo>
                  <a:pt x="235" y="929"/>
                  <a:pt x="233" y="928"/>
                  <a:pt x="235" y="926"/>
                </a:cubicBezTo>
                <a:cubicBezTo>
                  <a:pt x="236" y="925"/>
                  <a:pt x="238" y="924"/>
                  <a:pt x="238" y="922"/>
                </a:cubicBezTo>
                <a:cubicBezTo>
                  <a:pt x="238" y="921"/>
                  <a:pt x="237" y="917"/>
                  <a:pt x="236" y="917"/>
                </a:cubicBezTo>
                <a:cubicBezTo>
                  <a:pt x="235" y="917"/>
                  <a:pt x="235" y="920"/>
                  <a:pt x="235" y="920"/>
                </a:cubicBezTo>
                <a:cubicBezTo>
                  <a:pt x="235" y="921"/>
                  <a:pt x="236" y="922"/>
                  <a:pt x="235" y="923"/>
                </a:cubicBezTo>
                <a:cubicBezTo>
                  <a:pt x="235" y="924"/>
                  <a:pt x="234" y="924"/>
                  <a:pt x="233" y="925"/>
                </a:cubicBezTo>
                <a:cubicBezTo>
                  <a:pt x="232" y="925"/>
                  <a:pt x="231" y="926"/>
                  <a:pt x="231" y="927"/>
                </a:cubicBezTo>
                <a:cubicBezTo>
                  <a:pt x="230" y="928"/>
                  <a:pt x="229" y="929"/>
                  <a:pt x="228" y="929"/>
                </a:cubicBezTo>
                <a:cubicBezTo>
                  <a:pt x="226" y="930"/>
                  <a:pt x="223" y="930"/>
                  <a:pt x="223" y="928"/>
                </a:cubicBezTo>
                <a:cubicBezTo>
                  <a:pt x="223" y="927"/>
                  <a:pt x="222" y="923"/>
                  <a:pt x="220" y="925"/>
                </a:cubicBezTo>
                <a:cubicBezTo>
                  <a:pt x="220" y="926"/>
                  <a:pt x="217" y="930"/>
                  <a:pt x="216" y="927"/>
                </a:cubicBezTo>
                <a:cubicBezTo>
                  <a:pt x="215" y="926"/>
                  <a:pt x="216" y="925"/>
                  <a:pt x="217" y="924"/>
                </a:cubicBezTo>
                <a:cubicBezTo>
                  <a:pt x="217" y="923"/>
                  <a:pt x="218" y="921"/>
                  <a:pt x="219" y="920"/>
                </a:cubicBezTo>
                <a:cubicBezTo>
                  <a:pt x="219" y="919"/>
                  <a:pt x="219" y="916"/>
                  <a:pt x="218" y="918"/>
                </a:cubicBezTo>
                <a:cubicBezTo>
                  <a:pt x="217" y="919"/>
                  <a:pt x="214" y="918"/>
                  <a:pt x="213" y="917"/>
                </a:cubicBezTo>
                <a:cubicBezTo>
                  <a:pt x="212" y="916"/>
                  <a:pt x="213" y="914"/>
                  <a:pt x="212" y="912"/>
                </a:cubicBezTo>
                <a:cubicBezTo>
                  <a:pt x="212" y="910"/>
                  <a:pt x="209" y="910"/>
                  <a:pt x="207" y="909"/>
                </a:cubicBezTo>
                <a:cubicBezTo>
                  <a:pt x="206" y="908"/>
                  <a:pt x="204" y="906"/>
                  <a:pt x="205" y="905"/>
                </a:cubicBezTo>
                <a:cubicBezTo>
                  <a:pt x="205" y="904"/>
                  <a:pt x="207" y="904"/>
                  <a:pt x="207" y="904"/>
                </a:cubicBezTo>
                <a:cubicBezTo>
                  <a:pt x="208" y="905"/>
                  <a:pt x="208" y="906"/>
                  <a:pt x="209" y="907"/>
                </a:cubicBezTo>
                <a:cubicBezTo>
                  <a:pt x="211" y="908"/>
                  <a:pt x="213" y="908"/>
                  <a:pt x="214" y="906"/>
                </a:cubicBezTo>
                <a:cubicBezTo>
                  <a:pt x="216" y="904"/>
                  <a:pt x="218" y="908"/>
                  <a:pt x="219" y="905"/>
                </a:cubicBezTo>
                <a:cubicBezTo>
                  <a:pt x="220" y="904"/>
                  <a:pt x="219" y="903"/>
                  <a:pt x="217" y="903"/>
                </a:cubicBezTo>
                <a:cubicBezTo>
                  <a:pt x="216" y="903"/>
                  <a:pt x="215" y="903"/>
                  <a:pt x="215" y="904"/>
                </a:cubicBezTo>
                <a:cubicBezTo>
                  <a:pt x="213" y="904"/>
                  <a:pt x="212" y="903"/>
                  <a:pt x="210" y="902"/>
                </a:cubicBezTo>
                <a:cubicBezTo>
                  <a:pt x="209" y="901"/>
                  <a:pt x="207" y="901"/>
                  <a:pt x="207" y="898"/>
                </a:cubicBezTo>
                <a:cubicBezTo>
                  <a:pt x="208" y="896"/>
                  <a:pt x="210" y="897"/>
                  <a:pt x="211" y="895"/>
                </a:cubicBezTo>
                <a:cubicBezTo>
                  <a:pt x="212" y="894"/>
                  <a:pt x="210" y="894"/>
                  <a:pt x="210" y="893"/>
                </a:cubicBezTo>
                <a:cubicBezTo>
                  <a:pt x="210" y="892"/>
                  <a:pt x="211" y="891"/>
                  <a:pt x="210" y="890"/>
                </a:cubicBezTo>
                <a:cubicBezTo>
                  <a:pt x="207" y="889"/>
                  <a:pt x="208" y="892"/>
                  <a:pt x="207" y="893"/>
                </a:cubicBezTo>
                <a:cubicBezTo>
                  <a:pt x="205" y="894"/>
                  <a:pt x="203" y="892"/>
                  <a:pt x="202" y="895"/>
                </a:cubicBezTo>
                <a:cubicBezTo>
                  <a:pt x="202" y="896"/>
                  <a:pt x="202" y="897"/>
                  <a:pt x="201" y="898"/>
                </a:cubicBezTo>
                <a:cubicBezTo>
                  <a:pt x="201" y="898"/>
                  <a:pt x="201" y="898"/>
                  <a:pt x="200" y="899"/>
                </a:cubicBezTo>
                <a:cubicBezTo>
                  <a:pt x="200" y="899"/>
                  <a:pt x="200" y="900"/>
                  <a:pt x="199" y="900"/>
                </a:cubicBezTo>
                <a:cubicBezTo>
                  <a:pt x="199" y="901"/>
                  <a:pt x="198" y="902"/>
                  <a:pt x="197" y="902"/>
                </a:cubicBezTo>
                <a:cubicBezTo>
                  <a:pt x="196" y="902"/>
                  <a:pt x="195" y="901"/>
                  <a:pt x="195" y="900"/>
                </a:cubicBezTo>
                <a:cubicBezTo>
                  <a:pt x="193" y="898"/>
                  <a:pt x="191" y="897"/>
                  <a:pt x="188" y="896"/>
                </a:cubicBezTo>
                <a:cubicBezTo>
                  <a:pt x="187" y="895"/>
                  <a:pt x="185" y="892"/>
                  <a:pt x="186" y="891"/>
                </a:cubicBezTo>
                <a:cubicBezTo>
                  <a:pt x="187" y="890"/>
                  <a:pt x="189" y="893"/>
                  <a:pt x="190" y="893"/>
                </a:cubicBezTo>
                <a:cubicBezTo>
                  <a:pt x="191" y="894"/>
                  <a:pt x="191" y="893"/>
                  <a:pt x="191" y="892"/>
                </a:cubicBezTo>
                <a:cubicBezTo>
                  <a:pt x="191" y="891"/>
                  <a:pt x="191" y="891"/>
                  <a:pt x="190" y="890"/>
                </a:cubicBezTo>
                <a:cubicBezTo>
                  <a:pt x="190" y="888"/>
                  <a:pt x="193" y="887"/>
                  <a:pt x="194" y="887"/>
                </a:cubicBezTo>
                <a:cubicBezTo>
                  <a:pt x="195" y="886"/>
                  <a:pt x="194" y="885"/>
                  <a:pt x="194" y="885"/>
                </a:cubicBezTo>
                <a:cubicBezTo>
                  <a:pt x="193" y="885"/>
                  <a:pt x="192" y="885"/>
                  <a:pt x="191" y="886"/>
                </a:cubicBezTo>
                <a:cubicBezTo>
                  <a:pt x="189" y="887"/>
                  <a:pt x="186" y="888"/>
                  <a:pt x="183" y="886"/>
                </a:cubicBezTo>
                <a:cubicBezTo>
                  <a:pt x="183" y="886"/>
                  <a:pt x="182" y="885"/>
                  <a:pt x="182" y="884"/>
                </a:cubicBezTo>
                <a:cubicBezTo>
                  <a:pt x="182" y="882"/>
                  <a:pt x="183" y="883"/>
                  <a:pt x="184" y="884"/>
                </a:cubicBezTo>
                <a:cubicBezTo>
                  <a:pt x="185" y="884"/>
                  <a:pt x="186" y="884"/>
                  <a:pt x="186" y="883"/>
                </a:cubicBezTo>
                <a:cubicBezTo>
                  <a:pt x="186" y="882"/>
                  <a:pt x="186" y="882"/>
                  <a:pt x="186" y="881"/>
                </a:cubicBezTo>
                <a:cubicBezTo>
                  <a:pt x="186" y="881"/>
                  <a:pt x="187" y="880"/>
                  <a:pt x="187" y="880"/>
                </a:cubicBezTo>
                <a:cubicBezTo>
                  <a:pt x="187" y="879"/>
                  <a:pt x="186" y="879"/>
                  <a:pt x="185" y="879"/>
                </a:cubicBezTo>
                <a:cubicBezTo>
                  <a:pt x="185" y="879"/>
                  <a:pt x="184" y="877"/>
                  <a:pt x="183" y="877"/>
                </a:cubicBezTo>
                <a:cubicBezTo>
                  <a:pt x="183" y="876"/>
                  <a:pt x="187" y="877"/>
                  <a:pt x="188" y="876"/>
                </a:cubicBezTo>
                <a:cubicBezTo>
                  <a:pt x="189" y="875"/>
                  <a:pt x="186" y="875"/>
                  <a:pt x="185" y="873"/>
                </a:cubicBezTo>
                <a:cubicBezTo>
                  <a:pt x="185" y="872"/>
                  <a:pt x="187" y="869"/>
                  <a:pt x="189" y="869"/>
                </a:cubicBezTo>
                <a:cubicBezTo>
                  <a:pt x="190" y="869"/>
                  <a:pt x="192" y="869"/>
                  <a:pt x="192" y="869"/>
                </a:cubicBezTo>
                <a:cubicBezTo>
                  <a:pt x="193" y="868"/>
                  <a:pt x="192" y="867"/>
                  <a:pt x="191" y="867"/>
                </a:cubicBezTo>
                <a:cubicBezTo>
                  <a:pt x="190" y="867"/>
                  <a:pt x="187" y="866"/>
                  <a:pt x="189" y="864"/>
                </a:cubicBezTo>
                <a:cubicBezTo>
                  <a:pt x="189" y="864"/>
                  <a:pt x="190" y="863"/>
                  <a:pt x="191" y="862"/>
                </a:cubicBezTo>
                <a:cubicBezTo>
                  <a:pt x="191" y="861"/>
                  <a:pt x="192" y="860"/>
                  <a:pt x="192" y="859"/>
                </a:cubicBezTo>
                <a:cubicBezTo>
                  <a:pt x="193" y="858"/>
                  <a:pt x="195" y="858"/>
                  <a:pt x="193" y="856"/>
                </a:cubicBezTo>
                <a:cubicBezTo>
                  <a:pt x="192" y="855"/>
                  <a:pt x="189" y="852"/>
                  <a:pt x="189" y="855"/>
                </a:cubicBezTo>
                <a:cubicBezTo>
                  <a:pt x="188" y="856"/>
                  <a:pt x="188" y="857"/>
                  <a:pt x="188" y="859"/>
                </a:cubicBezTo>
                <a:cubicBezTo>
                  <a:pt x="188" y="860"/>
                  <a:pt x="187" y="861"/>
                  <a:pt x="186" y="862"/>
                </a:cubicBezTo>
                <a:cubicBezTo>
                  <a:pt x="188" y="860"/>
                  <a:pt x="187" y="857"/>
                  <a:pt x="186" y="855"/>
                </a:cubicBezTo>
                <a:cubicBezTo>
                  <a:pt x="186" y="854"/>
                  <a:pt x="186" y="852"/>
                  <a:pt x="185" y="851"/>
                </a:cubicBezTo>
                <a:cubicBezTo>
                  <a:pt x="185" y="849"/>
                  <a:pt x="185" y="848"/>
                  <a:pt x="186" y="846"/>
                </a:cubicBezTo>
                <a:cubicBezTo>
                  <a:pt x="186" y="844"/>
                  <a:pt x="186" y="841"/>
                  <a:pt x="184" y="840"/>
                </a:cubicBezTo>
                <a:cubicBezTo>
                  <a:pt x="182" y="838"/>
                  <a:pt x="180" y="837"/>
                  <a:pt x="178" y="837"/>
                </a:cubicBezTo>
                <a:cubicBezTo>
                  <a:pt x="172" y="834"/>
                  <a:pt x="166" y="832"/>
                  <a:pt x="160" y="830"/>
                </a:cubicBezTo>
                <a:cubicBezTo>
                  <a:pt x="158" y="829"/>
                  <a:pt x="155" y="828"/>
                  <a:pt x="154" y="826"/>
                </a:cubicBezTo>
                <a:cubicBezTo>
                  <a:pt x="152" y="824"/>
                  <a:pt x="150" y="821"/>
                  <a:pt x="149" y="819"/>
                </a:cubicBezTo>
                <a:cubicBezTo>
                  <a:pt x="149" y="818"/>
                  <a:pt x="149" y="816"/>
                  <a:pt x="149" y="815"/>
                </a:cubicBezTo>
                <a:cubicBezTo>
                  <a:pt x="148" y="814"/>
                  <a:pt x="148" y="812"/>
                  <a:pt x="147" y="811"/>
                </a:cubicBezTo>
                <a:cubicBezTo>
                  <a:pt x="146" y="809"/>
                  <a:pt x="144" y="806"/>
                  <a:pt x="142" y="804"/>
                </a:cubicBezTo>
                <a:cubicBezTo>
                  <a:pt x="139" y="799"/>
                  <a:pt x="136" y="793"/>
                  <a:pt x="132" y="788"/>
                </a:cubicBezTo>
                <a:cubicBezTo>
                  <a:pt x="128" y="784"/>
                  <a:pt x="124" y="780"/>
                  <a:pt x="119" y="777"/>
                </a:cubicBezTo>
                <a:cubicBezTo>
                  <a:pt x="117" y="775"/>
                  <a:pt x="115" y="774"/>
                  <a:pt x="113" y="772"/>
                </a:cubicBezTo>
                <a:cubicBezTo>
                  <a:pt x="112" y="770"/>
                  <a:pt x="111" y="768"/>
                  <a:pt x="109" y="766"/>
                </a:cubicBezTo>
                <a:cubicBezTo>
                  <a:pt x="107" y="764"/>
                  <a:pt x="105" y="763"/>
                  <a:pt x="103" y="762"/>
                </a:cubicBezTo>
                <a:cubicBezTo>
                  <a:pt x="100" y="760"/>
                  <a:pt x="99" y="758"/>
                  <a:pt x="97" y="756"/>
                </a:cubicBezTo>
                <a:cubicBezTo>
                  <a:pt x="96" y="754"/>
                  <a:pt x="94" y="752"/>
                  <a:pt x="92" y="751"/>
                </a:cubicBezTo>
                <a:cubicBezTo>
                  <a:pt x="89" y="750"/>
                  <a:pt x="87" y="751"/>
                  <a:pt x="84" y="752"/>
                </a:cubicBezTo>
                <a:cubicBezTo>
                  <a:pt x="82" y="753"/>
                  <a:pt x="79" y="754"/>
                  <a:pt x="78" y="756"/>
                </a:cubicBezTo>
                <a:cubicBezTo>
                  <a:pt x="77" y="757"/>
                  <a:pt x="77" y="758"/>
                  <a:pt x="76" y="759"/>
                </a:cubicBezTo>
                <a:cubicBezTo>
                  <a:pt x="76" y="760"/>
                  <a:pt x="75" y="761"/>
                  <a:pt x="75" y="762"/>
                </a:cubicBezTo>
                <a:cubicBezTo>
                  <a:pt x="73" y="764"/>
                  <a:pt x="72" y="766"/>
                  <a:pt x="69" y="766"/>
                </a:cubicBezTo>
                <a:cubicBezTo>
                  <a:pt x="67" y="766"/>
                  <a:pt x="65" y="766"/>
                  <a:pt x="63" y="768"/>
                </a:cubicBezTo>
                <a:cubicBezTo>
                  <a:pt x="62" y="769"/>
                  <a:pt x="60" y="772"/>
                  <a:pt x="58" y="771"/>
                </a:cubicBezTo>
                <a:cubicBezTo>
                  <a:pt x="57" y="771"/>
                  <a:pt x="57" y="768"/>
                  <a:pt x="57" y="767"/>
                </a:cubicBezTo>
                <a:cubicBezTo>
                  <a:pt x="57" y="764"/>
                  <a:pt x="56" y="763"/>
                  <a:pt x="55" y="761"/>
                </a:cubicBezTo>
                <a:cubicBezTo>
                  <a:pt x="52" y="759"/>
                  <a:pt x="50" y="757"/>
                  <a:pt x="47" y="755"/>
                </a:cubicBezTo>
                <a:cubicBezTo>
                  <a:pt x="42" y="751"/>
                  <a:pt x="37" y="747"/>
                  <a:pt x="33" y="743"/>
                </a:cubicBezTo>
                <a:cubicBezTo>
                  <a:pt x="31" y="742"/>
                  <a:pt x="32" y="740"/>
                  <a:pt x="32" y="738"/>
                </a:cubicBezTo>
                <a:cubicBezTo>
                  <a:pt x="31" y="735"/>
                  <a:pt x="28" y="735"/>
                  <a:pt x="26" y="735"/>
                </a:cubicBezTo>
                <a:cubicBezTo>
                  <a:pt x="23" y="736"/>
                  <a:pt x="21" y="736"/>
                  <a:pt x="18" y="737"/>
                </a:cubicBezTo>
                <a:cubicBezTo>
                  <a:pt x="17" y="738"/>
                  <a:pt x="16" y="738"/>
                  <a:pt x="15" y="739"/>
                </a:cubicBezTo>
                <a:cubicBezTo>
                  <a:pt x="14" y="740"/>
                  <a:pt x="12" y="739"/>
                  <a:pt x="11" y="739"/>
                </a:cubicBezTo>
                <a:cubicBezTo>
                  <a:pt x="8" y="738"/>
                  <a:pt x="5" y="737"/>
                  <a:pt x="2" y="737"/>
                </a:cubicBezTo>
                <a:cubicBezTo>
                  <a:pt x="1" y="736"/>
                  <a:pt x="0" y="737"/>
                  <a:pt x="0" y="735"/>
                </a:cubicBezTo>
                <a:cubicBezTo>
                  <a:pt x="0" y="734"/>
                  <a:pt x="0" y="732"/>
                  <a:pt x="0" y="730"/>
                </a:cubicBezTo>
                <a:cubicBezTo>
                  <a:pt x="0" y="717"/>
                  <a:pt x="0" y="704"/>
                  <a:pt x="0" y="691"/>
                </a:cubicBezTo>
                <a:cubicBezTo>
                  <a:pt x="0" y="664"/>
                  <a:pt x="0" y="638"/>
                  <a:pt x="0" y="611"/>
                </a:cubicBezTo>
                <a:cubicBezTo>
                  <a:pt x="0" y="567"/>
                  <a:pt x="0" y="523"/>
                  <a:pt x="0" y="479"/>
                </a:cubicBezTo>
                <a:cubicBezTo>
                  <a:pt x="4" y="480"/>
                  <a:pt x="9" y="481"/>
                  <a:pt x="13" y="481"/>
                </a:cubicBezTo>
                <a:cubicBezTo>
                  <a:pt x="16" y="481"/>
                  <a:pt x="18" y="482"/>
                  <a:pt x="20" y="482"/>
                </a:cubicBezTo>
                <a:cubicBezTo>
                  <a:pt x="23" y="482"/>
                  <a:pt x="25" y="482"/>
                  <a:pt x="28" y="481"/>
                </a:cubicBezTo>
                <a:cubicBezTo>
                  <a:pt x="29" y="481"/>
                  <a:pt x="31" y="480"/>
                  <a:pt x="33" y="480"/>
                </a:cubicBezTo>
                <a:cubicBezTo>
                  <a:pt x="35" y="480"/>
                  <a:pt x="33" y="482"/>
                  <a:pt x="34" y="484"/>
                </a:cubicBezTo>
                <a:cubicBezTo>
                  <a:pt x="34" y="485"/>
                  <a:pt x="36" y="486"/>
                  <a:pt x="38" y="487"/>
                </a:cubicBezTo>
                <a:cubicBezTo>
                  <a:pt x="40" y="488"/>
                  <a:pt x="42" y="488"/>
                  <a:pt x="44" y="489"/>
                </a:cubicBezTo>
                <a:cubicBezTo>
                  <a:pt x="52" y="493"/>
                  <a:pt x="61" y="496"/>
                  <a:pt x="70" y="499"/>
                </a:cubicBezTo>
                <a:cubicBezTo>
                  <a:pt x="74" y="501"/>
                  <a:pt x="79" y="502"/>
                  <a:pt x="83" y="503"/>
                </a:cubicBezTo>
                <a:cubicBezTo>
                  <a:pt x="85" y="504"/>
                  <a:pt x="88" y="505"/>
                  <a:pt x="90" y="506"/>
                </a:cubicBezTo>
                <a:cubicBezTo>
                  <a:pt x="91" y="506"/>
                  <a:pt x="92" y="507"/>
                  <a:pt x="93" y="507"/>
                </a:cubicBezTo>
                <a:cubicBezTo>
                  <a:pt x="94" y="508"/>
                  <a:pt x="95" y="508"/>
                  <a:pt x="96" y="508"/>
                </a:cubicBezTo>
                <a:cubicBezTo>
                  <a:pt x="97" y="507"/>
                  <a:pt x="93" y="505"/>
                  <a:pt x="95" y="504"/>
                </a:cubicBezTo>
                <a:cubicBezTo>
                  <a:pt x="96" y="503"/>
                  <a:pt x="97" y="503"/>
                  <a:pt x="98" y="502"/>
                </a:cubicBezTo>
                <a:cubicBezTo>
                  <a:pt x="99" y="502"/>
                  <a:pt x="100" y="501"/>
                  <a:pt x="102" y="501"/>
                </a:cubicBezTo>
                <a:cubicBezTo>
                  <a:pt x="104" y="502"/>
                  <a:pt x="106" y="502"/>
                  <a:pt x="108" y="504"/>
                </a:cubicBezTo>
                <a:cubicBezTo>
                  <a:pt x="109" y="505"/>
                  <a:pt x="111" y="509"/>
                  <a:pt x="113" y="508"/>
                </a:cubicBezTo>
                <a:cubicBezTo>
                  <a:pt x="115" y="508"/>
                  <a:pt x="111" y="503"/>
                  <a:pt x="110" y="502"/>
                </a:cubicBezTo>
                <a:cubicBezTo>
                  <a:pt x="110" y="501"/>
                  <a:pt x="110" y="500"/>
                  <a:pt x="109" y="499"/>
                </a:cubicBezTo>
                <a:cubicBezTo>
                  <a:pt x="109" y="498"/>
                  <a:pt x="109" y="498"/>
                  <a:pt x="110" y="497"/>
                </a:cubicBezTo>
                <a:cubicBezTo>
                  <a:pt x="111" y="496"/>
                  <a:pt x="111" y="495"/>
                  <a:pt x="112" y="495"/>
                </a:cubicBezTo>
                <a:cubicBezTo>
                  <a:pt x="113" y="494"/>
                  <a:pt x="114" y="494"/>
                  <a:pt x="115" y="493"/>
                </a:cubicBezTo>
                <a:cubicBezTo>
                  <a:pt x="118" y="492"/>
                  <a:pt x="119" y="491"/>
                  <a:pt x="120" y="489"/>
                </a:cubicBezTo>
                <a:cubicBezTo>
                  <a:pt x="122" y="487"/>
                  <a:pt x="125" y="485"/>
                  <a:pt x="127" y="484"/>
                </a:cubicBezTo>
                <a:cubicBezTo>
                  <a:pt x="129" y="483"/>
                  <a:pt x="132" y="482"/>
                  <a:pt x="135" y="480"/>
                </a:cubicBezTo>
                <a:cubicBezTo>
                  <a:pt x="137" y="479"/>
                  <a:pt x="139" y="479"/>
                  <a:pt x="141" y="479"/>
                </a:cubicBezTo>
                <a:cubicBezTo>
                  <a:pt x="143" y="479"/>
                  <a:pt x="143" y="479"/>
                  <a:pt x="144" y="478"/>
                </a:cubicBezTo>
                <a:cubicBezTo>
                  <a:pt x="145" y="478"/>
                  <a:pt x="147" y="478"/>
                  <a:pt x="148" y="478"/>
                </a:cubicBezTo>
                <a:cubicBezTo>
                  <a:pt x="150" y="478"/>
                  <a:pt x="153" y="477"/>
                  <a:pt x="154" y="475"/>
                </a:cubicBezTo>
                <a:cubicBezTo>
                  <a:pt x="156" y="474"/>
                  <a:pt x="158" y="472"/>
                  <a:pt x="161" y="471"/>
                </a:cubicBezTo>
                <a:cubicBezTo>
                  <a:pt x="162" y="471"/>
                  <a:pt x="163" y="470"/>
                  <a:pt x="163" y="471"/>
                </a:cubicBezTo>
                <a:cubicBezTo>
                  <a:pt x="164" y="471"/>
                  <a:pt x="164" y="472"/>
                  <a:pt x="164" y="473"/>
                </a:cubicBezTo>
                <a:cubicBezTo>
                  <a:pt x="167" y="475"/>
                  <a:pt x="168" y="471"/>
                  <a:pt x="168" y="469"/>
                </a:cubicBezTo>
                <a:cubicBezTo>
                  <a:pt x="169" y="467"/>
                  <a:pt x="171" y="465"/>
                  <a:pt x="174" y="466"/>
                </a:cubicBezTo>
                <a:cubicBezTo>
                  <a:pt x="175" y="466"/>
                  <a:pt x="176" y="467"/>
                  <a:pt x="178" y="467"/>
                </a:cubicBezTo>
                <a:cubicBezTo>
                  <a:pt x="179" y="467"/>
                  <a:pt x="181" y="467"/>
                  <a:pt x="183" y="467"/>
                </a:cubicBezTo>
                <a:cubicBezTo>
                  <a:pt x="185" y="467"/>
                  <a:pt x="187" y="467"/>
                  <a:pt x="189" y="464"/>
                </a:cubicBezTo>
                <a:cubicBezTo>
                  <a:pt x="190" y="463"/>
                  <a:pt x="189" y="460"/>
                  <a:pt x="191" y="461"/>
                </a:cubicBezTo>
                <a:cubicBezTo>
                  <a:pt x="193" y="461"/>
                  <a:pt x="194" y="463"/>
                  <a:pt x="195" y="465"/>
                </a:cubicBezTo>
                <a:cubicBezTo>
                  <a:pt x="197" y="468"/>
                  <a:pt x="192" y="469"/>
                  <a:pt x="190" y="469"/>
                </a:cubicBezTo>
                <a:cubicBezTo>
                  <a:pt x="187" y="470"/>
                  <a:pt x="185" y="471"/>
                  <a:pt x="182" y="472"/>
                </a:cubicBezTo>
                <a:cubicBezTo>
                  <a:pt x="181" y="473"/>
                  <a:pt x="180" y="474"/>
                  <a:pt x="179" y="474"/>
                </a:cubicBezTo>
                <a:cubicBezTo>
                  <a:pt x="178" y="475"/>
                  <a:pt x="177" y="475"/>
                  <a:pt x="176" y="476"/>
                </a:cubicBezTo>
                <a:cubicBezTo>
                  <a:pt x="175" y="477"/>
                  <a:pt x="174" y="478"/>
                  <a:pt x="172" y="479"/>
                </a:cubicBezTo>
                <a:cubicBezTo>
                  <a:pt x="172" y="479"/>
                  <a:pt x="171" y="480"/>
                  <a:pt x="170" y="480"/>
                </a:cubicBezTo>
                <a:cubicBezTo>
                  <a:pt x="170" y="480"/>
                  <a:pt x="169" y="479"/>
                  <a:pt x="169" y="479"/>
                </a:cubicBezTo>
                <a:cubicBezTo>
                  <a:pt x="168" y="478"/>
                  <a:pt x="166" y="479"/>
                  <a:pt x="165" y="479"/>
                </a:cubicBezTo>
                <a:cubicBezTo>
                  <a:pt x="164" y="478"/>
                  <a:pt x="163" y="479"/>
                  <a:pt x="162" y="479"/>
                </a:cubicBezTo>
                <a:cubicBezTo>
                  <a:pt x="160" y="481"/>
                  <a:pt x="157" y="481"/>
                  <a:pt x="154" y="481"/>
                </a:cubicBezTo>
                <a:cubicBezTo>
                  <a:pt x="152" y="481"/>
                  <a:pt x="150" y="483"/>
                  <a:pt x="150" y="485"/>
                </a:cubicBezTo>
                <a:cubicBezTo>
                  <a:pt x="149" y="488"/>
                  <a:pt x="148" y="489"/>
                  <a:pt x="146" y="490"/>
                </a:cubicBezTo>
                <a:cubicBezTo>
                  <a:pt x="144" y="491"/>
                  <a:pt x="143" y="490"/>
                  <a:pt x="142" y="490"/>
                </a:cubicBezTo>
                <a:cubicBezTo>
                  <a:pt x="141" y="489"/>
                  <a:pt x="140" y="490"/>
                  <a:pt x="140" y="491"/>
                </a:cubicBezTo>
                <a:cubicBezTo>
                  <a:pt x="139" y="491"/>
                  <a:pt x="138" y="492"/>
                  <a:pt x="138" y="493"/>
                </a:cubicBezTo>
                <a:cubicBezTo>
                  <a:pt x="138" y="494"/>
                  <a:pt x="138" y="495"/>
                  <a:pt x="137" y="496"/>
                </a:cubicBezTo>
                <a:cubicBezTo>
                  <a:pt x="136" y="497"/>
                  <a:pt x="134" y="495"/>
                  <a:pt x="133" y="496"/>
                </a:cubicBezTo>
                <a:cubicBezTo>
                  <a:pt x="132" y="497"/>
                  <a:pt x="132" y="498"/>
                  <a:pt x="131" y="499"/>
                </a:cubicBezTo>
                <a:cubicBezTo>
                  <a:pt x="131" y="500"/>
                  <a:pt x="130" y="500"/>
                  <a:pt x="129" y="501"/>
                </a:cubicBezTo>
                <a:cubicBezTo>
                  <a:pt x="127" y="503"/>
                  <a:pt x="127" y="504"/>
                  <a:pt x="129" y="506"/>
                </a:cubicBezTo>
                <a:cubicBezTo>
                  <a:pt x="130" y="507"/>
                  <a:pt x="133" y="508"/>
                  <a:pt x="135" y="508"/>
                </a:cubicBezTo>
                <a:cubicBezTo>
                  <a:pt x="137" y="508"/>
                  <a:pt x="134" y="506"/>
                  <a:pt x="134" y="505"/>
                </a:cubicBezTo>
                <a:cubicBezTo>
                  <a:pt x="134" y="504"/>
                  <a:pt x="138" y="504"/>
                  <a:pt x="139" y="504"/>
                </a:cubicBezTo>
                <a:cubicBezTo>
                  <a:pt x="140" y="505"/>
                  <a:pt x="144" y="506"/>
                  <a:pt x="144" y="504"/>
                </a:cubicBezTo>
                <a:cubicBezTo>
                  <a:pt x="145" y="502"/>
                  <a:pt x="144" y="501"/>
                  <a:pt x="142" y="501"/>
                </a:cubicBezTo>
                <a:cubicBezTo>
                  <a:pt x="139" y="502"/>
                  <a:pt x="138" y="501"/>
                  <a:pt x="138" y="499"/>
                </a:cubicBezTo>
                <a:cubicBezTo>
                  <a:pt x="138" y="496"/>
                  <a:pt x="142" y="497"/>
                  <a:pt x="143" y="497"/>
                </a:cubicBezTo>
                <a:cubicBezTo>
                  <a:pt x="146" y="497"/>
                  <a:pt x="148" y="496"/>
                  <a:pt x="149" y="494"/>
                </a:cubicBezTo>
                <a:cubicBezTo>
                  <a:pt x="151" y="492"/>
                  <a:pt x="152" y="490"/>
                  <a:pt x="154" y="488"/>
                </a:cubicBezTo>
                <a:cubicBezTo>
                  <a:pt x="155" y="486"/>
                  <a:pt x="158" y="486"/>
                  <a:pt x="159" y="486"/>
                </a:cubicBezTo>
                <a:cubicBezTo>
                  <a:pt x="161" y="486"/>
                  <a:pt x="160" y="489"/>
                  <a:pt x="163" y="488"/>
                </a:cubicBezTo>
                <a:cubicBezTo>
                  <a:pt x="164" y="488"/>
                  <a:pt x="164" y="487"/>
                  <a:pt x="166" y="487"/>
                </a:cubicBezTo>
                <a:cubicBezTo>
                  <a:pt x="166" y="487"/>
                  <a:pt x="167" y="487"/>
                  <a:pt x="167" y="488"/>
                </a:cubicBezTo>
                <a:cubicBezTo>
                  <a:pt x="168" y="489"/>
                  <a:pt x="169" y="489"/>
                  <a:pt x="170" y="489"/>
                </a:cubicBezTo>
                <a:cubicBezTo>
                  <a:pt x="171" y="490"/>
                  <a:pt x="169" y="492"/>
                  <a:pt x="169" y="494"/>
                </a:cubicBezTo>
                <a:cubicBezTo>
                  <a:pt x="170" y="495"/>
                  <a:pt x="171" y="493"/>
                  <a:pt x="171" y="493"/>
                </a:cubicBezTo>
                <a:cubicBezTo>
                  <a:pt x="172" y="491"/>
                  <a:pt x="172" y="490"/>
                  <a:pt x="173" y="488"/>
                </a:cubicBezTo>
                <a:cubicBezTo>
                  <a:pt x="174" y="486"/>
                  <a:pt x="175" y="484"/>
                  <a:pt x="177" y="482"/>
                </a:cubicBezTo>
                <a:cubicBezTo>
                  <a:pt x="180" y="480"/>
                  <a:pt x="182" y="479"/>
                  <a:pt x="185" y="477"/>
                </a:cubicBezTo>
                <a:cubicBezTo>
                  <a:pt x="187" y="476"/>
                  <a:pt x="190" y="476"/>
                  <a:pt x="193" y="475"/>
                </a:cubicBezTo>
                <a:cubicBezTo>
                  <a:pt x="196" y="474"/>
                  <a:pt x="198" y="473"/>
                  <a:pt x="201" y="472"/>
                </a:cubicBezTo>
                <a:cubicBezTo>
                  <a:pt x="202" y="472"/>
                  <a:pt x="205" y="471"/>
                  <a:pt x="204" y="473"/>
                </a:cubicBezTo>
                <a:cubicBezTo>
                  <a:pt x="203" y="474"/>
                  <a:pt x="198" y="476"/>
                  <a:pt x="200" y="478"/>
                </a:cubicBezTo>
                <a:cubicBezTo>
                  <a:pt x="202" y="479"/>
                  <a:pt x="205" y="477"/>
                  <a:pt x="206" y="476"/>
                </a:cubicBezTo>
                <a:cubicBezTo>
                  <a:pt x="209" y="475"/>
                  <a:pt x="211" y="473"/>
                  <a:pt x="213" y="472"/>
                </a:cubicBezTo>
                <a:cubicBezTo>
                  <a:pt x="216" y="471"/>
                  <a:pt x="214" y="468"/>
                  <a:pt x="215" y="466"/>
                </a:cubicBezTo>
                <a:cubicBezTo>
                  <a:pt x="217" y="464"/>
                  <a:pt x="219" y="464"/>
                  <a:pt x="221" y="464"/>
                </a:cubicBezTo>
                <a:cubicBezTo>
                  <a:pt x="223" y="463"/>
                  <a:pt x="225" y="463"/>
                  <a:pt x="227" y="462"/>
                </a:cubicBezTo>
                <a:cubicBezTo>
                  <a:pt x="230" y="462"/>
                  <a:pt x="228" y="460"/>
                  <a:pt x="226" y="460"/>
                </a:cubicBezTo>
                <a:cubicBezTo>
                  <a:pt x="225" y="460"/>
                  <a:pt x="221" y="461"/>
                  <a:pt x="221" y="458"/>
                </a:cubicBezTo>
                <a:cubicBezTo>
                  <a:pt x="221" y="457"/>
                  <a:pt x="221" y="457"/>
                  <a:pt x="220" y="457"/>
                </a:cubicBezTo>
                <a:cubicBezTo>
                  <a:pt x="219" y="457"/>
                  <a:pt x="218" y="456"/>
                  <a:pt x="218" y="455"/>
                </a:cubicBezTo>
                <a:cubicBezTo>
                  <a:pt x="218" y="454"/>
                  <a:pt x="219" y="451"/>
                  <a:pt x="221" y="451"/>
                </a:cubicBezTo>
                <a:cubicBezTo>
                  <a:pt x="222" y="451"/>
                  <a:pt x="222" y="453"/>
                  <a:pt x="223" y="453"/>
                </a:cubicBezTo>
                <a:cubicBezTo>
                  <a:pt x="225" y="453"/>
                  <a:pt x="226" y="454"/>
                  <a:pt x="227" y="455"/>
                </a:cubicBezTo>
                <a:cubicBezTo>
                  <a:pt x="232" y="458"/>
                  <a:pt x="235" y="463"/>
                  <a:pt x="239" y="467"/>
                </a:cubicBezTo>
                <a:cubicBezTo>
                  <a:pt x="240" y="469"/>
                  <a:pt x="241" y="472"/>
                  <a:pt x="241" y="474"/>
                </a:cubicBezTo>
                <a:cubicBezTo>
                  <a:pt x="242" y="477"/>
                  <a:pt x="244" y="479"/>
                  <a:pt x="246" y="480"/>
                </a:cubicBezTo>
                <a:cubicBezTo>
                  <a:pt x="250" y="483"/>
                  <a:pt x="255" y="487"/>
                  <a:pt x="261" y="488"/>
                </a:cubicBezTo>
                <a:cubicBezTo>
                  <a:pt x="263" y="489"/>
                  <a:pt x="265" y="489"/>
                  <a:pt x="267" y="487"/>
                </a:cubicBezTo>
                <a:cubicBezTo>
                  <a:pt x="269" y="485"/>
                  <a:pt x="266" y="486"/>
                  <a:pt x="265" y="485"/>
                </a:cubicBezTo>
                <a:cubicBezTo>
                  <a:pt x="263" y="485"/>
                  <a:pt x="268" y="484"/>
                  <a:pt x="268" y="484"/>
                </a:cubicBezTo>
                <a:cubicBezTo>
                  <a:pt x="270" y="483"/>
                  <a:pt x="268" y="481"/>
                  <a:pt x="267" y="481"/>
                </a:cubicBezTo>
                <a:cubicBezTo>
                  <a:pt x="266" y="481"/>
                  <a:pt x="265" y="481"/>
                  <a:pt x="265" y="480"/>
                </a:cubicBezTo>
                <a:cubicBezTo>
                  <a:pt x="264" y="479"/>
                  <a:pt x="265" y="478"/>
                  <a:pt x="266" y="478"/>
                </a:cubicBezTo>
                <a:cubicBezTo>
                  <a:pt x="267" y="477"/>
                  <a:pt x="268" y="477"/>
                  <a:pt x="269" y="478"/>
                </a:cubicBezTo>
                <a:cubicBezTo>
                  <a:pt x="270" y="478"/>
                  <a:pt x="271" y="479"/>
                  <a:pt x="272" y="479"/>
                </a:cubicBezTo>
                <a:cubicBezTo>
                  <a:pt x="273" y="479"/>
                  <a:pt x="273" y="478"/>
                  <a:pt x="273" y="477"/>
                </a:cubicBezTo>
                <a:cubicBezTo>
                  <a:pt x="272" y="476"/>
                  <a:pt x="271" y="476"/>
                  <a:pt x="270" y="475"/>
                </a:cubicBezTo>
                <a:cubicBezTo>
                  <a:pt x="270" y="475"/>
                  <a:pt x="268" y="474"/>
                  <a:pt x="268" y="474"/>
                </a:cubicBezTo>
                <a:cubicBezTo>
                  <a:pt x="268" y="473"/>
                  <a:pt x="270" y="472"/>
                  <a:pt x="270" y="472"/>
                </a:cubicBezTo>
                <a:cubicBezTo>
                  <a:pt x="271" y="472"/>
                  <a:pt x="272" y="472"/>
                  <a:pt x="272" y="471"/>
                </a:cubicBezTo>
                <a:cubicBezTo>
                  <a:pt x="272" y="470"/>
                  <a:pt x="272" y="469"/>
                  <a:pt x="272" y="469"/>
                </a:cubicBezTo>
                <a:cubicBezTo>
                  <a:pt x="273" y="468"/>
                  <a:pt x="274" y="468"/>
                  <a:pt x="275" y="468"/>
                </a:cubicBezTo>
                <a:cubicBezTo>
                  <a:pt x="276" y="467"/>
                  <a:pt x="276" y="466"/>
                  <a:pt x="278" y="466"/>
                </a:cubicBezTo>
                <a:cubicBezTo>
                  <a:pt x="279" y="465"/>
                  <a:pt x="281" y="464"/>
                  <a:pt x="281" y="467"/>
                </a:cubicBezTo>
                <a:cubicBezTo>
                  <a:pt x="280" y="468"/>
                  <a:pt x="280" y="469"/>
                  <a:pt x="279" y="470"/>
                </a:cubicBezTo>
                <a:cubicBezTo>
                  <a:pt x="279" y="471"/>
                  <a:pt x="279" y="472"/>
                  <a:pt x="279" y="473"/>
                </a:cubicBezTo>
                <a:cubicBezTo>
                  <a:pt x="278" y="476"/>
                  <a:pt x="279" y="477"/>
                  <a:pt x="282" y="477"/>
                </a:cubicBezTo>
                <a:cubicBezTo>
                  <a:pt x="283" y="477"/>
                  <a:pt x="284" y="477"/>
                  <a:pt x="284" y="478"/>
                </a:cubicBezTo>
                <a:cubicBezTo>
                  <a:pt x="285" y="480"/>
                  <a:pt x="284" y="481"/>
                  <a:pt x="283" y="481"/>
                </a:cubicBezTo>
                <a:cubicBezTo>
                  <a:pt x="281" y="482"/>
                  <a:pt x="279" y="484"/>
                  <a:pt x="279" y="486"/>
                </a:cubicBezTo>
                <a:cubicBezTo>
                  <a:pt x="279" y="488"/>
                  <a:pt x="281" y="488"/>
                  <a:pt x="282" y="488"/>
                </a:cubicBezTo>
                <a:cubicBezTo>
                  <a:pt x="287" y="488"/>
                  <a:pt x="291" y="486"/>
                  <a:pt x="295" y="485"/>
                </a:cubicBezTo>
                <a:cubicBezTo>
                  <a:pt x="296" y="484"/>
                  <a:pt x="298" y="484"/>
                  <a:pt x="299" y="484"/>
                </a:cubicBezTo>
                <a:cubicBezTo>
                  <a:pt x="300" y="484"/>
                  <a:pt x="301" y="484"/>
                  <a:pt x="302" y="483"/>
                </a:cubicBezTo>
                <a:cubicBezTo>
                  <a:pt x="303" y="481"/>
                  <a:pt x="302" y="478"/>
                  <a:pt x="303" y="477"/>
                </a:cubicBezTo>
                <a:cubicBezTo>
                  <a:pt x="304" y="474"/>
                  <a:pt x="306" y="474"/>
                  <a:pt x="308" y="474"/>
                </a:cubicBezTo>
                <a:cubicBezTo>
                  <a:pt x="312" y="475"/>
                  <a:pt x="314" y="475"/>
                  <a:pt x="317" y="475"/>
                </a:cubicBezTo>
                <a:cubicBezTo>
                  <a:pt x="323" y="475"/>
                  <a:pt x="329" y="474"/>
                  <a:pt x="335" y="477"/>
                </a:cubicBezTo>
                <a:cubicBezTo>
                  <a:pt x="340" y="480"/>
                  <a:pt x="346" y="482"/>
                  <a:pt x="351" y="485"/>
                </a:cubicBezTo>
                <a:cubicBezTo>
                  <a:pt x="357" y="488"/>
                  <a:pt x="363" y="488"/>
                  <a:pt x="369" y="489"/>
                </a:cubicBezTo>
                <a:cubicBezTo>
                  <a:pt x="372" y="490"/>
                  <a:pt x="374" y="490"/>
                  <a:pt x="377" y="491"/>
                </a:cubicBezTo>
                <a:cubicBezTo>
                  <a:pt x="380" y="492"/>
                  <a:pt x="382" y="493"/>
                  <a:pt x="385" y="495"/>
                </a:cubicBezTo>
                <a:cubicBezTo>
                  <a:pt x="389" y="498"/>
                  <a:pt x="395" y="500"/>
                  <a:pt x="401" y="501"/>
                </a:cubicBezTo>
                <a:cubicBezTo>
                  <a:pt x="404" y="501"/>
                  <a:pt x="407" y="502"/>
                  <a:pt x="409" y="503"/>
                </a:cubicBezTo>
                <a:cubicBezTo>
                  <a:pt x="412" y="504"/>
                  <a:pt x="416" y="504"/>
                  <a:pt x="419" y="504"/>
                </a:cubicBezTo>
                <a:cubicBezTo>
                  <a:pt x="420" y="504"/>
                  <a:pt x="422" y="504"/>
                  <a:pt x="423" y="504"/>
                </a:cubicBezTo>
                <a:cubicBezTo>
                  <a:pt x="424" y="503"/>
                  <a:pt x="422" y="503"/>
                  <a:pt x="421" y="502"/>
                </a:cubicBezTo>
                <a:cubicBezTo>
                  <a:pt x="421" y="502"/>
                  <a:pt x="420" y="501"/>
                  <a:pt x="420" y="500"/>
                </a:cubicBezTo>
                <a:cubicBezTo>
                  <a:pt x="421" y="500"/>
                  <a:pt x="422" y="500"/>
                  <a:pt x="423" y="500"/>
                </a:cubicBezTo>
                <a:cubicBezTo>
                  <a:pt x="426" y="499"/>
                  <a:pt x="428" y="499"/>
                  <a:pt x="431" y="500"/>
                </a:cubicBezTo>
                <a:cubicBezTo>
                  <a:pt x="434" y="502"/>
                  <a:pt x="437" y="502"/>
                  <a:pt x="440" y="503"/>
                </a:cubicBezTo>
                <a:cubicBezTo>
                  <a:pt x="442" y="504"/>
                  <a:pt x="445" y="505"/>
                  <a:pt x="447" y="506"/>
                </a:cubicBezTo>
                <a:cubicBezTo>
                  <a:pt x="450" y="507"/>
                  <a:pt x="452" y="510"/>
                  <a:pt x="455" y="511"/>
                </a:cubicBezTo>
                <a:cubicBezTo>
                  <a:pt x="456" y="512"/>
                  <a:pt x="456" y="513"/>
                  <a:pt x="456" y="514"/>
                </a:cubicBezTo>
                <a:cubicBezTo>
                  <a:pt x="457" y="515"/>
                  <a:pt x="457" y="516"/>
                  <a:pt x="458" y="517"/>
                </a:cubicBezTo>
                <a:cubicBezTo>
                  <a:pt x="459" y="518"/>
                  <a:pt x="459" y="519"/>
                  <a:pt x="459" y="519"/>
                </a:cubicBezTo>
                <a:cubicBezTo>
                  <a:pt x="458" y="521"/>
                  <a:pt x="456" y="520"/>
                  <a:pt x="455" y="520"/>
                </a:cubicBezTo>
                <a:cubicBezTo>
                  <a:pt x="453" y="520"/>
                  <a:pt x="451" y="520"/>
                  <a:pt x="450" y="520"/>
                </a:cubicBezTo>
                <a:cubicBezTo>
                  <a:pt x="449" y="520"/>
                  <a:pt x="448" y="520"/>
                  <a:pt x="447" y="521"/>
                </a:cubicBezTo>
                <a:cubicBezTo>
                  <a:pt x="446" y="521"/>
                  <a:pt x="445" y="522"/>
                  <a:pt x="445" y="523"/>
                </a:cubicBezTo>
                <a:cubicBezTo>
                  <a:pt x="444" y="523"/>
                  <a:pt x="442" y="523"/>
                  <a:pt x="441" y="523"/>
                </a:cubicBezTo>
                <a:cubicBezTo>
                  <a:pt x="439" y="523"/>
                  <a:pt x="438" y="524"/>
                  <a:pt x="438" y="526"/>
                </a:cubicBezTo>
                <a:cubicBezTo>
                  <a:pt x="438" y="527"/>
                  <a:pt x="438" y="528"/>
                  <a:pt x="438" y="528"/>
                </a:cubicBezTo>
                <a:cubicBezTo>
                  <a:pt x="437" y="529"/>
                  <a:pt x="436" y="529"/>
                  <a:pt x="435" y="529"/>
                </a:cubicBezTo>
                <a:cubicBezTo>
                  <a:pt x="433" y="531"/>
                  <a:pt x="437" y="533"/>
                  <a:pt x="438" y="534"/>
                </a:cubicBezTo>
                <a:cubicBezTo>
                  <a:pt x="440" y="535"/>
                  <a:pt x="443" y="535"/>
                  <a:pt x="446" y="535"/>
                </a:cubicBezTo>
                <a:cubicBezTo>
                  <a:pt x="452" y="535"/>
                  <a:pt x="458" y="535"/>
                  <a:pt x="464" y="537"/>
                </a:cubicBezTo>
                <a:cubicBezTo>
                  <a:pt x="470" y="538"/>
                  <a:pt x="477" y="538"/>
                  <a:pt x="483" y="537"/>
                </a:cubicBezTo>
                <a:cubicBezTo>
                  <a:pt x="486" y="537"/>
                  <a:pt x="488" y="536"/>
                  <a:pt x="491" y="536"/>
                </a:cubicBezTo>
                <a:cubicBezTo>
                  <a:pt x="494" y="536"/>
                  <a:pt x="498" y="536"/>
                  <a:pt x="501" y="535"/>
                </a:cubicBezTo>
                <a:cubicBezTo>
                  <a:pt x="507" y="535"/>
                  <a:pt x="513" y="535"/>
                  <a:pt x="520" y="534"/>
                </a:cubicBezTo>
                <a:cubicBezTo>
                  <a:pt x="522" y="533"/>
                  <a:pt x="525" y="533"/>
                  <a:pt x="528" y="533"/>
                </a:cubicBezTo>
                <a:cubicBezTo>
                  <a:pt x="529" y="533"/>
                  <a:pt x="530" y="533"/>
                  <a:pt x="531" y="534"/>
                </a:cubicBezTo>
                <a:cubicBezTo>
                  <a:pt x="532" y="535"/>
                  <a:pt x="532" y="536"/>
                  <a:pt x="533" y="536"/>
                </a:cubicBezTo>
                <a:cubicBezTo>
                  <a:pt x="535" y="537"/>
                  <a:pt x="538" y="536"/>
                  <a:pt x="540" y="536"/>
                </a:cubicBezTo>
                <a:cubicBezTo>
                  <a:pt x="542" y="536"/>
                  <a:pt x="544" y="539"/>
                  <a:pt x="544" y="541"/>
                </a:cubicBezTo>
                <a:cubicBezTo>
                  <a:pt x="543" y="542"/>
                  <a:pt x="543" y="543"/>
                  <a:pt x="544" y="545"/>
                </a:cubicBezTo>
                <a:cubicBezTo>
                  <a:pt x="544" y="545"/>
                  <a:pt x="545" y="546"/>
                  <a:pt x="546" y="546"/>
                </a:cubicBezTo>
                <a:cubicBezTo>
                  <a:pt x="548" y="546"/>
                  <a:pt x="547" y="542"/>
                  <a:pt x="548" y="541"/>
                </a:cubicBezTo>
                <a:cubicBezTo>
                  <a:pt x="549" y="539"/>
                  <a:pt x="551" y="543"/>
                  <a:pt x="551" y="544"/>
                </a:cubicBezTo>
                <a:cubicBezTo>
                  <a:pt x="551" y="545"/>
                  <a:pt x="551" y="546"/>
                  <a:pt x="552" y="547"/>
                </a:cubicBezTo>
                <a:cubicBezTo>
                  <a:pt x="553" y="547"/>
                  <a:pt x="555" y="547"/>
                  <a:pt x="556" y="548"/>
                </a:cubicBezTo>
                <a:cubicBezTo>
                  <a:pt x="558" y="548"/>
                  <a:pt x="560" y="549"/>
                  <a:pt x="561" y="551"/>
                </a:cubicBezTo>
                <a:cubicBezTo>
                  <a:pt x="562" y="553"/>
                  <a:pt x="561" y="555"/>
                  <a:pt x="559" y="555"/>
                </a:cubicBezTo>
                <a:cubicBezTo>
                  <a:pt x="556" y="555"/>
                  <a:pt x="555" y="553"/>
                  <a:pt x="553" y="553"/>
                </a:cubicBezTo>
                <a:cubicBezTo>
                  <a:pt x="551" y="552"/>
                  <a:pt x="548" y="552"/>
                  <a:pt x="550" y="554"/>
                </a:cubicBezTo>
                <a:cubicBezTo>
                  <a:pt x="552" y="556"/>
                  <a:pt x="553" y="557"/>
                  <a:pt x="555" y="558"/>
                </a:cubicBezTo>
                <a:cubicBezTo>
                  <a:pt x="556" y="558"/>
                  <a:pt x="557" y="558"/>
                  <a:pt x="558" y="559"/>
                </a:cubicBezTo>
                <a:cubicBezTo>
                  <a:pt x="558" y="560"/>
                  <a:pt x="557" y="561"/>
                  <a:pt x="558" y="562"/>
                </a:cubicBezTo>
                <a:cubicBezTo>
                  <a:pt x="558" y="563"/>
                  <a:pt x="559" y="562"/>
                  <a:pt x="560" y="563"/>
                </a:cubicBezTo>
                <a:cubicBezTo>
                  <a:pt x="561" y="563"/>
                  <a:pt x="561" y="564"/>
                  <a:pt x="562" y="565"/>
                </a:cubicBezTo>
                <a:cubicBezTo>
                  <a:pt x="562" y="566"/>
                  <a:pt x="563" y="566"/>
                  <a:pt x="564" y="567"/>
                </a:cubicBezTo>
                <a:cubicBezTo>
                  <a:pt x="566" y="567"/>
                  <a:pt x="566" y="568"/>
                  <a:pt x="567" y="570"/>
                </a:cubicBezTo>
                <a:cubicBezTo>
                  <a:pt x="567" y="570"/>
                  <a:pt x="571" y="575"/>
                  <a:pt x="572" y="574"/>
                </a:cubicBezTo>
                <a:cubicBezTo>
                  <a:pt x="572" y="573"/>
                  <a:pt x="570" y="570"/>
                  <a:pt x="569" y="570"/>
                </a:cubicBezTo>
                <a:cubicBezTo>
                  <a:pt x="569" y="569"/>
                  <a:pt x="568" y="568"/>
                  <a:pt x="568" y="567"/>
                </a:cubicBezTo>
                <a:cubicBezTo>
                  <a:pt x="567" y="566"/>
                  <a:pt x="566" y="565"/>
                  <a:pt x="565" y="565"/>
                </a:cubicBezTo>
                <a:cubicBezTo>
                  <a:pt x="565" y="564"/>
                  <a:pt x="565" y="562"/>
                  <a:pt x="565" y="561"/>
                </a:cubicBezTo>
                <a:cubicBezTo>
                  <a:pt x="565" y="560"/>
                  <a:pt x="565" y="558"/>
                  <a:pt x="565" y="556"/>
                </a:cubicBezTo>
                <a:cubicBezTo>
                  <a:pt x="566" y="554"/>
                  <a:pt x="568" y="556"/>
                  <a:pt x="568" y="558"/>
                </a:cubicBezTo>
                <a:cubicBezTo>
                  <a:pt x="567" y="560"/>
                  <a:pt x="566" y="561"/>
                  <a:pt x="569" y="562"/>
                </a:cubicBezTo>
                <a:cubicBezTo>
                  <a:pt x="570" y="563"/>
                  <a:pt x="571" y="563"/>
                  <a:pt x="571" y="562"/>
                </a:cubicBezTo>
                <a:cubicBezTo>
                  <a:pt x="571" y="560"/>
                  <a:pt x="572" y="561"/>
                  <a:pt x="573" y="561"/>
                </a:cubicBezTo>
                <a:cubicBezTo>
                  <a:pt x="574" y="562"/>
                  <a:pt x="574" y="562"/>
                  <a:pt x="575" y="562"/>
                </a:cubicBezTo>
                <a:cubicBezTo>
                  <a:pt x="576" y="562"/>
                  <a:pt x="577" y="561"/>
                  <a:pt x="576" y="561"/>
                </a:cubicBezTo>
                <a:cubicBezTo>
                  <a:pt x="576" y="560"/>
                  <a:pt x="575" y="560"/>
                  <a:pt x="575" y="559"/>
                </a:cubicBezTo>
                <a:cubicBezTo>
                  <a:pt x="574" y="559"/>
                  <a:pt x="573" y="558"/>
                  <a:pt x="573" y="557"/>
                </a:cubicBezTo>
                <a:cubicBezTo>
                  <a:pt x="572" y="556"/>
                  <a:pt x="571" y="555"/>
                  <a:pt x="572" y="555"/>
                </a:cubicBezTo>
                <a:cubicBezTo>
                  <a:pt x="573" y="554"/>
                  <a:pt x="574" y="554"/>
                  <a:pt x="574" y="553"/>
                </a:cubicBezTo>
                <a:cubicBezTo>
                  <a:pt x="574" y="552"/>
                  <a:pt x="573" y="552"/>
                  <a:pt x="572" y="552"/>
                </a:cubicBezTo>
                <a:cubicBezTo>
                  <a:pt x="571" y="551"/>
                  <a:pt x="570" y="550"/>
                  <a:pt x="569" y="550"/>
                </a:cubicBezTo>
                <a:cubicBezTo>
                  <a:pt x="568" y="548"/>
                  <a:pt x="565" y="545"/>
                  <a:pt x="568" y="544"/>
                </a:cubicBezTo>
                <a:cubicBezTo>
                  <a:pt x="569" y="543"/>
                  <a:pt x="567" y="540"/>
                  <a:pt x="566" y="540"/>
                </a:cubicBezTo>
                <a:cubicBezTo>
                  <a:pt x="565" y="539"/>
                  <a:pt x="561" y="537"/>
                  <a:pt x="561" y="535"/>
                </a:cubicBezTo>
                <a:cubicBezTo>
                  <a:pt x="562" y="533"/>
                  <a:pt x="565" y="533"/>
                  <a:pt x="566" y="531"/>
                </a:cubicBezTo>
                <a:cubicBezTo>
                  <a:pt x="567" y="530"/>
                  <a:pt x="567" y="529"/>
                  <a:pt x="567" y="528"/>
                </a:cubicBezTo>
                <a:cubicBezTo>
                  <a:pt x="568" y="527"/>
                  <a:pt x="569" y="527"/>
                  <a:pt x="571" y="526"/>
                </a:cubicBezTo>
                <a:cubicBezTo>
                  <a:pt x="573" y="525"/>
                  <a:pt x="575" y="525"/>
                  <a:pt x="577" y="524"/>
                </a:cubicBezTo>
                <a:cubicBezTo>
                  <a:pt x="579" y="523"/>
                  <a:pt x="581" y="521"/>
                  <a:pt x="583" y="522"/>
                </a:cubicBezTo>
                <a:cubicBezTo>
                  <a:pt x="584" y="523"/>
                  <a:pt x="588" y="525"/>
                  <a:pt x="588" y="522"/>
                </a:cubicBezTo>
                <a:cubicBezTo>
                  <a:pt x="588" y="521"/>
                  <a:pt x="587" y="521"/>
                  <a:pt x="588" y="520"/>
                </a:cubicBezTo>
                <a:cubicBezTo>
                  <a:pt x="589" y="519"/>
                  <a:pt x="590" y="518"/>
                  <a:pt x="591" y="517"/>
                </a:cubicBezTo>
                <a:cubicBezTo>
                  <a:pt x="593" y="517"/>
                  <a:pt x="594" y="516"/>
                  <a:pt x="595" y="516"/>
                </a:cubicBezTo>
                <a:cubicBezTo>
                  <a:pt x="597" y="516"/>
                  <a:pt x="597" y="516"/>
                  <a:pt x="599" y="515"/>
                </a:cubicBezTo>
                <a:cubicBezTo>
                  <a:pt x="599" y="515"/>
                  <a:pt x="599" y="514"/>
                  <a:pt x="599" y="513"/>
                </a:cubicBezTo>
                <a:cubicBezTo>
                  <a:pt x="599" y="512"/>
                  <a:pt x="599" y="512"/>
                  <a:pt x="600" y="511"/>
                </a:cubicBezTo>
                <a:cubicBezTo>
                  <a:pt x="601" y="509"/>
                  <a:pt x="598" y="509"/>
                  <a:pt x="596" y="509"/>
                </a:cubicBezTo>
                <a:cubicBezTo>
                  <a:pt x="593" y="510"/>
                  <a:pt x="591" y="511"/>
                  <a:pt x="588" y="512"/>
                </a:cubicBezTo>
                <a:cubicBezTo>
                  <a:pt x="586" y="512"/>
                  <a:pt x="585" y="512"/>
                  <a:pt x="585" y="514"/>
                </a:cubicBezTo>
                <a:cubicBezTo>
                  <a:pt x="585" y="516"/>
                  <a:pt x="584" y="518"/>
                  <a:pt x="583" y="516"/>
                </a:cubicBezTo>
                <a:cubicBezTo>
                  <a:pt x="581" y="514"/>
                  <a:pt x="579" y="515"/>
                  <a:pt x="578" y="516"/>
                </a:cubicBezTo>
                <a:cubicBezTo>
                  <a:pt x="576" y="518"/>
                  <a:pt x="575" y="520"/>
                  <a:pt x="572" y="520"/>
                </a:cubicBezTo>
                <a:cubicBezTo>
                  <a:pt x="570" y="519"/>
                  <a:pt x="568" y="518"/>
                  <a:pt x="566" y="518"/>
                </a:cubicBezTo>
                <a:cubicBezTo>
                  <a:pt x="563" y="518"/>
                  <a:pt x="563" y="519"/>
                  <a:pt x="563" y="521"/>
                </a:cubicBezTo>
                <a:cubicBezTo>
                  <a:pt x="562" y="523"/>
                  <a:pt x="559" y="522"/>
                  <a:pt x="557" y="521"/>
                </a:cubicBezTo>
                <a:cubicBezTo>
                  <a:pt x="556" y="521"/>
                  <a:pt x="555" y="521"/>
                  <a:pt x="555" y="521"/>
                </a:cubicBezTo>
                <a:cubicBezTo>
                  <a:pt x="554" y="520"/>
                  <a:pt x="554" y="519"/>
                  <a:pt x="552" y="519"/>
                </a:cubicBezTo>
                <a:cubicBezTo>
                  <a:pt x="551" y="518"/>
                  <a:pt x="550" y="519"/>
                  <a:pt x="550" y="519"/>
                </a:cubicBezTo>
                <a:cubicBezTo>
                  <a:pt x="548" y="520"/>
                  <a:pt x="548" y="518"/>
                  <a:pt x="548" y="517"/>
                </a:cubicBezTo>
                <a:cubicBezTo>
                  <a:pt x="550" y="515"/>
                  <a:pt x="552" y="513"/>
                  <a:pt x="554" y="511"/>
                </a:cubicBezTo>
                <a:cubicBezTo>
                  <a:pt x="558" y="507"/>
                  <a:pt x="565" y="509"/>
                  <a:pt x="569" y="507"/>
                </a:cubicBezTo>
                <a:cubicBezTo>
                  <a:pt x="572" y="507"/>
                  <a:pt x="574" y="505"/>
                  <a:pt x="577" y="504"/>
                </a:cubicBezTo>
                <a:cubicBezTo>
                  <a:pt x="580" y="503"/>
                  <a:pt x="583" y="503"/>
                  <a:pt x="587" y="502"/>
                </a:cubicBezTo>
                <a:cubicBezTo>
                  <a:pt x="589" y="502"/>
                  <a:pt x="591" y="501"/>
                  <a:pt x="594" y="501"/>
                </a:cubicBezTo>
                <a:cubicBezTo>
                  <a:pt x="596" y="501"/>
                  <a:pt x="597" y="504"/>
                  <a:pt x="599" y="505"/>
                </a:cubicBezTo>
                <a:cubicBezTo>
                  <a:pt x="600" y="505"/>
                  <a:pt x="602" y="506"/>
                  <a:pt x="602" y="507"/>
                </a:cubicBezTo>
                <a:cubicBezTo>
                  <a:pt x="603" y="508"/>
                  <a:pt x="602" y="509"/>
                  <a:pt x="602" y="510"/>
                </a:cubicBezTo>
                <a:cubicBezTo>
                  <a:pt x="603" y="511"/>
                  <a:pt x="606" y="512"/>
                  <a:pt x="604" y="514"/>
                </a:cubicBezTo>
                <a:cubicBezTo>
                  <a:pt x="603" y="515"/>
                  <a:pt x="602" y="516"/>
                  <a:pt x="604" y="517"/>
                </a:cubicBezTo>
                <a:cubicBezTo>
                  <a:pt x="606" y="518"/>
                  <a:pt x="608" y="518"/>
                  <a:pt x="609" y="520"/>
                </a:cubicBezTo>
                <a:cubicBezTo>
                  <a:pt x="611" y="522"/>
                  <a:pt x="613" y="521"/>
                  <a:pt x="616" y="521"/>
                </a:cubicBezTo>
                <a:cubicBezTo>
                  <a:pt x="618" y="521"/>
                  <a:pt x="617" y="524"/>
                  <a:pt x="618" y="525"/>
                </a:cubicBezTo>
                <a:cubicBezTo>
                  <a:pt x="619" y="528"/>
                  <a:pt x="622" y="527"/>
                  <a:pt x="624" y="527"/>
                </a:cubicBezTo>
                <a:cubicBezTo>
                  <a:pt x="627" y="528"/>
                  <a:pt x="630" y="528"/>
                  <a:pt x="633" y="528"/>
                </a:cubicBezTo>
                <a:cubicBezTo>
                  <a:pt x="636" y="528"/>
                  <a:pt x="639" y="527"/>
                  <a:pt x="641" y="528"/>
                </a:cubicBezTo>
                <a:cubicBezTo>
                  <a:pt x="644" y="529"/>
                  <a:pt x="646" y="531"/>
                  <a:pt x="648" y="532"/>
                </a:cubicBezTo>
                <a:cubicBezTo>
                  <a:pt x="651" y="533"/>
                  <a:pt x="653" y="534"/>
                  <a:pt x="654" y="536"/>
                </a:cubicBezTo>
                <a:cubicBezTo>
                  <a:pt x="656" y="538"/>
                  <a:pt x="659" y="538"/>
                  <a:pt x="661" y="538"/>
                </a:cubicBezTo>
                <a:cubicBezTo>
                  <a:pt x="664" y="538"/>
                  <a:pt x="667" y="538"/>
                  <a:pt x="670" y="538"/>
                </a:cubicBezTo>
                <a:cubicBezTo>
                  <a:pt x="671" y="538"/>
                  <a:pt x="673" y="537"/>
                  <a:pt x="674" y="537"/>
                </a:cubicBezTo>
                <a:cubicBezTo>
                  <a:pt x="676" y="537"/>
                  <a:pt x="678" y="536"/>
                  <a:pt x="679" y="536"/>
                </a:cubicBezTo>
                <a:cubicBezTo>
                  <a:pt x="685" y="534"/>
                  <a:pt x="692" y="533"/>
                  <a:pt x="698" y="534"/>
                </a:cubicBezTo>
                <a:cubicBezTo>
                  <a:pt x="701" y="534"/>
                  <a:pt x="704" y="535"/>
                  <a:pt x="707" y="536"/>
                </a:cubicBezTo>
                <a:cubicBezTo>
                  <a:pt x="709" y="536"/>
                  <a:pt x="712" y="537"/>
                  <a:pt x="715" y="536"/>
                </a:cubicBezTo>
                <a:cubicBezTo>
                  <a:pt x="717" y="536"/>
                  <a:pt x="718" y="534"/>
                  <a:pt x="719" y="533"/>
                </a:cubicBezTo>
                <a:cubicBezTo>
                  <a:pt x="720" y="531"/>
                  <a:pt x="718" y="530"/>
                  <a:pt x="719" y="528"/>
                </a:cubicBezTo>
                <a:cubicBezTo>
                  <a:pt x="721" y="526"/>
                  <a:pt x="723" y="530"/>
                  <a:pt x="724" y="531"/>
                </a:cubicBezTo>
                <a:cubicBezTo>
                  <a:pt x="726" y="533"/>
                  <a:pt x="728" y="535"/>
                  <a:pt x="730" y="537"/>
                </a:cubicBezTo>
                <a:cubicBezTo>
                  <a:pt x="734" y="540"/>
                  <a:pt x="739" y="541"/>
                  <a:pt x="744" y="539"/>
                </a:cubicBezTo>
                <a:cubicBezTo>
                  <a:pt x="745" y="539"/>
                  <a:pt x="746" y="538"/>
                  <a:pt x="746" y="537"/>
                </a:cubicBezTo>
                <a:cubicBezTo>
                  <a:pt x="746" y="536"/>
                  <a:pt x="746" y="535"/>
                  <a:pt x="746" y="534"/>
                </a:cubicBezTo>
                <a:cubicBezTo>
                  <a:pt x="745" y="533"/>
                  <a:pt x="745" y="531"/>
                  <a:pt x="744" y="531"/>
                </a:cubicBezTo>
                <a:cubicBezTo>
                  <a:pt x="743" y="531"/>
                  <a:pt x="742" y="531"/>
                  <a:pt x="741" y="531"/>
                </a:cubicBezTo>
                <a:cubicBezTo>
                  <a:pt x="740" y="530"/>
                  <a:pt x="740" y="529"/>
                  <a:pt x="739" y="528"/>
                </a:cubicBezTo>
                <a:cubicBezTo>
                  <a:pt x="737" y="526"/>
                  <a:pt x="735" y="529"/>
                  <a:pt x="732" y="529"/>
                </a:cubicBezTo>
                <a:cubicBezTo>
                  <a:pt x="731" y="530"/>
                  <a:pt x="727" y="530"/>
                  <a:pt x="726" y="528"/>
                </a:cubicBezTo>
                <a:cubicBezTo>
                  <a:pt x="725" y="526"/>
                  <a:pt x="727" y="523"/>
                  <a:pt x="724" y="522"/>
                </a:cubicBezTo>
                <a:cubicBezTo>
                  <a:pt x="723" y="522"/>
                  <a:pt x="721" y="521"/>
                  <a:pt x="721" y="520"/>
                </a:cubicBezTo>
                <a:cubicBezTo>
                  <a:pt x="722" y="519"/>
                  <a:pt x="725" y="520"/>
                  <a:pt x="726" y="520"/>
                </a:cubicBezTo>
                <a:cubicBezTo>
                  <a:pt x="728" y="520"/>
                  <a:pt x="731" y="519"/>
                  <a:pt x="733" y="519"/>
                </a:cubicBezTo>
                <a:cubicBezTo>
                  <a:pt x="736" y="518"/>
                  <a:pt x="733" y="516"/>
                  <a:pt x="733" y="515"/>
                </a:cubicBezTo>
                <a:cubicBezTo>
                  <a:pt x="733" y="513"/>
                  <a:pt x="735" y="515"/>
                  <a:pt x="736" y="515"/>
                </a:cubicBezTo>
                <a:cubicBezTo>
                  <a:pt x="739" y="517"/>
                  <a:pt x="741" y="516"/>
                  <a:pt x="744" y="516"/>
                </a:cubicBezTo>
                <a:cubicBezTo>
                  <a:pt x="745" y="516"/>
                  <a:pt x="747" y="516"/>
                  <a:pt x="747" y="517"/>
                </a:cubicBezTo>
                <a:cubicBezTo>
                  <a:pt x="747" y="518"/>
                  <a:pt x="746" y="519"/>
                  <a:pt x="746" y="520"/>
                </a:cubicBezTo>
                <a:cubicBezTo>
                  <a:pt x="745" y="522"/>
                  <a:pt x="749" y="521"/>
                  <a:pt x="750" y="521"/>
                </a:cubicBezTo>
                <a:cubicBezTo>
                  <a:pt x="752" y="521"/>
                  <a:pt x="754" y="522"/>
                  <a:pt x="754" y="524"/>
                </a:cubicBezTo>
                <a:cubicBezTo>
                  <a:pt x="753" y="525"/>
                  <a:pt x="750" y="526"/>
                  <a:pt x="752" y="528"/>
                </a:cubicBezTo>
                <a:cubicBezTo>
                  <a:pt x="753" y="528"/>
                  <a:pt x="756" y="529"/>
                  <a:pt x="757" y="528"/>
                </a:cubicBezTo>
                <a:cubicBezTo>
                  <a:pt x="758" y="527"/>
                  <a:pt x="758" y="526"/>
                  <a:pt x="759" y="525"/>
                </a:cubicBezTo>
                <a:cubicBezTo>
                  <a:pt x="760" y="524"/>
                  <a:pt x="761" y="523"/>
                  <a:pt x="762" y="523"/>
                </a:cubicBezTo>
                <a:cubicBezTo>
                  <a:pt x="763" y="522"/>
                  <a:pt x="764" y="522"/>
                  <a:pt x="765" y="523"/>
                </a:cubicBezTo>
                <a:cubicBezTo>
                  <a:pt x="765" y="523"/>
                  <a:pt x="764" y="524"/>
                  <a:pt x="764" y="525"/>
                </a:cubicBezTo>
                <a:cubicBezTo>
                  <a:pt x="763" y="527"/>
                  <a:pt x="761" y="530"/>
                  <a:pt x="761" y="533"/>
                </a:cubicBezTo>
                <a:cubicBezTo>
                  <a:pt x="760" y="534"/>
                  <a:pt x="761" y="535"/>
                  <a:pt x="761" y="535"/>
                </a:cubicBezTo>
                <a:cubicBezTo>
                  <a:pt x="761" y="537"/>
                  <a:pt x="759" y="537"/>
                  <a:pt x="758" y="537"/>
                </a:cubicBezTo>
                <a:cubicBezTo>
                  <a:pt x="757" y="537"/>
                  <a:pt x="757" y="538"/>
                  <a:pt x="757" y="539"/>
                </a:cubicBezTo>
                <a:cubicBezTo>
                  <a:pt x="757" y="541"/>
                  <a:pt x="756" y="542"/>
                  <a:pt x="756" y="543"/>
                </a:cubicBezTo>
                <a:cubicBezTo>
                  <a:pt x="756" y="545"/>
                  <a:pt x="759" y="544"/>
                  <a:pt x="760" y="545"/>
                </a:cubicBezTo>
                <a:cubicBezTo>
                  <a:pt x="762" y="545"/>
                  <a:pt x="760" y="548"/>
                  <a:pt x="759" y="549"/>
                </a:cubicBezTo>
                <a:cubicBezTo>
                  <a:pt x="759" y="550"/>
                  <a:pt x="760" y="550"/>
                  <a:pt x="761" y="551"/>
                </a:cubicBezTo>
                <a:cubicBezTo>
                  <a:pt x="762" y="551"/>
                  <a:pt x="763" y="551"/>
                  <a:pt x="764" y="550"/>
                </a:cubicBezTo>
                <a:cubicBezTo>
                  <a:pt x="765" y="549"/>
                  <a:pt x="768" y="546"/>
                  <a:pt x="770" y="547"/>
                </a:cubicBezTo>
                <a:cubicBezTo>
                  <a:pt x="770" y="547"/>
                  <a:pt x="768" y="549"/>
                  <a:pt x="768" y="550"/>
                </a:cubicBezTo>
                <a:cubicBezTo>
                  <a:pt x="765" y="552"/>
                  <a:pt x="769" y="552"/>
                  <a:pt x="771" y="552"/>
                </a:cubicBezTo>
                <a:cubicBezTo>
                  <a:pt x="773" y="552"/>
                  <a:pt x="773" y="554"/>
                  <a:pt x="774" y="555"/>
                </a:cubicBezTo>
                <a:cubicBezTo>
                  <a:pt x="777" y="557"/>
                  <a:pt x="777" y="551"/>
                  <a:pt x="777" y="550"/>
                </a:cubicBezTo>
                <a:cubicBezTo>
                  <a:pt x="777" y="549"/>
                  <a:pt x="777" y="547"/>
                  <a:pt x="777" y="546"/>
                </a:cubicBezTo>
                <a:cubicBezTo>
                  <a:pt x="777" y="545"/>
                  <a:pt x="777" y="543"/>
                  <a:pt x="777" y="542"/>
                </a:cubicBezTo>
                <a:cubicBezTo>
                  <a:pt x="776" y="541"/>
                  <a:pt x="775" y="540"/>
                  <a:pt x="774" y="539"/>
                </a:cubicBezTo>
                <a:cubicBezTo>
                  <a:pt x="773" y="538"/>
                  <a:pt x="772" y="537"/>
                  <a:pt x="772" y="536"/>
                </a:cubicBezTo>
                <a:cubicBezTo>
                  <a:pt x="771" y="533"/>
                  <a:pt x="772" y="531"/>
                  <a:pt x="774" y="529"/>
                </a:cubicBezTo>
                <a:cubicBezTo>
                  <a:pt x="776" y="527"/>
                  <a:pt x="779" y="527"/>
                  <a:pt x="782" y="527"/>
                </a:cubicBezTo>
                <a:cubicBezTo>
                  <a:pt x="785" y="527"/>
                  <a:pt x="787" y="527"/>
                  <a:pt x="789" y="525"/>
                </a:cubicBezTo>
                <a:cubicBezTo>
                  <a:pt x="791" y="523"/>
                  <a:pt x="793" y="521"/>
                  <a:pt x="795" y="519"/>
                </a:cubicBezTo>
                <a:cubicBezTo>
                  <a:pt x="798" y="517"/>
                  <a:pt x="800" y="516"/>
                  <a:pt x="803" y="515"/>
                </a:cubicBezTo>
                <a:cubicBezTo>
                  <a:pt x="805" y="514"/>
                  <a:pt x="808" y="512"/>
                  <a:pt x="809" y="510"/>
                </a:cubicBezTo>
                <a:cubicBezTo>
                  <a:pt x="810" y="510"/>
                  <a:pt x="808" y="510"/>
                  <a:pt x="808" y="510"/>
                </a:cubicBezTo>
                <a:cubicBezTo>
                  <a:pt x="807" y="510"/>
                  <a:pt x="806" y="510"/>
                  <a:pt x="806" y="509"/>
                </a:cubicBezTo>
                <a:cubicBezTo>
                  <a:pt x="804" y="507"/>
                  <a:pt x="804" y="504"/>
                  <a:pt x="804" y="501"/>
                </a:cubicBezTo>
                <a:cubicBezTo>
                  <a:pt x="804" y="499"/>
                  <a:pt x="802" y="499"/>
                  <a:pt x="801" y="498"/>
                </a:cubicBezTo>
                <a:cubicBezTo>
                  <a:pt x="799" y="496"/>
                  <a:pt x="796" y="500"/>
                  <a:pt x="797" y="501"/>
                </a:cubicBezTo>
                <a:cubicBezTo>
                  <a:pt x="797" y="502"/>
                  <a:pt x="798" y="503"/>
                  <a:pt x="798" y="503"/>
                </a:cubicBezTo>
                <a:cubicBezTo>
                  <a:pt x="799" y="504"/>
                  <a:pt x="797" y="505"/>
                  <a:pt x="796" y="505"/>
                </a:cubicBezTo>
                <a:cubicBezTo>
                  <a:pt x="795" y="505"/>
                  <a:pt x="790" y="506"/>
                  <a:pt x="789" y="505"/>
                </a:cubicBezTo>
                <a:cubicBezTo>
                  <a:pt x="788" y="504"/>
                  <a:pt x="789" y="500"/>
                  <a:pt x="790" y="499"/>
                </a:cubicBezTo>
                <a:cubicBezTo>
                  <a:pt x="791" y="497"/>
                  <a:pt x="794" y="495"/>
                  <a:pt x="794" y="493"/>
                </a:cubicBezTo>
                <a:cubicBezTo>
                  <a:pt x="794" y="492"/>
                  <a:pt x="793" y="491"/>
                  <a:pt x="794" y="490"/>
                </a:cubicBezTo>
                <a:cubicBezTo>
                  <a:pt x="795" y="490"/>
                  <a:pt x="796" y="490"/>
                  <a:pt x="797" y="491"/>
                </a:cubicBezTo>
                <a:cubicBezTo>
                  <a:pt x="799" y="491"/>
                  <a:pt x="799" y="494"/>
                  <a:pt x="802" y="493"/>
                </a:cubicBezTo>
                <a:cubicBezTo>
                  <a:pt x="804" y="493"/>
                  <a:pt x="806" y="491"/>
                  <a:pt x="808" y="490"/>
                </a:cubicBezTo>
                <a:cubicBezTo>
                  <a:pt x="808" y="489"/>
                  <a:pt x="810" y="488"/>
                  <a:pt x="809" y="488"/>
                </a:cubicBezTo>
                <a:cubicBezTo>
                  <a:pt x="809" y="487"/>
                  <a:pt x="809" y="487"/>
                  <a:pt x="808" y="487"/>
                </a:cubicBezTo>
                <a:cubicBezTo>
                  <a:pt x="808" y="487"/>
                  <a:pt x="808" y="486"/>
                  <a:pt x="807" y="486"/>
                </a:cubicBezTo>
                <a:cubicBezTo>
                  <a:pt x="807" y="484"/>
                  <a:pt x="806" y="481"/>
                  <a:pt x="804" y="482"/>
                </a:cubicBezTo>
                <a:cubicBezTo>
                  <a:pt x="801" y="483"/>
                  <a:pt x="798" y="485"/>
                  <a:pt x="796" y="485"/>
                </a:cubicBezTo>
                <a:cubicBezTo>
                  <a:pt x="793" y="485"/>
                  <a:pt x="792" y="481"/>
                  <a:pt x="791" y="479"/>
                </a:cubicBezTo>
                <a:cubicBezTo>
                  <a:pt x="790" y="478"/>
                  <a:pt x="789" y="477"/>
                  <a:pt x="788" y="477"/>
                </a:cubicBezTo>
                <a:cubicBezTo>
                  <a:pt x="786" y="478"/>
                  <a:pt x="785" y="478"/>
                  <a:pt x="783" y="478"/>
                </a:cubicBezTo>
                <a:cubicBezTo>
                  <a:pt x="782" y="478"/>
                  <a:pt x="780" y="479"/>
                  <a:pt x="779" y="479"/>
                </a:cubicBezTo>
                <a:cubicBezTo>
                  <a:pt x="778" y="478"/>
                  <a:pt x="777" y="477"/>
                  <a:pt x="776" y="477"/>
                </a:cubicBezTo>
                <a:cubicBezTo>
                  <a:pt x="774" y="475"/>
                  <a:pt x="772" y="474"/>
                  <a:pt x="770" y="474"/>
                </a:cubicBezTo>
                <a:cubicBezTo>
                  <a:pt x="768" y="474"/>
                  <a:pt x="762" y="474"/>
                  <a:pt x="763" y="472"/>
                </a:cubicBezTo>
                <a:cubicBezTo>
                  <a:pt x="763" y="469"/>
                  <a:pt x="762" y="469"/>
                  <a:pt x="760" y="468"/>
                </a:cubicBezTo>
                <a:cubicBezTo>
                  <a:pt x="758" y="466"/>
                  <a:pt x="756" y="463"/>
                  <a:pt x="756" y="461"/>
                </a:cubicBezTo>
                <a:cubicBezTo>
                  <a:pt x="757" y="455"/>
                  <a:pt x="762" y="452"/>
                  <a:pt x="766" y="449"/>
                </a:cubicBezTo>
                <a:cubicBezTo>
                  <a:pt x="766" y="448"/>
                  <a:pt x="767" y="447"/>
                  <a:pt x="767" y="446"/>
                </a:cubicBezTo>
                <a:cubicBezTo>
                  <a:pt x="767" y="445"/>
                  <a:pt x="765" y="447"/>
                  <a:pt x="764" y="447"/>
                </a:cubicBezTo>
                <a:cubicBezTo>
                  <a:pt x="762" y="449"/>
                  <a:pt x="760" y="448"/>
                  <a:pt x="758" y="446"/>
                </a:cubicBezTo>
                <a:cubicBezTo>
                  <a:pt x="756" y="444"/>
                  <a:pt x="756" y="442"/>
                  <a:pt x="757" y="439"/>
                </a:cubicBezTo>
                <a:cubicBezTo>
                  <a:pt x="758" y="438"/>
                  <a:pt x="759" y="437"/>
                  <a:pt x="759" y="436"/>
                </a:cubicBezTo>
                <a:cubicBezTo>
                  <a:pt x="759" y="435"/>
                  <a:pt x="758" y="434"/>
                  <a:pt x="758" y="434"/>
                </a:cubicBezTo>
                <a:cubicBezTo>
                  <a:pt x="757" y="433"/>
                  <a:pt x="758" y="432"/>
                  <a:pt x="758" y="431"/>
                </a:cubicBezTo>
                <a:cubicBezTo>
                  <a:pt x="757" y="430"/>
                  <a:pt x="757" y="429"/>
                  <a:pt x="758" y="428"/>
                </a:cubicBezTo>
                <a:cubicBezTo>
                  <a:pt x="759" y="428"/>
                  <a:pt x="760" y="427"/>
                  <a:pt x="760" y="427"/>
                </a:cubicBezTo>
                <a:cubicBezTo>
                  <a:pt x="761" y="426"/>
                  <a:pt x="762" y="426"/>
                  <a:pt x="763" y="426"/>
                </a:cubicBezTo>
                <a:cubicBezTo>
                  <a:pt x="765" y="427"/>
                  <a:pt x="766" y="428"/>
                  <a:pt x="768" y="429"/>
                </a:cubicBezTo>
                <a:cubicBezTo>
                  <a:pt x="770" y="430"/>
                  <a:pt x="774" y="429"/>
                  <a:pt x="774" y="427"/>
                </a:cubicBezTo>
                <a:cubicBezTo>
                  <a:pt x="774" y="426"/>
                  <a:pt x="774" y="425"/>
                  <a:pt x="774" y="424"/>
                </a:cubicBezTo>
                <a:cubicBezTo>
                  <a:pt x="775" y="423"/>
                  <a:pt x="775" y="423"/>
                  <a:pt x="775" y="422"/>
                </a:cubicBezTo>
                <a:cubicBezTo>
                  <a:pt x="775" y="421"/>
                  <a:pt x="773" y="421"/>
                  <a:pt x="772" y="421"/>
                </a:cubicBezTo>
                <a:cubicBezTo>
                  <a:pt x="770" y="421"/>
                  <a:pt x="769" y="421"/>
                  <a:pt x="768" y="421"/>
                </a:cubicBezTo>
                <a:cubicBezTo>
                  <a:pt x="766" y="420"/>
                  <a:pt x="768" y="418"/>
                  <a:pt x="769" y="418"/>
                </a:cubicBezTo>
                <a:cubicBezTo>
                  <a:pt x="771" y="417"/>
                  <a:pt x="774" y="417"/>
                  <a:pt x="776" y="416"/>
                </a:cubicBezTo>
                <a:cubicBezTo>
                  <a:pt x="777" y="416"/>
                  <a:pt x="777" y="415"/>
                  <a:pt x="778" y="414"/>
                </a:cubicBezTo>
                <a:cubicBezTo>
                  <a:pt x="779" y="413"/>
                  <a:pt x="780" y="412"/>
                  <a:pt x="782" y="412"/>
                </a:cubicBezTo>
                <a:cubicBezTo>
                  <a:pt x="783" y="412"/>
                  <a:pt x="784" y="412"/>
                  <a:pt x="786" y="412"/>
                </a:cubicBezTo>
                <a:cubicBezTo>
                  <a:pt x="787" y="412"/>
                  <a:pt x="788" y="413"/>
                  <a:pt x="789" y="414"/>
                </a:cubicBezTo>
                <a:cubicBezTo>
                  <a:pt x="790" y="414"/>
                  <a:pt x="790" y="414"/>
                  <a:pt x="791" y="415"/>
                </a:cubicBezTo>
                <a:cubicBezTo>
                  <a:pt x="791" y="416"/>
                  <a:pt x="793" y="417"/>
                  <a:pt x="794" y="416"/>
                </a:cubicBezTo>
                <a:cubicBezTo>
                  <a:pt x="794" y="416"/>
                  <a:pt x="795" y="415"/>
                  <a:pt x="796" y="414"/>
                </a:cubicBezTo>
                <a:cubicBezTo>
                  <a:pt x="797" y="414"/>
                  <a:pt x="798" y="414"/>
                  <a:pt x="799" y="414"/>
                </a:cubicBezTo>
                <a:cubicBezTo>
                  <a:pt x="800" y="414"/>
                  <a:pt x="801" y="413"/>
                  <a:pt x="802" y="414"/>
                </a:cubicBezTo>
                <a:cubicBezTo>
                  <a:pt x="803" y="415"/>
                  <a:pt x="802" y="417"/>
                  <a:pt x="803" y="418"/>
                </a:cubicBezTo>
                <a:cubicBezTo>
                  <a:pt x="804" y="418"/>
                  <a:pt x="805" y="419"/>
                  <a:pt x="805" y="419"/>
                </a:cubicBezTo>
                <a:cubicBezTo>
                  <a:pt x="806" y="420"/>
                  <a:pt x="807" y="421"/>
                  <a:pt x="808" y="422"/>
                </a:cubicBezTo>
                <a:cubicBezTo>
                  <a:pt x="809" y="423"/>
                  <a:pt x="810" y="424"/>
                  <a:pt x="811" y="424"/>
                </a:cubicBezTo>
                <a:cubicBezTo>
                  <a:pt x="812" y="425"/>
                  <a:pt x="813" y="426"/>
                  <a:pt x="814" y="427"/>
                </a:cubicBezTo>
                <a:cubicBezTo>
                  <a:pt x="816" y="428"/>
                  <a:pt x="816" y="430"/>
                  <a:pt x="816" y="432"/>
                </a:cubicBezTo>
                <a:cubicBezTo>
                  <a:pt x="816" y="434"/>
                  <a:pt x="816" y="437"/>
                  <a:pt x="815" y="439"/>
                </a:cubicBezTo>
                <a:cubicBezTo>
                  <a:pt x="815" y="440"/>
                  <a:pt x="814" y="441"/>
                  <a:pt x="815" y="442"/>
                </a:cubicBezTo>
                <a:cubicBezTo>
                  <a:pt x="815" y="443"/>
                  <a:pt x="816" y="443"/>
                  <a:pt x="817" y="443"/>
                </a:cubicBezTo>
                <a:cubicBezTo>
                  <a:pt x="818" y="444"/>
                  <a:pt x="819" y="444"/>
                  <a:pt x="820" y="445"/>
                </a:cubicBezTo>
                <a:cubicBezTo>
                  <a:pt x="821" y="446"/>
                  <a:pt x="821" y="447"/>
                  <a:pt x="823" y="448"/>
                </a:cubicBezTo>
                <a:cubicBezTo>
                  <a:pt x="825" y="449"/>
                  <a:pt x="827" y="449"/>
                  <a:pt x="829" y="451"/>
                </a:cubicBezTo>
                <a:cubicBezTo>
                  <a:pt x="830" y="452"/>
                  <a:pt x="831" y="455"/>
                  <a:pt x="831" y="457"/>
                </a:cubicBezTo>
                <a:cubicBezTo>
                  <a:pt x="832" y="458"/>
                  <a:pt x="833" y="460"/>
                  <a:pt x="834" y="459"/>
                </a:cubicBezTo>
                <a:cubicBezTo>
                  <a:pt x="835" y="458"/>
                  <a:pt x="836" y="458"/>
                  <a:pt x="836" y="458"/>
                </a:cubicBezTo>
                <a:cubicBezTo>
                  <a:pt x="837" y="459"/>
                  <a:pt x="837" y="460"/>
                  <a:pt x="837" y="461"/>
                </a:cubicBezTo>
                <a:cubicBezTo>
                  <a:pt x="838" y="465"/>
                  <a:pt x="833" y="465"/>
                  <a:pt x="830" y="463"/>
                </a:cubicBezTo>
                <a:cubicBezTo>
                  <a:pt x="828" y="461"/>
                  <a:pt x="827" y="459"/>
                  <a:pt x="824" y="461"/>
                </a:cubicBezTo>
                <a:cubicBezTo>
                  <a:pt x="824" y="462"/>
                  <a:pt x="820" y="466"/>
                  <a:pt x="823" y="467"/>
                </a:cubicBezTo>
                <a:cubicBezTo>
                  <a:pt x="823" y="467"/>
                  <a:pt x="824" y="467"/>
                  <a:pt x="825" y="467"/>
                </a:cubicBezTo>
                <a:cubicBezTo>
                  <a:pt x="826" y="467"/>
                  <a:pt x="827" y="467"/>
                  <a:pt x="828" y="466"/>
                </a:cubicBezTo>
                <a:cubicBezTo>
                  <a:pt x="829" y="466"/>
                  <a:pt x="830" y="466"/>
                  <a:pt x="831" y="467"/>
                </a:cubicBezTo>
                <a:cubicBezTo>
                  <a:pt x="831" y="468"/>
                  <a:pt x="830" y="469"/>
                  <a:pt x="829" y="469"/>
                </a:cubicBezTo>
                <a:cubicBezTo>
                  <a:pt x="827" y="470"/>
                  <a:pt x="825" y="472"/>
                  <a:pt x="822" y="473"/>
                </a:cubicBezTo>
                <a:cubicBezTo>
                  <a:pt x="821" y="474"/>
                  <a:pt x="816" y="476"/>
                  <a:pt x="816" y="478"/>
                </a:cubicBezTo>
                <a:cubicBezTo>
                  <a:pt x="817" y="480"/>
                  <a:pt x="821" y="479"/>
                  <a:pt x="822" y="478"/>
                </a:cubicBezTo>
                <a:cubicBezTo>
                  <a:pt x="825" y="478"/>
                  <a:pt x="828" y="478"/>
                  <a:pt x="830" y="480"/>
                </a:cubicBezTo>
                <a:cubicBezTo>
                  <a:pt x="832" y="482"/>
                  <a:pt x="834" y="483"/>
                  <a:pt x="835" y="483"/>
                </a:cubicBezTo>
                <a:cubicBezTo>
                  <a:pt x="838" y="483"/>
                  <a:pt x="839" y="480"/>
                  <a:pt x="841" y="479"/>
                </a:cubicBezTo>
                <a:cubicBezTo>
                  <a:pt x="842" y="479"/>
                  <a:pt x="843" y="479"/>
                  <a:pt x="843" y="479"/>
                </a:cubicBezTo>
                <a:cubicBezTo>
                  <a:pt x="844" y="479"/>
                  <a:pt x="844" y="480"/>
                  <a:pt x="843" y="480"/>
                </a:cubicBezTo>
                <a:cubicBezTo>
                  <a:pt x="843" y="481"/>
                  <a:pt x="840" y="482"/>
                  <a:pt x="840" y="483"/>
                </a:cubicBezTo>
                <a:cubicBezTo>
                  <a:pt x="841" y="484"/>
                  <a:pt x="842" y="483"/>
                  <a:pt x="842" y="483"/>
                </a:cubicBezTo>
                <a:cubicBezTo>
                  <a:pt x="844" y="482"/>
                  <a:pt x="845" y="482"/>
                  <a:pt x="846" y="482"/>
                </a:cubicBezTo>
                <a:cubicBezTo>
                  <a:pt x="847" y="482"/>
                  <a:pt x="849" y="483"/>
                  <a:pt x="850" y="484"/>
                </a:cubicBezTo>
                <a:cubicBezTo>
                  <a:pt x="851" y="484"/>
                  <a:pt x="853" y="484"/>
                  <a:pt x="854" y="485"/>
                </a:cubicBezTo>
                <a:cubicBezTo>
                  <a:pt x="854" y="486"/>
                  <a:pt x="853" y="488"/>
                  <a:pt x="852" y="489"/>
                </a:cubicBezTo>
                <a:cubicBezTo>
                  <a:pt x="852" y="490"/>
                  <a:pt x="851" y="490"/>
                  <a:pt x="850" y="490"/>
                </a:cubicBezTo>
                <a:cubicBezTo>
                  <a:pt x="850" y="490"/>
                  <a:pt x="850" y="488"/>
                  <a:pt x="850" y="488"/>
                </a:cubicBezTo>
                <a:cubicBezTo>
                  <a:pt x="850" y="487"/>
                  <a:pt x="849" y="487"/>
                  <a:pt x="849" y="487"/>
                </a:cubicBezTo>
                <a:cubicBezTo>
                  <a:pt x="848" y="488"/>
                  <a:pt x="848" y="489"/>
                  <a:pt x="847" y="489"/>
                </a:cubicBezTo>
                <a:cubicBezTo>
                  <a:pt x="846" y="489"/>
                  <a:pt x="843" y="486"/>
                  <a:pt x="842" y="488"/>
                </a:cubicBezTo>
                <a:cubicBezTo>
                  <a:pt x="841" y="489"/>
                  <a:pt x="844" y="491"/>
                  <a:pt x="845" y="491"/>
                </a:cubicBezTo>
                <a:cubicBezTo>
                  <a:pt x="848" y="492"/>
                  <a:pt x="850" y="494"/>
                  <a:pt x="852" y="495"/>
                </a:cubicBezTo>
                <a:cubicBezTo>
                  <a:pt x="854" y="495"/>
                  <a:pt x="856" y="497"/>
                  <a:pt x="857" y="499"/>
                </a:cubicBezTo>
                <a:cubicBezTo>
                  <a:pt x="858" y="500"/>
                  <a:pt x="858" y="501"/>
                  <a:pt x="858" y="502"/>
                </a:cubicBezTo>
                <a:cubicBezTo>
                  <a:pt x="857" y="503"/>
                  <a:pt x="855" y="504"/>
                  <a:pt x="857" y="505"/>
                </a:cubicBezTo>
                <a:cubicBezTo>
                  <a:pt x="858" y="506"/>
                  <a:pt x="858" y="509"/>
                  <a:pt x="858" y="511"/>
                </a:cubicBezTo>
                <a:cubicBezTo>
                  <a:pt x="857" y="512"/>
                  <a:pt x="857" y="512"/>
                  <a:pt x="856" y="514"/>
                </a:cubicBezTo>
                <a:cubicBezTo>
                  <a:pt x="856" y="514"/>
                  <a:pt x="857" y="516"/>
                  <a:pt x="857" y="516"/>
                </a:cubicBezTo>
                <a:cubicBezTo>
                  <a:pt x="859" y="518"/>
                  <a:pt x="860" y="521"/>
                  <a:pt x="863" y="521"/>
                </a:cubicBezTo>
                <a:cubicBezTo>
                  <a:pt x="866" y="520"/>
                  <a:pt x="866" y="517"/>
                  <a:pt x="867" y="516"/>
                </a:cubicBezTo>
                <a:cubicBezTo>
                  <a:pt x="868" y="515"/>
                  <a:pt x="869" y="514"/>
                  <a:pt x="869" y="513"/>
                </a:cubicBezTo>
                <a:cubicBezTo>
                  <a:pt x="869" y="512"/>
                  <a:pt x="869" y="511"/>
                  <a:pt x="870" y="510"/>
                </a:cubicBezTo>
                <a:cubicBezTo>
                  <a:pt x="871" y="510"/>
                  <a:pt x="872" y="509"/>
                  <a:pt x="872" y="508"/>
                </a:cubicBezTo>
                <a:cubicBezTo>
                  <a:pt x="873" y="507"/>
                  <a:pt x="873" y="506"/>
                  <a:pt x="872" y="505"/>
                </a:cubicBezTo>
                <a:cubicBezTo>
                  <a:pt x="872" y="502"/>
                  <a:pt x="872" y="500"/>
                  <a:pt x="874" y="497"/>
                </a:cubicBezTo>
                <a:cubicBezTo>
                  <a:pt x="875" y="495"/>
                  <a:pt x="877" y="493"/>
                  <a:pt x="879" y="492"/>
                </a:cubicBezTo>
                <a:cubicBezTo>
                  <a:pt x="881" y="492"/>
                  <a:pt x="882" y="491"/>
                  <a:pt x="883" y="491"/>
                </a:cubicBezTo>
                <a:cubicBezTo>
                  <a:pt x="884" y="491"/>
                  <a:pt x="885" y="492"/>
                  <a:pt x="886" y="493"/>
                </a:cubicBezTo>
                <a:cubicBezTo>
                  <a:pt x="888" y="495"/>
                  <a:pt x="889" y="497"/>
                  <a:pt x="892" y="499"/>
                </a:cubicBezTo>
                <a:cubicBezTo>
                  <a:pt x="894" y="500"/>
                  <a:pt x="896" y="502"/>
                  <a:pt x="898" y="504"/>
                </a:cubicBezTo>
                <a:cubicBezTo>
                  <a:pt x="900" y="505"/>
                  <a:pt x="901" y="508"/>
                  <a:pt x="902" y="510"/>
                </a:cubicBezTo>
                <a:cubicBezTo>
                  <a:pt x="902" y="511"/>
                  <a:pt x="902" y="513"/>
                  <a:pt x="903" y="514"/>
                </a:cubicBezTo>
                <a:cubicBezTo>
                  <a:pt x="903" y="515"/>
                  <a:pt x="903" y="516"/>
                  <a:pt x="903" y="517"/>
                </a:cubicBezTo>
                <a:cubicBezTo>
                  <a:pt x="903" y="519"/>
                  <a:pt x="900" y="521"/>
                  <a:pt x="899" y="520"/>
                </a:cubicBezTo>
                <a:cubicBezTo>
                  <a:pt x="899" y="519"/>
                  <a:pt x="899" y="518"/>
                  <a:pt x="898" y="517"/>
                </a:cubicBezTo>
                <a:cubicBezTo>
                  <a:pt x="897" y="516"/>
                  <a:pt x="896" y="517"/>
                  <a:pt x="895" y="517"/>
                </a:cubicBezTo>
                <a:cubicBezTo>
                  <a:pt x="893" y="519"/>
                  <a:pt x="894" y="521"/>
                  <a:pt x="895" y="523"/>
                </a:cubicBezTo>
                <a:cubicBezTo>
                  <a:pt x="895" y="525"/>
                  <a:pt x="894" y="526"/>
                  <a:pt x="894" y="527"/>
                </a:cubicBezTo>
                <a:cubicBezTo>
                  <a:pt x="894" y="528"/>
                  <a:pt x="894" y="530"/>
                  <a:pt x="894" y="531"/>
                </a:cubicBezTo>
                <a:cubicBezTo>
                  <a:pt x="895" y="533"/>
                  <a:pt x="896" y="536"/>
                  <a:pt x="898" y="537"/>
                </a:cubicBezTo>
                <a:cubicBezTo>
                  <a:pt x="900" y="541"/>
                  <a:pt x="904" y="542"/>
                  <a:pt x="907" y="545"/>
                </a:cubicBezTo>
                <a:cubicBezTo>
                  <a:pt x="909" y="546"/>
                  <a:pt x="910" y="548"/>
                  <a:pt x="910" y="550"/>
                </a:cubicBezTo>
                <a:cubicBezTo>
                  <a:pt x="910" y="551"/>
                  <a:pt x="911" y="553"/>
                  <a:pt x="911" y="553"/>
                </a:cubicBezTo>
                <a:cubicBezTo>
                  <a:pt x="912" y="554"/>
                  <a:pt x="913" y="554"/>
                  <a:pt x="914" y="553"/>
                </a:cubicBezTo>
                <a:cubicBezTo>
                  <a:pt x="914" y="552"/>
                  <a:pt x="915" y="551"/>
                  <a:pt x="916" y="551"/>
                </a:cubicBezTo>
                <a:cubicBezTo>
                  <a:pt x="917" y="551"/>
                  <a:pt x="918" y="551"/>
                  <a:pt x="918" y="550"/>
                </a:cubicBezTo>
                <a:cubicBezTo>
                  <a:pt x="918" y="549"/>
                  <a:pt x="918" y="548"/>
                  <a:pt x="918" y="547"/>
                </a:cubicBezTo>
                <a:cubicBezTo>
                  <a:pt x="919" y="546"/>
                  <a:pt x="920" y="545"/>
                  <a:pt x="921" y="546"/>
                </a:cubicBezTo>
                <a:cubicBezTo>
                  <a:pt x="923" y="546"/>
                  <a:pt x="924" y="548"/>
                  <a:pt x="926" y="547"/>
                </a:cubicBezTo>
                <a:cubicBezTo>
                  <a:pt x="927" y="546"/>
                  <a:pt x="927" y="544"/>
                  <a:pt x="926" y="542"/>
                </a:cubicBezTo>
                <a:cubicBezTo>
                  <a:pt x="926" y="540"/>
                  <a:pt x="926" y="539"/>
                  <a:pt x="927" y="537"/>
                </a:cubicBezTo>
                <a:cubicBezTo>
                  <a:pt x="927" y="536"/>
                  <a:pt x="929" y="535"/>
                  <a:pt x="929" y="534"/>
                </a:cubicBezTo>
                <a:cubicBezTo>
                  <a:pt x="930" y="533"/>
                  <a:pt x="930" y="532"/>
                  <a:pt x="932" y="531"/>
                </a:cubicBezTo>
                <a:cubicBezTo>
                  <a:pt x="933" y="530"/>
                  <a:pt x="934" y="529"/>
                  <a:pt x="935" y="528"/>
                </a:cubicBezTo>
                <a:cubicBezTo>
                  <a:pt x="936" y="528"/>
                  <a:pt x="937" y="527"/>
                  <a:pt x="937" y="526"/>
                </a:cubicBezTo>
                <a:cubicBezTo>
                  <a:pt x="938" y="524"/>
                  <a:pt x="937" y="521"/>
                  <a:pt x="939" y="519"/>
                </a:cubicBezTo>
                <a:cubicBezTo>
                  <a:pt x="941" y="517"/>
                  <a:pt x="941" y="514"/>
                  <a:pt x="940" y="512"/>
                </a:cubicBezTo>
                <a:cubicBezTo>
                  <a:pt x="940" y="510"/>
                  <a:pt x="940" y="507"/>
                  <a:pt x="943" y="506"/>
                </a:cubicBezTo>
                <a:cubicBezTo>
                  <a:pt x="945" y="506"/>
                  <a:pt x="947" y="508"/>
                  <a:pt x="949" y="507"/>
                </a:cubicBezTo>
                <a:cubicBezTo>
                  <a:pt x="950" y="506"/>
                  <a:pt x="951" y="506"/>
                  <a:pt x="953" y="507"/>
                </a:cubicBezTo>
                <a:cubicBezTo>
                  <a:pt x="953" y="507"/>
                  <a:pt x="956" y="507"/>
                  <a:pt x="956" y="506"/>
                </a:cubicBezTo>
                <a:cubicBezTo>
                  <a:pt x="956" y="505"/>
                  <a:pt x="956" y="504"/>
                  <a:pt x="955" y="504"/>
                </a:cubicBezTo>
                <a:cubicBezTo>
                  <a:pt x="955" y="503"/>
                  <a:pt x="954" y="503"/>
                  <a:pt x="953" y="503"/>
                </a:cubicBezTo>
                <a:cubicBezTo>
                  <a:pt x="951" y="503"/>
                  <a:pt x="949" y="501"/>
                  <a:pt x="952" y="501"/>
                </a:cubicBezTo>
                <a:cubicBezTo>
                  <a:pt x="954" y="501"/>
                  <a:pt x="954" y="501"/>
                  <a:pt x="955" y="500"/>
                </a:cubicBezTo>
                <a:cubicBezTo>
                  <a:pt x="956" y="499"/>
                  <a:pt x="958" y="499"/>
                  <a:pt x="959" y="499"/>
                </a:cubicBezTo>
                <a:cubicBezTo>
                  <a:pt x="961" y="498"/>
                  <a:pt x="958" y="497"/>
                  <a:pt x="957" y="496"/>
                </a:cubicBezTo>
                <a:cubicBezTo>
                  <a:pt x="956" y="496"/>
                  <a:pt x="955" y="496"/>
                  <a:pt x="954" y="496"/>
                </a:cubicBezTo>
                <a:cubicBezTo>
                  <a:pt x="953" y="495"/>
                  <a:pt x="953" y="494"/>
                  <a:pt x="952" y="493"/>
                </a:cubicBezTo>
                <a:cubicBezTo>
                  <a:pt x="951" y="492"/>
                  <a:pt x="949" y="492"/>
                  <a:pt x="947" y="491"/>
                </a:cubicBezTo>
                <a:cubicBezTo>
                  <a:pt x="944" y="490"/>
                  <a:pt x="945" y="487"/>
                  <a:pt x="945" y="484"/>
                </a:cubicBezTo>
                <a:cubicBezTo>
                  <a:pt x="945" y="484"/>
                  <a:pt x="944" y="483"/>
                  <a:pt x="944" y="483"/>
                </a:cubicBezTo>
                <a:cubicBezTo>
                  <a:pt x="944" y="482"/>
                  <a:pt x="944" y="482"/>
                  <a:pt x="944" y="481"/>
                </a:cubicBezTo>
                <a:cubicBezTo>
                  <a:pt x="944" y="480"/>
                  <a:pt x="944" y="479"/>
                  <a:pt x="944" y="478"/>
                </a:cubicBezTo>
                <a:cubicBezTo>
                  <a:pt x="945" y="475"/>
                  <a:pt x="948" y="476"/>
                  <a:pt x="951" y="476"/>
                </a:cubicBezTo>
                <a:cubicBezTo>
                  <a:pt x="953" y="476"/>
                  <a:pt x="955" y="474"/>
                  <a:pt x="958" y="474"/>
                </a:cubicBezTo>
                <a:cubicBezTo>
                  <a:pt x="961" y="473"/>
                  <a:pt x="963" y="473"/>
                  <a:pt x="966" y="475"/>
                </a:cubicBezTo>
                <a:cubicBezTo>
                  <a:pt x="971" y="478"/>
                  <a:pt x="976" y="478"/>
                  <a:pt x="982" y="478"/>
                </a:cubicBezTo>
                <a:cubicBezTo>
                  <a:pt x="985" y="478"/>
                  <a:pt x="988" y="478"/>
                  <a:pt x="991" y="478"/>
                </a:cubicBezTo>
                <a:cubicBezTo>
                  <a:pt x="991" y="478"/>
                  <a:pt x="996" y="478"/>
                  <a:pt x="996" y="479"/>
                </a:cubicBezTo>
                <a:cubicBezTo>
                  <a:pt x="995" y="480"/>
                  <a:pt x="993" y="479"/>
                  <a:pt x="993" y="480"/>
                </a:cubicBezTo>
                <a:cubicBezTo>
                  <a:pt x="992" y="480"/>
                  <a:pt x="993" y="481"/>
                  <a:pt x="993" y="481"/>
                </a:cubicBezTo>
                <a:cubicBezTo>
                  <a:pt x="992" y="484"/>
                  <a:pt x="987" y="482"/>
                  <a:pt x="986" y="482"/>
                </a:cubicBezTo>
                <a:cubicBezTo>
                  <a:pt x="985" y="482"/>
                  <a:pt x="981" y="480"/>
                  <a:pt x="981" y="482"/>
                </a:cubicBezTo>
                <a:cubicBezTo>
                  <a:pt x="981" y="484"/>
                  <a:pt x="984" y="483"/>
                  <a:pt x="985" y="484"/>
                </a:cubicBezTo>
                <a:cubicBezTo>
                  <a:pt x="988" y="484"/>
                  <a:pt x="991" y="485"/>
                  <a:pt x="994" y="486"/>
                </a:cubicBezTo>
                <a:cubicBezTo>
                  <a:pt x="997" y="486"/>
                  <a:pt x="998" y="486"/>
                  <a:pt x="999" y="489"/>
                </a:cubicBezTo>
                <a:cubicBezTo>
                  <a:pt x="1000" y="491"/>
                  <a:pt x="1002" y="491"/>
                  <a:pt x="1004" y="491"/>
                </a:cubicBezTo>
                <a:cubicBezTo>
                  <a:pt x="1005" y="491"/>
                  <a:pt x="1007" y="491"/>
                  <a:pt x="1008" y="491"/>
                </a:cubicBezTo>
                <a:cubicBezTo>
                  <a:pt x="1009" y="492"/>
                  <a:pt x="1011" y="493"/>
                  <a:pt x="1012" y="493"/>
                </a:cubicBezTo>
                <a:cubicBezTo>
                  <a:pt x="1014" y="493"/>
                  <a:pt x="1014" y="495"/>
                  <a:pt x="1013" y="497"/>
                </a:cubicBezTo>
                <a:cubicBezTo>
                  <a:pt x="1011" y="499"/>
                  <a:pt x="1010" y="500"/>
                  <a:pt x="1009" y="503"/>
                </a:cubicBezTo>
                <a:cubicBezTo>
                  <a:pt x="1009" y="504"/>
                  <a:pt x="1013" y="503"/>
                  <a:pt x="1014" y="503"/>
                </a:cubicBezTo>
                <a:cubicBezTo>
                  <a:pt x="1015" y="504"/>
                  <a:pt x="1015" y="508"/>
                  <a:pt x="1014" y="509"/>
                </a:cubicBezTo>
                <a:cubicBezTo>
                  <a:pt x="1012" y="510"/>
                  <a:pt x="1009" y="510"/>
                  <a:pt x="1007" y="511"/>
                </a:cubicBezTo>
                <a:cubicBezTo>
                  <a:pt x="1006" y="512"/>
                  <a:pt x="1005" y="512"/>
                  <a:pt x="1003" y="513"/>
                </a:cubicBezTo>
                <a:cubicBezTo>
                  <a:pt x="1002" y="513"/>
                  <a:pt x="1000" y="513"/>
                  <a:pt x="999" y="513"/>
                </a:cubicBezTo>
                <a:cubicBezTo>
                  <a:pt x="997" y="512"/>
                  <a:pt x="995" y="511"/>
                  <a:pt x="993" y="511"/>
                </a:cubicBezTo>
                <a:cubicBezTo>
                  <a:pt x="992" y="512"/>
                  <a:pt x="991" y="515"/>
                  <a:pt x="992" y="516"/>
                </a:cubicBezTo>
                <a:cubicBezTo>
                  <a:pt x="993" y="516"/>
                  <a:pt x="994" y="516"/>
                  <a:pt x="995" y="516"/>
                </a:cubicBezTo>
                <a:cubicBezTo>
                  <a:pt x="995" y="517"/>
                  <a:pt x="995" y="518"/>
                  <a:pt x="995" y="518"/>
                </a:cubicBezTo>
                <a:cubicBezTo>
                  <a:pt x="995" y="519"/>
                  <a:pt x="995" y="520"/>
                  <a:pt x="995" y="520"/>
                </a:cubicBezTo>
                <a:cubicBezTo>
                  <a:pt x="996" y="521"/>
                  <a:pt x="996" y="521"/>
                  <a:pt x="996" y="521"/>
                </a:cubicBezTo>
                <a:cubicBezTo>
                  <a:pt x="997" y="521"/>
                  <a:pt x="996" y="522"/>
                  <a:pt x="996" y="522"/>
                </a:cubicBezTo>
                <a:cubicBezTo>
                  <a:pt x="996" y="523"/>
                  <a:pt x="997" y="524"/>
                  <a:pt x="998" y="525"/>
                </a:cubicBezTo>
                <a:cubicBezTo>
                  <a:pt x="998" y="525"/>
                  <a:pt x="1000" y="524"/>
                  <a:pt x="1001" y="525"/>
                </a:cubicBezTo>
                <a:cubicBezTo>
                  <a:pt x="1001" y="525"/>
                  <a:pt x="1000" y="526"/>
                  <a:pt x="1000" y="527"/>
                </a:cubicBezTo>
                <a:cubicBezTo>
                  <a:pt x="1000" y="528"/>
                  <a:pt x="1000" y="529"/>
                  <a:pt x="1000" y="530"/>
                </a:cubicBezTo>
                <a:cubicBezTo>
                  <a:pt x="1001" y="532"/>
                  <a:pt x="1003" y="534"/>
                  <a:pt x="1005" y="536"/>
                </a:cubicBezTo>
                <a:cubicBezTo>
                  <a:pt x="1007" y="537"/>
                  <a:pt x="1009" y="539"/>
                  <a:pt x="1011" y="541"/>
                </a:cubicBezTo>
                <a:cubicBezTo>
                  <a:pt x="1013" y="542"/>
                  <a:pt x="1015" y="543"/>
                  <a:pt x="1015" y="545"/>
                </a:cubicBezTo>
                <a:cubicBezTo>
                  <a:pt x="1015" y="546"/>
                  <a:pt x="1014" y="547"/>
                  <a:pt x="1013" y="548"/>
                </a:cubicBezTo>
                <a:cubicBezTo>
                  <a:pt x="1012" y="550"/>
                  <a:pt x="1012" y="551"/>
                  <a:pt x="1012" y="552"/>
                </a:cubicBezTo>
                <a:cubicBezTo>
                  <a:pt x="1011" y="558"/>
                  <a:pt x="1006" y="556"/>
                  <a:pt x="1003" y="559"/>
                </a:cubicBezTo>
                <a:cubicBezTo>
                  <a:pt x="1001" y="561"/>
                  <a:pt x="1000" y="563"/>
                  <a:pt x="998" y="564"/>
                </a:cubicBezTo>
                <a:cubicBezTo>
                  <a:pt x="996" y="566"/>
                  <a:pt x="993" y="566"/>
                  <a:pt x="991" y="568"/>
                </a:cubicBezTo>
                <a:cubicBezTo>
                  <a:pt x="986" y="572"/>
                  <a:pt x="982" y="576"/>
                  <a:pt x="976" y="572"/>
                </a:cubicBezTo>
                <a:cubicBezTo>
                  <a:pt x="974" y="571"/>
                  <a:pt x="972" y="570"/>
                  <a:pt x="971" y="568"/>
                </a:cubicBezTo>
                <a:cubicBezTo>
                  <a:pt x="969" y="566"/>
                  <a:pt x="971" y="563"/>
                  <a:pt x="972" y="561"/>
                </a:cubicBezTo>
                <a:cubicBezTo>
                  <a:pt x="972" y="560"/>
                  <a:pt x="972" y="559"/>
                  <a:pt x="971" y="559"/>
                </a:cubicBezTo>
                <a:cubicBezTo>
                  <a:pt x="970" y="559"/>
                  <a:pt x="969" y="561"/>
                  <a:pt x="969" y="561"/>
                </a:cubicBezTo>
                <a:cubicBezTo>
                  <a:pt x="969" y="562"/>
                  <a:pt x="968" y="563"/>
                  <a:pt x="967" y="564"/>
                </a:cubicBezTo>
                <a:cubicBezTo>
                  <a:pt x="965" y="564"/>
                  <a:pt x="964" y="563"/>
                  <a:pt x="964" y="562"/>
                </a:cubicBezTo>
                <a:cubicBezTo>
                  <a:pt x="963" y="561"/>
                  <a:pt x="962" y="560"/>
                  <a:pt x="962" y="559"/>
                </a:cubicBezTo>
                <a:cubicBezTo>
                  <a:pt x="961" y="558"/>
                  <a:pt x="961" y="557"/>
                  <a:pt x="960" y="556"/>
                </a:cubicBezTo>
                <a:cubicBezTo>
                  <a:pt x="960" y="556"/>
                  <a:pt x="959" y="556"/>
                  <a:pt x="958" y="556"/>
                </a:cubicBezTo>
                <a:cubicBezTo>
                  <a:pt x="956" y="555"/>
                  <a:pt x="955" y="555"/>
                  <a:pt x="954" y="554"/>
                </a:cubicBezTo>
                <a:cubicBezTo>
                  <a:pt x="951" y="553"/>
                  <a:pt x="950" y="556"/>
                  <a:pt x="953" y="556"/>
                </a:cubicBezTo>
                <a:cubicBezTo>
                  <a:pt x="954" y="556"/>
                  <a:pt x="954" y="557"/>
                  <a:pt x="954" y="557"/>
                </a:cubicBezTo>
                <a:cubicBezTo>
                  <a:pt x="954" y="559"/>
                  <a:pt x="953" y="559"/>
                  <a:pt x="952" y="559"/>
                </a:cubicBezTo>
                <a:cubicBezTo>
                  <a:pt x="951" y="559"/>
                  <a:pt x="948" y="560"/>
                  <a:pt x="948" y="561"/>
                </a:cubicBezTo>
                <a:cubicBezTo>
                  <a:pt x="949" y="562"/>
                  <a:pt x="952" y="562"/>
                  <a:pt x="952" y="561"/>
                </a:cubicBezTo>
                <a:cubicBezTo>
                  <a:pt x="954" y="560"/>
                  <a:pt x="956" y="559"/>
                  <a:pt x="959" y="561"/>
                </a:cubicBezTo>
                <a:cubicBezTo>
                  <a:pt x="959" y="561"/>
                  <a:pt x="959" y="563"/>
                  <a:pt x="959" y="564"/>
                </a:cubicBezTo>
                <a:cubicBezTo>
                  <a:pt x="960" y="565"/>
                  <a:pt x="961" y="566"/>
                  <a:pt x="962" y="566"/>
                </a:cubicBezTo>
                <a:cubicBezTo>
                  <a:pt x="963" y="567"/>
                  <a:pt x="965" y="566"/>
                  <a:pt x="965" y="568"/>
                </a:cubicBezTo>
                <a:cubicBezTo>
                  <a:pt x="965" y="571"/>
                  <a:pt x="969" y="571"/>
                  <a:pt x="970" y="573"/>
                </a:cubicBezTo>
                <a:cubicBezTo>
                  <a:pt x="971" y="574"/>
                  <a:pt x="973" y="576"/>
                  <a:pt x="974" y="578"/>
                </a:cubicBezTo>
                <a:cubicBezTo>
                  <a:pt x="974" y="581"/>
                  <a:pt x="972" y="581"/>
                  <a:pt x="970" y="580"/>
                </a:cubicBezTo>
                <a:cubicBezTo>
                  <a:pt x="968" y="579"/>
                  <a:pt x="966" y="578"/>
                  <a:pt x="964" y="576"/>
                </a:cubicBezTo>
                <a:cubicBezTo>
                  <a:pt x="964" y="576"/>
                  <a:pt x="961" y="573"/>
                  <a:pt x="960" y="573"/>
                </a:cubicBezTo>
                <a:cubicBezTo>
                  <a:pt x="959" y="574"/>
                  <a:pt x="960" y="577"/>
                  <a:pt x="959" y="578"/>
                </a:cubicBezTo>
                <a:cubicBezTo>
                  <a:pt x="958" y="579"/>
                  <a:pt x="957" y="578"/>
                  <a:pt x="957" y="578"/>
                </a:cubicBezTo>
                <a:cubicBezTo>
                  <a:pt x="955" y="577"/>
                  <a:pt x="954" y="577"/>
                  <a:pt x="952" y="577"/>
                </a:cubicBezTo>
                <a:cubicBezTo>
                  <a:pt x="949" y="576"/>
                  <a:pt x="948" y="576"/>
                  <a:pt x="946" y="573"/>
                </a:cubicBezTo>
                <a:cubicBezTo>
                  <a:pt x="945" y="571"/>
                  <a:pt x="945" y="569"/>
                  <a:pt x="942" y="569"/>
                </a:cubicBezTo>
                <a:cubicBezTo>
                  <a:pt x="940" y="569"/>
                  <a:pt x="937" y="568"/>
                  <a:pt x="935" y="569"/>
                </a:cubicBezTo>
                <a:cubicBezTo>
                  <a:pt x="933" y="569"/>
                  <a:pt x="932" y="569"/>
                  <a:pt x="931" y="569"/>
                </a:cubicBezTo>
                <a:cubicBezTo>
                  <a:pt x="930" y="569"/>
                  <a:pt x="928" y="569"/>
                  <a:pt x="927" y="569"/>
                </a:cubicBezTo>
                <a:cubicBezTo>
                  <a:pt x="925" y="569"/>
                  <a:pt x="924" y="570"/>
                  <a:pt x="923" y="572"/>
                </a:cubicBezTo>
                <a:cubicBezTo>
                  <a:pt x="921" y="574"/>
                  <a:pt x="923" y="575"/>
                  <a:pt x="925" y="577"/>
                </a:cubicBezTo>
                <a:cubicBezTo>
                  <a:pt x="926" y="577"/>
                  <a:pt x="927" y="578"/>
                  <a:pt x="928" y="578"/>
                </a:cubicBezTo>
                <a:cubicBezTo>
                  <a:pt x="929" y="579"/>
                  <a:pt x="930" y="579"/>
                  <a:pt x="932" y="579"/>
                </a:cubicBezTo>
                <a:cubicBezTo>
                  <a:pt x="934" y="579"/>
                  <a:pt x="936" y="580"/>
                  <a:pt x="936" y="582"/>
                </a:cubicBezTo>
                <a:cubicBezTo>
                  <a:pt x="935" y="584"/>
                  <a:pt x="931" y="586"/>
                  <a:pt x="930" y="587"/>
                </a:cubicBezTo>
                <a:cubicBezTo>
                  <a:pt x="927" y="588"/>
                  <a:pt x="927" y="590"/>
                  <a:pt x="926" y="593"/>
                </a:cubicBezTo>
                <a:cubicBezTo>
                  <a:pt x="926" y="595"/>
                  <a:pt x="923" y="596"/>
                  <a:pt x="921" y="597"/>
                </a:cubicBezTo>
                <a:cubicBezTo>
                  <a:pt x="919" y="598"/>
                  <a:pt x="917" y="600"/>
                  <a:pt x="914" y="602"/>
                </a:cubicBezTo>
                <a:cubicBezTo>
                  <a:pt x="912" y="604"/>
                  <a:pt x="910" y="603"/>
                  <a:pt x="907" y="603"/>
                </a:cubicBezTo>
                <a:cubicBezTo>
                  <a:pt x="906" y="603"/>
                  <a:pt x="904" y="604"/>
                  <a:pt x="903" y="603"/>
                </a:cubicBezTo>
                <a:cubicBezTo>
                  <a:pt x="902" y="603"/>
                  <a:pt x="900" y="602"/>
                  <a:pt x="899" y="601"/>
                </a:cubicBezTo>
                <a:cubicBezTo>
                  <a:pt x="897" y="600"/>
                  <a:pt x="895" y="599"/>
                  <a:pt x="893" y="598"/>
                </a:cubicBezTo>
                <a:cubicBezTo>
                  <a:pt x="892" y="597"/>
                  <a:pt x="893" y="597"/>
                  <a:pt x="893" y="596"/>
                </a:cubicBezTo>
                <a:cubicBezTo>
                  <a:pt x="892" y="595"/>
                  <a:pt x="891" y="594"/>
                  <a:pt x="890" y="593"/>
                </a:cubicBezTo>
                <a:cubicBezTo>
                  <a:pt x="887" y="592"/>
                  <a:pt x="884" y="592"/>
                  <a:pt x="881" y="591"/>
                </a:cubicBezTo>
                <a:cubicBezTo>
                  <a:pt x="878" y="590"/>
                  <a:pt x="876" y="588"/>
                  <a:pt x="873" y="587"/>
                </a:cubicBezTo>
                <a:cubicBezTo>
                  <a:pt x="870" y="586"/>
                  <a:pt x="868" y="588"/>
                  <a:pt x="865" y="588"/>
                </a:cubicBezTo>
                <a:cubicBezTo>
                  <a:pt x="862" y="588"/>
                  <a:pt x="859" y="588"/>
                  <a:pt x="856" y="587"/>
                </a:cubicBezTo>
                <a:cubicBezTo>
                  <a:pt x="853" y="587"/>
                  <a:pt x="850" y="587"/>
                  <a:pt x="847" y="586"/>
                </a:cubicBezTo>
                <a:cubicBezTo>
                  <a:pt x="845" y="586"/>
                  <a:pt x="844" y="586"/>
                  <a:pt x="842" y="586"/>
                </a:cubicBezTo>
                <a:cubicBezTo>
                  <a:pt x="841" y="586"/>
                  <a:pt x="842" y="587"/>
                  <a:pt x="843" y="588"/>
                </a:cubicBezTo>
                <a:cubicBezTo>
                  <a:pt x="844" y="588"/>
                  <a:pt x="845" y="588"/>
                  <a:pt x="847" y="588"/>
                </a:cubicBezTo>
                <a:cubicBezTo>
                  <a:pt x="848" y="588"/>
                  <a:pt x="850" y="588"/>
                  <a:pt x="851" y="589"/>
                </a:cubicBezTo>
                <a:cubicBezTo>
                  <a:pt x="855" y="589"/>
                  <a:pt x="858" y="589"/>
                  <a:pt x="861" y="590"/>
                </a:cubicBezTo>
                <a:cubicBezTo>
                  <a:pt x="867" y="591"/>
                  <a:pt x="872" y="592"/>
                  <a:pt x="876" y="597"/>
                </a:cubicBezTo>
                <a:cubicBezTo>
                  <a:pt x="878" y="598"/>
                  <a:pt x="879" y="601"/>
                  <a:pt x="881" y="602"/>
                </a:cubicBezTo>
                <a:cubicBezTo>
                  <a:pt x="883" y="604"/>
                  <a:pt x="886" y="604"/>
                  <a:pt x="888" y="604"/>
                </a:cubicBezTo>
                <a:cubicBezTo>
                  <a:pt x="891" y="604"/>
                  <a:pt x="894" y="604"/>
                  <a:pt x="897" y="605"/>
                </a:cubicBezTo>
                <a:cubicBezTo>
                  <a:pt x="900" y="605"/>
                  <a:pt x="903" y="606"/>
                  <a:pt x="906" y="606"/>
                </a:cubicBezTo>
                <a:cubicBezTo>
                  <a:pt x="910" y="606"/>
                  <a:pt x="921" y="605"/>
                  <a:pt x="917" y="611"/>
                </a:cubicBezTo>
                <a:cubicBezTo>
                  <a:pt x="914" y="617"/>
                  <a:pt x="910" y="622"/>
                  <a:pt x="907" y="627"/>
                </a:cubicBezTo>
                <a:cubicBezTo>
                  <a:pt x="904" y="631"/>
                  <a:pt x="900" y="635"/>
                  <a:pt x="896" y="638"/>
                </a:cubicBezTo>
                <a:cubicBezTo>
                  <a:pt x="893" y="639"/>
                  <a:pt x="891" y="641"/>
                  <a:pt x="888" y="641"/>
                </a:cubicBezTo>
                <a:cubicBezTo>
                  <a:pt x="885" y="641"/>
                  <a:pt x="882" y="641"/>
                  <a:pt x="878" y="641"/>
                </a:cubicBezTo>
                <a:cubicBezTo>
                  <a:pt x="876" y="641"/>
                  <a:pt x="874" y="641"/>
                  <a:pt x="874" y="638"/>
                </a:cubicBezTo>
                <a:cubicBezTo>
                  <a:pt x="873" y="636"/>
                  <a:pt x="872" y="633"/>
                  <a:pt x="869" y="634"/>
                </a:cubicBezTo>
                <a:cubicBezTo>
                  <a:pt x="869" y="635"/>
                  <a:pt x="868" y="635"/>
                  <a:pt x="868" y="636"/>
                </a:cubicBezTo>
                <a:cubicBezTo>
                  <a:pt x="868" y="637"/>
                  <a:pt x="868" y="637"/>
                  <a:pt x="869" y="638"/>
                </a:cubicBezTo>
                <a:cubicBezTo>
                  <a:pt x="869" y="639"/>
                  <a:pt x="871" y="642"/>
                  <a:pt x="868" y="642"/>
                </a:cubicBezTo>
                <a:cubicBezTo>
                  <a:pt x="866" y="642"/>
                  <a:pt x="865" y="640"/>
                  <a:pt x="863" y="641"/>
                </a:cubicBezTo>
                <a:cubicBezTo>
                  <a:pt x="860" y="641"/>
                  <a:pt x="864" y="644"/>
                  <a:pt x="864" y="644"/>
                </a:cubicBezTo>
                <a:cubicBezTo>
                  <a:pt x="866" y="645"/>
                  <a:pt x="866" y="647"/>
                  <a:pt x="864" y="648"/>
                </a:cubicBezTo>
                <a:cubicBezTo>
                  <a:pt x="863" y="648"/>
                  <a:pt x="862" y="648"/>
                  <a:pt x="862" y="649"/>
                </a:cubicBezTo>
                <a:cubicBezTo>
                  <a:pt x="861" y="650"/>
                  <a:pt x="860" y="651"/>
                  <a:pt x="859" y="650"/>
                </a:cubicBezTo>
                <a:cubicBezTo>
                  <a:pt x="858" y="649"/>
                  <a:pt x="857" y="649"/>
                  <a:pt x="856" y="650"/>
                </a:cubicBezTo>
                <a:cubicBezTo>
                  <a:pt x="855" y="651"/>
                  <a:pt x="855" y="651"/>
                  <a:pt x="854" y="652"/>
                </a:cubicBezTo>
                <a:cubicBezTo>
                  <a:pt x="852" y="653"/>
                  <a:pt x="850" y="651"/>
                  <a:pt x="848" y="650"/>
                </a:cubicBezTo>
                <a:cubicBezTo>
                  <a:pt x="846" y="650"/>
                  <a:pt x="845" y="650"/>
                  <a:pt x="844" y="649"/>
                </a:cubicBezTo>
                <a:cubicBezTo>
                  <a:pt x="843" y="649"/>
                  <a:pt x="842" y="648"/>
                  <a:pt x="841" y="648"/>
                </a:cubicBezTo>
                <a:cubicBezTo>
                  <a:pt x="839" y="647"/>
                  <a:pt x="838" y="647"/>
                  <a:pt x="837" y="647"/>
                </a:cubicBezTo>
                <a:cubicBezTo>
                  <a:pt x="836" y="647"/>
                  <a:pt x="835" y="646"/>
                  <a:pt x="834" y="646"/>
                </a:cubicBezTo>
                <a:cubicBezTo>
                  <a:pt x="832" y="646"/>
                  <a:pt x="831" y="647"/>
                  <a:pt x="830" y="647"/>
                </a:cubicBezTo>
                <a:cubicBezTo>
                  <a:pt x="828" y="647"/>
                  <a:pt x="827" y="646"/>
                  <a:pt x="826" y="646"/>
                </a:cubicBezTo>
                <a:cubicBezTo>
                  <a:pt x="823" y="645"/>
                  <a:pt x="819" y="644"/>
                  <a:pt x="816" y="643"/>
                </a:cubicBezTo>
                <a:cubicBezTo>
                  <a:pt x="814" y="642"/>
                  <a:pt x="811" y="642"/>
                  <a:pt x="809" y="640"/>
                </a:cubicBezTo>
                <a:cubicBezTo>
                  <a:pt x="807" y="639"/>
                  <a:pt x="806" y="637"/>
                  <a:pt x="804" y="636"/>
                </a:cubicBezTo>
                <a:cubicBezTo>
                  <a:pt x="801" y="635"/>
                  <a:pt x="804" y="639"/>
                  <a:pt x="805" y="639"/>
                </a:cubicBezTo>
                <a:cubicBezTo>
                  <a:pt x="806" y="641"/>
                  <a:pt x="803" y="644"/>
                  <a:pt x="806" y="645"/>
                </a:cubicBezTo>
                <a:cubicBezTo>
                  <a:pt x="808" y="646"/>
                  <a:pt x="810" y="644"/>
                  <a:pt x="813" y="644"/>
                </a:cubicBezTo>
                <a:cubicBezTo>
                  <a:pt x="814" y="645"/>
                  <a:pt x="815" y="645"/>
                  <a:pt x="816" y="645"/>
                </a:cubicBezTo>
                <a:cubicBezTo>
                  <a:pt x="818" y="646"/>
                  <a:pt x="818" y="647"/>
                  <a:pt x="820" y="647"/>
                </a:cubicBezTo>
                <a:cubicBezTo>
                  <a:pt x="822" y="649"/>
                  <a:pt x="824" y="647"/>
                  <a:pt x="826" y="648"/>
                </a:cubicBezTo>
                <a:cubicBezTo>
                  <a:pt x="827" y="648"/>
                  <a:pt x="828" y="649"/>
                  <a:pt x="828" y="649"/>
                </a:cubicBezTo>
                <a:cubicBezTo>
                  <a:pt x="828" y="650"/>
                  <a:pt x="827" y="650"/>
                  <a:pt x="826" y="651"/>
                </a:cubicBezTo>
                <a:cubicBezTo>
                  <a:pt x="826" y="651"/>
                  <a:pt x="823" y="652"/>
                  <a:pt x="825" y="653"/>
                </a:cubicBezTo>
                <a:cubicBezTo>
                  <a:pt x="828" y="654"/>
                  <a:pt x="830" y="652"/>
                  <a:pt x="832" y="650"/>
                </a:cubicBezTo>
                <a:cubicBezTo>
                  <a:pt x="834" y="649"/>
                  <a:pt x="837" y="649"/>
                  <a:pt x="839" y="651"/>
                </a:cubicBezTo>
                <a:cubicBezTo>
                  <a:pt x="840" y="651"/>
                  <a:pt x="840" y="652"/>
                  <a:pt x="841" y="653"/>
                </a:cubicBezTo>
                <a:cubicBezTo>
                  <a:pt x="841" y="654"/>
                  <a:pt x="842" y="654"/>
                  <a:pt x="843" y="654"/>
                </a:cubicBezTo>
                <a:cubicBezTo>
                  <a:pt x="846" y="654"/>
                  <a:pt x="848" y="655"/>
                  <a:pt x="850" y="655"/>
                </a:cubicBezTo>
                <a:cubicBezTo>
                  <a:pt x="851" y="656"/>
                  <a:pt x="852" y="657"/>
                  <a:pt x="853" y="657"/>
                </a:cubicBezTo>
                <a:cubicBezTo>
                  <a:pt x="854" y="658"/>
                  <a:pt x="855" y="659"/>
                  <a:pt x="855" y="660"/>
                </a:cubicBezTo>
                <a:cubicBezTo>
                  <a:pt x="857" y="666"/>
                  <a:pt x="851" y="668"/>
                  <a:pt x="847" y="669"/>
                </a:cubicBezTo>
                <a:cubicBezTo>
                  <a:pt x="846" y="670"/>
                  <a:pt x="845" y="670"/>
                  <a:pt x="844" y="671"/>
                </a:cubicBezTo>
                <a:cubicBezTo>
                  <a:pt x="843" y="672"/>
                  <a:pt x="842" y="673"/>
                  <a:pt x="841" y="673"/>
                </a:cubicBezTo>
                <a:cubicBezTo>
                  <a:pt x="839" y="673"/>
                  <a:pt x="836" y="672"/>
                  <a:pt x="834" y="671"/>
                </a:cubicBezTo>
                <a:cubicBezTo>
                  <a:pt x="832" y="671"/>
                  <a:pt x="828" y="670"/>
                  <a:pt x="826" y="671"/>
                </a:cubicBezTo>
                <a:cubicBezTo>
                  <a:pt x="825" y="674"/>
                  <a:pt x="827" y="675"/>
                  <a:pt x="829" y="675"/>
                </a:cubicBezTo>
                <a:cubicBezTo>
                  <a:pt x="830" y="676"/>
                  <a:pt x="834" y="679"/>
                  <a:pt x="831" y="679"/>
                </a:cubicBezTo>
                <a:cubicBezTo>
                  <a:pt x="829" y="679"/>
                  <a:pt x="828" y="679"/>
                  <a:pt x="826" y="679"/>
                </a:cubicBezTo>
                <a:cubicBezTo>
                  <a:pt x="825" y="679"/>
                  <a:pt x="824" y="678"/>
                  <a:pt x="823" y="678"/>
                </a:cubicBezTo>
                <a:cubicBezTo>
                  <a:pt x="822" y="679"/>
                  <a:pt x="821" y="679"/>
                  <a:pt x="821" y="680"/>
                </a:cubicBezTo>
                <a:cubicBezTo>
                  <a:pt x="822" y="682"/>
                  <a:pt x="821" y="682"/>
                  <a:pt x="820" y="684"/>
                </a:cubicBezTo>
                <a:cubicBezTo>
                  <a:pt x="820" y="686"/>
                  <a:pt x="817" y="685"/>
                  <a:pt x="816" y="685"/>
                </a:cubicBezTo>
                <a:cubicBezTo>
                  <a:pt x="814" y="684"/>
                  <a:pt x="812" y="684"/>
                  <a:pt x="812" y="686"/>
                </a:cubicBezTo>
                <a:cubicBezTo>
                  <a:pt x="812" y="687"/>
                  <a:pt x="815" y="686"/>
                  <a:pt x="815" y="688"/>
                </a:cubicBezTo>
                <a:cubicBezTo>
                  <a:pt x="816" y="689"/>
                  <a:pt x="814" y="691"/>
                  <a:pt x="814" y="693"/>
                </a:cubicBezTo>
                <a:cubicBezTo>
                  <a:pt x="813" y="693"/>
                  <a:pt x="813" y="694"/>
                  <a:pt x="812" y="694"/>
                </a:cubicBezTo>
                <a:cubicBezTo>
                  <a:pt x="810" y="694"/>
                  <a:pt x="810" y="694"/>
                  <a:pt x="810" y="696"/>
                </a:cubicBezTo>
                <a:cubicBezTo>
                  <a:pt x="809" y="697"/>
                  <a:pt x="806" y="695"/>
                  <a:pt x="806" y="697"/>
                </a:cubicBezTo>
                <a:cubicBezTo>
                  <a:pt x="806" y="698"/>
                  <a:pt x="808" y="700"/>
                  <a:pt x="808" y="701"/>
                </a:cubicBezTo>
                <a:cubicBezTo>
                  <a:pt x="807" y="704"/>
                  <a:pt x="804" y="704"/>
                  <a:pt x="802" y="705"/>
                </a:cubicBezTo>
                <a:cubicBezTo>
                  <a:pt x="802" y="705"/>
                  <a:pt x="801" y="706"/>
                  <a:pt x="800" y="707"/>
                </a:cubicBezTo>
                <a:cubicBezTo>
                  <a:pt x="800" y="707"/>
                  <a:pt x="800" y="709"/>
                  <a:pt x="800" y="709"/>
                </a:cubicBezTo>
                <a:cubicBezTo>
                  <a:pt x="801" y="711"/>
                  <a:pt x="798" y="710"/>
                  <a:pt x="798" y="712"/>
                </a:cubicBezTo>
                <a:cubicBezTo>
                  <a:pt x="798" y="713"/>
                  <a:pt x="798" y="715"/>
                  <a:pt x="798" y="716"/>
                </a:cubicBezTo>
                <a:cubicBezTo>
                  <a:pt x="798" y="717"/>
                  <a:pt x="797" y="718"/>
                  <a:pt x="796" y="719"/>
                </a:cubicBezTo>
                <a:cubicBezTo>
                  <a:pt x="794" y="721"/>
                  <a:pt x="792" y="723"/>
                  <a:pt x="791" y="726"/>
                </a:cubicBezTo>
                <a:cubicBezTo>
                  <a:pt x="791" y="727"/>
                  <a:pt x="790" y="728"/>
                  <a:pt x="789" y="729"/>
                </a:cubicBezTo>
                <a:cubicBezTo>
                  <a:pt x="789" y="731"/>
                  <a:pt x="788" y="731"/>
                  <a:pt x="787" y="732"/>
                </a:cubicBezTo>
                <a:cubicBezTo>
                  <a:pt x="786" y="733"/>
                  <a:pt x="786" y="734"/>
                  <a:pt x="787" y="734"/>
                </a:cubicBezTo>
                <a:cubicBezTo>
                  <a:pt x="787" y="736"/>
                  <a:pt x="787" y="737"/>
                  <a:pt x="787" y="738"/>
                </a:cubicBezTo>
                <a:cubicBezTo>
                  <a:pt x="786" y="741"/>
                  <a:pt x="785" y="744"/>
                  <a:pt x="785" y="747"/>
                </a:cubicBezTo>
                <a:cubicBezTo>
                  <a:pt x="785" y="750"/>
                  <a:pt x="785" y="753"/>
                  <a:pt x="785" y="756"/>
                </a:cubicBezTo>
                <a:cubicBezTo>
                  <a:pt x="786" y="759"/>
                  <a:pt x="786" y="762"/>
                  <a:pt x="785" y="765"/>
                </a:cubicBezTo>
                <a:cubicBezTo>
                  <a:pt x="785" y="766"/>
                  <a:pt x="785" y="767"/>
                  <a:pt x="784" y="768"/>
                </a:cubicBezTo>
                <a:cubicBezTo>
                  <a:pt x="784" y="768"/>
                  <a:pt x="783" y="768"/>
                  <a:pt x="783" y="769"/>
                </a:cubicBezTo>
                <a:cubicBezTo>
                  <a:pt x="782" y="772"/>
                  <a:pt x="783" y="774"/>
                  <a:pt x="786" y="774"/>
                </a:cubicBezTo>
                <a:cubicBezTo>
                  <a:pt x="787" y="775"/>
                  <a:pt x="788" y="775"/>
                  <a:pt x="789" y="775"/>
                </a:cubicBezTo>
                <a:cubicBezTo>
                  <a:pt x="790" y="775"/>
                  <a:pt x="791" y="774"/>
                  <a:pt x="792" y="775"/>
                </a:cubicBezTo>
                <a:cubicBezTo>
                  <a:pt x="794" y="776"/>
                  <a:pt x="795" y="779"/>
                  <a:pt x="794" y="781"/>
                </a:cubicBezTo>
                <a:cubicBezTo>
                  <a:pt x="793" y="783"/>
                  <a:pt x="793" y="785"/>
                  <a:pt x="793" y="787"/>
                </a:cubicBezTo>
                <a:cubicBezTo>
                  <a:pt x="793" y="788"/>
                  <a:pt x="793" y="788"/>
                  <a:pt x="794" y="788"/>
                </a:cubicBezTo>
                <a:cubicBezTo>
                  <a:pt x="795" y="787"/>
                  <a:pt x="795" y="785"/>
                  <a:pt x="795" y="784"/>
                </a:cubicBezTo>
                <a:cubicBezTo>
                  <a:pt x="796" y="782"/>
                  <a:pt x="796" y="779"/>
                  <a:pt x="798" y="778"/>
                </a:cubicBezTo>
                <a:cubicBezTo>
                  <a:pt x="801" y="777"/>
                  <a:pt x="803" y="777"/>
                  <a:pt x="806" y="778"/>
                </a:cubicBezTo>
                <a:cubicBezTo>
                  <a:pt x="808" y="778"/>
                  <a:pt x="811" y="777"/>
                  <a:pt x="812" y="779"/>
                </a:cubicBezTo>
                <a:cubicBezTo>
                  <a:pt x="814" y="781"/>
                  <a:pt x="814" y="784"/>
                  <a:pt x="815" y="787"/>
                </a:cubicBezTo>
                <a:cubicBezTo>
                  <a:pt x="816" y="789"/>
                  <a:pt x="818" y="791"/>
                  <a:pt x="819" y="793"/>
                </a:cubicBezTo>
                <a:cubicBezTo>
                  <a:pt x="820" y="796"/>
                  <a:pt x="819" y="799"/>
                  <a:pt x="820" y="801"/>
                </a:cubicBezTo>
                <a:cubicBezTo>
                  <a:pt x="822" y="806"/>
                  <a:pt x="827" y="810"/>
                  <a:pt x="824" y="816"/>
                </a:cubicBezTo>
                <a:cubicBezTo>
                  <a:pt x="822" y="818"/>
                  <a:pt x="820" y="819"/>
                  <a:pt x="818" y="821"/>
                </a:cubicBezTo>
                <a:cubicBezTo>
                  <a:pt x="818" y="821"/>
                  <a:pt x="817" y="822"/>
                  <a:pt x="818" y="822"/>
                </a:cubicBezTo>
                <a:cubicBezTo>
                  <a:pt x="820" y="822"/>
                  <a:pt x="821" y="821"/>
                  <a:pt x="822" y="820"/>
                </a:cubicBezTo>
                <a:cubicBezTo>
                  <a:pt x="824" y="818"/>
                  <a:pt x="825" y="821"/>
                  <a:pt x="828" y="821"/>
                </a:cubicBezTo>
                <a:cubicBezTo>
                  <a:pt x="829" y="821"/>
                  <a:pt x="830" y="820"/>
                  <a:pt x="831" y="820"/>
                </a:cubicBezTo>
                <a:cubicBezTo>
                  <a:pt x="832" y="819"/>
                  <a:pt x="834" y="818"/>
                  <a:pt x="835" y="818"/>
                </a:cubicBezTo>
                <a:cubicBezTo>
                  <a:pt x="836" y="818"/>
                  <a:pt x="837" y="818"/>
                  <a:pt x="839" y="817"/>
                </a:cubicBezTo>
                <a:cubicBezTo>
                  <a:pt x="840" y="817"/>
                  <a:pt x="840" y="816"/>
                  <a:pt x="841" y="816"/>
                </a:cubicBezTo>
                <a:cubicBezTo>
                  <a:pt x="844" y="815"/>
                  <a:pt x="847" y="814"/>
                  <a:pt x="849" y="814"/>
                </a:cubicBezTo>
                <a:cubicBezTo>
                  <a:pt x="852" y="814"/>
                  <a:pt x="854" y="816"/>
                  <a:pt x="856" y="817"/>
                </a:cubicBezTo>
                <a:cubicBezTo>
                  <a:pt x="859" y="818"/>
                  <a:pt x="862" y="819"/>
                  <a:pt x="865" y="820"/>
                </a:cubicBezTo>
                <a:cubicBezTo>
                  <a:pt x="868" y="820"/>
                  <a:pt x="871" y="821"/>
                  <a:pt x="874" y="821"/>
                </a:cubicBezTo>
                <a:cubicBezTo>
                  <a:pt x="877" y="822"/>
                  <a:pt x="880" y="823"/>
                  <a:pt x="883" y="824"/>
                </a:cubicBezTo>
                <a:cubicBezTo>
                  <a:pt x="886" y="825"/>
                  <a:pt x="889" y="826"/>
                  <a:pt x="891" y="827"/>
                </a:cubicBezTo>
                <a:cubicBezTo>
                  <a:pt x="894" y="829"/>
                  <a:pt x="896" y="830"/>
                  <a:pt x="898" y="832"/>
                </a:cubicBezTo>
                <a:cubicBezTo>
                  <a:pt x="900" y="834"/>
                  <a:pt x="902" y="835"/>
                  <a:pt x="904" y="837"/>
                </a:cubicBezTo>
                <a:cubicBezTo>
                  <a:pt x="905" y="840"/>
                  <a:pt x="906" y="842"/>
                  <a:pt x="908" y="844"/>
                </a:cubicBezTo>
                <a:cubicBezTo>
                  <a:pt x="910" y="845"/>
                  <a:pt x="913" y="845"/>
                  <a:pt x="916" y="846"/>
                </a:cubicBezTo>
                <a:cubicBezTo>
                  <a:pt x="919" y="847"/>
                  <a:pt x="922" y="848"/>
                  <a:pt x="925" y="849"/>
                </a:cubicBezTo>
                <a:cubicBezTo>
                  <a:pt x="931" y="851"/>
                  <a:pt x="936" y="854"/>
                  <a:pt x="942" y="856"/>
                </a:cubicBezTo>
                <a:cubicBezTo>
                  <a:pt x="944" y="857"/>
                  <a:pt x="947" y="858"/>
                  <a:pt x="948" y="860"/>
                </a:cubicBezTo>
                <a:cubicBezTo>
                  <a:pt x="949" y="861"/>
                  <a:pt x="947" y="864"/>
                  <a:pt x="946" y="865"/>
                </a:cubicBezTo>
                <a:cubicBezTo>
                  <a:pt x="945" y="866"/>
                  <a:pt x="944" y="869"/>
                  <a:pt x="946" y="867"/>
                </a:cubicBezTo>
                <a:cubicBezTo>
                  <a:pt x="947" y="866"/>
                  <a:pt x="947" y="865"/>
                  <a:pt x="948" y="864"/>
                </a:cubicBezTo>
                <a:cubicBezTo>
                  <a:pt x="949" y="863"/>
                  <a:pt x="950" y="862"/>
                  <a:pt x="952" y="862"/>
                </a:cubicBezTo>
                <a:cubicBezTo>
                  <a:pt x="953" y="861"/>
                  <a:pt x="954" y="862"/>
                  <a:pt x="955" y="862"/>
                </a:cubicBezTo>
                <a:cubicBezTo>
                  <a:pt x="956" y="862"/>
                  <a:pt x="957" y="863"/>
                  <a:pt x="959" y="863"/>
                </a:cubicBezTo>
                <a:cubicBezTo>
                  <a:pt x="961" y="862"/>
                  <a:pt x="964" y="861"/>
                  <a:pt x="966" y="861"/>
                </a:cubicBezTo>
                <a:cubicBezTo>
                  <a:pt x="969" y="862"/>
                  <a:pt x="971" y="864"/>
                  <a:pt x="974" y="865"/>
                </a:cubicBezTo>
                <a:cubicBezTo>
                  <a:pt x="976" y="865"/>
                  <a:pt x="976" y="862"/>
                  <a:pt x="979" y="862"/>
                </a:cubicBezTo>
                <a:cubicBezTo>
                  <a:pt x="981" y="862"/>
                  <a:pt x="983" y="862"/>
                  <a:pt x="984" y="862"/>
                </a:cubicBezTo>
                <a:cubicBezTo>
                  <a:pt x="985" y="863"/>
                  <a:pt x="986" y="863"/>
                  <a:pt x="986" y="863"/>
                </a:cubicBezTo>
                <a:cubicBezTo>
                  <a:pt x="987" y="864"/>
                  <a:pt x="987" y="865"/>
                  <a:pt x="987" y="865"/>
                </a:cubicBezTo>
                <a:cubicBezTo>
                  <a:pt x="990" y="867"/>
                  <a:pt x="996" y="863"/>
                  <a:pt x="998" y="866"/>
                </a:cubicBezTo>
                <a:cubicBezTo>
                  <a:pt x="999" y="869"/>
                  <a:pt x="998" y="871"/>
                  <a:pt x="998" y="873"/>
                </a:cubicBezTo>
                <a:cubicBezTo>
                  <a:pt x="998" y="874"/>
                  <a:pt x="998" y="876"/>
                  <a:pt x="998" y="877"/>
                </a:cubicBezTo>
                <a:cubicBezTo>
                  <a:pt x="998" y="879"/>
                  <a:pt x="997" y="880"/>
                  <a:pt x="997" y="881"/>
                </a:cubicBezTo>
                <a:cubicBezTo>
                  <a:pt x="996" y="883"/>
                  <a:pt x="995" y="886"/>
                  <a:pt x="997" y="888"/>
                </a:cubicBezTo>
                <a:cubicBezTo>
                  <a:pt x="997" y="889"/>
                  <a:pt x="998" y="890"/>
                  <a:pt x="998" y="891"/>
                </a:cubicBezTo>
                <a:cubicBezTo>
                  <a:pt x="999" y="893"/>
                  <a:pt x="998" y="894"/>
                  <a:pt x="998" y="896"/>
                </a:cubicBezTo>
                <a:cubicBezTo>
                  <a:pt x="999" y="899"/>
                  <a:pt x="1000" y="901"/>
                  <a:pt x="1000" y="904"/>
                </a:cubicBezTo>
                <a:cubicBezTo>
                  <a:pt x="1001" y="905"/>
                  <a:pt x="1001" y="907"/>
                  <a:pt x="1001" y="908"/>
                </a:cubicBezTo>
                <a:cubicBezTo>
                  <a:pt x="1000" y="909"/>
                  <a:pt x="999" y="910"/>
                  <a:pt x="999" y="912"/>
                </a:cubicBezTo>
                <a:cubicBezTo>
                  <a:pt x="997" y="914"/>
                  <a:pt x="998" y="916"/>
                  <a:pt x="1000" y="918"/>
                </a:cubicBezTo>
                <a:cubicBezTo>
                  <a:pt x="1002" y="920"/>
                  <a:pt x="1004" y="922"/>
                  <a:pt x="1006" y="924"/>
                </a:cubicBezTo>
                <a:cubicBezTo>
                  <a:pt x="1007" y="925"/>
                  <a:pt x="1007" y="926"/>
                  <a:pt x="1008" y="927"/>
                </a:cubicBezTo>
                <a:cubicBezTo>
                  <a:pt x="1009" y="928"/>
                  <a:pt x="1010" y="929"/>
                  <a:pt x="1010" y="930"/>
                </a:cubicBezTo>
                <a:cubicBezTo>
                  <a:pt x="1010" y="932"/>
                  <a:pt x="1005" y="932"/>
                  <a:pt x="1005" y="933"/>
                </a:cubicBezTo>
                <a:cubicBezTo>
                  <a:pt x="1005" y="934"/>
                  <a:pt x="1009" y="934"/>
                  <a:pt x="1009" y="933"/>
                </a:cubicBezTo>
                <a:cubicBezTo>
                  <a:pt x="1011" y="932"/>
                  <a:pt x="1013" y="935"/>
                  <a:pt x="1015" y="936"/>
                </a:cubicBezTo>
                <a:cubicBezTo>
                  <a:pt x="1018" y="936"/>
                  <a:pt x="1020" y="938"/>
                  <a:pt x="1021" y="939"/>
                </a:cubicBezTo>
                <a:cubicBezTo>
                  <a:pt x="1023" y="942"/>
                  <a:pt x="1025" y="944"/>
                  <a:pt x="1027" y="946"/>
                </a:cubicBezTo>
                <a:cubicBezTo>
                  <a:pt x="1028" y="948"/>
                  <a:pt x="1031" y="951"/>
                  <a:pt x="1028" y="953"/>
                </a:cubicBezTo>
                <a:cubicBezTo>
                  <a:pt x="1026" y="954"/>
                  <a:pt x="1024" y="956"/>
                  <a:pt x="1022" y="957"/>
                </a:cubicBezTo>
                <a:cubicBezTo>
                  <a:pt x="1022" y="958"/>
                  <a:pt x="1021" y="959"/>
                  <a:pt x="1023" y="959"/>
                </a:cubicBezTo>
                <a:cubicBezTo>
                  <a:pt x="1023" y="959"/>
                  <a:pt x="1024" y="958"/>
                  <a:pt x="1025" y="957"/>
                </a:cubicBezTo>
                <a:cubicBezTo>
                  <a:pt x="1026" y="956"/>
                  <a:pt x="1027" y="956"/>
                  <a:pt x="1028" y="956"/>
                </a:cubicBezTo>
                <a:cubicBezTo>
                  <a:pt x="1029" y="955"/>
                  <a:pt x="1030" y="954"/>
                  <a:pt x="1032" y="954"/>
                </a:cubicBezTo>
                <a:cubicBezTo>
                  <a:pt x="1034" y="953"/>
                  <a:pt x="1037" y="956"/>
                  <a:pt x="1038" y="957"/>
                </a:cubicBezTo>
                <a:cubicBezTo>
                  <a:pt x="1041" y="958"/>
                  <a:pt x="1042" y="962"/>
                  <a:pt x="1044" y="963"/>
                </a:cubicBezTo>
                <a:cubicBezTo>
                  <a:pt x="1045" y="964"/>
                  <a:pt x="1049" y="967"/>
                  <a:pt x="1048" y="965"/>
                </a:cubicBezTo>
                <a:cubicBezTo>
                  <a:pt x="1048" y="964"/>
                  <a:pt x="1046" y="962"/>
                  <a:pt x="1045" y="961"/>
                </a:cubicBezTo>
                <a:cubicBezTo>
                  <a:pt x="1044" y="959"/>
                  <a:pt x="1041" y="957"/>
                  <a:pt x="1041" y="955"/>
                </a:cubicBezTo>
                <a:cubicBezTo>
                  <a:pt x="1041" y="952"/>
                  <a:pt x="1044" y="950"/>
                  <a:pt x="1046" y="949"/>
                </a:cubicBezTo>
                <a:cubicBezTo>
                  <a:pt x="1049" y="947"/>
                  <a:pt x="1051" y="947"/>
                  <a:pt x="1053" y="949"/>
                </a:cubicBezTo>
                <a:cubicBezTo>
                  <a:pt x="1054" y="951"/>
                  <a:pt x="1054" y="953"/>
                  <a:pt x="1055" y="956"/>
                </a:cubicBezTo>
                <a:cubicBezTo>
                  <a:pt x="1055" y="957"/>
                  <a:pt x="1056" y="956"/>
                  <a:pt x="1056" y="956"/>
                </a:cubicBezTo>
                <a:cubicBezTo>
                  <a:pt x="1057" y="955"/>
                  <a:pt x="1057" y="954"/>
                  <a:pt x="1057" y="953"/>
                </a:cubicBezTo>
                <a:cubicBezTo>
                  <a:pt x="1057" y="951"/>
                  <a:pt x="1060" y="950"/>
                  <a:pt x="1059" y="949"/>
                </a:cubicBezTo>
                <a:cubicBezTo>
                  <a:pt x="1058" y="947"/>
                  <a:pt x="1055" y="946"/>
                  <a:pt x="1056" y="943"/>
                </a:cubicBezTo>
                <a:cubicBezTo>
                  <a:pt x="1056" y="941"/>
                  <a:pt x="1058" y="939"/>
                  <a:pt x="1060" y="937"/>
                </a:cubicBezTo>
                <a:cubicBezTo>
                  <a:pt x="1061" y="936"/>
                  <a:pt x="1063" y="935"/>
                  <a:pt x="1063" y="933"/>
                </a:cubicBezTo>
                <a:cubicBezTo>
                  <a:pt x="1064" y="931"/>
                  <a:pt x="1064" y="927"/>
                  <a:pt x="1062" y="926"/>
                </a:cubicBezTo>
                <a:cubicBezTo>
                  <a:pt x="1061" y="926"/>
                  <a:pt x="1058" y="926"/>
                  <a:pt x="1058" y="925"/>
                </a:cubicBezTo>
                <a:cubicBezTo>
                  <a:pt x="1058" y="923"/>
                  <a:pt x="1058" y="921"/>
                  <a:pt x="1058" y="920"/>
                </a:cubicBezTo>
                <a:cubicBezTo>
                  <a:pt x="1059" y="918"/>
                  <a:pt x="1058" y="917"/>
                  <a:pt x="1057" y="916"/>
                </a:cubicBezTo>
                <a:cubicBezTo>
                  <a:pt x="1055" y="914"/>
                  <a:pt x="1055" y="911"/>
                  <a:pt x="1055" y="909"/>
                </a:cubicBezTo>
                <a:cubicBezTo>
                  <a:pt x="1055" y="907"/>
                  <a:pt x="1055" y="907"/>
                  <a:pt x="1054" y="906"/>
                </a:cubicBezTo>
                <a:cubicBezTo>
                  <a:pt x="1053" y="905"/>
                  <a:pt x="1052" y="904"/>
                  <a:pt x="1052" y="903"/>
                </a:cubicBezTo>
                <a:cubicBezTo>
                  <a:pt x="1052" y="902"/>
                  <a:pt x="1056" y="903"/>
                  <a:pt x="1055" y="900"/>
                </a:cubicBezTo>
                <a:cubicBezTo>
                  <a:pt x="1054" y="899"/>
                  <a:pt x="1051" y="898"/>
                  <a:pt x="1054" y="897"/>
                </a:cubicBezTo>
                <a:cubicBezTo>
                  <a:pt x="1056" y="895"/>
                  <a:pt x="1051" y="894"/>
                  <a:pt x="1053" y="892"/>
                </a:cubicBezTo>
                <a:cubicBezTo>
                  <a:pt x="1055" y="890"/>
                  <a:pt x="1050" y="891"/>
                  <a:pt x="1051" y="889"/>
                </a:cubicBezTo>
                <a:cubicBezTo>
                  <a:pt x="1051" y="888"/>
                  <a:pt x="1052" y="888"/>
                  <a:pt x="1053" y="887"/>
                </a:cubicBezTo>
                <a:cubicBezTo>
                  <a:pt x="1053" y="886"/>
                  <a:pt x="1050" y="886"/>
                  <a:pt x="1049" y="886"/>
                </a:cubicBezTo>
                <a:cubicBezTo>
                  <a:pt x="1047" y="886"/>
                  <a:pt x="1047" y="884"/>
                  <a:pt x="1047" y="882"/>
                </a:cubicBezTo>
                <a:cubicBezTo>
                  <a:pt x="1046" y="881"/>
                  <a:pt x="1046" y="880"/>
                  <a:pt x="1045" y="879"/>
                </a:cubicBezTo>
                <a:cubicBezTo>
                  <a:pt x="1045" y="878"/>
                  <a:pt x="1044" y="878"/>
                  <a:pt x="1043" y="877"/>
                </a:cubicBezTo>
                <a:cubicBezTo>
                  <a:pt x="1042" y="875"/>
                  <a:pt x="1045" y="874"/>
                  <a:pt x="1046" y="874"/>
                </a:cubicBezTo>
                <a:cubicBezTo>
                  <a:pt x="1049" y="873"/>
                  <a:pt x="1052" y="872"/>
                  <a:pt x="1055" y="870"/>
                </a:cubicBezTo>
                <a:cubicBezTo>
                  <a:pt x="1060" y="868"/>
                  <a:pt x="1066" y="866"/>
                  <a:pt x="1072" y="863"/>
                </a:cubicBezTo>
                <a:cubicBezTo>
                  <a:pt x="1077" y="861"/>
                  <a:pt x="1081" y="857"/>
                  <a:pt x="1085" y="853"/>
                </a:cubicBezTo>
                <a:cubicBezTo>
                  <a:pt x="1087" y="851"/>
                  <a:pt x="1089" y="849"/>
                  <a:pt x="1091" y="847"/>
                </a:cubicBezTo>
                <a:cubicBezTo>
                  <a:pt x="1092" y="845"/>
                  <a:pt x="1094" y="842"/>
                  <a:pt x="1095" y="840"/>
                </a:cubicBezTo>
                <a:cubicBezTo>
                  <a:pt x="1096" y="837"/>
                  <a:pt x="1096" y="834"/>
                  <a:pt x="1096" y="831"/>
                </a:cubicBezTo>
                <a:cubicBezTo>
                  <a:pt x="1096" y="828"/>
                  <a:pt x="1096" y="825"/>
                  <a:pt x="1096" y="821"/>
                </a:cubicBezTo>
                <a:cubicBezTo>
                  <a:pt x="1096" y="815"/>
                  <a:pt x="1095" y="810"/>
                  <a:pt x="1092" y="805"/>
                </a:cubicBezTo>
                <a:cubicBezTo>
                  <a:pt x="1091" y="802"/>
                  <a:pt x="1089" y="800"/>
                  <a:pt x="1087" y="798"/>
                </a:cubicBezTo>
                <a:cubicBezTo>
                  <a:pt x="1086" y="795"/>
                  <a:pt x="1083" y="793"/>
                  <a:pt x="1081" y="792"/>
                </a:cubicBezTo>
                <a:cubicBezTo>
                  <a:pt x="1076" y="788"/>
                  <a:pt x="1071" y="786"/>
                  <a:pt x="1066" y="784"/>
                </a:cubicBezTo>
                <a:cubicBezTo>
                  <a:pt x="1064" y="782"/>
                  <a:pt x="1063" y="780"/>
                  <a:pt x="1063" y="778"/>
                </a:cubicBezTo>
                <a:cubicBezTo>
                  <a:pt x="1062" y="777"/>
                  <a:pt x="1061" y="772"/>
                  <a:pt x="1062" y="772"/>
                </a:cubicBezTo>
                <a:cubicBezTo>
                  <a:pt x="1064" y="772"/>
                  <a:pt x="1065" y="773"/>
                  <a:pt x="1066" y="771"/>
                </a:cubicBezTo>
                <a:cubicBezTo>
                  <a:pt x="1067" y="768"/>
                  <a:pt x="1068" y="766"/>
                  <a:pt x="1071" y="765"/>
                </a:cubicBezTo>
                <a:cubicBezTo>
                  <a:pt x="1071" y="764"/>
                  <a:pt x="1077" y="762"/>
                  <a:pt x="1076" y="761"/>
                </a:cubicBezTo>
                <a:cubicBezTo>
                  <a:pt x="1075" y="760"/>
                  <a:pt x="1074" y="760"/>
                  <a:pt x="1074" y="759"/>
                </a:cubicBezTo>
                <a:cubicBezTo>
                  <a:pt x="1074" y="758"/>
                  <a:pt x="1076" y="758"/>
                  <a:pt x="1076" y="756"/>
                </a:cubicBezTo>
                <a:cubicBezTo>
                  <a:pt x="1077" y="756"/>
                  <a:pt x="1076" y="754"/>
                  <a:pt x="1077" y="754"/>
                </a:cubicBezTo>
                <a:cubicBezTo>
                  <a:pt x="1078" y="753"/>
                  <a:pt x="1078" y="754"/>
                  <a:pt x="1078" y="755"/>
                </a:cubicBezTo>
                <a:cubicBezTo>
                  <a:pt x="1079" y="755"/>
                  <a:pt x="1079" y="756"/>
                  <a:pt x="1079" y="757"/>
                </a:cubicBezTo>
                <a:cubicBezTo>
                  <a:pt x="1080" y="757"/>
                  <a:pt x="1081" y="757"/>
                  <a:pt x="1082" y="757"/>
                </a:cubicBezTo>
                <a:cubicBezTo>
                  <a:pt x="1083" y="756"/>
                  <a:pt x="1080" y="754"/>
                  <a:pt x="1080" y="754"/>
                </a:cubicBezTo>
                <a:cubicBezTo>
                  <a:pt x="1080" y="751"/>
                  <a:pt x="1085" y="753"/>
                  <a:pt x="1084" y="751"/>
                </a:cubicBezTo>
                <a:cubicBezTo>
                  <a:pt x="1084" y="750"/>
                  <a:pt x="1082" y="750"/>
                  <a:pt x="1082" y="748"/>
                </a:cubicBezTo>
                <a:cubicBezTo>
                  <a:pt x="1082" y="748"/>
                  <a:pt x="1083" y="747"/>
                  <a:pt x="1083" y="746"/>
                </a:cubicBezTo>
                <a:cubicBezTo>
                  <a:pt x="1083" y="745"/>
                  <a:pt x="1082" y="745"/>
                  <a:pt x="1082" y="744"/>
                </a:cubicBezTo>
                <a:cubicBezTo>
                  <a:pt x="1080" y="744"/>
                  <a:pt x="1079" y="743"/>
                  <a:pt x="1079" y="742"/>
                </a:cubicBezTo>
                <a:cubicBezTo>
                  <a:pt x="1077" y="741"/>
                  <a:pt x="1076" y="738"/>
                  <a:pt x="1077" y="736"/>
                </a:cubicBezTo>
                <a:cubicBezTo>
                  <a:pt x="1077" y="734"/>
                  <a:pt x="1080" y="734"/>
                  <a:pt x="1081" y="732"/>
                </a:cubicBezTo>
                <a:cubicBezTo>
                  <a:pt x="1082" y="730"/>
                  <a:pt x="1077" y="730"/>
                  <a:pt x="1077" y="729"/>
                </a:cubicBezTo>
                <a:cubicBezTo>
                  <a:pt x="1075" y="727"/>
                  <a:pt x="1078" y="726"/>
                  <a:pt x="1079" y="725"/>
                </a:cubicBezTo>
                <a:cubicBezTo>
                  <a:pt x="1081" y="724"/>
                  <a:pt x="1079" y="723"/>
                  <a:pt x="1078" y="723"/>
                </a:cubicBezTo>
                <a:cubicBezTo>
                  <a:pt x="1076" y="723"/>
                  <a:pt x="1074" y="724"/>
                  <a:pt x="1073" y="724"/>
                </a:cubicBezTo>
                <a:cubicBezTo>
                  <a:pt x="1072" y="724"/>
                  <a:pt x="1070" y="725"/>
                  <a:pt x="1070" y="724"/>
                </a:cubicBezTo>
                <a:cubicBezTo>
                  <a:pt x="1070" y="723"/>
                  <a:pt x="1071" y="723"/>
                  <a:pt x="1071" y="723"/>
                </a:cubicBezTo>
                <a:cubicBezTo>
                  <a:pt x="1072" y="721"/>
                  <a:pt x="1074" y="720"/>
                  <a:pt x="1075" y="719"/>
                </a:cubicBezTo>
                <a:cubicBezTo>
                  <a:pt x="1076" y="717"/>
                  <a:pt x="1074" y="714"/>
                  <a:pt x="1075" y="712"/>
                </a:cubicBezTo>
                <a:cubicBezTo>
                  <a:pt x="1076" y="710"/>
                  <a:pt x="1078" y="709"/>
                  <a:pt x="1079" y="707"/>
                </a:cubicBezTo>
                <a:cubicBezTo>
                  <a:pt x="1080" y="705"/>
                  <a:pt x="1079" y="704"/>
                  <a:pt x="1077" y="703"/>
                </a:cubicBezTo>
                <a:cubicBezTo>
                  <a:pt x="1076" y="703"/>
                  <a:pt x="1076" y="702"/>
                  <a:pt x="1075" y="701"/>
                </a:cubicBezTo>
                <a:cubicBezTo>
                  <a:pt x="1074" y="700"/>
                  <a:pt x="1074" y="699"/>
                  <a:pt x="1074" y="697"/>
                </a:cubicBezTo>
                <a:cubicBezTo>
                  <a:pt x="1074" y="694"/>
                  <a:pt x="1072" y="693"/>
                  <a:pt x="1071" y="691"/>
                </a:cubicBezTo>
                <a:cubicBezTo>
                  <a:pt x="1070" y="690"/>
                  <a:pt x="1069" y="687"/>
                  <a:pt x="1071" y="686"/>
                </a:cubicBezTo>
                <a:cubicBezTo>
                  <a:pt x="1073" y="685"/>
                  <a:pt x="1075" y="683"/>
                  <a:pt x="1077" y="682"/>
                </a:cubicBezTo>
                <a:cubicBezTo>
                  <a:pt x="1078" y="681"/>
                  <a:pt x="1080" y="680"/>
                  <a:pt x="1081" y="680"/>
                </a:cubicBezTo>
                <a:cubicBezTo>
                  <a:pt x="1082" y="679"/>
                  <a:pt x="1084" y="680"/>
                  <a:pt x="1085" y="680"/>
                </a:cubicBezTo>
                <a:cubicBezTo>
                  <a:pt x="1090" y="682"/>
                  <a:pt x="1096" y="683"/>
                  <a:pt x="1102" y="685"/>
                </a:cubicBezTo>
                <a:cubicBezTo>
                  <a:pt x="1104" y="685"/>
                  <a:pt x="1105" y="686"/>
                  <a:pt x="1106" y="686"/>
                </a:cubicBezTo>
                <a:cubicBezTo>
                  <a:pt x="1107" y="686"/>
                  <a:pt x="1109" y="686"/>
                  <a:pt x="1109" y="687"/>
                </a:cubicBezTo>
                <a:cubicBezTo>
                  <a:pt x="1109" y="688"/>
                  <a:pt x="1108" y="688"/>
                  <a:pt x="1108" y="689"/>
                </a:cubicBezTo>
                <a:cubicBezTo>
                  <a:pt x="1107" y="691"/>
                  <a:pt x="1111" y="689"/>
                  <a:pt x="1111" y="689"/>
                </a:cubicBezTo>
                <a:cubicBezTo>
                  <a:pt x="1113" y="688"/>
                  <a:pt x="1116" y="687"/>
                  <a:pt x="1118" y="687"/>
                </a:cubicBezTo>
                <a:cubicBezTo>
                  <a:pt x="1121" y="688"/>
                  <a:pt x="1123" y="690"/>
                  <a:pt x="1126" y="692"/>
                </a:cubicBezTo>
                <a:cubicBezTo>
                  <a:pt x="1127" y="692"/>
                  <a:pt x="1130" y="694"/>
                  <a:pt x="1130" y="691"/>
                </a:cubicBezTo>
                <a:cubicBezTo>
                  <a:pt x="1130" y="689"/>
                  <a:pt x="1129" y="688"/>
                  <a:pt x="1131" y="688"/>
                </a:cubicBezTo>
                <a:cubicBezTo>
                  <a:pt x="1133" y="687"/>
                  <a:pt x="1136" y="687"/>
                  <a:pt x="1138" y="686"/>
                </a:cubicBezTo>
                <a:cubicBezTo>
                  <a:pt x="1140" y="684"/>
                  <a:pt x="1142" y="682"/>
                  <a:pt x="1145" y="683"/>
                </a:cubicBezTo>
                <a:cubicBezTo>
                  <a:pt x="1148" y="684"/>
                  <a:pt x="1149" y="686"/>
                  <a:pt x="1151" y="687"/>
                </a:cubicBezTo>
                <a:cubicBezTo>
                  <a:pt x="1153" y="688"/>
                  <a:pt x="1154" y="689"/>
                  <a:pt x="1155" y="689"/>
                </a:cubicBezTo>
                <a:cubicBezTo>
                  <a:pt x="1156" y="689"/>
                  <a:pt x="1158" y="689"/>
                  <a:pt x="1159" y="690"/>
                </a:cubicBezTo>
                <a:cubicBezTo>
                  <a:pt x="1160" y="690"/>
                  <a:pt x="1161" y="691"/>
                  <a:pt x="1161" y="692"/>
                </a:cubicBezTo>
                <a:cubicBezTo>
                  <a:pt x="1162" y="693"/>
                  <a:pt x="1161" y="694"/>
                  <a:pt x="1160" y="695"/>
                </a:cubicBezTo>
                <a:cubicBezTo>
                  <a:pt x="1160" y="696"/>
                  <a:pt x="1160" y="699"/>
                  <a:pt x="1162" y="699"/>
                </a:cubicBezTo>
                <a:cubicBezTo>
                  <a:pt x="1163" y="700"/>
                  <a:pt x="1164" y="697"/>
                  <a:pt x="1165" y="697"/>
                </a:cubicBezTo>
                <a:cubicBezTo>
                  <a:pt x="1168" y="697"/>
                  <a:pt x="1170" y="700"/>
                  <a:pt x="1170" y="702"/>
                </a:cubicBezTo>
                <a:cubicBezTo>
                  <a:pt x="1170" y="704"/>
                  <a:pt x="1168" y="704"/>
                  <a:pt x="1168" y="705"/>
                </a:cubicBezTo>
                <a:cubicBezTo>
                  <a:pt x="1168" y="706"/>
                  <a:pt x="1167" y="707"/>
                  <a:pt x="1168" y="707"/>
                </a:cubicBezTo>
                <a:cubicBezTo>
                  <a:pt x="1169" y="707"/>
                  <a:pt x="1170" y="706"/>
                  <a:pt x="1171" y="706"/>
                </a:cubicBezTo>
                <a:cubicBezTo>
                  <a:pt x="1172" y="705"/>
                  <a:pt x="1172" y="704"/>
                  <a:pt x="1173" y="704"/>
                </a:cubicBezTo>
                <a:cubicBezTo>
                  <a:pt x="1174" y="703"/>
                  <a:pt x="1175" y="703"/>
                  <a:pt x="1176" y="703"/>
                </a:cubicBezTo>
                <a:cubicBezTo>
                  <a:pt x="1177" y="703"/>
                  <a:pt x="1178" y="703"/>
                  <a:pt x="1178" y="703"/>
                </a:cubicBezTo>
                <a:cubicBezTo>
                  <a:pt x="1179" y="704"/>
                  <a:pt x="1178" y="706"/>
                  <a:pt x="1178" y="706"/>
                </a:cubicBezTo>
                <a:cubicBezTo>
                  <a:pt x="1176" y="708"/>
                  <a:pt x="1175" y="710"/>
                  <a:pt x="1176" y="712"/>
                </a:cubicBezTo>
                <a:cubicBezTo>
                  <a:pt x="1177" y="713"/>
                  <a:pt x="1178" y="713"/>
                  <a:pt x="1179" y="714"/>
                </a:cubicBezTo>
                <a:cubicBezTo>
                  <a:pt x="1181" y="715"/>
                  <a:pt x="1182" y="716"/>
                  <a:pt x="1183" y="716"/>
                </a:cubicBezTo>
                <a:cubicBezTo>
                  <a:pt x="1186" y="718"/>
                  <a:pt x="1188" y="719"/>
                  <a:pt x="1191" y="719"/>
                </a:cubicBezTo>
                <a:cubicBezTo>
                  <a:pt x="1194" y="720"/>
                  <a:pt x="1197" y="720"/>
                  <a:pt x="1200" y="720"/>
                </a:cubicBezTo>
                <a:cubicBezTo>
                  <a:pt x="1202" y="719"/>
                  <a:pt x="1205" y="718"/>
                  <a:pt x="1205" y="720"/>
                </a:cubicBezTo>
                <a:cubicBezTo>
                  <a:pt x="1206" y="722"/>
                  <a:pt x="1207" y="726"/>
                  <a:pt x="1209" y="725"/>
                </a:cubicBezTo>
                <a:cubicBezTo>
                  <a:pt x="1210" y="724"/>
                  <a:pt x="1211" y="723"/>
                  <a:pt x="1212" y="723"/>
                </a:cubicBezTo>
                <a:cubicBezTo>
                  <a:pt x="1213" y="722"/>
                  <a:pt x="1213" y="722"/>
                  <a:pt x="1213" y="721"/>
                </a:cubicBezTo>
                <a:cubicBezTo>
                  <a:pt x="1214" y="720"/>
                  <a:pt x="1214" y="720"/>
                  <a:pt x="1215" y="721"/>
                </a:cubicBezTo>
                <a:cubicBezTo>
                  <a:pt x="1216" y="722"/>
                  <a:pt x="1216" y="723"/>
                  <a:pt x="1216" y="724"/>
                </a:cubicBezTo>
                <a:cubicBezTo>
                  <a:pt x="1217" y="726"/>
                  <a:pt x="1213" y="727"/>
                  <a:pt x="1212" y="728"/>
                </a:cubicBezTo>
                <a:cubicBezTo>
                  <a:pt x="1212" y="729"/>
                  <a:pt x="1212" y="730"/>
                  <a:pt x="1212" y="731"/>
                </a:cubicBezTo>
                <a:cubicBezTo>
                  <a:pt x="1210" y="732"/>
                  <a:pt x="1210" y="732"/>
                  <a:pt x="1210" y="734"/>
                </a:cubicBezTo>
                <a:cubicBezTo>
                  <a:pt x="1210" y="735"/>
                  <a:pt x="1210" y="736"/>
                  <a:pt x="1210" y="737"/>
                </a:cubicBezTo>
                <a:cubicBezTo>
                  <a:pt x="1211" y="738"/>
                  <a:pt x="1212" y="739"/>
                  <a:pt x="1212" y="740"/>
                </a:cubicBezTo>
                <a:cubicBezTo>
                  <a:pt x="1213" y="740"/>
                  <a:pt x="1213" y="741"/>
                  <a:pt x="1213" y="742"/>
                </a:cubicBezTo>
                <a:cubicBezTo>
                  <a:pt x="1212" y="743"/>
                  <a:pt x="1211" y="743"/>
                  <a:pt x="1210" y="743"/>
                </a:cubicBezTo>
                <a:cubicBezTo>
                  <a:pt x="1210" y="744"/>
                  <a:pt x="1210" y="746"/>
                  <a:pt x="1210" y="747"/>
                </a:cubicBezTo>
                <a:cubicBezTo>
                  <a:pt x="1211" y="748"/>
                  <a:pt x="1212" y="748"/>
                  <a:pt x="1213" y="749"/>
                </a:cubicBezTo>
                <a:cubicBezTo>
                  <a:pt x="1214" y="751"/>
                  <a:pt x="1214" y="754"/>
                  <a:pt x="1212" y="756"/>
                </a:cubicBezTo>
                <a:cubicBezTo>
                  <a:pt x="1212" y="756"/>
                  <a:pt x="1211" y="757"/>
                  <a:pt x="1211" y="758"/>
                </a:cubicBezTo>
                <a:cubicBezTo>
                  <a:pt x="1211" y="759"/>
                  <a:pt x="1212" y="760"/>
                  <a:pt x="1212" y="761"/>
                </a:cubicBezTo>
                <a:cubicBezTo>
                  <a:pt x="1212" y="762"/>
                  <a:pt x="1211" y="762"/>
                  <a:pt x="1211" y="763"/>
                </a:cubicBezTo>
                <a:cubicBezTo>
                  <a:pt x="1211" y="765"/>
                  <a:pt x="1212" y="764"/>
                  <a:pt x="1213" y="764"/>
                </a:cubicBezTo>
                <a:cubicBezTo>
                  <a:pt x="1214" y="764"/>
                  <a:pt x="1217" y="764"/>
                  <a:pt x="1217" y="766"/>
                </a:cubicBezTo>
                <a:cubicBezTo>
                  <a:pt x="1217" y="766"/>
                  <a:pt x="1217" y="767"/>
                  <a:pt x="1217" y="768"/>
                </a:cubicBezTo>
                <a:cubicBezTo>
                  <a:pt x="1217" y="769"/>
                  <a:pt x="1216" y="768"/>
                  <a:pt x="1215" y="769"/>
                </a:cubicBezTo>
                <a:cubicBezTo>
                  <a:pt x="1214" y="770"/>
                  <a:pt x="1215" y="772"/>
                  <a:pt x="1214" y="773"/>
                </a:cubicBezTo>
                <a:cubicBezTo>
                  <a:pt x="1214" y="775"/>
                  <a:pt x="1211" y="770"/>
                  <a:pt x="1210" y="770"/>
                </a:cubicBezTo>
                <a:cubicBezTo>
                  <a:pt x="1209" y="769"/>
                  <a:pt x="1209" y="770"/>
                  <a:pt x="1209" y="771"/>
                </a:cubicBezTo>
                <a:cubicBezTo>
                  <a:pt x="1210" y="772"/>
                  <a:pt x="1209" y="773"/>
                  <a:pt x="1209" y="773"/>
                </a:cubicBezTo>
                <a:cubicBezTo>
                  <a:pt x="1207" y="774"/>
                  <a:pt x="1205" y="774"/>
                  <a:pt x="1204" y="775"/>
                </a:cubicBezTo>
                <a:cubicBezTo>
                  <a:pt x="1202" y="776"/>
                  <a:pt x="1202" y="778"/>
                  <a:pt x="1204" y="778"/>
                </a:cubicBezTo>
                <a:cubicBezTo>
                  <a:pt x="1206" y="779"/>
                  <a:pt x="1208" y="779"/>
                  <a:pt x="1208" y="781"/>
                </a:cubicBezTo>
                <a:cubicBezTo>
                  <a:pt x="1209" y="782"/>
                  <a:pt x="1212" y="781"/>
                  <a:pt x="1212" y="780"/>
                </a:cubicBezTo>
                <a:cubicBezTo>
                  <a:pt x="1214" y="779"/>
                  <a:pt x="1215" y="776"/>
                  <a:pt x="1218" y="775"/>
                </a:cubicBezTo>
                <a:cubicBezTo>
                  <a:pt x="1220" y="774"/>
                  <a:pt x="1223" y="774"/>
                  <a:pt x="1225" y="774"/>
                </a:cubicBezTo>
                <a:cubicBezTo>
                  <a:pt x="1226" y="774"/>
                  <a:pt x="1227" y="774"/>
                  <a:pt x="1228" y="774"/>
                </a:cubicBezTo>
                <a:cubicBezTo>
                  <a:pt x="1230" y="774"/>
                  <a:pt x="1231" y="775"/>
                  <a:pt x="1232" y="775"/>
                </a:cubicBezTo>
                <a:cubicBezTo>
                  <a:pt x="1234" y="777"/>
                  <a:pt x="1236" y="779"/>
                  <a:pt x="1236" y="781"/>
                </a:cubicBezTo>
                <a:cubicBezTo>
                  <a:pt x="1236" y="783"/>
                  <a:pt x="1236" y="784"/>
                  <a:pt x="1235" y="785"/>
                </a:cubicBezTo>
                <a:cubicBezTo>
                  <a:pt x="1235" y="786"/>
                  <a:pt x="1235" y="788"/>
                  <a:pt x="1235" y="789"/>
                </a:cubicBezTo>
                <a:cubicBezTo>
                  <a:pt x="1234" y="792"/>
                  <a:pt x="1232" y="793"/>
                  <a:pt x="1230" y="794"/>
                </a:cubicBezTo>
                <a:cubicBezTo>
                  <a:pt x="1228" y="795"/>
                  <a:pt x="1226" y="795"/>
                  <a:pt x="1224" y="796"/>
                </a:cubicBezTo>
                <a:cubicBezTo>
                  <a:pt x="1222" y="798"/>
                  <a:pt x="1219" y="799"/>
                  <a:pt x="1218" y="801"/>
                </a:cubicBezTo>
                <a:cubicBezTo>
                  <a:pt x="1217" y="803"/>
                  <a:pt x="1219" y="802"/>
                  <a:pt x="1220" y="801"/>
                </a:cubicBezTo>
                <a:cubicBezTo>
                  <a:pt x="1222" y="800"/>
                  <a:pt x="1223" y="799"/>
                  <a:pt x="1225" y="798"/>
                </a:cubicBezTo>
                <a:cubicBezTo>
                  <a:pt x="1228" y="797"/>
                  <a:pt x="1231" y="796"/>
                  <a:pt x="1234" y="795"/>
                </a:cubicBezTo>
                <a:cubicBezTo>
                  <a:pt x="1236" y="794"/>
                  <a:pt x="1236" y="792"/>
                  <a:pt x="1237" y="790"/>
                </a:cubicBezTo>
                <a:cubicBezTo>
                  <a:pt x="1237" y="788"/>
                  <a:pt x="1237" y="788"/>
                  <a:pt x="1238" y="787"/>
                </a:cubicBezTo>
                <a:cubicBezTo>
                  <a:pt x="1238" y="785"/>
                  <a:pt x="1238" y="784"/>
                  <a:pt x="1239" y="783"/>
                </a:cubicBezTo>
                <a:cubicBezTo>
                  <a:pt x="1240" y="782"/>
                  <a:pt x="1242" y="784"/>
                  <a:pt x="1242" y="785"/>
                </a:cubicBezTo>
                <a:cubicBezTo>
                  <a:pt x="1242" y="787"/>
                  <a:pt x="1242" y="789"/>
                  <a:pt x="1241" y="790"/>
                </a:cubicBezTo>
                <a:cubicBezTo>
                  <a:pt x="1240" y="791"/>
                  <a:pt x="1239" y="792"/>
                  <a:pt x="1238" y="793"/>
                </a:cubicBezTo>
                <a:cubicBezTo>
                  <a:pt x="1238" y="794"/>
                  <a:pt x="1238" y="795"/>
                  <a:pt x="1239" y="794"/>
                </a:cubicBezTo>
                <a:cubicBezTo>
                  <a:pt x="1241" y="793"/>
                  <a:pt x="1243" y="791"/>
                  <a:pt x="1244" y="789"/>
                </a:cubicBezTo>
                <a:cubicBezTo>
                  <a:pt x="1244" y="789"/>
                  <a:pt x="1245" y="785"/>
                  <a:pt x="1246" y="787"/>
                </a:cubicBezTo>
                <a:cubicBezTo>
                  <a:pt x="1246" y="788"/>
                  <a:pt x="1246" y="790"/>
                  <a:pt x="1246" y="791"/>
                </a:cubicBezTo>
                <a:cubicBezTo>
                  <a:pt x="1246" y="793"/>
                  <a:pt x="1245" y="796"/>
                  <a:pt x="1245" y="798"/>
                </a:cubicBezTo>
                <a:cubicBezTo>
                  <a:pt x="1245" y="798"/>
                  <a:pt x="1246" y="799"/>
                  <a:pt x="1246" y="798"/>
                </a:cubicBezTo>
                <a:cubicBezTo>
                  <a:pt x="1247" y="796"/>
                  <a:pt x="1247" y="794"/>
                  <a:pt x="1248" y="793"/>
                </a:cubicBezTo>
                <a:cubicBezTo>
                  <a:pt x="1250" y="788"/>
                  <a:pt x="1257" y="787"/>
                  <a:pt x="1261" y="786"/>
                </a:cubicBezTo>
                <a:cubicBezTo>
                  <a:pt x="1264" y="785"/>
                  <a:pt x="1265" y="784"/>
                  <a:pt x="1266" y="781"/>
                </a:cubicBezTo>
                <a:cubicBezTo>
                  <a:pt x="1266" y="779"/>
                  <a:pt x="1268" y="775"/>
                  <a:pt x="1271" y="777"/>
                </a:cubicBezTo>
                <a:cubicBezTo>
                  <a:pt x="1271" y="778"/>
                  <a:pt x="1272" y="779"/>
                  <a:pt x="1273" y="780"/>
                </a:cubicBezTo>
                <a:cubicBezTo>
                  <a:pt x="1274" y="780"/>
                  <a:pt x="1274" y="781"/>
                  <a:pt x="1274" y="782"/>
                </a:cubicBezTo>
                <a:cubicBezTo>
                  <a:pt x="1274" y="783"/>
                  <a:pt x="1272" y="790"/>
                  <a:pt x="1275" y="788"/>
                </a:cubicBezTo>
                <a:cubicBezTo>
                  <a:pt x="1277" y="786"/>
                  <a:pt x="1276" y="784"/>
                  <a:pt x="1278" y="782"/>
                </a:cubicBezTo>
                <a:cubicBezTo>
                  <a:pt x="1279" y="781"/>
                  <a:pt x="1276" y="780"/>
                  <a:pt x="1277" y="778"/>
                </a:cubicBezTo>
                <a:cubicBezTo>
                  <a:pt x="1277" y="777"/>
                  <a:pt x="1278" y="777"/>
                  <a:pt x="1278" y="776"/>
                </a:cubicBezTo>
                <a:cubicBezTo>
                  <a:pt x="1279" y="775"/>
                  <a:pt x="1278" y="775"/>
                  <a:pt x="1278" y="774"/>
                </a:cubicBezTo>
                <a:cubicBezTo>
                  <a:pt x="1278" y="773"/>
                  <a:pt x="1278" y="772"/>
                  <a:pt x="1279" y="773"/>
                </a:cubicBezTo>
                <a:cubicBezTo>
                  <a:pt x="1280" y="773"/>
                  <a:pt x="1281" y="773"/>
                  <a:pt x="1282" y="772"/>
                </a:cubicBezTo>
                <a:cubicBezTo>
                  <a:pt x="1282" y="770"/>
                  <a:pt x="1287" y="771"/>
                  <a:pt x="1286" y="770"/>
                </a:cubicBezTo>
                <a:cubicBezTo>
                  <a:pt x="1285" y="769"/>
                  <a:pt x="1283" y="769"/>
                  <a:pt x="1282" y="768"/>
                </a:cubicBezTo>
                <a:cubicBezTo>
                  <a:pt x="1281" y="767"/>
                  <a:pt x="1282" y="767"/>
                  <a:pt x="1283" y="767"/>
                </a:cubicBezTo>
                <a:cubicBezTo>
                  <a:pt x="1284" y="766"/>
                  <a:pt x="1285" y="766"/>
                  <a:pt x="1286" y="765"/>
                </a:cubicBezTo>
                <a:cubicBezTo>
                  <a:pt x="1286" y="764"/>
                  <a:pt x="1286" y="763"/>
                  <a:pt x="1286" y="763"/>
                </a:cubicBezTo>
                <a:cubicBezTo>
                  <a:pt x="1287" y="761"/>
                  <a:pt x="1289" y="762"/>
                  <a:pt x="1290" y="762"/>
                </a:cubicBezTo>
                <a:cubicBezTo>
                  <a:pt x="1290" y="762"/>
                  <a:pt x="1292" y="762"/>
                  <a:pt x="1292" y="762"/>
                </a:cubicBezTo>
                <a:cubicBezTo>
                  <a:pt x="1292" y="761"/>
                  <a:pt x="1290" y="760"/>
                  <a:pt x="1290" y="760"/>
                </a:cubicBezTo>
                <a:cubicBezTo>
                  <a:pt x="1287" y="759"/>
                  <a:pt x="1286" y="757"/>
                  <a:pt x="1285" y="754"/>
                </a:cubicBezTo>
                <a:cubicBezTo>
                  <a:pt x="1284" y="753"/>
                  <a:pt x="1284" y="749"/>
                  <a:pt x="1287" y="750"/>
                </a:cubicBezTo>
                <a:cubicBezTo>
                  <a:pt x="1288" y="751"/>
                  <a:pt x="1289" y="751"/>
                  <a:pt x="1291" y="752"/>
                </a:cubicBezTo>
                <a:cubicBezTo>
                  <a:pt x="1291" y="752"/>
                  <a:pt x="1293" y="752"/>
                  <a:pt x="1292" y="751"/>
                </a:cubicBezTo>
                <a:cubicBezTo>
                  <a:pt x="1291" y="750"/>
                  <a:pt x="1291" y="750"/>
                  <a:pt x="1290" y="749"/>
                </a:cubicBezTo>
                <a:cubicBezTo>
                  <a:pt x="1290" y="748"/>
                  <a:pt x="1291" y="747"/>
                  <a:pt x="1292" y="747"/>
                </a:cubicBezTo>
                <a:cubicBezTo>
                  <a:pt x="1292" y="747"/>
                  <a:pt x="1295" y="747"/>
                  <a:pt x="1295" y="746"/>
                </a:cubicBezTo>
                <a:cubicBezTo>
                  <a:pt x="1295" y="745"/>
                  <a:pt x="1294" y="745"/>
                  <a:pt x="1293" y="744"/>
                </a:cubicBezTo>
                <a:cubicBezTo>
                  <a:pt x="1293" y="743"/>
                  <a:pt x="1294" y="742"/>
                  <a:pt x="1294" y="742"/>
                </a:cubicBezTo>
                <a:cubicBezTo>
                  <a:pt x="1295" y="741"/>
                  <a:pt x="1295" y="740"/>
                  <a:pt x="1295" y="739"/>
                </a:cubicBezTo>
                <a:cubicBezTo>
                  <a:pt x="1296" y="738"/>
                  <a:pt x="1297" y="739"/>
                  <a:pt x="1297" y="740"/>
                </a:cubicBezTo>
                <a:cubicBezTo>
                  <a:pt x="1297" y="742"/>
                  <a:pt x="1297" y="743"/>
                  <a:pt x="1297" y="744"/>
                </a:cubicBezTo>
                <a:cubicBezTo>
                  <a:pt x="1297" y="745"/>
                  <a:pt x="1298" y="746"/>
                  <a:pt x="1299" y="747"/>
                </a:cubicBezTo>
                <a:cubicBezTo>
                  <a:pt x="1299" y="747"/>
                  <a:pt x="1299" y="749"/>
                  <a:pt x="1300" y="749"/>
                </a:cubicBezTo>
                <a:cubicBezTo>
                  <a:pt x="1301" y="749"/>
                  <a:pt x="1302" y="749"/>
                  <a:pt x="1302" y="748"/>
                </a:cubicBezTo>
                <a:cubicBezTo>
                  <a:pt x="1303" y="748"/>
                  <a:pt x="1303" y="747"/>
                  <a:pt x="1304" y="747"/>
                </a:cubicBezTo>
                <a:cubicBezTo>
                  <a:pt x="1305" y="746"/>
                  <a:pt x="1305" y="748"/>
                  <a:pt x="1305" y="748"/>
                </a:cubicBezTo>
                <a:cubicBezTo>
                  <a:pt x="1304" y="749"/>
                  <a:pt x="1304" y="749"/>
                  <a:pt x="1305" y="751"/>
                </a:cubicBezTo>
                <a:cubicBezTo>
                  <a:pt x="1305" y="751"/>
                  <a:pt x="1305" y="753"/>
                  <a:pt x="1305" y="753"/>
                </a:cubicBezTo>
                <a:cubicBezTo>
                  <a:pt x="1306" y="754"/>
                  <a:pt x="1307" y="754"/>
                  <a:pt x="1307" y="755"/>
                </a:cubicBezTo>
                <a:cubicBezTo>
                  <a:pt x="1307" y="756"/>
                  <a:pt x="1306" y="757"/>
                  <a:pt x="1307" y="758"/>
                </a:cubicBezTo>
                <a:cubicBezTo>
                  <a:pt x="1308" y="759"/>
                  <a:pt x="1311" y="758"/>
                  <a:pt x="1312" y="758"/>
                </a:cubicBezTo>
                <a:cubicBezTo>
                  <a:pt x="1315" y="760"/>
                  <a:pt x="1310" y="760"/>
                  <a:pt x="1310" y="761"/>
                </a:cubicBezTo>
                <a:cubicBezTo>
                  <a:pt x="1309" y="762"/>
                  <a:pt x="1310" y="762"/>
                  <a:pt x="1311" y="762"/>
                </a:cubicBezTo>
                <a:cubicBezTo>
                  <a:pt x="1312" y="762"/>
                  <a:pt x="1313" y="763"/>
                  <a:pt x="1313" y="764"/>
                </a:cubicBezTo>
                <a:cubicBezTo>
                  <a:pt x="1313" y="765"/>
                  <a:pt x="1314" y="765"/>
                  <a:pt x="1315" y="765"/>
                </a:cubicBezTo>
                <a:cubicBezTo>
                  <a:pt x="1316" y="765"/>
                  <a:pt x="1316" y="766"/>
                  <a:pt x="1316" y="766"/>
                </a:cubicBezTo>
                <a:cubicBezTo>
                  <a:pt x="1317" y="767"/>
                  <a:pt x="1318" y="767"/>
                  <a:pt x="1318" y="768"/>
                </a:cubicBezTo>
                <a:cubicBezTo>
                  <a:pt x="1318" y="769"/>
                  <a:pt x="1315" y="769"/>
                  <a:pt x="1314" y="769"/>
                </a:cubicBezTo>
                <a:cubicBezTo>
                  <a:pt x="1313" y="768"/>
                  <a:pt x="1309" y="768"/>
                  <a:pt x="1309" y="770"/>
                </a:cubicBezTo>
                <a:cubicBezTo>
                  <a:pt x="1309" y="772"/>
                  <a:pt x="1310" y="774"/>
                  <a:pt x="1312" y="772"/>
                </a:cubicBezTo>
                <a:cubicBezTo>
                  <a:pt x="1313" y="769"/>
                  <a:pt x="1315" y="771"/>
                  <a:pt x="1318" y="771"/>
                </a:cubicBezTo>
                <a:cubicBezTo>
                  <a:pt x="1318" y="771"/>
                  <a:pt x="1319" y="770"/>
                  <a:pt x="1320" y="769"/>
                </a:cubicBezTo>
                <a:cubicBezTo>
                  <a:pt x="1320" y="769"/>
                  <a:pt x="1321" y="769"/>
                  <a:pt x="1322" y="770"/>
                </a:cubicBezTo>
                <a:cubicBezTo>
                  <a:pt x="1324" y="770"/>
                  <a:pt x="1321" y="771"/>
                  <a:pt x="1321" y="773"/>
                </a:cubicBezTo>
                <a:cubicBezTo>
                  <a:pt x="1321" y="774"/>
                  <a:pt x="1321" y="775"/>
                  <a:pt x="1321" y="775"/>
                </a:cubicBezTo>
                <a:cubicBezTo>
                  <a:pt x="1322" y="776"/>
                  <a:pt x="1323" y="776"/>
                  <a:pt x="1324" y="776"/>
                </a:cubicBezTo>
                <a:cubicBezTo>
                  <a:pt x="1325" y="775"/>
                  <a:pt x="1328" y="775"/>
                  <a:pt x="1327" y="777"/>
                </a:cubicBezTo>
                <a:cubicBezTo>
                  <a:pt x="1326" y="778"/>
                  <a:pt x="1326" y="779"/>
                  <a:pt x="1327" y="780"/>
                </a:cubicBezTo>
                <a:cubicBezTo>
                  <a:pt x="1328" y="781"/>
                  <a:pt x="1327" y="782"/>
                  <a:pt x="1326" y="782"/>
                </a:cubicBezTo>
                <a:cubicBezTo>
                  <a:pt x="1323" y="783"/>
                  <a:pt x="1322" y="783"/>
                  <a:pt x="1319" y="783"/>
                </a:cubicBezTo>
                <a:cubicBezTo>
                  <a:pt x="1319" y="783"/>
                  <a:pt x="1317" y="783"/>
                  <a:pt x="1318" y="784"/>
                </a:cubicBezTo>
                <a:cubicBezTo>
                  <a:pt x="1318" y="786"/>
                  <a:pt x="1318" y="786"/>
                  <a:pt x="1317" y="787"/>
                </a:cubicBezTo>
                <a:cubicBezTo>
                  <a:pt x="1317" y="787"/>
                  <a:pt x="1316" y="788"/>
                  <a:pt x="1316" y="789"/>
                </a:cubicBezTo>
                <a:cubicBezTo>
                  <a:pt x="1317" y="789"/>
                  <a:pt x="1318" y="788"/>
                  <a:pt x="1319" y="787"/>
                </a:cubicBezTo>
                <a:cubicBezTo>
                  <a:pt x="1320" y="786"/>
                  <a:pt x="1321" y="786"/>
                  <a:pt x="1322" y="785"/>
                </a:cubicBezTo>
                <a:cubicBezTo>
                  <a:pt x="1323" y="784"/>
                  <a:pt x="1323" y="785"/>
                  <a:pt x="1323" y="786"/>
                </a:cubicBezTo>
                <a:cubicBezTo>
                  <a:pt x="1323" y="787"/>
                  <a:pt x="1325" y="787"/>
                  <a:pt x="1325" y="787"/>
                </a:cubicBezTo>
                <a:cubicBezTo>
                  <a:pt x="1326" y="786"/>
                  <a:pt x="1326" y="786"/>
                  <a:pt x="1327" y="785"/>
                </a:cubicBezTo>
                <a:cubicBezTo>
                  <a:pt x="1328" y="784"/>
                  <a:pt x="1331" y="784"/>
                  <a:pt x="1333" y="784"/>
                </a:cubicBezTo>
                <a:cubicBezTo>
                  <a:pt x="1335" y="784"/>
                  <a:pt x="1334" y="787"/>
                  <a:pt x="1332" y="788"/>
                </a:cubicBezTo>
                <a:cubicBezTo>
                  <a:pt x="1331" y="788"/>
                  <a:pt x="1330" y="788"/>
                  <a:pt x="1329" y="789"/>
                </a:cubicBezTo>
                <a:cubicBezTo>
                  <a:pt x="1328" y="789"/>
                  <a:pt x="1328" y="790"/>
                  <a:pt x="1326" y="791"/>
                </a:cubicBezTo>
                <a:cubicBezTo>
                  <a:pt x="1325" y="793"/>
                  <a:pt x="1322" y="792"/>
                  <a:pt x="1321" y="794"/>
                </a:cubicBezTo>
                <a:cubicBezTo>
                  <a:pt x="1320" y="795"/>
                  <a:pt x="1320" y="796"/>
                  <a:pt x="1321" y="797"/>
                </a:cubicBezTo>
                <a:cubicBezTo>
                  <a:pt x="1323" y="797"/>
                  <a:pt x="1323" y="796"/>
                  <a:pt x="1324" y="796"/>
                </a:cubicBezTo>
                <a:cubicBezTo>
                  <a:pt x="1325" y="795"/>
                  <a:pt x="1325" y="794"/>
                  <a:pt x="1326" y="794"/>
                </a:cubicBezTo>
                <a:cubicBezTo>
                  <a:pt x="1328" y="794"/>
                  <a:pt x="1328" y="793"/>
                  <a:pt x="1329" y="792"/>
                </a:cubicBezTo>
                <a:cubicBezTo>
                  <a:pt x="1330" y="792"/>
                  <a:pt x="1333" y="792"/>
                  <a:pt x="1334" y="793"/>
                </a:cubicBezTo>
                <a:cubicBezTo>
                  <a:pt x="1336" y="794"/>
                  <a:pt x="1333" y="796"/>
                  <a:pt x="1332" y="796"/>
                </a:cubicBezTo>
                <a:cubicBezTo>
                  <a:pt x="1330" y="798"/>
                  <a:pt x="1334" y="798"/>
                  <a:pt x="1335" y="798"/>
                </a:cubicBezTo>
                <a:cubicBezTo>
                  <a:pt x="1336" y="799"/>
                  <a:pt x="1336" y="799"/>
                  <a:pt x="1337" y="799"/>
                </a:cubicBezTo>
                <a:cubicBezTo>
                  <a:pt x="1339" y="799"/>
                  <a:pt x="1340" y="800"/>
                  <a:pt x="1340" y="801"/>
                </a:cubicBezTo>
                <a:cubicBezTo>
                  <a:pt x="1341" y="802"/>
                  <a:pt x="1345" y="804"/>
                  <a:pt x="1342" y="806"/>
                </a:cubicBezTo>
                <a:cubicBezTo>
                  <a:pt x="1341" y="807"/>
                  <a:pt x="1340" y="806"/>
                  <a:pt x="1339" y="807"/>
                </a:cubicBezTo>
                <a:cubicBezTo>
                  <a:pt x="1338" y="807"/>
                  <a:pt x="1338" y="808"/>
                  <a:pt x="1337" y="808"/>
                </a:cubicBezTo>
                <a:cubicBezTo>
                  <a:pt x="1336" y="808"/>
                  <a:pt x="1335" y="807"/>
                  <a:pt x="1334" y="807"/>
                </a:cubicBezTo>
                <a:cubicBezTo>
                  <a:pt x="1333" y="807"/>
                  <a:pt x="1333" y="809"/>
                  <a:pt x="1334" y="809"/>
                </a:cubicBezTo>
                <a:cubicBezTo>
                  <a:pt x="1335" y="809"/>
                  <a:pt x="1336" y="810"/>
                  <a:pt x="1337" y="810"/>
                </a:cubicBezTo>
                <a:cubicBezTo>
                  <a:pt x="1338" y="811"/>
                  <a:pt x="1339" y="810"/>
                  <a:pt x="1340" y="810"/>
                </a:cubicBezTo>
                <a:cubicBezTo>
                  <a:pt x="1341" y="809"/>
                  <a:pt x="1345" y="810"/>
                  <a:pt x="1345" y="812"/>
                </a:cubicBezTo>
                <a:cubicBezTo>
                  <a:pt x="1345" y="813"/>
                  <a:pt x="1342" y="814"/>
                  <a:pt x="1343" y="815"/>
                </a:cubicBezTo>
                <a:cubicBezTo>
                  <a:pt x="1345" y="816"/>
                  <a:pt x="1347" y="817"/>
                  <a:pt x="1348" y="817"/>
                </a:cubicBezTo>
                <a:cubicBezTo>
                  <a:pt x="1350" y="817"/>
                  <a:pt x="1353" y="818"/>
                  <a:pt x="1353" y="820"/>
                </a:cubicBezTo>
                <a:cubicBezTo>
                  <a:pt x="1354" y="821"/>
                  <a:pt x="1351" y="820"/>
                  <a:pt x="1350" y="821"/>
                </a:cubicBezTo>
                <a:cubicBezTo>
                  <a:pt x="1349" y="822"/>
                  <a:pt x="1349" y="823"/>
                  <a:pt x="1348" y="824"/>
                </a:cubicBezTo>
                <a:cubicBezTo>
                  <a:pt x="1347" y="824"/>
                  <a:pt x="1346" y="825"/>
                  <a:pt x="1346" y="826"/>
                </a:cubicBezTo>
                <a:cubicBezTo>
                  <a:pt x="1345" y="827"/>
                  <a:pt x="1341" y="828"/>
                  <a:pt x="1341" y="826"/>
                </a:cubicBezTo>
                <a:cubicBezTo>
                  <a:pt x="1340" y="825"/>
                  <a:pt x="1342" y="825"/>
                  <a:pt x="1343" y="825"/>
                </a:cubicBezTo>
                <a:cubicBezTo>
                  <a:pt x="1343" y="825"/>
                  <a:pt x="1343" y="824"/>
                  <a:pt x="1343" y="824"/>
                </a:cubicBezTo>
                <a:cubicBezTo>
                  <a:pt x="1342" y="823"/>
                  <a:pt x="1341" y="823"/>
                  <a:pt x="1340" y="823"/>
                </a:cubicBezTo>
                <a:cubicBezTo>
                  <a:pt x="1338" y="823"/>
                  <a:pt x="1337" y="824"/>
                  <a:pt x="1336" y="824"/>
                </a:cubicBezTo>
                <a:cubicBezTo>
                  <a:pt x="1335" y="824"/>
                  <a:pt x="1334" y="824"/>
                  <a:pt x="1334" y="825"/>
                </a:cubicBezTo>
                <a:cubicBezTo>
                  <a:pt x="1333" y="826"/>
                  <a:pt x="1333" y="826"/>
                  <a:pt x="1334" y="827"/>
                </a:cubicBezTo>
                <a:cubicBezTo>
                  <a:pt x="1336" y="827"/>
                  <a:pt x="1337" y="827"/>
                  <a:pt x="1338" y="828"/>
                </a:cubicBezTo>
                <a:cubicBezTo>
                  <a:pt x="1339" y="829"/>
                  <a:pt x="1338" y="830"/>
                  <a:pt x="1339" y="830"/>
                </a:cubicBezTo>
                <a:cubicBezTo>
                  <a:pt x="1339" y="831"/>
                  <a:pt x="1341" y="831"/>
                  <a:pt x="1342" y="831"/>
                </a:cubicBezTo>
                <a:cubicBezTo>
                  <a:pt x="1342" y="831"/>
                  <a:pt x="1344" y="831"/>
                  <a:pt x="1345" y="831"/>
                </a:cubicBezTo>
                <a:cubicBezTo>
                  <a:pt x="1346" y="832"/>
                  <a:pt x="1343" y="833"/>
                  <a:pt x="1343" y="833"/>
                </a:cubicBezTo>
                <a:cubicBezTo>
                  <a:pt x="1341" y="834"/>
                  <a:pt x="1345" y="835"/>
                  <a:pt x="1346" y="835"/>
                </a:cubicBezTo>
                <a:cubicBezTo>
                  <a:pt x="1348" y="837"/>
                  <a:pt x="1344" y="837"/>
                  <a:pt x="1344" y="837"/>
                </a:cubicBezTo>
                <a:cubicBezTo>
                  <a:pt x="1343" y="837"/>
                  <a:pt x="1343" y="838"/>
                  <a:pt x="1343" y="839"/>
                </a:cubicBezTo>
                <a:cubicBezTo>
                  <a:pt x="1344" y="840"/>
                  <a:pt x="1345" y="840"/>
                  <a:pt x="1345" y="840"/>
                </a:cubicBezTo>
                <a:cubicBezTo>
                  <a:pt x="1347" y="840"/>
                  <a:pt x="1352" y="839"/>
                  <a:pt x="1353" y="841"/>
                </a:cubicBezTo>
                <a:cubicBezTo>
                  <a:pt x="1353" y="843"/>
                  <a:pt x="1350" y="845"/>
                  <a:pt x="1353" y="845"/>
                </a:cubicBezTo>
                <a:cubicBezTo>
                  <a:pt x="1354" y="846"/>
                  <a:pt x="1355" y="845"/>
                  <a:pt x="1356" y="846"/>
                </a:cubicBezTo>
                <a:cubicBezTo>
                  <a:pt x="1357" y="847"/>
                  <a:pt x="1357" y="848"/>
                  <a:pt x="1358" y="849"/>
                </a:cubicBezTo>
                <a:cubicBezTo>
                  <a:pt x="1359" y="849"/>
                  <a:pt x="1360" y="849"/>
                  <a:pt x="1360" y="849"/>
                </a:cubicBezTo>
                <a:cubicBezTo>
                  <a:pt x="1361" y="849"/>
                  <a:pt x="1360" y="851"/>
                  <a:pt x="1361" y="851"/>
                </a:cubicBezTo>
                <a:cubicBezTo>
                  <a:pt x="1363" y="852"/>
                  <a:pt x="1363" y="851"/>
                  <a:pt x="1364" y="850"/>
                </a:cubicBezTo>
                <a:cubicBezTo>
                  <a:pt x="1366" y="850"/>
                  <a:pt x="1366" y="852"/>
                  <a:pt x="1365" y="853"/>
                </a:cubicBezTo>
                <a:cubicBezTo>
                  <a:pt x="1365" y="853"/>
                  <a:pt x="1365" y="854"/>
                  <a:pt x="1366" y="854"/>
                </a:cubicBezTo>
                <a:cubicBezTo>
                  <a:pt x="1367" y="854"/>
                  <a:pt x="1367" y="854"/>
                  <a:pt x="1368" y="854"/>
                </a:cubicBezTo>
                <a:cubicBezTo>
                  <a:pt x="1370" y="852"/>
                  <a:pt x="1370" y="857"/>
                  <a:pt x="1370" y="858"/>
                </a:cubicBezTo>
                <a:cubicBezTo>
                  <a:pt x="1369" y="861"/>
                  <a:pt x="1367" y="862"/>
                  <a:pt x="1366" y="864"/>
                </a:cubicBezTo>
                <a:cubicBezTo>
                  <a:pt x="1366" y="865"/>
                  <a:pt x="1366" y="866"/>
                  <a:pt x="1366" y="867"/>
                </a:cubicBezTo>
                <a:cubicBezTo>
                  <a:pt x="1365" y="867"/>
                  <a:pt x="1364" y="868"/>
                  <a:pt x="1365" y="869"/>
                </a:cubicBezTo>
                <a:cubicBezTo>
                  <a:pt x="1365" y="869"/>
                  <a:pt x="1366" y="869"/>
                  <a:pt x="1367" y="869"/>
                </a:cubicBezTo>
                <a:cubicBezTo>
                  <a:pt x="1368" y="869"/>
                  <a:pt x="1368" y="868"/>
                  <a:pt x="1368" y="867"/>
                </a:cubicBezTo>
                <a:cubicBezTo>
                  <a:pt x="1368" y="866"/>
                  <a:pt x="1369" y="865"/>
                  <a:pt x="1370" y="865"/>
                </a:cubicBezTo>
                <a:cubicBezTo>
                  <a:pt x="1371" y="865"/>
                  <a:pt x="1371" y="864"/>
                  <a:pt x="1372" y="864"/>
                </a:cubicBezTo>
                <a:cubicBezTo>
                  <a:pt x="1372" y="863"/>
                  <a:pt x="1373" y="863"/>
                  <a:pt x="1373" y="864"/>
                </a:cubicBezTo>
                <a:cubicBezTo>
                  <a:pt x="1374" y="865"/>
                  <a:pt x="1373" y="865"/>
                  <a:pt x="1372" y="866"/>
                </a:cubicBezTo>
                <a:cubicBezTo>
                  <a:pt x="1372" y="866"/>
                  <a:pt x="1371" y="867"/>
                  <a:pt x="1371" y="868"/>
                </a:cubicBezTo>
                <a:cubicBezTo>
                  <a:pt x="1372" y="869"/>
                  <a:pt x="1374" y="868"/>
                  <a:pt x="1374" y="867"/>
                </a:cubicBezTo>
                <a:cubicBezTo>
                  <a:pt x="1375" y="866"/>
                  <a:pt x="1375" y="865"/>
                  <a:pt x="1376" y="865"/>
                </a:cubicBezTo>
                <a:cubicBezTo>
                  <a:pt x="1376" y="864"/>
                  <a:pt x="1377" y="864"/>
                  <a:pt x="1378" y="864"/>
                </a:cubicBezTo>
                <a:cubicBezTo>
                  <a:pt x="1379" y="862"/>
                  <a:pt x="1381" y="864"/>
                  <a:pt x="1379" y="865"/>
                </a:cubicBezTo>
                <a:cubicBezTo>
                  <a:pt x="1379" y="865"/>
                  <a:pt x="1378" y="865"/>
                  <a:pt x="1378" y="866"/>
                </a:cubicBezTo>
                <a:cubicBezTo>
                  <a:pt x="1378" y="866"/>
                  <a:pt x="1378" y="867"/>
                  <a:pt x="1379" y="867"/>
                </a:cubicBezTo>
                <a:cubicBezTo>
                  <a:pt x="1380" y="867"/>
                  <a:pt x="1380" y="866"/>
                  <a:pt x="1380" y="865"/>
                </a:cubicBezTo>
                <a:cubicBezTo>
                  <a:pt x="1381" y="865"/>
                  <a:pt x="1383" y="866"/>
                  <a:pt x="1383" y="866"/>
                </a:cubicBezTo>
                <a:cubicBezTo>
                  <a:pt x="1383" y="867"/>
                  <a:pt x="1382" y="868"/>
                  <a:pt x="1382" y="868"/>
                </a:cubicBezTo>
                <a:cubicBezTo>
                  <a:pt x="1381" y="868"/>
                  <a:pt x="1380" y="869"/>
                  <a:pt x="1380" y="870"/>
                </a:cubicBezTo>
                <a:cubicBezTo>
                  <a:pt x="1379" y="871"/>
                  <a:pt x="1379" y="871"/>
                  <a:pt x="1379" y="872"/>
                </a:cubicBezTo>
                <a:cubicBezTo>
                  <a:pt x="1378" y="873"/>
                  <a:pt x="1377" y="874"/>
                  <a:pt x="1379" y="874"/>
                </a:cubicBezTo>
                <a:cubicBezTo>
                  <a:pt x="1381" y="875"/>
                  <a:pt x="1380" y="872"/>
                  <a:pt x="1381" y="871"/>
                </a:cubicBezTo>
                <a:cubicBezTo>
                  <a:pt x="1382" y="871"/>
                  <a:pt x="1384" y="870"/>
                  <a:pt x="1385" y="869"/>
                </a:cubicBezTo>
                <a:cubicBezTo>
                  <a:pt x="1386" y="869"/>
                  <a:pt x="1386" y="869"/>
                  <a:pt x="1388" y="869"/>
                </a:cubicBezTo>
                <a:cubicBezTo>
                  <a:pt x="1390" y="869"/>
                  <a:pt x="1391" y="867"/>
                  <a:pt x="1394" y="867"/>
                </a:cubicBezTo>
                <a:cubicBezTo>
                  <a:pt x="1395" y="866"/>
                  <a:pt x="1395" y="867"/>
                  <a:pt x="1395" y="868"/>
                </a:cubicBezTo>
                <a:cubicBezTo>
                  <a:pt x="1395" y="870"/>
                  <a:pt x="1394" y="869"/>
                  <a:pt x="1394" y="870"/>
                </a:cubicBezTo>
                <a:cubicBezTo>
                  <a:pt x="1393" y="873"/>
                  <a:pt x="1396" y="873"/>
                  <a:pt x="1398" y="873"/>
                </a:cubicBezTo>
                <a:cubicBezTo>
                  <a:pt x="1399" y="873"/>
                  <a:pt x="1400" y="873"/>
                  <a:pt x="1401" y="873"/>
                </a:cubicBezTo>
                <a:cubicBezTo>
                  <a:pt x="1402" y="874"/>
                  <a:pt x="1403" y="875"/>
                  <a:pt x="1405" y="874"/>
                </a:cubicBezTo>
                <a:cubicBezTo>
                  <a:pt x="1406" y="874"/>
                  <a:pt x="1407" y="874"/>
                  <a:pt x="1408" y="874"/>
                </a:cubicBezTo>
                <a:cubicBezTo>
                  <a:pt x="1409" y="874"/>
                  <a:pt x="1410" y="874"/>
                  <a:pt x="1411" y="875"/>
                </a:cubicBezTo>
                <a:cubicBezTo>
                  <a:pt x="1413" y="875"/>
                  <a:pt x="1414" y="875"/>
                  <a:pt x="1415" y="876"/>
                </a:cubicBezTo>
                <a:cubicBezTo>
                  <a:pt x="1416" y="877"/>
                  <a:pt x="1418" y="877"/>
                  <a:pt x="1419" y="877"/>
                </a:cubicBezTo>
                <a:cubicBezTo>
                  <a:pt x="1420" y="878"/>
                  <a:pt x="1422" y="879"/>
                  <a:pt x="1420" y="880"/>
                </a:cubicBezTo>
                <a:cubicBezTo>
                  <a:pt x="1419" y="880"/>
                  <a:pt x="1418" y="880"/>
                  <a:pt x="1417" y="880"/>
                </a:cubicBezTo>
                <a:cubicBezTo>
                  <a:pt x="1416" y="881"/>
                  <a:pt x="1416" y="882"/>
                  <a:pt x="1415" y="882"/>
                </a:cubicBezTo>
                <a:cubicBezTo>
                  <a:pt x="1413" y="883"/>
                  <a:pt x="1411" y="882"/>
                  <a:pt x="1409" y="883"/>
                </a:cubicBezTo>
                <a:cubicBezTo>
                  <a:pt x="1408" y="883"/>
                  <a:pt x="1408" y="884"/>
                  <a:pt x="1407" y="885"/>
                </a:cubicBezTo>
                <a:cubicBezTo>
                  <a:pt x="1406" y="885"/>
                  <a:pt x="1405" y="886"/>
                  <a:pt x="1404" y="886"/>
                </a:cubicBezTo>
                <a:cubicBezTo>
                  <a:pt x="1402" y="888"/>
                  <a:pt x="1398" y="887"/>
                  <a:pt x="1396" y="888"/>
                </a:cubicBezTo>
                <a:cubicBezTo>
                  <a:pt x="1393" y="888"/>
                  <a:pt x="1390" y="889"/>
                  <a:pt x="1387" y="889"/>
                </a:cubicBezTo>
                <a:cubicBezTo>
                  <a:pt x="1386" y="889"/>
                  <a:pt x="1384" y="889"/>
                  <a:pt x="1384" y="890"/>
                </a:cubicBezTo>
                <a:cubicBezTo>
                  <a:pt x="1385" y="891"/>
                  <a:pt x="1385" y="891"/>
                  <a:pt x="1386" y="891"/>
                </a:cubicBezTo>
                <a:cubicBezTo>
                  <a:pt x="1388" y="891"/>
                  <a:pt x="1389" y="891"/>
                  <a:pt x="1390" y="891"/>
                </a:cubicBezTo>
                <a:cubicBezTo>
                  <a:pt x="1391" y="891"/>
                  <a:pt x="1393" y="891"/>
                  <a:pt x="1392" y="892"/>
                </a:cubicBezTo>
                <a:cubicBezTo>
                  <a:pt x="1392" y="892"/>
                  <a:pt x="1391" y="892"/>
                  <a:pt x="1390" y="893"/>
                </a:cubicBezTo>
                <a:cubicBezTo>
                  <a:pt x="1389" y="893"/>
                  <a:pt x="1388" y="894"/>
                  <a:pt x="1387" y="895"/>
                </a:cubicBezTo>
                <a:cubicBezTo>
                  <a:pt x="1385" y="896"/>
                  <a:pt x="1382" y="895"/>
                  <a:pt x="1379" y="896"/>
                </a:cubicBezTo>
                <a:cubicBezTo>
                  <a:pt x="1378" y="897"/>
                  <a:pt x="1377" y="897"/>
                  <a:pt x="1377" y="898"/>
                </a:cubicBezTo>
                <a:cubicBezTo>
                  <a:pt x="1376" y="899"/>
                  <a:pt x="1376" y="900"/>
                  <a:pt x="1375" y="900"/>
                </a:cubicBezTo>
                <a:cubicBezTo>
                  <a:pt x="1373" y="902"/>
                  <a:pt x="1371" y="900"/>
                  <a:pt x="1369" y="899"/>
                </a:cubicBezTo>
                <a:cubicBezTo>
                  <a:pt x="1368" y="898"/>
                  <a:pt x="1367" y="898"/>
                  <a:pt x="1366" y="897"/>
                </a:cubicBezTo>
                <a:cubicBezTo>
                  <a:pt x="1365" y="897"/>
                  <a:pt x="1364" y="896"/>
                  <a:pt x="1363" y="896"/>
                </a:cubicBezTo>
                <a:cubicBezTo>
                  <a:pt x="1361" y="895"/>
                  <a:pt x="1360" y="899"/>
                  <a:pt x="1362" y="900"/>
                </a:cubicBezTo>
                <a:cubicBezTo>
                  <a:pt x="1363" y="900"/>
                  <a:pt x="1365" y="899"/>
                  <a:pt x="1366" y="900"/>
                </a:cubicBezTo>
                <a:cubicBezTo>
                  <a:pt x="1367" y="900"/>
                  <a:pt x="1368" y="901"/>
                  <a:pt x="1369" y="901"/>
                </a:cubicBezTo>
                <a:cubicBezTo>
                  <a:pt x="1370" y="902"/>
                  <a:pt x="1371" y="902"/>
                  <a:pt x="1372" y="903"/>
                </a:cubicBezTo>
                <a:cubicBezTo>
                  <a:pt x="1373" y="903"/>
                  <a:pt x="1375" y="903"/>
                  <a:pt x="1375" y="904"/>
                </a:cubicBezTo>
                <a:cubicBezTo>
                  <a:pt x="1375" y="904"/>
                  <a:pt x="1372" y="905"/>
                  <a:pt x="1372" y="905"/>
                </a:cubicBezTo>
                <a:cubicBezTo>
                  <a:pt x="1370" y="905"/>
                  <a:pt x="1369" y="907"/>
                  <a:pt x="1370" y="908"/>
                </a:cubicBezTo>
                <a:cubicBezTo>
                  <a:pt x="1372" y="910"/>
                  <a:pt x="1374" y="910"/>
                  <a:pt x="1376" y="908"/>
                </a:cubicBezTo>
                <a:cubicBezTo>
                  <a:pt x="1378" y="906"/>
                  <a:pt x="1378" y="904"/>
                  <a:pt x="1381" y="904"/>
                </a:cubicBezTo>
                <a:cubicBezTo>
                  <a:pt x="1384" y="903"/>
                  <a:pt x="1385" y="903"/>
                  <a:pt x="1387" y="901"/>
                </a:cubicBezTo>
                <a:cubicBezTo>
                  <a:pt x="1388" y="899"/>
                  <a:pt x="1391" y="900"/>
                  <a:pt x="1393" y="898"/>
                </a:cubicBezTo>
                <a:cubicBezTo>
                  <a:pt x="1394" y="898"/>
                  <a:pt x="1394" y="896"/>
                  <a:pt x="1395" y="895"/>
                </a:cubicBezTo>
                <a:cubicBezTo>
                  <a:pt x="1395" y="894"/>
                  <a:pt x="1396" y="894"/>
                  <a:pt x="1397" y="893"/>
                </a:cubicBezTo>
                <a:cubicBezTo>
                  <a:pt x="1398" y="892"/>
                  <a:pt x="1399" y="892"/>
                  <a:pt x="1400" y="891"/>
                </a:cubicBezTo>
                <a:cubicBezTo>
                  <a:pt x="1402" y="891"/>
                  <a:pt x="1403" y="891"/>
                  <a:pt x="1405" y="891"/>
                </a:cubicBezTo>
                <a:cubicBezTo>
                  <a:pt x="1406" y="891"/>
                  <a:pt x="1407" y="890"/>
                  <a:pt x="1408" y="890"/>
                </a:cubicBezTo>
                <a:cubicBezTo>
                  <a:pt x="1409" y="890"/>
                  <a:pt x="1411" y="891"/>
                  <a:pt x="1412" y="890"/>
                </a:cubicBezTo>
                <a:cubicBezTo>
                  <a:pt x="1413" y="890"/>
                  <a:pt x="1412" y="889"/>
                  <a:pt x="1411" y="889"/>
                </a:cubicBezTo>
                <a:cubicBezTo>
                  <a:pt x="1411" y="889"/>
                  <a:pt x="1409" y="887"/>
                  <a:pt x="1411" y="887"/>
                </a:cubicBezTo>
                <a:cubicBezTo>
                  <a:pt x="1412" y="887"/>
                  <a:pt x="1414" y="887"/>
                  <a:pt x="1415" y="887"/>
                </a:cubicBezTo>
                <a:cubicBezTo>
                  <a:pt x="1416" y="887"/>
                  <a:pt x="1417" y="887"/>
                  <a:pt x="1418" y="888"/>
                </a:cubicBezTo>
                <a:cubicBezTo>
                  <a:pt x="1420" y="889"/>
                  <a:pt x="1424" y="891"/>
                  <a:pt x="1425" y="893"/>
                </a:cubicBezTo>
                <a:cubicBezTo>
                  <a:pt x="1426" y="894"/>
                  <a:pt x="1422" y="897"/>
                  <a:pt x="1421" y="898"/>
                </a:cubicBezTo>
                <a:cubicBezTo>
                  <a:pt x="1421" y="898"/>
                  <a:pt x="1419" y="902"/>
                  <a:pt x="1421" y="902"/>
                </a:cubicBezTo>
                <a:cubicBezTo>
                  <a:pt x="1423" y="902"/>
                  <a:pt x="1425" y="900"/>
                  <a:pt x="1427" y="898"/>
                </a:cubicBezTo>
                <a:cubicBezTo>
                  <a:pt x="1428" y="898"/>
                  <a:pt x="1429" y="897"/>
                  <a:pt x="1430" y="897"/>
                </a:cubicBezTo>
                <a:cubicBezTo>
                  <a:pt x="1431" y="897"/>
                  <a:pt x="1432" y="898"/>
                  <a:pt x="1434" y="898"/>
                </a:cubicBezTo>
                <a:cubicBezTo>
                  <a:pt x="1435" y="898"/>
                  <a:pt x="1435" y="899"/>
                  <a:pt x="1436" y="900"/>
                </a:cubicBezTo>
                <a:cubicBezTo>
                  <a:pt x="1436" y="900"/>
                  <a:pt x="1437" y="901"/>
                  <a:pt x="1438" y="901"/>
                </a:cubicBezTo>
                <a:cubicBezTo>
                  <a:pt x="1439" y="901"/>
                  <a:pt x="1441" y="900"/>
                  <a:pt x="1441" y="901"/>
                </a:cubicBezTo>
                <a:cubicBezTo>
                  <a:pt x="1442" y="902"/>
                  <a:pt x="1442" y="903"/>
                  <a:pt x="1443" y="904"/>
                </a:cubicBezTo>
                <a:cubicBezTo>
                  <a:pt x="1443" y="906"/>
                  <a:pt x="1445" y="905"/>
                  <a:pt x="1447" y="906"/>
                </a:cubicBezTo>
                <a:cubicBezTo>
                  <a:pt x="1449" y="907"/>
                  <a:pt x="1450" y="910"/>
                  <a:pt x="1448" y="912"/>
                </a:cubicBezTo>
                <a:cubicBezTo>
                  <a:pt x="1447" y="913"/>
                  <a:pt x="1443" y="914"/>
                  <a:pt x="1445" y="916"/>
                </a:cubicBezTo>
                <a:cubicBezTo>
                  <a:pt x="1446" y="917"/>
                  <a:pt x="1449" y="917"/>
                  <a:pt x="1447" y="919"/>
                </a:cubicBezTo>
                <a:cubicBezTo>
                  <a:pt x="1447" y="919"/>
                  <a:pt x="1443" y="919"/>
                  <a:pt x="1444" y="920"/>
                </a:cubicBezTo>
                <a:cubicBezTo>
                  <a:pt x="1445" y="921"/>
                  <a:pt x="1448" y="922"/>
                  <a:pt x="1447" y="923"/>
                </a:cubicBezTo>
                <a:cubicBezTo>
                  <a:pt x="1445" y="925"/>
                  <a:pt x="1443" y="924"/>
                  <a:pt x="1441" y="924"/>
                </a:cubicBezTo>
                <a:cubicBezTo>
                  <a:pt x="1438" y="924"/>
                  <a:pt x="1441" y="926"/>
                  <a:pt x="1442" y="926"/>
                </a:cubicBezTo>
                <a:cubicBezTo>
                  <a:pt x="1443" y="926"/>
                  <a:pt x="1444" y="926"/>
                  <a:pt x="1445" y="926"/>
                </a:cubicBezTo>
                <a:cubicBezTo>
                  <a:pt x="1446" y="926"/>
                  <a:pt x="1447" y="927"/>
                  <a:pt x="1448" y="927"/>
                </a:cubicBezTo>
                <a:cubicBezTo>
                  <a:pt x="1449" y="927"/>
                  <a:pt x="1450" y="928"/>
                  <a:pt x="1450" y="928"/>
                </a:cubicBezTo>
                <a:cubicBezTo>
                  <a:pt x="1450" y="929"/>
                  <a:pt x="1448" y="929"/>
                  <a:pt x="1447" y="929"/>
                </a:cubicBezTo>
                <a:cubicBezTo>
                  <a:pt x="1446" y="929"/>
                  <a:pt x="1443" y="927"/>
                  <a:pt x="1443" y="929"/>
                </a:cubicBezTo>
                <a:cubicBezTo>
                  <a:pt x="1443" y="930"/>
                  <a:pt x="1446" y="931"/>
                  <a:pt x="1447" y="931"/>
                </a:cubicBezTo>
                <a:cubicBezTo>
                  <a:pt x="1448" y="931"/>
                  <a:pt x="1450" y="931"/>
                  <a:pt x="1450" y="933"/>
                </a:cubicBezTo>
                <a:cubicBezTo>
                  <a:pt x="1449" y="934"/>
                  <a:pt x="1448" y="935"/>
                  <a:pt x="1448" y="936"/>
                </a:cubicBezTo>
                <a:cubicBezTo>
                  <a:pt x="1447" y="937"/>
                  <a:pt x="1446" y="938"/>
                  <a:pt x="1445" y="939"/>
                </a:cubicBezTo>
                <a:cubicBezTo>
                  <a:pt x="1443" y="942"/>
                  <a:pt x="1441" y="942"/>
                  <a:pt x="1439" y="944"/>
                </a:cubicBezTo>
                <a:cubicBezTo>
                  <a:pt x="1438" y="944"/>
                  <a:pt x="1437" y="945"/>
                  <a:pt x="1436" y="946"/>
                </a:cubicBezTo>
                <a:cubicBezTo>
                  <a:pt x="1434" y="947"/>
                  <a:pt x="1433" y="947"/>
                  <a:pt x="1432" y="948"/>
                </a:cubicBezTo>
                <a:cubicBezTo>
                  <a:pt x="1429" y="950"/>
                  <a:pt x="1428" y="951"/>
                  <a:pt x="1425" y="950"/>
                </a:cubicBezTo>
                <a:cubicBezTo>
                  <a:pt x="1422" y="950"/>
                  <a:pt x="1420" y="949"/>
                  <a:pt x="1417" y="949"/>
                </a:cubicBezTo>
                <a:cubicBezTo>
                  <a:pt x="1414" y="949"/>
                  <a:pt x="1412" y="950"/>
                  <a:pt x="1409" y="951"/>
                </a:cubicBezTo>
                <a:cubicBezTo>
                  <a:pt x="1408" y="952"/>
                  <a:pt x="1406" y="952"/>
                  <a:pt x="1405" y="953"/>
                </a:cubicBezTo>
                <a:cubicBezTo>
                  <a:pt x="1404" y="953"/>
                  <a:pt x="1402" y="954"/>
                  <a:pt x="1401" y="955"/>
                </a:cubicBezTo>
                <a:cubicBezTo>
                  <a:pt x="1400" y="956"/>
                  <a:pt x="1399" y="956"/>
                  <a:pt x="1399" y="957"/>
                </a:cubicBezTo>
                <a:cubicBezTo>
                  <a:pt x="1398" y="958"/>
                  <a:pt x="1397" y="958"/>
                  <a:pt x="1396" y="959"/>
                </a:cubicBezTo>
                <a:cubicBezTo>
                  <a:pt x="1395" y="961"/>
                  <a:pt x="1396" y="965"/>
                  <a:pt x="1393" y="966"/>
                </a:cubicBezTo>
                <a:cubicBezTo>
                  <a:pt x="1392" y="966"/>
                  <a:pt x="1391" y="965"/>
                  <a:pt x="1391" y="965"/>
                </a:cubicBezTo>
                <a:cubicBezTo>
                  <a:pt x="1390" y="966"/>
                  <a:pt x="1389" y="966"/>
                  <a:pt x="1388" y="967"/>
                </a:cubicBezTo>
                <a:cubicBezTo>
                  <a:pt x="1387" y="967"/>
                  <a:pt x="1386" y="969"/>
                  <a:pt x="1386" y="969"/>
                </a:cubicBezTo>
                <a:cubicBezTo>
                  <a:pt x="1385" y="971"/>
                  <a:pt x="1383" y="972"/>
                  <a:pt x="1382" y="972"/>
                </a:cubicBezTo>
                <a:cubicBezTo>
                  <a:pt x="1381" y="973"/>
                  <a:pt x="1380" y="974"/>
                  <a:pt x="1379" y="975"/>
                </a:cubicBezTo>
                <a:cubicBezTo>
                  <a:pt x="1378" y="976"/>
                  <a:pt x="1378" y="977"/>
                  <a:pt x="1377" y="977"/>
                </a:cubicBezTo>
                <a:cubicBezTo>
                  <a:pt x="1374" y="978"/>
                  <a:pt x="1370" y="977"/>
                  <a:pt x="1368" y="977"/>
                </a:cubicBezTo>
                <a:cubicBezTo>
                  <a:pt x="1365" y="977"/>
                  <a:pt x="1362" y="978"/>
                  <a:pt x="1359" y="978"/>
                </a:cubicBezTo>
                <a:cubicBezTo>
                  <a:pt x="1358" y="979"/>
                  <a:pt x="1357" y="979"/>
                  <a:pt x="1356" y="980"/>
                </a:cubicBezTo>
                <a:cubicBezTo>
                  <a:pt x="1354" y="980"/>
                  <a:pt x="1353" y="980"/>
                  <a:pt x="1351" y="980"/>
                </a:cubicBezTo>
                <a:cubicBezTo>
                  <a:pt x="1348" y="981"/>
                  <a:pt x="1347" y="979"/>
                  <a:pt x="1344" y="978"/>
                </a:cubicBezTo>
                <a:cubicBezTo>
                  <a:pt x="1342" y="977"/>
                  <a:pt x="1338" y="978"/>
                  <a:pt x="1335" y="977"/>
                </a:cubicBezTo>
                <a:cubicBezTo>
                  <a:pt x="1334" y="977"/>
                  <a:pt x="1333" y="976"/>
                  <a:pt x="1332" y="976"/>
                </a:cubicBezTo>
                <a:cubicBezTo>
                  <a:pt x="1330" y="976"/>
                  <a:pt x="1329" y="977"/>
                  <a:pt x="1328" y="977"/>
                </a:cubicBezTo>
                <a:cubicBezTo>
                  <a:pt x="1325" y="977"/>
                  <a:pt x="1323" y="979"/>
                  <a:pt x="1320" y="978"/>
                </a:cubicBezTo>
                <a:cubicBezTo>
                  <a:pt x="1317" y="977"/>
                  <a:pt x="1315" y="977"/>
                  <a:pt x="1312" y="976"/>
                </a:cubicBezTo>
                <a:cubicBezTo>
                  <a:pt x="1309" y="976"/>
                  <a:pt x="1306" y="976"/>
                  <a:pt x="1303" y="976"/>
                </a:cubicBezTo>
                <a:cubicBezTo>
                  <a:pt x="1300" y="976"/>
                  <a:pt x="1297" y="976"/>
                  <a:pt x="1294" y="976"/>
                </a:cubicBezTo>
                <a:cubicBezTo>
                  <a:pt x="1291" y="976"/>
                  <a:pt x="1287" y="976"/>
                  <a:pt x="1284" y="977"/>
                </a:cubicBezTo>
                <a:cubicBezTo>
                  <a:pt x="1281" y="978"/>
                  <a:pt x="1279" y="978"/>
                  <a:pt x="1276" y="979"/>
                </a:cubicBezTo>
                <a:cubicBezTo>
                  <a:pt x="1274" y="979"/>
                  <a:pt x="1273" y="979"/>
                  <a:pt x="1272" y="978"/>
                </a:cubicBezTo>
                <a:cubicBezTo>
                  <a:pt x="1270" y="978"/>
                  <a:pt x="1270" y="977"/>
                  <a:pt x="1268" y="977"/>
                </a:cubicBezTo>
                <a:cubicBezTo>
                  <a:pt x="1266" y="977"/>
                  <a:pt x="1264" y="980"/>
                  <a:pt x="1262" y="981"/>
                </a:cubicBezTo>
                <a:cubicBezTo>
                  <a:pt x="1260" y="982"/>
                  <a:pt x="1258" y="985"/>
                  <a:pt x="1256" y="986"/>
                </a:cubicBezTo>
                <a:cubicBezTo>
                  <a:pt x="1254" y="988"/>
                  <a:pt x="1255" y="990"/>
                  <a:pt x="1255" y="993"/>
                </a:cubicBezTo>
                <a:cubicBezTo>
                  <a:pt x="1255" y="995"/>
                  <a:pt x="1252" y="995"/>
                  <a:pt x="1250" y="995"/>
                </a:cubicBezTo>
                <a:cubicBezTo>
                  <a:pt x="1249" y="995"/>
                  <a:pt x="1249" y="996"/>
                  <a:pt x="1248" y="997"/>
                </a:cubicBezTo>
                <a:cubicBezTo>
                  <a:pt x="1247" y="997"/>
                  <a:pt x="1246" y="997"/>
                  <a:pt x="1245" y="997"/>
                </a:cubicBezTo>
                <a:cubicBezTo>
                  <a:pt x="1241" y="997"/>
                  <a:pt x="1240" y="999"/>
                  <a:pt x="1238" y="1001"/>
                </a:cubicBezTo>
                <a:cubicBezTo>
                  <a:pt x="1236" y="1002"/>
                  <a:pt x="1233" y="1002"/>
                  <a:pt x="1232" y="1004"/>
                </a:cubicBezTo>
                <a:cubicBezTo>
                  <a:pt x="1230" y="1005"/>
                  <a:pt x="1227" y="1007"/>
                  <a:pt x="1225" y="1009"/>
                </a:cubicBezTo>
                <a:cubicBezTo>
                  <a:pt x="1223" y="1010"/>
                  <a:pt x="1221" y="1012"/>
                  <a:pt x="1220" y="1014"/>
                </a:cubicBezTo>
                <a:cubicBezTo>
                  <a:pt x="1219" y="1017"/>
                  <a:pt x="1217" y="1019"/>
                  <a:pt x="1215" y="1021"/>
                </a:cubicBezTo>
                <a:cubicBezTo>
                  <a:pt x="1213" y="1023"/>
                  <a:pt x="1212" y="1024"/>
                  <a:pt x="1209" y="1022"/>
                </a:cubicBezTo>
                <a:cubicBezTo>
                  <a:pt x="1207" y="1021"/>
                  <a:pt x="1204" y="1019"/>
                  <a:pt x="1201" y="1018"/>
                </a:cubicBezTo>
                <a:cubicBezTo>
                  <a:pt x="1200" y="1018"/>
                  <a:pt x="1198" y="1018"/>
                  <a:pt x="1197" y="1018"/>
                </a:cubicBezTo>
                <a:cubicBezTo>
                  <a:pt x="1196" y="1018"/>
                  <a:pt x="1195" y="1018"/>
                  <a:pt x="1193" y="1018"/>
                </a:cubicBezTo>
                <a:cubicBezTo>
                  <a:pt x="1193" y="1017"/>
                  <a:pt x="1192" y="1017"/>
                  <a:pt x="1191" y="1017"/>
                </a:cubicBezTo>
                <a:cubicBezTo>
                  <a:pt x="1190" y="1017"/>
                  <a:pt x="1190" y="1018"/>
                  <a:pt x="1190" y="1018"/>
                </a:cubicBezTo>
                <a:cubicBezTo>
                  <a:pt x="1192" y="1020"/>
                  <a:pt x="1194" y="1020"/>
                  <a:pt x="1195" y="1020"/>
                </a:cubicBezTo>
                <a:cubicBezTo>
                  <a:pt x="1198" y="1020"/>
                  <a:pt x="1201" y="1020"/>
                  <a:pt x="1204" y="1021"/>
                </a:cubicBezTo>
                <a:cubicBezTo>
                  <a:pt x="1206" y="1022"/>
                  <a:pt x="1208" y="1023"/>
                  <a:pt x="1210" y="1025"/>
                </a:cubicBezTo>
                <a:cubicBezTo>
                  <a:pt x="1211" y="1028"/>
                  <a:pt x="1209" y="1030"/>
                  <a:pt x="1207" y="1032"/>
                </a:cubicBezTo>
                <a:cubicBezTo>
                  <a:pt x="1205" y="1033"/>
                  <a:pt x="1202" y="1035"/>
                  <a:pt x="1200" y="1037"/>
                </a:cubicBezTo>
                <a:cubicBezTo>
                  <a:pt x="1198" y="1039"/>
                  <a:pt x="1197" y="1041"/>
                  <a:pt x="1196" y="1043"/>
                </a:cubicBezTo>
                <a:cubicBezTo>
                  <a:pt x="1195" y="1046"/>
                  <a:pt x="1192" y="1046"/>
                  <a:pt x="1191" y="1048"/>
                </a:cubicBezTo>
                <a:cubicBezTo>
                  <a:pt x="1191" y="1049"/>
                  <a:pt x="1191" y="1050"/>
                  <a:pt x="1192" y="1051"/>
                </a:cubicBezTo>
                <a:cubicBezTo>
                  <a:pt x="1193" y="1051"/>
                  <a:pt x="1194" y="1050"/>
                  <a:pt x="1195" y="1049"/>
                </a:cubicBezTo>
                <a:cubicBezTo>
                  <a:pt x="1197" y="1048"/>
                  <a:pt x="1199" y="1046"/>
                  <a:pt x="1201" y="1044"/>
                </a:cubicBezTo>
                <a:cubicBezTo>
                  <a:pt x="1204" y="1042"/>
                  <a:pt x="1206" y="1040"/>
                  <a:pt x="1208" y="1038"/>
                </a:cubicBezTo>
                <a:cubicBezTo>
                  <a:pt x="1212" y="1034"/>
                  <a:pt x="1216" y="1029"/>
                  <a:pt x="1220" y="1025"/>
                </a:cubicBezTo>
                <a:cubicBezTo>
                  <a:pt x="1224" y="1021"/>
                  <a:pt x="1229" y="1016"/>
                  <a:pt x="1234" y="1014"/>
                </a:cubicBezTo>
                <a:cubicBezTo>
                  <a:pt x="1237" y="1013"/>
                  <a:pt x="1239" y="1012"/>
                  <a:pt x="1242" y="1011"/>
                </a:cubicBezTo>
                <a:cubicBezTo>
                  <a:pt x="1245" y="1010"/>
                  <a:pt x="1248" y="1008"/>
                  <a:pt x="1251" y="1007"/>
                </a:cubicBezTo>
                <a:cubicBezTo>
                  <a:pt x="1256" y="1005"/>
                  <a:pt x="1262" y="1003"/>
                  <a:pt x="1268" y="1001"/>
                </a:cubicBezTo>
                <a:cubicBezTo>
                  <a:pt x="1270" y="1001"/>
                  <a:pt x="1273" y="1000"/>
                  <a:pt x="1276" y="1000"/>
                </a:cubicBezTo>
                <a:cubicBezTo>
                  <a:pt x="1279" y="1000"/>
                  <a:pt x="1282" y="999"/>
                  <a:pt x="1285" y="999"/>
                </a:cubicBezTo>
                <a:cubicBezTo>
                  <a:pt x="1291" y="999"/>
                  <a:pt x="1297" y="1001"/>
                  <a:pt x="1302" y="1004"/>
                </a:cubicBezTo>
                <a:cubicBezTo>
                  <a:pt x="1303" y="1005"/>
                  <a:pt x="1306" y="1007"/>
                  <a:pt x="1305" y="1009"/>
                </a:cubicBezTo>
                <a:cubicBezTo>
                  <a:pt x="1305" y="1012"/>
                  <a:pt x="1302" y="1008"/>
                  <a:pt x="1301" y="1009"/>
                </a:cubicBezTo>
                <a:cubicBezTo>
                  <a:pt x="1300" y="1010"/>
                  <a:pt x="1304" y="1012"/>
                  <a:pt x="1304" y="1013"/>
                </a:cubicBezTo>
                <a:cubicBezTo>
                  <a:pt x="1305" y="1016"/>
                  <a:pt x="1302" y="1017"/>
                  <a:pt x="1300" y="1018"/>
                </a:cubicBezTo>
                <a:cubicBezTo>
                  <a:pt x="1298" y="1019"/>
                  <a:pt x="1295" y="1019"/>
                  <a:pt x="1294" y="1021"/>
                </a:cubicBezTo>
                <a:cubicBezTo>
                  <a:pt x="1292" y="1023"/>
                  <a:pt x="1291" y="1026"/>
                  <a:pt x="1289" y="1026"/>
                </a:cubicBezTo>
                <a:cubicBezTo>
                  <a:pt x="1287" y="1026"/>
                  <a:pt x="1286" y="1025"/>
                  <a:pt x="1285" y="1024"/>
                </a:cubicBezTo>
                <a:cubicBezTo>
                  <a:pt x="1284" y="1024"/>
                  <a:pt x="1282" y="1024"/>
                  <a:pt x="1281" y="1023"/>
                </a:cubicBezTo>
                <a:cubicBezTo>
                  <a:pt x="1278" y="1023"/>
                  <a:pt x="1275" y="1022"/>
                  <a:pt x="1273" y="1023"/>
                </a:cubicBezTo>
                <a:cubicBezTo>
                  <a:pt x="1271" y="1024"/>
                  <a:pt x="1269" y="1024"/>
                  <a:pt x="1267" y="1025"/>
                </a:cubicBezTo>
                <a:cubicBezTo>
                  <a:pt x="1267" y="1025"/>
                  <a:pt x="1266" y="1025"/>
                  <a:pt x="1267" y="1026"/>
                </a:cubicBezTo>
                <a:cubicBezTo>
                  <a:pt x="1267" y="1027"/>
                  <a:pt x="1269" y="1026"/>
                  <a:pt x="1269" y="1026"/>
                </a:cubicBezTo>
                <a:cubicBezTo>
                  <a:pt x="1271" y="1026"/>
                  <a:pt x="1274" y="1026"/>
                  <a:pt x="1275" y="1027"/>
                </a:cubicBezTo>
                <a:cubicBezTo>
                  <a:pt x="1278" y="1028"/>
                  <a:pt x="1278" y="1031"/>
                  <a:pt x="1280" y="1033"/>
                </a:cubicBezTo>
                <a:cubicBezTo>
                  <a:pt x="1280" y="1034"/>
                  <a:pt x="1281" y="1035"/>
                  <a:pt x="1282" y="1035"/>
                </a:cubicBezTo>
                <a:cubicBezTo>
                  <a:pt x="1283" y="1035"/>
                  <a:pt x="1284" y="1034"/>
                  <a:pt x="1285" y="1034"/>
                </a:cubicBezTo>
                <a:cubicBezTo>
                  <a:pt x="1288" y="1032"/>
                  <a:pt x="1290" y="1033"/>
                  <a:pt x="1293" y="1033"/>
                </a:cubicBezTo>
                <a:cubicBezTo>
                  <a:pt x="1296" y="1032"/>
                  <a:pt x="1296" y="1030"/>
                  <a:pt x="1299" y="1029"/>
                </a:cubicBezTo>
                <a:cubicBezTo>
                  <a:pt x="1300" y="1028"/>
                  <a:pt x="1300" y="1030"/>
                  <a:pt x="1300" y="1030"/>
                </a:cubicBezTo>
                <a:cubicBezTo>
                  <a:pt x="1299" y="1031"/>
                  <a:pt x="1298" y="1032"/>
                  <a:pt x="1297" y="1033"/>
                </a:cubicBezTo>
                <a:cubicBezTo>
                  <a:pt x="1295" y="1034"/>
                  <a:pt x="1294" y="1036"/>
                  <a:pt x="1294" y="1039"/>
                </a:cubicBezTo>
                <a:cubicBezTo>
                  <a:pt x="1293" y="1041"/>
                  <a:pt x="1292" y="1042"/>
                  <a:pt x="1291" y="1043"/>
                </a:cubicBezTo>
                <a:cubicBezTo>
                  <a:pt x="1290" y="1043"/>
                  <a:pt x="1287" y="1044"/>
                  <a:pt x="1287" y="1045"/>
                </a:cubicBezTo>
                <a:cubicBezTo>
                  <a:pt x="1286" y="1048"/>
                  <a:pt x="1291" y="1046"/>
                  <a:pt x="1292" y="1046"/>
                </a:cubicBezTo>
                <a:cubicBezTo>
                  <a:pt x="1294" y="1046"/>
                  <a:pt x="1295" y="1048"/>
                  <a:pt x="1294" y="1050"/>
                </a:cubicBezTo>
                <a:cubicBezTo>
                  <a:pt x="1294" y="1051"/>
                  <a:pt x="1295" y="1052"/>
                  <a:pt x="1295" y="1053"/>
                </a:cubicBezTo>
                <a:cubicBezTo>
                  <a:pt x="1295" y="1054"/>
                  <a:pt x="1296" y="1054"/>
                  <a:pt x="1296" y="1055"/>
                </a:cubicBezTo>
                <a:cubicBezTo>
                  <a:pt x="1296" y="1055"/>
                  <a:pt x="1297" y="1055"/>
                  <a:pt x="1297" y="1056"/>
                </a:cubicBezTo>
                <a:cubicBezTo>
                  <a:pt x="1298" y="1057"/>
                  <a:pt x="1298" y="1059"/>
                  <a:pt x="1298" y="1060"/>
                </a:cubicBezTo>
                <a:cubicBezTo>
                  <a:pt x="1297" y="1061"/>
                  <a:pt x="1297" y="1062"/>
                  <a:pt x="1298" y="1063"/>
                </a:cubicBezTo>
                <a:cubicBezTo>
                  <a:pt x="1298" y="1063"/>
                  <a:pt x="1299" y="1063"/>
                  <a:pt x="1300" y="1064"/>
                </a:cubicBezTo>
                <a:cubicBezTo>
                  <a:pt x="1301" y="1064"/>
                  <a:pt x="1302" y="1065"/>
                  <a:pt x="1304" y="1066"/>
                </a:cubicBezTo>
                <a:cubicBezTo>
                  <a:pt x="1306" y="1066"/>
                  <a:pt x="1308" y="1066"/>
                  <a:pt x="1310" y="1066"/>
                </a:cubicBezTo>
                <a:cubicBezTo>
                  <a:pt x="1313" y="1067"/>
                  <a:pt x="1310" y="1069"/>
                  <a:pt x="1310" y="1070"/>
                </a:cubicBezTo>
                <a:cubicBezTo>
                  <a:pt x="1309" y="1072"/>
                  <a:pt x="1314" y="1072"/>
                  <a:pt x="1315" y="1072"/>
                </a:cubicBezTo>
                <a:cubicBezTo>
                  <a:pt x="1316" y="1072"/>
                  <a:pt x="1317" y="1072"/>
                  <a:pt x="1318" y="1073"/>
                </a:cubicBezTo>
                <a:cubicBezTo>
                  <a:pt x="1319" y="1073"/>
                  <a:pt x="1319" y="1074"/>
                  <a:pt x="1320" y="1075"/>
                </a:cubicBezTo>
                <a:cubicBezTo>
                  <a:pt x="1322" y="1076"/>
                  <a:pt x="1326" y="1075"/>
                  <a:pt x="1328" y="1075"/>
                </a:cubicBezTo>
                <a:cubicBezTo>
                  <a:pt x="1329" y="1075"/>
                  <a:pt x="1330" y="1075"/>
                  <a:pt x="1330" y="1076"/>
                </a:cubicBezTo>
                <a:cubicBezTo>
                  <a:pt x="1331" y="1077"/>
                  <a:pt x="1331" y="1078"/>
                  <a:pt x="1332" y="1078"/>
                </a:cubicBezTo>
                <a:cubicBezTo>
                  <a:pt x="1333" y="1078"/>
                  <a:pt x="1334" y="1077"/>
                  <a:pt x="1334" y="1077"/>
                </a:cubicBezTo>
                <a:cubicBezTo>
                  <a:pt x="1336" y="1076"/>
                  <a:pt x="1337" y="1076"/>
                  <a:pt x="1338" y="1075"/>
                </a:cubicBezTo>
                <a:cubicBezTo>
                  <a:pt x="1339" y="1075"/>
                  <a:pt x="1340" y="1074"/>
                  <a:pt x="1341" y="1073"/>
                </a:cubicBezTo>
                <a:cubicBezTo>
                  <a:pt x="1342" y="1072"/>
                  <a:pt x="1343" y="1072"/>
                  <a:pt x="1344" y="1072"/>
                </a:cubicBezTo>
                <a:cubicBezTo>
                  <a:pt x="1346" y="1072"/>
                  <a:pt x="1343" y="1076"/>
                  <a:pt x="1344" y="1077"/>
                </a:cubicBezTo>
                <a:cubicBezTo>
                  <a:pt x="1345" y="1078"/>
                  <a:pt x="1348" y="1077"/>
                  <a:pt x="1349" y="1077"/>
                </a:cubicBezTo>
                <a:cubicBezTo>
                  <a:pt x="1351" y="1077"/>
                  <a:pt x="1352" y="1076"/>
                  <a:pt x="1353" y="1078"/>
                </a:cubicBezTo>
                <a:cubicBezTo>
                  <a:pt x="1354" y="1079"/>
                  <a:pt x="1355" y="1079"/>
                  <a:pt x="1356" y="1080"/>
                </a:cubicBezTo>
                <a:cubicBezTo>
                  <a:pt x="1357" y="1081"/>
                  <a:pt x="1358" y="1081"/>
                  <a:pt x="1358" y="1082"/>
                </a:cubicBezTo>
                <a:cubicBezTo>
                  <a:pt x="1359" y="1085"/>
                  <a:pt x="1355" y="1086"/>
                  <a:pt x="1354" y="1086"/>
                </a:cubicBezTo>
                <a:cubicBezTo>
                  <a:pt x="1351" y="1087"/>
                  <a:pt x="1348" y="1089"/>
                  <a:pt x="1345" y="1090"/>
                </a:cubicBezTo>
                <a:cubicBezTo>
                  <a:pt x="1344" y="1091"/>
                  <a:pt x="1343" y="1091"/>
                  <a:pt x="1341" y="1091"/>
                </a:cubicBezTo>
                <a:cubicBezTo>
                  <a:pt x="1340" y="1092"/>
                  <a:pt x="1339" y="1092"/>
                  <a:pt x="1338" y="1093"/>
                </a:cubicBezTo>
                <a:cubicBezTo>
                  <a:pt x="1335" y="1094"/>
                  <a:pt x="1332" y="1096"/>
                  <a:pt x="1329" y="1097"/>
                </a:cubicBezTo>
                <a:cubicBezTo>
                  <a:pt x="1327" y="1098"/>
                  <a:pt x="1324" y="1098"/>
                  <a:pt x="1321" y="1099"/>
                </a:cubicBezTo>
                <a:cubicBezTo>
                  <a:pt x="1320" y="1099"/>
                  <a:pt x="1319" y="1099"/>
                  <a:pt x="1318" y="1099"/>
                </a:cubicBezTo>
                <a:cubicBezTo>
                  <a:pt x="1317" y="1098"/>
                  <a:pt x="1317" y="1096"/>
                  <a:pt x="1315" y="1097"/>
                </a:cubicBezTo>
                <a:cubicBezTo>
                  <a:pt x="1313" y="1097"/>
                  <a:pt x="1316" y="1100"/>
                  <a:pt x="1316" y="1101"/>
                </a:cubicBezTo>
                <a:cubicBezTo>
                  <a:pt x="1316" y="1103"/>
                  <a:pt x="1312" y="1102"/>
                  <a:pt x="1311" y="1101"/>
                </a:cubicBezTo>
                <a:cubicBezTo>
                  <a:pt x="1310" y="1100"/>
                  <a:pt x="1311" y="1098"/>
                  <a:pt x="1310" y="1098"/>
                </a:cubicBezTo>
                <a:cubicBezTo>
                  <a:pt x="1308" y="1097"/>
                  <a:pt x="1307" y="1101"/>
                  <a:pt x="1306" y="1101"/>
                </a:cubicBezTo>
                <a:cubicBezTo>
                  <a:pt x="1305" y="1103"/>
                  <a:pt x="1304" y="1099"/>
                  <a:pt x="1303" y="1102"/>
                </a:cubicBezTo>
                <a:cubicBezTo>
                  <a:pt x="1303" y="1104"/>
                  <a:pt x="1301" y="1105"/>
                  <a:pt x="1301" y="1107"/>
                </a:cubicBezTo>
                <a:cubicBezTo>
                  <a:pt x="1300" y="1109"/>
                  <a:pt x="1298" y="1111"/>
                  <a:pt x="1296" y="1112"/>
                </a:cubicBezTo>
                <a:cubicBezTo>
                  <a:pt x="1295" y="1112"/>
                  <a:pt x="1294" y="1113"/>
                  <a:pt x="1293" y="1114"/>
                </a:cubicBezTo>
                <a:cubicBezTo>
                  <a:pt x="1293" y="1115"/>
                  <a:pt x="1292" y="1116"/>
                  <a:pt x="1291" y="1116"/>
                </a:cubicBezTo>
                <a:cubicBezTo>
                  <a:pt x="1290" y="1117"/>
                  <a:pt x="1290" y="1116"/>
                  <a:pt x="1289" y="1116"/>
                </a:cubicBezTo>
                <a:cubicBezTo>
                  <a:pt x="1288" y="1116"/>
                  <a:pt x="1287" y="1116"/>
                  <a:pt x="1286" y="1117"/>
                </a:cubicBezTo>
                <a:cubicBezTo>
                  <a:pt x="1284" y="1118"/>
                  <a:pt x="1285" y="1121"/>
                  <a:pt x="1283" y="1122"/>
                </a:cubicBezTo>
                <a:cubicBezTo>
                  <a:pt x="1281" y="1123"/>
                  <a:pt x="1279" y="1121"/>
                  <a:pt x="1278" y="1119"/>
                </a:cubicBezTo>
                <a:cubicBezTo>
                  <a:pt x="1278" y="1118"/>
                  <a:pt x="1278" y="1117"/>
                  <a:pt x="1277" y="1116"/>
                </a:cubicBezTo>
                <a:cubicBezTo>
                  <a:pt x="1276" y="1114"/>
                  <a:pt x="1275" y="1115"/>
                  <a:pt x="1273" y="1114"/>
                </a:cubicBezTo>
                <a:cubicBezTo>
                  <a:pt x="1272" y="1114"/>
                  <a:pt x="1271" y="1114"/>
                  <a:pt x="1271" y="1113"/>
                </a:cubicBezTo>
                <a:cubicBezTo>
                  <a:pt x="1271" y="1112"/>
                  <a:pt x="1271" y="1111"/>
                  <a:pt x="1271" y="1109"/>
                </a:cubicBezTo>
                <a:cubicBezTo>
                  <a:pt x="1271" y="1108"/>
                  <a:pt x="1272" y="1107"/>
                  <a:pt x="1273" y="1106"/>
                </a:cubicBezTo>
                <a:cubicBezTo>
                  <a:pt x="1273" y="1105"/>
                  <a:pt x="1273" y="1103"/>
                  <a:pt x="1274" y="1102"/>
                </a:cubicBezTo>
                <a:cubicBezTo>
                  <a:pt x="1275" y="1100"/>
                  <a:pt x="1278" y="1098"/>
                  <a:pt x="1280" y="1097"/>
                </a:cubicBezTo>
                <a:cubicBezTo>
                  <a:pt x="1282" y="1096"/>
                  <a:pt x="1285" y="1096"/>
                  <a:pt x="1287" y="1094"/>
                </a:cubicBezTo>
                <a:cubicBezTo>
                  <a:pt x="1289" y="1092"/>
                  <a:pt x="1291" y="1091"/>
                  <a:pt x="1294" y="1089"/>
                </a:cubicBezTo>
                <a:cubicBezTo>
                  <a:pt x="1296" y="1087"/>
                  <a:pt x="1297" y="1086"/>
                  <a:pt x="1300" y="1086"/>
                </a:cubicBezTo>
                <a:cubicBezTo>
                  <a:pt x="1301" y="1085"/>
                  <a:pt x="1302" y="1085"/>
                  <a:pt x="1302" y="1087"/>
                </a:cubicBezTo>
                <a:cubicBezTo>
                  <a:pt x="1303" y="1088"/>
                  <a:pt x="1303" y="1088"/>
                  <a:pt x="1304" y="1089"/>
                </a:cubicBezTo>
                <a:cubicBezTo>
                  <a:pt x="1305" y="1091"/>
                  <a:pt x="1309" y="1090"/>
                  <a:pt x="1311" y="1088"/>
                </a:cubicBezTo>
                <a:cubicBezTo>
                  <a:pt x="1312" y="1087"/>
                  <a:pt x="1312" y="1087"/>
                  <a:pt x="1314" y="1086"/>
                </a:cubicBezTo>
                <a:cubicBezTo>
                  <a:pt x="1315" y="1086"/>
                  <a:pt x="1316" y="1085"/>
                  <a:pt x="1317" y="1085"/>
                </a:cubicBezTo>
                <a:cubicBezTo>
                  <a:pt x="1317" y="1084"/>
                  <a:pt x="1318" y="1084"/>
                  <a:pt x="1318" y="1083"/>
                </a:cubicBezTo>
                <a:cubicBezTo>
                  <a:pt x="1318" y="1081"/>
                  <a:pt x="1316" y="1082"/>
                  <a:pt x="1315" y="1083"/>
                </a:cubicBezTo>
                <a:cubicBezTo>
                  <a:pt x="1313" y="1084"/>
                  <a:pt x="1310" y="1083"/>
                  <a:pt x="1307" y="1083"/>
                </a:cubicBezTo>
                <a:cubicBezTo>
                  <a:pt x="1304" y="1083"/>
                  <a:pt x="1301" y="1083"/>
                  <a:pt x="1299" y="1082"/>
                </a:cubicBezTo>
                <a:cubicBezTo>
                  <a:pt x="1297" y="1082"/>
                  <a:pt x="1301" y="1079"/>
                  <a:pt x="1302" y="1078"/>
                </a:cubicBezTo>
                <a:cubicBezTo>
                  <a:pt x="1302" y="1077"/>
                  <a:pt x="1303" y="1076"/>
                  <a:pt x="1304" y="1075"/>
                </a:cubicBezTo>
                <a:cubicBezTo>
                  <a:pt x="1305" y="1073"/>
                  <a:pt x="1304" y="1073"/>
                  <a:pt x="1303" y="1073"/>
                </a:cubicBezTo>
                <a:cubicBezTo>
                  <a:pt x="1300" y="1073"/>
                  <a:pt x="1299" y="1071"/>
                  <a:pt x="1298" y="1069"/>
                </a:cubicBezTo>
                <a:cubicBezTo>
                  <a:pt x="1297" y="1068"/>
                  <a:pt x="1297" y="1067"/>
                  <a:pt x="1296" y="1067"/>
                </a:cubicBezTo>
                <a:cubicBezTo>
                  <a:pt x="1295" y="1068"/>
                  <a:pt x="1296" y="1069"/>
                  <a:pt x="1296" y="1069"/>
                </a:cubicBezTo>
                <a:cubicBezTo>
                  <a:pt x="1296" y="1071"/>
                  <a:pt x="1296" y="1073"/>
                  <a:pt x="1295" y="1075"/>
                </a:cubicBezTo>
                <a:cubicBezTo>
                  <a:pt x="1294" y="1077"/>
                  <a:pt x="1290" y="1078"/>
                  <a:pt x="1288" y="1079"/>
                </a:cubicBezTo>
                <a:cubicBezTo>
                  <a:pt x="1286" y="1080"/>
                  <a:pt x="1283" y="1082"/>
                  <a:pt x="1281" y="1084"/>
                </a:cubicBezTo>
                <a:cubicBezTo>
                  <a:pt x="1280" y="1084"/>
                  <a:pt x="1279" y="1085"/>
                  <a:pt x="1278" y="1085"/>
                </a:cubicBezTo>
                <a:cubicBezTo>
                  <a:pt x="1277" y="1085"/>
                  <a:pt x="1275" y="1085"/>
                  <a:pt x="1275" y="1084"/>
                </a:cubicBezTo>
                <a:cubicBezTo>
                  <a:pt x="1274" y="1083"/>
                  <a:pt x="1275" y="1079"/>
                  <a:pt x="1273" y="1081"/>
                </a:cubicBezTo>
                <a:cubicBezTo>
                  <a:pt x="1272" y="1082"/>
                  <a:pt x="1271" y="1083"/>
                  <a:pt x="1271" y="1084"/>
                </a:cubicBezTo>
                <a:cubicBezTo>
                  <a:pt x="1271" y="1085"/>
                  <a:pt x="1270" y="1086"/>
                  <a:pt x="1269" y="1087"/>
                </a:cubicBezTo>
                <a:cubicBezTo>
                  <a:pt x="1267" y="1089"/>
                  <a:pt x="1265" y="1089"/>
                  <a:pt x="1263" y="1089"/>
                </a:cubicBezTo>
                <a:cubicBezTo>
                  <a:pt x="1262" y="1089"/>
                  <a:pt x="1261" y="1088"/>
                  <a:pt x="1260" y="1088"/>
                </a:cubicBezTo>
                <a:cubicBezTo>
                  <a:pt x="1258" y="1088"/>
                  <a:pt x="1257" y="1087"/>
                  <a:pt x="1256" y="1087"/>
                </a:cubicBezTo>
                <a:cubicBezTo>
                  <a:pt x="1255" y="1086"/>
                  <a:pt x="1254" y="1086"/>
                  <a:pt x="1253" y="1086"/>
                </a:cubicBezTo>
                <a:cubicBezTo>
                  <a:pt x="1252" y="1085"/>
                  <a:pt x="1252" y="1084"/>
                  <a:pt x="1252" y="1084"/>
                </a:cubicBezTo>
                <a:cubicBezTo>
                  <a:pt x="1252" y="1082"/>
                  <a:pt x="1252" y="1080"/>
                  <a:pt x="1251" y="1078"/>
                </a:cubicBezTo>
                <a:cubicBezTo>
                  <a:pt x="1250" y="1076"/>
                  <a:pt x="1249" y="1075"/>
                  <a:pt x="1247" y="1075"/>
                </a:cubicBezTo>
                <a:cubicBezTo>
                  <a:pt x="1245" y="1074"/>
                  <a:pt x="1246" y="1069"/>
                  <a:pt x="1246" y="1068"/>
                </a:cubicBezTo>
                <a:cubicBezTo>
                  <a:pt x="1246" y="1062"/>
                  <a:pt x="1247" y="1056"/>
                  <a:pt x="1246" y="1050"/>
                </a:cubicBezTo>
                <a:cubicBezTo>
                  <a:pt x="1245" y="1047"/>
                  <a:pt x="1244" y="1046"/>
                  <a:pt x="1242" y="1044"/>
                </a:cubicBezTo>
                <a:cubicBezTo>
                  <a:pt x="1240" y="1042"/>
                  <a:pt x="1237" y="1040"/>
                  <a:pt x="1234" y="1040"/>
                </a:cubicBezTo>
                <a:cubicBezTo>
                  <a:pt x="1232" y="1040"/>
                  <a:pt x="1230" y="1042"/>
                  <a:pt x="1227" y="1042"/>
                </a:cubicBezTo>
                <a:cubicBezTo>
                  <a:pt x="1225" y="1043"/>
                  <a:pt x="1224" y="1040"/>
                  <a:pt x="1222" y="1039"/>
                </a:cubicBezTo>
                <a:cubicBezTo>
                  <a:pt x="1217" y="1036"/>
                  <a:pt x="1213" y="1046"/>
                  <a:pt x="1211" y="1049"/>
                </a:cubicBezTo>
                <a:cubicBezTo>
                  <a:pt x="1208" y="1054"/>
                  <a:pt x="1205" y="1060"/>
                  <a:pt x="1202" y="1065"/>
                </a:cubicBezTo>
                <a:cubicBezTo>
                  <a:pt x="1201" y="1066"/>
                  <a:pt x="1202" y="1067"/>
                  <a:pt x="1201" y="1069"/>
                </a:cubicBezTo>
                <a:cubicBezTo>
                  <a:pt x="1201" y="1070"/>
                  <a:pt x="1200" y="1071"/>
                  <a:pt x="1200" y="1072"/>
                </a:cubicBezTo>
                <a:cubicBezTo>
                  <a:pt x="1198" y="1075"/>
                  <a:pt x="1196" y="1077"/>
                  <a:pt x="1194" y="1080"/>
                </a:cubicBezTo>
                <a:cubicBezTo>
                  <a:pt x="1193" y="1081"/>
                  <a:pt x="1191" y="1084"/>
                  <a:pt x="1189" y="1084"/>
                </a:cubicBezTo>
                <a:cubicBezTo>
                  <a:pt x="1187" y="1084"/>
                  <a:pt x="1185" y="1082"/>
                  <a:pt x="1183" y="1084"/>
                </a:cubicBezTo>
                <a:cubicBezTo>
                  <a:pt x="1181" y="1085"/>
                  <a:pt x="1181" y="1088"/>
                  <a:pt x="1179" y="1089"/>
                </a:cubicBezTo>
                <a:cubicBezTo>
                  <a:pt x="1178" y="1089"/>
                  <a:pt x="1176" y="1089"/>
                  <a:pt x="1175" y="1089"/>
                </a:cubicBezTo>
                <a:cubicBezTo>
                  <a:pt x="1173" y="1089"/>
                  <a:pt x="1171" y="1089"/>
                  <a:pt x="1170" y="1089"/>
                </a:cubicBezTo>
                <a:cubicBezTo>
                  <a:pt x="1163" y="1090"/>
                  <a:pt x="1157" y="1090"/>
                  <a:pt x="1150" y="1090"/>
                </a:cubicBezTo>
                <a:cubicBezTo>
                  <a:pt x="1147" y="1090"/>
                  <a:pt x="1144" y="1090"/>
                  <a:pt x="1141" y="1090"/>
                </a:cubicBezTo>
                <a:cubicBezTo>
                  <a:pt x="1138" y="1090"/>
                  <a:pt x="1135" y="1089"/>
                  <a:pt x="1131" y="1089"/>
                </a:cubicBezTo>
                <a:cubicBezTo>
                  <a:pt x="1129" y="1090"/>
                  <a:pt x="1126" y="1090"/>
                  <a:pt x="1123" y="1091"/>
                </a:cubicBezTo>
                <a:cubicBezTo>
                  <a:pt x="1120" y="1091"/>
                  <a:pt x="1118" y="1093"/>
                  <a:pt x="1116" y="1095"/>
                </a:cubicBezTo>
                <a:cubicBezTo>
                  <a:pt x="1113" y="1097"/>
                  <a:pt x="1111" y="1098"/>
                  <a:pt x="1108" y="1100"/>
                </a:cubicBezTo>
                <a:cubicBezTo>
                  <a:pt x="1107" y="1101"/>
                  <a:pt x="1106" y="1102"/>
                  <a:pt x="1105" y="1103"/>
                </a:cubicBezTo>
                <a:cubicBezTo>
                  <a:pt x="1104" y="1104"/>
                  <a:pt x="1103" y="1105"/>
                  <a:pt x="1101" y="1105"/>
                </a:cubicBezTo>
                <a:cubicBezTo>
                  <a:pt x="1098" y="1105"/>
                  <a:pt x="1095" y="1106"/>
                  <a:pt x="1092" y="1108"/>
                </a:cubicBezTo>
                <a:cubicBezTo>
                  <a:pt x="1091" y="1109"/>
                  <a:pt x="1090" y="1110"/>
                  <a:pt x="1088" y="1111"/>
                </a:cubicBezTo>
                <a:cubicBezTo>
                  <a:pt x="1087" y="1112"/>
                  <a:pt x="1085" y="1111"/>
                  <a:pt x="1083" y="1111"/>
                </a:cubicBezTo>
                <a:cubicBezTo>
                  <a:pt x="1079" y="1110"/>
                  <a:pt x="1075" y="1111"/>
                  <a:pt x="1071" y="1112"/>
                </a:cubicBezTo>
                <a:cubicBezTo>
                  <a:pt x="1069" y="1112"/>
                  <a:pt x="1068" y="1113"/>
                  <a:pt x="1066" y="1114"/>
                </a:cubicBezTo>
                <a:cubicBezTo>
                  <a:pt x="1064" y="1114"/>
                  <a:pt x="1062" y="1115"/>
                  <a:pt x="1060" y="1115"/>
                </a:cubicBezTo>
                <a:cubicBezTo>
                  <a:pt x="1056" y="1115"/>
                  <a:pt x="1052" y="1115"/>
                  <a:pt x="1048" y="1117"/>
                </a:cubicBezTo>
                <a:cubicBezTo>
                  <a:pt x="1046" y="1118"/>
                  <a:pt x="1043" y="1121"/>
                  <a:pt x="1042" y="1124"/>
                </a:cubicBezTo>
                <a:cubicBezTo>
                  <a:pt x="1041" y="1127"/>
                  <a:pt x="1045" y="1127"/>
                  <a:pt x="1047" y="1126"/>
                </a:cubicBezTo>
                <a:cubicBezTo>
                  <a:pt x="1048" y="1126"/>
                  <a:pt x="1048" y="1126"/>
                  <a:pt x="1049" y="1126"/>
                </a:cubicBezTo>
                <a:cubicBezTo>
                  <a:pt x="1050" y="1126"/>
                  <a:pt x="1051" y="1126"/>
                  <a:pt x="1051" y="1127"/>
                </a:cubicBezTo>
                <a:cubicBezTo>
                  <a:pt x="1052" y="1129"/>
                  <a:pt x="1052" y="1131"/>
                  <a:pt x="1053" y="1133"/>
                </a:cubicBezTo>
                <a:cubicBezTo>
                  <a:pt x="1050" y="1133"/>
                  <a:pt x="1048" y="1135"/>
                  <a:pt x="1046" y="1135"/>
                </a:cubicBezTo>
                <a:cubicBezTo>
                  <a:pt x="1043" y="1135"/>
                  <a:pt x="1040" y="1136"/>
                  <a:pt x="1036" y="1136"/>
                </a:cubicBezTo>
                <a:cubicBezTo>
                  <a:pt x="1035" y="1136"/>
                  <a:pt x="1034" y="1137"/>
                  <a:pt x="1033" y="1137"/>
                </a:cubicBezTo>
                <a:cubicBezTo>
                  <a:pt x="1033" y="1138"/>
                  <a:pt x="1032" y="1138"/>
                  <a:pt x="1031" y="1139"/>
                </a:cubicBezTo>
                <a:cubicBezTo>
                  <a:pt x="1029" y="1140"/>
                  <a:pt x="1025" y="1140"/>
                  <a:pt x="1023" y="1140"/>
                </a:cubicBezTo>
                <a:cubicBezTo>
                  <a:pt x="1020" y="1139"/>
                  <a:pt x="1017" y="1139"/>
                  <a:pt x="1015" y="1139"/>
                </a:cubicBezTo>
                <a:cubicBezTo>
                  <a:pt x="1012" y="1140"/>
                  <a:pt x="1009" y="1142"/>
                  <a:pt x="1007" y="1143"/>
                </a:cubicBezTo>
                <a:cubicBezTo>
                  <a:pt x="1003" y="1147"/>
                  <a:pt x="999" y="1151"/>
                  <a:pt x="993" y="1153"/>
                </a:cubicBezTo>
                <a:cubicBezTo>
                  <a:pt x="991" y="1154"/>
                  <a:pt x="988" y="1153"/>
                  <a:pt x="985" y="1153"/>
                </a:cubicBezTo>
                <a:cubicBezTo>
                  <a:pt x="983" y="1154"/>
                  <a:pt x="984" y="1149"/>
                  <a:pt x="984" y="1148"/>
                </a:cubicBezTo>
                <a:cubicBezTo>
                  <a:pt x="986" y="1144"/>
                  <a:pt x="992" y="1143"/>
                  <a:pt x="994" y="1139"/>
                </a:cubicBezTo>
                <a:cubicBezTo>
                  <a:pt x="995" y="1136"/>
                  <a:pt x="996" y="1133"/>
                  <a:pt x="997" y="1131"/>
                </a:cubicBezTo>
                <a:cubicBezTo>
                  <a:pt x="997" y="1130"/>
                  <a:pt x="999" y="1130"/>
                  <a:pt x="1000" y="1130"/>
                </a:cubicBezTo>
                <a:cubicBezTo>
                  <a:pt x="1001" y="1129"/>
                  <a:pt x="1002" y="1127"/>
                  <a:pt x="1003" y="1126"/>
                </a:cubicBezTo>
                <a:cubicBezTo>
                  <a:pt x="1004" y="1124"/>
                  <a:pt x="1006" y="1122"/>
                  <a:pt x="1007" y="1120"/>
                </a:cubicBezTo>
                <a:cubicBezTo>
                  <a:pt x="1008" y="1117"/>
                  <a:pt x="1007" y="1114"/>
                  <a:pt x="1008" y="1111"/>
                </a:cubicBezTo>
                <a:cubicBezTo>
                  <a:pt x="1008" y="1109"/>
                  <a:pt x="1009" y="1106"/>
                  <a:pt x="1011" y="1104"/>
                </a:cubicBezTo>
                <a:cubicBezTo>
                  <a:pt x="1012" y="1102"/>
                  <a:pt x="1014" y="1101"/>
                  <a:pt x="1015" y="1098"/>
                </a:cubicBezTo>
                <a:cubicBezTo>
                  <a:pt x="1015" y="1096"/>
                  <a:pt x="1014" y="1094"/>
                  <a:pt x="1013" y="1092"/>
                </a:cubicBezTo>
                <a:cubicBezTo>
                  <a:pt x="1013" y="1091"/>
                  <a:pt x="1012" y="1090"/>
                  <a:pt x="1011" y="1089"/>
                </a:cubicBezTo>
                <a:cubicBezTo>
                  <a:pt x="1011" y="1089"/>
                  <a:pt x="1009" y="1088"/>
                  <a:pt x="1009" y="1087"/>
                </a:cubicBezTo>
                <a:cubicBezTo>
                  <a:pt x="1008" y="1086"/>
                  <a:pt x="1009" y="1085"/>
                  <a:pt x="1010" y="1085"/>
                </a:cubicBezTo>
                <a:cubicBezTo>
                  <a:pt x="1011" y="1086"/>
                  <a:pt x="1013" y="1086"/>
                  <a:pt x="1014" y="1086"/>
                </a:cubicBezTo>
                <a:cubicBezTo>
                  <a:pt x="1014" y="1087"/>
                  <a:pt x="1015" y="1087"/>
                  <a:pt x="1016" y="1088"/>
                </a:cubicBezTo>
                <a:cubicBezTo>
                  <a:pt x="1016" y="1089"/>
                  <a:pt x="1014" y="1090"/>
                  <a:pt x="1016" y="1091"/>
                </a:cubicBezTo>
                <a:cubicBezTo>
                  <a:pt x="1017" y="1091"/>
                  <a:pt x="1021" y="1091"/>
                  <a:pt x="1020" y="1093"/>
                </a:cubicBezTo>
                <a:cubicBezTo>
                  <a:pt x="1019" y="1094"/>
                  <a:pt x="1018" y="1094"/>
                  <a:pt x="1018" y="1095"/>
                </a:cubicBezTo>
                <a:cubicBezTo>
                  <a:pt x="1018" y="1096"/>
                  <a:pt x="1019" y="1098"/>
                  <a:pt x="1019" y="1099"/>
                </a:cubicBezTo>
                <a:cubicBezTo>
                  <a:pt x="1021" y="1100"/>
                  <a:pt x="1023" y="1097"/>
                  <a:pt x="1024" y="1097"/>
                </a:cubicBezTo>
                <a:cubicBezTo>
                  <a:pt x="1025" y="1097"/>
                  <a:pt x="1027" y="1097"/>
                  <a:pt x="1027" y="1098"/>
                </a:cubicBezTo>
                <a:cubicBezTo>
                  <a:pt x="1028" y="1099"/>
                  <a:pt x="1029" y="1100"/>
                  <a:pt x="1030" y="1101"/>
                </a:cubicBezTo>
                <a:cubicBezTo>
                  <a:pt x="1031" y="1101"/>
                  <a:pt x="1034" y="1102"/>
                  <a:pt x="1035" y="1101"/>
                </a:cubicBezTo>
                <a:cubicBezTo>
                  <a:pt x="1036" y="1100"/>
                  <a:pt x="1036" y="1099"/>
                  <a:pt x="1035" y="1098"/>
                </a:cubicBezTo>
                <a:cubicBezTo>
                  <a:pt x="1035" y="1097"/>
                  <a:pt x="1035" y="1096"/>
                  <a:pt x="1035" y="1095"/>
                </a:cubicBezTo>
                <a:cubicBezTo>
                  <a:pt x="1037" y="1093"/>
                  <a:pt x="1038" y="1094"/>
                  <a:pt x="1039" y="1095"/>
                </a:cubicBezTo>
                <a:cubicBezTo>
                  <a:pt x="1041" y="1096"/>
                  <a:pt x="1043" y="1097"/>
                  <a:pt x="1042" y="1094"/>
                </a:cubicBezTo>
                <a:cubicBezTo>
                  <a:pt x="1041" y="1093"/>
                  <a:pt x="1040" y="1092"/>
                  <a:pt x="1040" y="1091"/>
                </a:cubicBezTo>
                <a:cubicBezTo>
                  <a:pt x="1039" y="1091"/>
                  <a:pt x="1038" y="1090"/>
                  <a:pt x="1037" y="1090"/>
                </a:cubicBezTo>
                <a:cubicBezTo>
                  <a:pt x="1036" y="1087"/>
                  <a:pt x="1038" y="1085"/>
                  <a:pt x="1036" y="1082"/>
                </a:cubicBezTo>
                <a:cubicBezTo>
                  <a:pt x="1034" y="1080"/>
                  <a:pt x="1031" y="1078"/>
                  <a:pt x="1028" y="1076"/>
                </a:cubicBezTo>
                <a:cubicBezTo>
                  <a:pt x="1027" y="1075"/>
                  <a:pt x="1026" y="1073"/>
                  <a:pt x="1024" y="1072"/>
                </a:cubicBezTo>
                <a:cubicBezTo>
                  <a:pt x="1023" y="1070"/>
                  <a:pt x="1021" y="1070"/>
                  <a:pt x="1019" y="1070"/>
                </a:cubicBezTo>
                <a:cubicBezTo>
                  <a:pt x="1017" y="1070"/>
                  <a:pt x="1014" y="1070"/>
                  <a:pt x="1012" y="1070"/>
                </a:cubicBezTo>
                <a:cubicBezTo>
                  <a:pt x="1010" y="1069"/>
                  <a:pt x="1008" y="1068"/>
                  <a:pt x="1006" y="1067"/>
                </a:cubicBezTo>
                <a:cubicBezTo>
                  <a:pt x="1002" y="1065"/>
                  <a:pt x="998" y="1066"/>
                  <a:pt x="993" y="1066"/>
                </a:cubicBezTo>
                <a:cubicBezTo>
                  <a:pt x="991" y="1066"/>
                  <a:pt x="989" y="1066"/>
                  <a:pt x="987" y="1065"/>
                </a:cubicBezTo>
                <a:cubicBezTo>
                  <a:pt x="985" y="1065"/>
                  <a:pt x="983" y="1064"/>
                  <a:pt x="980" y="1064"/>
                </a:cubicBezTo>
                <a:cubicBezTo>
                  <a:pt x="978" y="1064"/>
                  <a:pt x="976" y="1064"/>
                  <a:pt x="974" y="1064"/>
                </a:cubicBezTo>
                <a:cubicBezTo>
                  <a:pt x="973" y="1064"/>
                  <a:pt x="970" y="1065"/>
                  <a:pt x="969" y="1065"/>
                </a:cubicBezTo>
                <a:cubicBezTo>
                  <a:pt x="968" y="1062"/>
                  <a:pt x="968" y="1057"/>
                  <a:pt x="964" y="1057"/>
                </a:cubicBezTo>
                <a:cubicBezTo>
                  <a:pt x="962" y="1057"/>
                  <a:pt x="959" y="1059"/>
                  <a:pt x="957" y="1057"/>
                </a:cubicBezTo>
                <a:cubicBezTo>
                  <a:pt x="956" y="1057"/>
                  <a:pt x="958" y="1057"/>
                  <a:pt x="958" y="1057"/>
                </a:cubicBezTo>
                <a:cubicBezTo>
                  <a:pt x="957" y="1057"/>
                  <a:pt x="957" y="1057"/>
                  <a:pt x="957" y="1057"/>
                </a:cubicBezTo>
                <a:cubicBezTo>
                  <a:pt x="958" y="1057"/>
                  <a:pt x="957" y="1057"/>
                  <a:pt x="957" y="1057"/>
                </a:cubicBezTo>
                <a:close/>
                <a:moveTo>
                  <a:pt x="1418" y="975"/>
                </a:moveTo>
                <a:cubicBezTo>
                  <a:pt x="1415" y="979"/>
                  <a:pt x="1416" y="985"/>
                  <a:pt x="1412" y="989"/>
                </a:cubicBezTo>
                <a:cubicBezTo>
                  <a:pt x="1411" y="991"/>
                  <a:pt x="1409" y="992"/>
                  <a:pt x="1408" y="994"/>
                </a:cubicBezTo>
                <a:cubicBezTo>
                  <a:pt x="1407" y="996"/>
                  <a:pt x="1407" y="998"/>
                  <a:pt x="1409" y="998"/>
                </a:cubicBezTo>
                <a:cubicBezTo>
                  <a:pt x="1410" y="999"/>
                  <a:pt x="1412" y="999"/>
                  <a:pt x="1413" y="1000"/>
                </a:cubicBezTo>
                <a:cubicBezTo>
                  <a:pt x="1414" y="1002"/>
                  <a:pt x="1411" y="1001"/>
                  <a:pt x="1410" y="1001"/>
                </a:cubicBezTo>
                <a:cubicBezTo>
                  <a:pt x="1408" y="1000"/>
                  <a:pt x="1410" y="1003"/>
                  <a:pt x="1410" y="1003"/>
                </a:cubicBezTo>
                <a:cubicBezTo>
                  <a:pt x="1411" y="1004"/>
                  <a:pt x="1411" y="1005"/>
                  <a:pt x="1411" y="1005"/>
                </a:cubicBezTo>
                <a:cubicBezTo>
                  <a:pt x="1411" y="1006"/>
                  <a:pt x="1409" y="1006"/>
                  <a:pt x="1409" y="1006"/>
                </a:cubicBezTo>
                <a:cubicBezTo>
                  <a:pt x="1407" y="1005"/>
                  <a:pt x="1406" y="1002"/>
                  <a:pt x="1403" y="1003"/>
                </a:cubicBezTo>
                <a:cubicBezTo>
                  <a:pt x="1401" y="1004"/>
                  <a:pt x="1401" y="1008"/>
                  <a:pt x="1401" y="1010"/>
                </a:cubicBezTo>
                <a:cubicBezTo>
                  <a:pt x="1401" y="1012"/>
                  <a:pt x="1400" y="1013"/>
                  <a:pt x="1397" y="1013"/>
                </a:cubicBezTo>
                <a:cubicBezTo>
                  <a:pt x="1394" y="1013"/>
                  <a:pt x="1399" y="1010"/>
                  <a:pt x="1396" y="1010"/>
                </a:cubicBezTo>
                <a:cubicBezTo>
                  <a:pt x="1394" y="1011"/>
                  <a:pt x="1393" y="1013"/>
                  <a:pt x="1391" y="1014"/>
                </a:cubicBezTo>
                <a:cubicBezTo>
                  <a:pt x="1389" y="1016"/>
                  <a:pt x="1389" y="1017"/>
                  <a:pt x="1392" y="1016"/>
                </a:cubicBezTo>
                <a:cubicBezTo>
                  <a:pt x="1393" y="1016"/>
                  <a:pt x="1395" y="1016"/>
                  <a:pt x="1396" y="1015"/>
                </a:cubicBezTo>
                <a:cubicBezTo>
                  <a:pt x="1398" y="1015"/>
                  <a:pt x="1399" y="1016"/>
                  <a:pt x="1400" y="1016"/>
                </a:cubicBezTo>
                <a:cubicBezTo>
                  <a:pt x="1402" y="1015"/>
                  <a:pt x="1404" y="1015"/>
                  <a:pt x="1405" y="1016"/>
                </a:cubicBezTo>
                <a:cubicBezTo>
                  <a:pt x="1406" y="1017"/>
                  <a:pt x="1400" y="1019"/>
                  <a:pt x="1400" y="1019"/>
                </a:cubicBezTo>
                <a:cubicBezTo>
                  <a:pt x="1397" y="1020"/>
                  <a:pt x="1394" y="1022"/>
                  <a:pt x="1393" y="1024"/>
                </a:cubicBezTo>
                <a:cubicBezTo>
                  <a:pt x="1392" y="1025"/>
                  <a:pt x="1392" y="1026"/>
                  <a:pt x="1391" y="1027"/>
                </a:cubicBezTo>
                <a:cubicBezTo>
                  <a:pt x="1390" y="1028"/>
                  <a:pt x="1389" y="1028"/>
                  <a:pt x="1389" y="1029"/>
                </a:cubicBezTo>
                <a:cubicBezTo>
                  <a:pt x="1388" y="1030"/>
                  <a:pt x="1389" y="1031"/>
                  <a:pt x="1390" y="1032"/>
                </a:cubicBezTo>
                <a:cubicBezTo>
                  <a:pt x="1391" y="1032"/>
                  <a:pt x="1391" y="1034"/>
                  <a:pt x="1392" y="1034"/>
                </a:cubicBezTo>
                <a:cubicBezTo>
                  <a:pt x="1395" y="1035"/>
                  <a:pt x="1398" y="1035"/>
                  <a:pt x="1401" y="1035"/>
                </a:cubicBezTo>
                <a:cubicBezTo>
                  <a:pt x="1404" y="1034"/>
                  <a:pt x="1407" y="1033"/>
                  <a:pt x="1410" y="1033"/>
                </a:cubicBezTo>
                <a:cubicBezTo>
                  <a:pt x="1413" y="1034"/>
                  <a:pt x="1416" y="1033"/>
                  <a:pt x="1418" y="1034"/>
                </a:cubicBezTo>
                <a:cubicBezTo>
                  <a:pt x="1421" y="1035"/>
                  <a:pt x="1424" y="1036"/>
                  <a:pt x="1428" y="1036"/>
                </a:cubicBezTo>
                <a:cubicBezTo>
                  <a:pt x="1429" y="1036"/>
                  <a:pt x="1431" y="1036"/>
                  <a:pt x="1432" y="1035"/>
                </a:cubicBezTo>
                <a:cubicBezTo>
                  <a:pt x="1433" y="1035"/>
                  <a:pt x="1434" y="1035"/>
                  <a:pt x="1435" y="1035"/>
                </a:cubicBezTo>
                <a:cubicBezTo>
                  <a:pt x="1437" y="1035"/>
                  <a:pt x="1437" y="1035"/>
                  <a:pt x="1438" y="1034"/>
                </a:cubicBezTo>
                <a:cubicBezTo>
                  <a:pt x="1439" y="1033"/>
                  <a:pt x="1440" y="1031"/>
                  <a:pt x="1441" y="1031"/>
                </a:cubicBezTo>
                <a:cubicBezTo>
                  <a:pt x="1443" y="1030"/>
                  <a:pt x="1445" y="1031"/>
                  <a:pt x="1446" y="1030"/>
                </a:cubicBezTo>
                <a:cubicBezTo>
                  <a:pt x="1446" y="1030"/>
                  <a:pt x="1447" y="1029"/>
                  <a:pt x="1448" y="1029"/>
                </a:cubicBezTo>
                <a:cubicBezTo>
                  <a:pt x="1448" y="1029"/>
                  <a:pt x="1448" y="1030"/>
                  <a:pt x="1448" y="1031"/>
                </a:cubicBezTo>
                <a:cubicBezTo>
                  <a:pt x="1448" y="1033"/>
                  <a:pt x="1451" y="1032"/>
                  <a:pt x="1451" y="1034"/>
                </a:cubicBezTo>
                <a:cubicBezTo>
                  <a:pt x="1451" y="1035"/>
                  <a:pt x="1450" y="1035"/>
                  <a:pt x="1450" y="1036"/>
                </a:cubicBezTo>
                <a:cubicBezTo>
                  <a:pt x="1449" y="1037"/>
                  <a:pt x="1451" y="1037"/>
                  <a:pt x="1451" y="1038"/>
                </a:cubicBezTo>
                <a:cubicBezTo>
                  <a:pt x="1454" y="1039"/>
                  <a:pt x="1455" y="1039"/>
                  <a:pt x="1455" y="1036"/>
                </a:cubicBezTo>
                <a:cubicBezTo>
                  <a:pt x="1455" y="1035"/>
                  <a:pt x="1455" y="1034"/>
                  <a:pt x="1456" y="1033"/>
                </a:cubicBezTo>
                <a:cubicBezTo>
                  <a:pt x="1457" y="1033"/>
                  <a:pt x="1457" y="1035"/>
                  <a:pt x="1458" y="1035"/>
                </a:cubicBezTo>
                <a:cubicBezTo>
                  <a:pt x="1460" y="1036"/>
                  <a:pt x="1461" y="1032"/>
                  <a:pt x="1463" y="1032"/>
                </a:cubicBezTo>
                <a:cubicBezTo>
                  <a:pt x="1463" y="1031"/>
                  <a:pt x="1464" y="1032"/>
                  <a:pt x="1464" y="1033"/>
                </a:cubicBezTo>
                <a:cubicBezTo>
                  <a:pt x="1464" y="1034"/>
                  <a:pt x="1464" y="1035"/>
                  <a:pt x="1465" y="1035"/>
                </a:cubicBezTo>
                <a:cubicBezTo>
                  <a:pt x="1468" y="1035"/>
                  <a:pt x="1465" y="1037"/>
                  <a:pt x="1464" y="1038"/>
                </a:cubicBezTo>
                <a:cubicBezTo>
                  <a:pt x="1462" y="1038"/>
                  <a:pt x="1460" y="1038"/>
                  <a:pt x="1458" y="1040"/>
                </a:cubicBezTo>
                <a:cubicBezTo>
                  <a:pt x="1456" y="1041"/>
                  <a:pt x="1456" y="1043"/>
                  <a:pt x="1453" y="1044"/>
                </a:cubicBezTo>
                <a:cubicBezTo>
                  <a:pt x="1452" y="1045"/>
                  <a:pt x="1449" y="1045"/>
                  <a:pt x="1447" y="1047"/>
                </a:cubicBezTo>
                <a:cubicBezTo>
                  <a:pt x="1446" y="1049"/>
                  <a:pt x="1448" y="1051"/>
                  <a:pt x="1450" y="1051"/>
                </a:cubicBezTo>
                <a:cubicBezTo>
                  <a:pt x="1451" y="1051"/>
                  <a:pt x="1452" y="1050"/>
                  <a:pt x="1454" y="1050"/>
                </a:cubicBezTo>
                <a:cubicBezTo>
                  <a:pt x="1455" y="1050"/>
                  <a:pt x="1457" y="1050"/>
                  <a:pt x="1458" y="1050"/>
                </a:cubicBezTo>
                <a:cubicBezTo>
                  <a:pt x="1463" y="1049"/>
                  <a:pt x="1462" y="1044"/>
                  <a:pt x="1464" y="1041"/>
                </a:cubicBezTo>
                <a:cubicBezTo>
                  <a:pt x="1466" y="1039"/>
                  <a:pt x="1469" y="1041"/>
                  <a:pt x="1470" y="1039"/>
                </a:cubicBezTo>
                <a:cubicBezTo>
                  <a:pt x="1472" y="1037"/>
                  <a:pt x="1473" y="1035"/>
                  <a:pt x="1474" y="1032"/>
                </a:cubicBezTo>
                <a:cubicBezTo>
                  <a:pt x="1475" y="1030"/>
                  <a:pt x="1477" y="1031"/>
                  <a:pt x="1479" y="1033"/>
                </a:cubicBezTo>
                <a:cubicBezTo>
                  <a:pt x="1479" y="1034"/>
                  <a:pt x="1479" y="1035"/>
                  <a:pt x="1480" y="1036"/>
                </a:cubicBezTo>
                <a:cubicBezTo>
                  <a:pt x="1481" y="1037"/>
                  <a:pt x="1481" y="1038"/>
                  <a:pt x="1480" y="1039"/>
                </a:cubicBezTo>
                <a:cubicBezTo>
                  <a:pt x="1478" y="1041"/>
                  <a:pt x="1477" y="1043"/>
                  <a:pt x="1477" y="1045"/>
                </a:cubicBezTo>
                <a:cubicBezTo>
                  <a:pt x="1477" y="1047"/>
                  <a:pt x="1476" y="1049"/>
                  <a:pt x="1477" y="1051"/>
                </a:cubicBezTo>
                <a:cubicBezTo>
                  <a:pt x="1478" y="1053"/>
                  <a:pt x="1481" y="1050"/>
                  <a:pt x="1481" y="1049"/>
                </a:cubicBezTo>
                <a:cubicBezTo>
                  <a:pt x="1482" y="1048"/>
                  <a:pt x="1483" y="1044"/>
                  <a:pt x="1485" y="1047"/>
                </a:cubicBezTo>
                <a:cubicBezTo>
                  <a:pt x="1485" y="1048"/>
                  <a:pt x="1486" y="1050"/>
                  <a:pt x="1486" y="1052"/>
                </a:cubicBezTo>
                <a:cubicBezTo>
                  <a:pt x="1486" y="1054"/>
                  <a:pt x="1485" y="1057"/>
                  <a:pt x="1489" y="1056"/>
                </a:cubicBezTo>
                <a:cubicBezTo>
                  <a:pt x="1490" y="1055"/>
                  <a:pt x="1491" y="1054"/>
                  <a:pt x="1492" y="1055"/>
                </a:cubicBezTo>
                <a:cubicBezTo>
                  <a:pt x="1493" y="1055"/>
                  <a:pt x="1494" y="1056"/>
                  <a:pt x="1495" y="1055"/>
                </a:cubicBezTo>
                <a:cubicBezTo>
                  <a:pt x="1497" y="1055"/>
                  <a:pt x="1497" y="1051"/>
                  <a:pt x="1497" y="1049"/>
                </a:cubicBezTo>
                <a:cubicBezTo>
                  <a:pt x="1498" y="1046"/>
                  <a:pt x="1499" y="1044"/>
                  <a:pt x="1500" y="1042"/>
                </a:cubicBezTo>
                <a:cubicBezTo>
                  <a:pt x="1501" y="1040"/>
                  <a:pt x="1503" y="1037"/>
                  <a:pt x="1501" y="1035"/>
                </a:cubicBezTo>
                <a:cubicBezTo>
                  <a:pt x="1499" y="1034"/>
                  <a:pt x="1498" y="1034"/>
                  <a:pt x="1497" y="1035"/>
                </a:cubicBezTo>
                <a:cubicBezTo>
                  <a:pt x="1496" y="1036"/>
                  <a:pt x="1495" y="1038"/>
                  <a:pt x="1493" y="1037"/>
                </a:cubicBezTo>
                <a:cubicBezTo>
                  <a:pt x="1492" y="1036"/>
                  <a:pt x="1493" y="1034"/>
                  <a:pt x="1494" y="1033"/>
                </a:cubicBezTo>
                <a:cubicBezTo>
                  <a:pt x="1494" y="1032"/>
                  <a:pt x="1495" y="1032"/>
                  <a:pt x="1495" y="1031"/>
                </a:cubicBezTo>
                <a:cubicBezTo>
                  <a:pt x="1496" y="1029"/>
                  <a:pt x="1496" y="1028"/>
                  <a:pt x="1497" y="1027"/>
                </a:cubicBezTo>
                <a:cubicBezTo>
                  <a:pt x="1498" y="1027"/>
                  <a:pt x="1500" y="1025"/>
                  <a:pt x="1499" y="1025"/>
                </a:cubicBezTo>
                <a:cubicBezTo>
                  <a:pt x="1498" y="1024"/>
                  <a:pt x="1493" y="1026"/>
                  <a:pt x="1492" y="1026"/>
                </a:cubicBezTo>
                <a:cubicBezTo>
                  <a:pt x="1489" y="1027"/>
                  <a:pt x="1491" y="1034"/>
                  <a:pt x="1487" y="1036"/>
                </a:cubicBezTo>
                <a:cubicBezTo>
                  <a:pt x="1486" y="1037"/>
                  <a:pt x="1483" y="1036"/>
                  <a:pt x="1483" y="1034"/>
                </a:cubicBezTo>
                <a:cubicBezTo>
                  <a:pt x="1483" y="1032"/>
                  <a:pt x="1484" y="1030"/>
                  <a:pt x="1485" y="1029"/>
                </a:cubicBezTo>
                <a:cubicBezTo>
                  <a:pt x="1485" y="1027"/>
                  <a:pt x="1485" y="1025"/>
                  <a:pt x="1487" y="1023"/>
                </a:cubicBezTo>
                <a:cubicBezTo>
                  <a:pt x="1488" y="1021"/>
                  <a:pt x="1490" y="1020"/>
                  <a:pt x="1492" y="1019"/>
                </a:cubicBezTo>
                <a:cubicBezTo>
                  <a:pt x="1493" y="1019"/>
                  <a:pt x="1495" y="1018"/>
                  <a:pt x="1496" y="1016"/>
                </a:cubicBezTo>
                <a:cubicBezTo>
                  <a:pt x="1497" y="1014"/>
                  <a:pt x="1496" y="1013"/>
                  <a:pt x="1494" y="1013"/>
                </a:cubicBezTo>
                <a:cubicBezTo>
                  <a:pt x="1492" y="1013"/>
                  <a:pt x="1489" y="1013"/>
                  <a:pt x="1487" y="1014"/>
                </a:cubicBezTo>
                <a:cubicBezTo>
                  <a:pt x="1486" y="1015"/>
                  <a:pt x="1485" y="1017"/>
                  <a:pt x="1482" y="1018"/>
                </a:cubicBezTo>
                <a:cubicBezTo>
                  <a:pt x="1482" y="1018"/>
                  <a:pt x="1479" y="1019"/>
                  <a:pt x="1479" y="1018"/>
                </a:cubicBezTo>
                <a:cubicBezTo>
                  <a:pt x="1479" y="1016"/>
                  <a:pt x="1482" y="1015"/>
                  <a:pt x="1481" y="1012"/>
                </a:cubicBezTo>
                <a:cubicBezTo>
                  <a:pt x="1480" y="1011"/>
                  <a:pt x="1478" y="1011"/>
                  <a:pt x="1477" y="1009"/>
                </a:cubicBezTo>
                <a:cubicBezTo>
                  <a:pt x="1476" y="1008"/>
                  <a:pt x="1481" y="1007"/>
                  <a:pt x="1482" y="1007"/>
                </a:cubicBezTo>
                <a:cubicBezTo>
                  <a:pt x="1484" y="1006"/>
                  <a:pt x="1486" y="1004"/>
                  <a:pt x="1487" y="1002"/>
                </a:cubicBezTo>
                <a:cubicBezTo>
                  <a:pt x="1488" y="1002"/>
                  <a:pt x="1488" y="1001"/>
                  <a:pt x="1488" y="1000"/>
                </a:cubicBezTo>
                <a:cubicBezTo>
                  <a:pt x="1488" y="999"/>
                  <a:pt x="1486" y="998"/>
                  <a:pt x="1485" y="998"/>
                </a:cubicBezTo>
                <a:cubicBezTo>
                  <a:pt x="1483" y="997"/>
                  <a:pt x="1481" y="995"/>
                  <a:pt x="1479" y="995"/>
                </a:cubicBezTo>
                <a:cubicBezTo>
                  <a:pt x="1477" y="995"/>
                  <a:pt x="1474" y="998"/>
                  <a:pt x="1472" y="996"/>
                </a:cubicBezTo>
                <a:cubicBezTo>
                  <a:pt x="1471" y="995"/>
                  <a:pt x="1469" y="994"/>
                  <a:pt x="1468" y="996"/>
                </a:cubicBezTo>
                <a:cubicBezTo>
                  <a:pt x="1467" y="997"/>
                  <a:pt x="1467" y="998"/>
                  <a:pt x="1466" y="998"/>
                </a:cubicBezTo>
                <a:cubicBezTo>
                  <a:pt x="1465" y="999"/>
                  <a:pt x="1464" y="999"/>
                  <a:pt x="1463" y="999"/>
                </a:cubicBezTo>
                <a:cubicBezTo>
                  <a:pt x="1460" y="999"/>
                  <a:pt x="1460" y="1001"/>
                  <a:pt x="1458" y="1002"/>
                </a:cubicBezTo>
                <a:cubicBezTo>
                  <a:pt x="1456" y="1004"/>
                  <a:pt x="1456" y="1002"/>
                  <a:pt x="1457" y="1000"/>
                </a:cubicBezTo>
                <a:cubicBezTo>
                  <a:pt x="1458" y="999"/>
                  <a:pt x="1458" y="997"/>
                  <a:pt x="1455" y="997"/>
                </a:cubicBezTo>
                <a:cubicBezTo>
                  <a:pt x="1454" y="997"/>
                  <a:pt x="1453" y="997"/>
                  <a:pt x="1452" y="996"/>
                </a:cubicBezTo>
                <a:cubicBezTo>
                  <a:pt x="1450" y="996"/>
                  <a:pt x="1450" y="995"/>
                  <a:pt x="1448" y="994"/>
                </a:cubicBezTo>
                <a:cubicBezTo>
                  <a:pt x="1447" y="994"/>
                  <a:pt x="1444" y="995"/>
                  <a:pt x="1444" y="994"/>
                </a:cubicBezTo>
                <a:cubicBezTo>
                  <a:pt x="1444" y="992"/>
                  <a:pt x="1445" y="990"/>
                  <a:pt x="1447" y="989"/>
                </a:cubicBezTo>
                <a:cubicBezTo>
                  <a:pt x="1448" y="988"/>
                  <a:pt x="1454" y="985"/>
                  <a:pt x="1450" y="984"/>
                </a:cubicBezTo>
                <a:cubicBezTo>
                  <a:pt x="1449" y="984"/>
                  <a:pt x="1448" y="983"/>
                  <a:pt x="1447" y="983"/>
                </a:cubicBezTo>
                <a:cubicBezTo>
                  <a:pt x="1446" y="982"/>
                  <a:pt x="1445" y="982"/>
                  <a:pt x="1444" y="982"/>
                </a:cubicBezTo>
                <a:cubicBezTo>
                  <a:pt x="1443" y="982"/>
                  <a:pt x="1442" y="981"/>
                  <a:pt x="1441" y="981"/>
                </a:cubicBezTo>
                <a:cubicBezTo>
                  <a:pt x="1440" y="980"/>
                  <a:pt x="1439" y="981"/>
                  <a:pt x="1439" y="982"/>
                </a:cubicBezTo>
                <a:cubicBezTo>
                  <a:pt x="1438" y="983"/>
                  <a:pt x="1438" y="984"/>
                  <a:pt x="1437" y="985"/>
                </a:cubicBezTo>
                <a:cubicBezTo>
                  <a:pt x="1436" y="986"/>
                  <a:pt x="1435" y="988"/>
                  <a:pt x="1435" y="989"/>
                </a:cubicBezTo>
                <a:cubicBezTo>
                  <a:pt x="1434" y="990"/>
                  <a:pt x="1431" y="994"/>
                  <a:pt x="1431" y="990"/>
                </a:cubicBezTo>
                <a:cubicBezTo>
                  <a:pt x="1430" y="985"/>
                  <a:pt x="1434" y="980"/>
                  <a:pt x="1437" y="976"/>
                </a:cubicBezTo>
                <a:cubicBezTo>
                  <a:pt x="1439" y="974"/>
                  <a:pt x="1442" y="972"/>
                  <a:pt x="1443" y="969"/>
                </a:cubicBezTo>
                <a:cubicBezTo>
                  <a:pt x="1443" y="968"/>
                  <a:pt x="1443" y="967"/>
                  <a:pt x="1443" y="966"/>
                </a:cubicBezTo>
                <a:cubicBezTo>
                  <a:pt x="1443" y="965"/>
                  <a:pt x="1444" y="965"/>
                  <a:pt x="1445" y="965"/>
                </a:cubicBezTo>
                <a:cubicBezTo>
                  <a:pt x="1448" y="964"/>
                  <a:pt x="1448" y="962"/>
                  <a:pt x="1448" y="959"/>
                </a:cubicBezTo>
                <a:cubicBezTo>
                  <a:pt x="1448" y="957"/>
                  <a:pt x="1447" y="957"/>
                  <a:pt x="1445" y="956"/>
                </a:cubicBezTo>
                <a:cubicBezTo>
                  <a:pt x="1444" y="954"/>
                  <a:pt x="1445" y="952"/>
                  <a:pt x="1447" y="953"/>
                </a:cubicBezTo>
                <a:cubicBezTo>
                  <a:pt x="1449" y="954"/>
                  <a:pt x="1450" y="955"/>
                  <a:pt x="1452" y="953"/>
                </a:cubicBezTo>
                <a:cubicBezTo>
                  <a:pt x="1453" y="952"/>
                  <a:pt x="1454" y="951"/>
                  <a:pt x="1455" y="949"/>
                </a:cubicBezTo>
                <a:cubicBezTo>
                  <a:pt x="1455" y="948"/>
                  <a:pt x="1456" y="947"/>
                  <a:pt x="1455" y="947"/>
                </a:cubicBezTo>
                <a:cubicBezTo>
                  <a:pt x="1454" y="947"/>
                  <a:pt x="1452" y="946"/>
                  <a:pt x="1451" y="947"/>
                </a:cubicBezTo>
                <a:cubicBezTo>
                  <a:pt x="1450" y="947"/>
                  <a:pt x="1450" y="948"/>
                  <a:pt x="1450" y="949"/>
                </a:cubicBezTo>
                <a:cubicBezTo>
                  <a:pt x="1449" y="950"/>
                  <a:pt x="1448" y="951"/>
                  <a:pt x="1448" y="950"/>
                </a:cubicBezTo>
                <a:cubicBezTo>
                  <a:pt x="1447" y="949"/>
                  <a:pt x="1447" y="945"/>
                  <a:pt x="1444" y="947"/>
                </a:cubicBezTo>
                <a:cubicBezTo>
                  <a:pt x="1444" y="947"/>
                  <a:pt x="1443" y="948"/>
                  <a:pt x="1443" y="949"/>
                </a:cubicBezTo>
                <a:cubicBezTo>
                  <a:pt x="1442" y="949"/>
                  <a:pt x="1440" y="950"/>
                  <a:pt x="1439" y="950"/>
                </a:cubicBezTo>
                <a:cubicBezTo>
                  <a:pt x="1437" y="950"/>
                  <a:pt x="1434" y="952"/>
                  <a:pt x="1433" y="954"/>
                </a:cubicBezTo>
                <a:cubicBezTo>
                  <a:pt x="1432" y="956"/>
                  <a:pt x="1431" y="958"/>
                  <a:pt x="1429" y="958"/>
                </a:cubicBezTo>
                <a:cubicBezTo>
                  <a:pt x="1426" y="959"/>
                  <a:pt x="1427" y="960"/>
                  <a:pt x="1428" y="962"/>
                </a:cubicBezTo>
                <a:cubicBezTo>
                  <a:pt x="1428" y="964"/>
                  <a:pt x="1426" y="964"/>
                  <a:pt x="1425" y="965"/>
                </a:cubicBezTo>
                <a:cubicBezTo>
                  <a:pt x="1423" y="966"/>
                  <a:pt x="1423" y="967"/>
                  <a:pt x="1422" y="969"/>
                </a:cubicBezTo>
                <a:cubicBezTo>
                  <a:pt x="1420" y="972"/>
                  <a:pt x="1419" y="975"/>
                  <a:pt x="1417" y="977"/>
                </a:cubicBezTo>
                <a:cubicBezTo>
                  <a:pt x="1418" y="976"/>
                  <a:pt x="1418" y="976"/>
                  <a:pt x="1418" y="975"/>
                </a:cubicBezTo>
                <a:cubicBezTo>
                  <a:pt x="1416" y="978"/>
                  <a:pt x="1418" y="975"/>
                  <a:pt x="1418" y="975"/>
                </a:cubicBezTo>
                <a:close/>
                <a:moveTo>
                  <a:pt x="1437" y="1047"/>
                </a:moveTo>
                <a:cubicBezTo>
                  <a:pt x="1438" y="1048"/>
                  <a:pt x="1438" y="1049"/>
                  <a:pt x="1438" y="1050"/>
                </a:cubicBezTo>
                <a:cubicBezTo>
                  <a:pt x="1438" y="1051"/>
                  <a:pt x="1438" y="1053"/>
                  <a:pt x="1438" y="1053"/>
                </a:cubicBezTo>
                <a:cubicBezTo>
                  <a:pt x="1439" y="1054"/>
                  <a:pt x="1440" y="1048"/>
                  <a:pt x="1441" y="1048"/>
                </a:cubicBezTo>
                <a:cubicBezTo>
                  <a:pt x="1441" y="1047"/>
                  <a:pt x="1442" y="1046"/>
                  <a:pt x="1441" y="1046"/>
                </a:cubicBezTo>
                <a:cubicBezTo>
                  <a:pt x="1440" y="1045"/>
                  <a:pt x="1439" y="1045"/>
                  <a:pt x="1439" y="1045"/>
                </a:cubicBezTo>
                <a:cubicBezTo>
                  <a:pt x="1437" y="1046"/>
                  <a:pt x="1437" y="1047"/>
                  <a:pt x="1438" y="1048"/>
                </a:cubicBezTo>
                <a:cubicBezTo>
                  <a:pt x="1437" y="1048"/>
                  <a:pt x="1437" y="1048"/>
                  <a:pt x="1437" y="1047"/>
                </a:cubicBezTo>
                <a:cubicBezTo>
                  <a:pt x="1438" y="1049"/>
                  <a:pt x="1437" y="1047"/>
                  <a:pt x="1437" y="1047"/>
                </a:cubicBezTo>
                <a:close/>
                <a:moveTo>
                  <a:pt x="1324" y="1059"/>
                </a:moveTo>
                <a:cubicBezTo>
                  <a:pt x="1322" y="1058"/>
                  <a:pt x="1320" y="1059"/>
                  <a:pt x="1319" y="1059"/>
                </a:cubicBezTo>
                <a:cubicBezTo>
                  <a:pt x="1317" y="1060"/>
                  <a:pt x="1315" y="1059"/>
                  <a:pt x="1313" y="1060"/>
                </a:cubicBezTo>
                <a:cubicBezTo>
                  <a:pt x="1312" y="1062"/>
                  <a:pt x="1316" y="1064"/>
                  <a:pt x="1317" y="1065"/>
                </a:cubicBezTo>
                <a:cubicBezTo>
                  <a:pt x="1318" y="1066"/>
                  <a:pt x="1321" y="1067"/>
                  <a:pt x="1322" y="1065"/>
                </a:cubicBezTo>
                <a:cubicBezTo>
                  <a:pt x="1322" y="1064"/>
                  <a:pt x="1324" y="1063"/>
                  <a:pt x="1325" y="1064"/>
                </a:cubicBezTo>
                <a:cubicBezTo>
                  <a:pt x="1325" y="1065"/>
                  <a:pt x="1325" y="1066"/>
                  <a:pt x="1325" y="1067"/>
                </a:cubicBezTo>
                <a:cubicBezTo>
                  <a:pt x="1325" y="1069"/>
                  <a:pt x="1326" y="1069"/>
                  <a:pt x="1327" y="1070"/>
                </a:cubicBezTo>
                <a:cubicBezTo>
                  <a:pt x="1329" y="1070"/>
                  <a:pt x="1331" y="1070"/>
                  <a:pt x="1332" y="1069"/>
                </a:cubicBezTo>
                <a:cubicBezTo>
                  <a:pt x="1334" y="1068"/>
                  <a:pt x="1333" y="1067"/>
                  <a:pt x="1332" y="1066"/>
                </a:cubicBezTo>
                <a:cubicBezTo>
                  <a:pt x="1331" y="1064"/>
                  <a:pt x="1339" y="1063"/>
                  <a:pt x="1341" y="1062"/>
                </a:cubicBezTo>
                <a:cubicBezTo>
                  <a:pt x="1342" y="1061"/>
                  <a:pt x="1341" y="1060"/>
                  <a:pt x="1340" y="1060"/>
                </a:cubicBezTo>
                <a:cubicBezTo>
                  <a:pt x="1338" y="1059"/>
                  <a:pt x="1336" y="1059"/>
                  <a:pt x="1334" y="1060"/>
                </a:cubicBezTo>
                <a:cubicBezTo>
                  <a:pt x="1330" y="1061"/>
                  <a:pt x="1326" y="1061"/>
                  <a:pt x="1323" y="1058"/>
                </a:cubicBezTo>
                <a:cubicBezTo>
                  <a:pt x="1323" y="1059"/>
                  <a:pt x="1323" y="1059"/>
                  <a:pt x="1324" y="1059"/>
                </a:cubicBezTo>
                <a:cubicBezTo>
                  <a:pt x="1322" y="1058"/>
                  <a:pt x="1324" y="1059"/>
                  <a:pt x="1324" y="1059"/>
                </a:cubicBezTo>
                <a:close/>
                <a:moveTo>
                  <a:pt x="1306" y="1050"/>
                </a:moveTo>
                <a:cubicBezTo>
                  <a:pt x="1306" y="1051"/>
                  <a:pt x="1305" y="1052"/>
                  <a:pt x="1303" y="1053"/>
                </a:cubicBezTo>
                <a:cubicBezTo>
                  <a:pt x="1302" y="1054"/>
                  <a:pt x="1303" y="1055"/>
                  <a:pt x="1304" y="1055"/>
                </a:cubicBezTo>
                <a:cubicBezTo>
                  <a:pt x="1305" y="1055"/>
                  <a:pt x="1307" y="1055"/>
                  <a:pt x="1306" y="1057"/>
                </a:cubicBezTo>
                <a:cubicBezTo>
                  <a:pt x="1306" y="1059"/>
                  <a:pt x="1308" y="1060"/>
                  <a:pt x="1310" y="1059"/>
                </a:cubicBezTo>
                <a:cubicBezTo>
                  <a:pt x="1314" y="1057"/>
                  <a:pt x="1308" y="1054"/>
                  <a:pt x="1309" y="1052"/>
                </a:cubicBezTo>
                <a:cubicBezTo>
                  <a:pt x="1310" y="1050"/>
                  <a:pt x="1311" y="1048"/>
                  <a:pt x="1309" y="1048"/>
                </a:cubicBezTo>
                <a:cubicBezTo>
                  <a:pt x="1307" y="1048"/>
                  <a:pt x="1306" y="1050"/>
                  <a:pt x="1306" y="1051"/>
                </a:cubicBezTo>
                <a:cubicBezTo>
                  <a:pt x="1306" y="1050"/>
                  <a:pt x="1306" y="1050"/>
                  <a:pt x="1306" y="1050"/>
                </a:cubicBezTo>
                <a:cubicBezTo>
                  <a:pt x="1306" y="1051"/>
                  <a:pt x="1306" y="1050"/>
                  <a:pt x="1306" y="1050"/>
                </a:cubicBezTo>
                <a:close/>
                <a:moveTo>
                  <a:pt x="1360" y="1057"/>
                </a:moveTo>
                <a:cubicBezTo>
                  <a:pt x="1359" y="1060"/>
                  <a:pt x="1355" y="1063"/>
                  <a:pt x="1353" y="1066"/>
                </a:cubicBezTo>
                <a:cubicBezTo>
                  <a:pt x="1352" y="1068"/>
                  <a:pt x="1351" y="1070"/>
                  <a:pt x="1352" y="1072"/>
                </a:cubicBezTo>
                <a:cubicBezTo>
                  <a:pt x="1352" y="1074"/>
                  <a:pt x="1353" y="1074"/>
                  <a:pt x="1354" y="1075"/>
                </a:cubicBezTo>
                <a:cubicBezTo>
                  <a:pt x="1355" y="1076"/>
                  <a:pt x="1356" y="1077"/>
                  <a:pt x="1358" y="1077"/>
                </a:cubicBezTo>
                <a:cubicBezTo>
                  <a:pt x="1358" y="1078"/>
                  <a:pt x="1359" y="1077"/>
                  <a:pt x="1359" y="1076"/>
                </a:cubicBezTo>
                <a:cubicBezTo>
                  <a:pt x="1360" y="1075"/>
                  <a:pt x="1359" y="1075"/>
                  <a:pt x="1359" y="1074"/>
                </a:cubicBezTo>
                <a:cubicBezTo>
                  <a:pt x="1358" y="1073"/>
                  <a:pt x="1358" y="1070"/>
                  <a:pt x="1359" y="1069"/>
                </a:cubicBezTo>
                <a:cubicBezTo>
                  <a:pt x="1360" y="1069"/>
                  <a:pt x="1361" y="1069"/>
                  <a:pt x="1363" y="1069"/>
                </a:cubicBezTo>
                <a:cubicBezTo>
                  <a:pt x="1365" y="1068"/>
                  <a:pt x="1365" y="1067"/>
                  <a:pt x="1365" y="1065"/>
                </a:cubicBezTo>
                <a:cubicBezTo>
                  <a:pt x="1365" y="1062"/>
                  <a:pt x="1366" y="1061"/>
                  <a:pt x="1368" y="1060"/>
                </a:cubicBezTo>
                <a:cubicBezTo>
                  <a:pt x="1369" y="1058"/>
                  <a:pt x="1369" y="1056"/>
                  <a:pt x="1370" y="1055"/>
                </a:cubicBezTo>
                <a:cubicBezTo>
                  <a:pt x="1370" y="1054"/>
                  <a:pt x="1372" y="1052"/>
                  <a:pt x="1371" y="1051"/>
                </a:cubicBezTo>
                <a:cubicBezTo>
                  <a:pt x="1370" y="1051"/>
                  <a:pt x="1369" y="1051"/>
                  <a:pt x="1370" y="1050"/>
                </a:cubicBezTo>
                <a:cubicBezTo>
                  <a:pt x="1370" y="1049"/>
                  <a:pt x="1370" y="1048"/>
                  <a:pt x="1369" y="1048"/>
                </a:cubicBezTo>
                <a:cubicBezTo>
                  <a:pt x="1368" y="1047"/>
                  <a:pt x="1366" y="1047"/>
                  <a:pt x="1366" y="1049"/>
                </a:cubicBezTo>
                <a:cubicBezTo>
                  <a:pt x="1366" y="1051"/>
                  <a:pt x="1364" y="1052"/>
                  <a:pt x="1363" y="1054"/>
                </a:cubicBezTo>
                <a:cubicBezTo>
                  <a:pt x="1361" y="1055"/>
                  <a:pt x="1360" y="1056"/>
                  <a:pt x="1360" y="1057"/>
                </a:cubicBezTo>
                <a:cubicBezTo>
                  <a:pt x="1360" y="1057"/>
                  <a:pt x="1360" y="1057"/>
                  <a:pt x="1360" y="1057"/>
                </a:cubicBezTo>
                <a:cubicBezTo>
                  <a:pt x="1359" y="1060"/>
                  <a:pt x="1360" y="1057"/>
                  <a:pt x="1360" y="1057"/>
                </a:cubicBezTo>
                <a:close/>
                <a:moveTo>
                  <a:pt x="1374" y="1065"/>
                </a:moveTo>
                <a:cubicBezTo>
                  <a:pt x="1372" y="1066"/>
                  <a:pt x="1371" y="1068"/>
                  <a:pt x="1369" y="1068"/>
                </a:cubicBezTo>
                <a:cubicBezTo>
                  <a:pt x="1368" y="1068"/>
                  <a:pt x="1367" y="1069"/>
                  <a:pt x="1367" y="1070"/>
                </a:cubicBezTo>
                <a:cubicBezTo>
                  <a:pt x="1366" y="1071"/>
                  <a:pt x="1367" y="1071"/>
                  <a:pt x="1368" y="1071"/>
                </a:cubicBezTo>
                <a:cubicBezTo>
                  <a:pt x="1370" y="1072"/>
                  <a:pt x="1366" y="1073"/>
                  <a:pt x="1366" y="1074"/>
                </a:cubicBezTo>
                <a:cubicBezTo>
                  <a:pt x="1365" y="1074"/>
                  <a:pt x="1364" y="1074"/>
                  <a:pt x="1364" y="1076"/>
                </a:cubicBezTo>
                <a:cubicBezTo>
                  <a:pt x="1363" y="1077"/>
                  <a:pt x="1364" y="1078"/>
                  <a:pt x="1365" y="1078"/>
                </a:cubicBezTo>
                <a:cubicBezTo>
                  <a:pt x="1366" y="1078"/>
                  <a:pt x="1367" y="1078"/>
                  <a:pt x="1368" y="1077"/>
                </a:cubicBezTo>
                <a:cubicBezTo>
                  <a:pt x="1369" y="1076"/>
                  <a:pt x="1370" y="1076"/>
                  <a:pt x="1372" y="1076"/>
                </a:cubicBezTo>
                <a:cubicBezTo>
                  <a:pt x="1373" y="1075"/>
                  <a:pt x="1374" y="1074"/>
                  <a:pt x="1375" y="1073"/>
                </a:cubicBezTo>
                <a:cubicBezTo>
                  <a:pt x="1376" y="1072"/>
                  <a:pt x="1377" y="1072"/>
                  <a:pt x="1378" y="1071"/>
                </a:cubicBezTo>
                <a:cubicBezTo>
                  <a:pt x="1379" y="1071"/>
                  <a:pt x="1380" y="1071"/>
                  <a:pt x="1380" y="1069"/>
                </a:cubicBezTo>
                <a:cubicBezTo>
                  <a:pt x="1381" y="1068"/>
                  <a:pt x="1380" y="1067"/>
                  <a:pt x="1379" y="1066"/>
                </a:cubicBezTo>
                <a:cubicBezTo>
                  <a:pt x="1377" y="1065"/>
                  <a:pt x="1375" y="1064"/>
                  <a:pt x="1374" y="1065"/>
                </a:cubicBezTo>
                <a:cubicBezTo>
                  <a:pt x="1374" y="1065"/>
                  <a:pt x="1374" y="1065"/>
                  <a:pt x="1374" y="1065"/>
                </a:cubicBezTo>
                <a:cubicBezTo>
                  <a:pt x="1373" y="1065"/>
                  <a:pt x="1374" y="1065"/>
                  <a:pt x="1374" y="1065"/>
                </a:cubicBezTo>
                <a:close/>
                <a:moveTo>
                  <a:pt x="981" y="611"/>
                </a:moveTo>
                <a:cubicBezTo>
                  <a:pt x="982" y="611"/>
                  <a:pt x="983" y="611"/>
                  <a:pt x="984" y="612"/>
                </a:cubicBezTo>
                <a:cubicBezTo>
                  <a:pt x="985" y="613"/>
                  <a:pt x="986" y="614"/>
                  <a:pt x="987" y="615"/>
                </a:cubicBezTo>
                <a:cubicBezTo>
                  <a:pt x="989" y="617"/>
                  <a:pt x="992" y="618"/>
                  <a:pt x="994" y="619"/>
                </a:cubicBezTo>
                <a:cubicBezTo>
                  <a:pt x="997" y="619"/>
                  <a:pt x="1000" y="620"/>
                  <a:pt x="1001" y="622"/>
                </a:cubicBezTo>
                <a:cubicBezTo>
                  <a:pt x="1002" y="623"/>
                  <a:pt x="1001" y="624"/>
                  <a:pt x="1002" y="625"/>
                </a:cubicBezTo>
                <a:cubicBezTo>
                  <a:pt x="1002" y="626"/>
                  <a:pt x="1003" y="627"/>
                  <a:pt x="1004" y="628"/>
                </a:cubicBezTo>
                <a:cubicBezTo>
                  <a:pt x="1006" y="629"/>
                  <a:pt x="1009" y="632"/>
                  <a:pt x="1009" y="634"/>
                </a:cubicBezTo>
                <a:cubicBezTo>
                  <a:pt x="1009" y="636"/>
                  <a:pt x="1005" y="637"/>
                  <a:pt x="1005" y="639"/>
                </a:cubicBezTo>
                <a:cubicBezTo>
                  <a:pt x="1004" y="640"/>
                  <a:pt x="1007" y="640"/>
                  <a:pt x="1008" y="640"/>
                </a:cubicBezTo>
                <a:cubicBezTo>
                  <a:pt x="1008" y="640"/>
                  <a:pt x="1009" y="640"/>
                  <a:pt x="1010" y="640"/>
                </a:cubicBezTo>
                <a:cubicBezTo>
                  <a:pt x="1012" y="639"/>
                  <a:pt x="1013" y="638"/>
                  <a:pt x="1014" y="638"/>
                </a:cubicBezTo>
                <a:cubicBezTo>
                  <a:pt x="1015" y="638"/>
                  <a:pt x="1017" y="638"/>
                  <a:pt x="1018" y="638"/>
                </a:cubicBezTo>
                <a:cubicBezTo>
                  <a:pt x="1019" y="638"/>
                  <a:pt x="1020" y="638"/>
                  <a:pt x="1021" y="638"/>
                </a:cubicBezTo>
                <a:cubicBezTo>
                  <a:pt x="1023" y="638"/>
                  <a:pt x="1023" y="642"/>
                  <a:pt x="1024" y="643"/>
                </a:cubicBezTo>
                <a:cubicBezTo>
                  <a:pt x="1026" y="644"/>
                  <a:pt x="1028" y="645"/>
                  <a:pt x="1030" y="645"/>
                </a:cubicBezTo>
                <a:cubicBezTo>
                  <a:pt x="1031" y="645"/>
                  <a:pt x="1032" y="645"/>
                  <a:pt x="1032" y="646"/>
                </a:cubicBezTo>
                <a:cubicBezTo>
                  <a:pt x="1033" y="647"/>
                  <a:pt x="1031" y="648"/>
                  <a:pt x="1030" y="648"/>
                </a:cubicBezTo>
                <a:cubicBezTo>
                  <a:pt x="1029" y="649"/>
                  <a:pt x="1028" y="649"/>
                  <a:pt x="1027" y="650"/>
                </a:cubicBezTo>
                <a:cubicBezTo>
                  <a:pt x="1026" y="651"/>
                  <a:pt x="1025" y="652"/>
                  <a:pt x="1025" y="652"/>
                </a:cubicBezTo>
                <a:cubicBezTo>
                  <a:pt x="1024" y="653"/>
                  <a:pt x="1023" y="653"/>
                  <a:pt x="1022" y="654"/>
                </a:cubicBezTo>
                <a:cubicBezTo>
                  <a:pt x="1021" y="654"/>
                  <a:pt x="1020" y="655"/>
                  <a:pt x="1019" y="655"/>
                </a:cubicBezTo>
                <a:cubicBezTo>
                  <a:pt x="1016" y="655"/>
                  <a:pt x="1013" y="653"/>
                  <a:pt x="1011" y="652"/>
                </a:cubicBezTo>
                <a:cubicBezTo>
                  <a:pt x="1008" y="650"/>
                  <a:pt x="1006" y="649"/>
                  <a:pt x="1003" y="649"/>
                </a:cubicBezTo>
                <a:cubicBezTo>
                  <a:pt x="1001" y="649"/>
                  <a:pt x="997" y="650"/>
                  <a:pt x="995" y="648"/>
                </a:cubicBezTo>
                <a:cubicBezTo>
                  <a:pt x="994" y="647"/>
                  <a:pt x="998" y="645"/>
                  <a:pt x="997" y="643"/>
                </a:cubicBezTo>
                <a:cubicBezTo>
                  <a:pt x="996" y="642"/>
                  <a:pt x="992" y="641"/>
                  <a:pt x="991" y="641"/>
                </a:cubicBezTo>
                <a:cubicBezTo>
                  <a:pt x="990" y="641"/>
                  <a:pt x="984" y="641"/>
                  <a:pt x="985" y="639"/>
                </a:cubicBezTo>
                <a:cubicBezTo>
                  <a:pt x="985" y="638"/>
                  <a:pt x="986" y="638"/>
                  <a:pt x="987" y="637"/>
                </a:cubicBezTo>
                <a:cubicBezTo>
                  <a:pt x="987" y="636"/>
                  <a:pt x="987" y="636"/>
                  <a:pt x="986" y="635"/>
                </a:cubicBezTo>
                <a:cubicBezTo>
                  <a:pt x="984" y="635"/>
                  <a:pt x="982" y="636"/>
                  <a:pt x="981" y="636"/>
                </a:cubicBezTo>
                <a:cubicBezTo>
                  <a:pt x="979" y="637"/>
                  <a:pt x="978" y="639"/>
                  <a:pt x="976" y="639"/>
                </a:cubicBezTo>
                <a:cubicBezTo>
                  <a:pt x="975" y="639"/>
                  <a:pt x="974" y="639"/>
                  <a:pt x="974" y="640"/>
                </a:cubicBezTo>
                <a:cubicBezTo>
                  <a:pt x="974" y="641"/>
                  <a:pt x="974" y="642"/>
                  <a:pt x="974" y="643"/>
                </a:cubicBezTo>
                <a:cubicBezTo>
                  <a:pt x="975" y="648"/>
                  <a:pt x="967" y="649"/>
                  <a:pt x="964" y="650"/>
                </a:cubicBezTo>
                <a:cubicBezTo>
                  <a:pt x="962" y="651"/>
                  <a:pt x="961" y="652"/>
                  <a:pt x="960" y="654"/>
                </a:cubicBezTo>
                <a:cubicBezTo>
                  <a:pt x="959" y="657"/>
                  <a:pt x="958" y="659"/>
                  <a:pt x="955" y="659"/>
                </a:cubicBezTo>
                <a:cubicBezTo>
                  <a:pt x="954" y="660"/>
                  <a:pt x="953" y="660"/>
                  <a:pt x="951" y="660"/>
                </a:cubicBezTo>
                <a:cubicBezTo>
                  <a:pt x="951" y="661"/>
                  <a:pt x="950" y="662"/>
                  <a:pt x="949" y="662"/>
                </a:cubicBezTo>
                <a:cubicBezTo>
                  <a:pt x="947" y="664"/>
                  <a:pt x="945" y="661"/>
                  <a:pt x="943" y="660"/>
                </a:cubicBezTo>
                <a:cubicBezTo>
                  <a:pt x="940" y="656"/>
                  <a:pt x="945" y="648"/>
                  <a:pt x="939" y="647"/>
                </a:cubicBezTo>
                <a:cubicBezTo>
                  <a:pt x="936" y="646"/>
                  <a:pt x="933" y="647"/>
                  <a:pt x="930" y="648"/>
                </a:cubicBezTo>
                <a:cubicBezTo>
                  <a:pt x="927" y="648"/>
                  <a:pt x="924" y="648"/>
                  <a:pt x="921" y="649"/>
                </a:cubicBezTo>
                <a:cubicBezTo>
                  <a:pt x="920" y="649"/>
                  <a:pt x="915" y="650"/>
                  <a:pt x="917" y="647"/>
                </a:cubicBezTo>
                <a:cubicBezTo>
                  <a:pt x="918" y="646"/>
                  <a:pt x="919" y="646"/>
                  <a:pt x="920" y="645"/>
                </a:cubicBezTo>
                <a:cubicBezTo>
                  <a:pt x="921" y="644"/>
                  <a:pt x="921" y="643"/>
                  <a:pt x="923" y="642"/>
                </a:cubicBezTo>
                <a:cubicBezTo>
                  <a:pt x="925" y="641"/>
                  <a:pt x="928" y="641"/>
                  <a:pt x="930" y="639"/>
                </a:cubicBezTo>
                <a:cubicBezTo>
                  <a:pt x="932" y="638"/>
                  <a:pt x="932" y="636"/>
                  <a:pt x="931" y="634"/>
                </a:cubicBezTo>
                <a:cubicBezTo>
                  <a:pt x="928" y="630"/>
                  <a:pt x="927" y="624"/>
                  <a:pt x="931" y="621"/>
                </a:cubicBezTo>
                <a:cubicBezTo>
                  <a:pt x="933" y="619"/>
                  <a:pt x="933" y="617"/>
                  <a:pt x="933" y="614"/>
                </a:cubicBezTo>
                <a:cubicBezTo>
                  <a:pt x="933" y="611"/>
                  <a:pt x="933" y="608"/>
                  <a:pt x="933" y="605"/>
                </a:cubicBezTo>
                <a:cubicBezTo>
                  <a:pt x="933" y="600"/>
                  <a:pt x="934" y="595"/>
                  <a:pt x="938" y="591"/>
                </a:cubicBezTo>
                <a:cubicBezTo>
                  <a:pt x="939" y="590"/>
                  <a:pt x="941" y="589"/>
                  <a:pt x="942" y="589"/>
                </a:cubicBezTo>
                <a:cubicBezTo>
                  <a:pt x="942" y="589"/>
                  <a:pt x="942" y="591"/>
                  <a:pt x="942" y="591"/>
                </a:cubicBezTo>
                <a:cubicBezTo>
                  <a:pt x="942" y="592"/>
                  <a:pt x="944" y="592"/>
                  <a:pt x="945" y="592"/>
                </a:cubicBezTo>
                <a:cubicBezTo>
                  <a:pt x="948" y="592"/>
                  <a:pt x="948" y="593"/>
                  <a:pt x="949" y="595"/>
                </a:cubicBezTo>
                <a:cubicBezTo>
                  <a:pt x="950" y="597"/>
                  <a:pt x="947" y="597"/>
                  <a:pt x="946" y="598"/>
                </a:cubicBezTo>
                <a:cubicBezTo>
                  <a:pt x="944" y="599"/>
                  <a:pt x="948" y="601"/>
                  <a:pt x="949" y="602"/>
                </a:cubicBezTo>
                <a:cubicBezTo>
                  <a:pt x="951" y="602"/>
                  <a:pt x="952" y="603"/>
                  <a:pt x="952" y="606"/>
                </a:cubicBezTo>
                <a:cubicBezTo>
                  <a:pt x="952" y="606"/>
                  <a:pt x="952" y="607"/>
                  <a:pt x="952" y="608"/>
                </a:cubicBezTo>
                <a:cubicBezTo>
                  <a:pt x="953" y="608"/>
                  <a:pt x="954" y="608"/>
                  <a:pt x="955" y="607"/>
                </a:cubicBezTo>
                <a:cubicBezTo>
                  <a:pt x="956" y="606"/>
                  <a:pt x="956" y="604"/>
                  <a:pt x="958" y="603"/>
                </a:cubicBezTo>
                <a:cubicBezTo>
                  <a:pt x="960" y="602"/>
                  <a:pt x="961" y="603"/>
                  <a:pt x="962" y="605"/>
                </a:cubicBezTo>
                <a:cubicBezTo>
                  <a:pt x="963" y="607"/>
                  <a:pt x="966" y="609"/>
                  <a:pt x="968" y="609"/>
                </a:cubicBezTo>
                <a:cubicBezTo>
                  <a:pt x="971" y="610"/>
                  <a:pt x="974" y="610"/>
                  <a:pt x="977" y="610"/>
                </a:cubicBezTo>
                <a:cubicBezTo>
                  <a:pt x="979" y="610"/>
                  <a:pt x="981" y="610"/>
                  <a:pt x="982" y="611"/>
                </a:cubicBezTo>
                <a:cubicBezTo>
                  <a:pt x="982" y="611"/>
                  <a:pt x="981" y="611"/>
                  <a:pt x="981" y="611"/>
                </a:cubicBezTo>
                <a:cubicBezTo>
                  <a:pt x="982" y="611"/>
                  <a:pt x="981" y="611"/>
                  <a:pt x="981" y="611"/>
                </a:cubicBezTo>
                <a:close/>
                <a:moveTo>
                  <a:pt x="989" y="671"/>
                </a:moveTo>
                <a:cubicBezTo>
                  <a:pt x="992" y="670"/>
                  <a:pt x="996" y="668"/>
                  <a:pt x="1000" y="668"/>
                </a:cubicBezTo>
                <a:cubicBezTo>
                  <a:pt x="1001" y="668"/>
                  <a:pt x="1003" y="669"/>
                  <a:pt x="1004" y="670"/>
                </a:cubicBezTo>
                <a:cubicBezTo>
                  <a:pt x="1005" y="671"/>
                  <a:pt x="1004" y="672"/>
                  <a:pt x="1004" y="673"/>
                </a:cubicBezTo>
                <a:cubicBezTo>
                  <a:pt x="1003" y="677"/>
                  <a:pt x="998" y="677"/>
                  <a:pt x="995" y="679"/>
                </a:cubicBezTo>
                <a:cubicBezTo>
                  <a:pt x="993" y="680"/>
                  <a:pt x="991" y="682"/>
                  <a:pt x="990" y="684"/>
                </a:cubicBezTo>
                <a:cubicBezTo>
                  <a:pt x="988" y="685"/>
                  <a:pt x="987" y="687"/>
                  <a:pt x="985" y="688"/>
                </a:cubicBezTo>
                <a:cubicBezTo>
                  <a:pt x="984" y="689"/>
                  <a:pt x="982" y="689"/>
                  <a:pt x="980" y="688"/>
                </a:cubicBezTo>
                <a:cubicBezTo>
                  <a:pt x="979" y="688"/>
                  <a:pt x="978" y="688"/>
                  <a:pt x="977" y="688"/>
                </a:cubicBezTo>
                <a:cubicBezTo>
                  <a:pt x="976" y="688"/>
                  <a:pt x="976" y="689"/>
                  <a:pt x="975" y="689"/>
                </a:cubicBezTo>
                <a:cubicBezTo>
                  <a:pt x="972" y="690"/>
                  <a:pt x="971" y="682"/>
                  <a:pt x="972" y="680"/>
                </a:cubicBezTo>
                <a:cubicBezTo>
                  <a:pt x="973" y="678"/>
                  <a:pt x="974" y="677"/>
                  <a:pt x="976" y="675"/>
                </a:cubicBezTo>
                <a:cubicBezTo>
                  <a:pt x="977" y="674"/>
                  <a:pt x="979" y="671"/>
                  <a:pt x="980" y="670"/>
                </a:cubicBezTo>
                <a:cubicBezTo>
                  <a:pt x="981" y="670"/>
                  <a:pt x="982" y="671"/>
                  <a:pt x="983" y="671"/>
                </a:cubicBezTo>
                <a:cubicBezTo>
                  <a:pt x="984" y="671"/>
                  <a:pt x="985" y="672"/>
                  <a:pt x="986" y="672"/>
                </a:cubicBezTo>
                <a:cubicBezTo>
                  <a:pt x="988" y="672"/>
                  <a:pt x="989" y="671"/>
                  <a:pt x="991" y="670"/>
                </a:cubicBezTo>
                <a:cubicBezTo>
                  <a:pt x="990" y="671"/>
                  <a:pt x="990" y="671"/>
                  <a:pt x="989" y="671"/>
                </a:cubicBezTo>
                <a:cubicBezTo>
                  <a:pt x="992" y="670"/>
                  <a:pt x="989" y="671"/>
                  <a:pt x="989" y="671"/>
                </a:cubicBezTo>
                <a:close/>
                <a:moveTo>
                  <a:pt x="1034" y="688"/>
                </a:moveTo>
                <a:cubicBezTo>
                  <a:pt x="1037" y="684"/>
                  <a:pt x="1045" y="681"/>
                  <a:pt x="1048" y="686"/>
                </a:cubicBezTo>
                <a:cubicBezTo>
                  <a:pt x="1049" y="689"/>
                  <a:pt x="1050" y="691"/>
                  <a:pt x="1048" y="693"/>
                </a:cubicBezTo>
                <a:cubicBezTo>
                  <a:pt x="1047" y="694"/>
                  <a:pt x="1046" y="695"/>
                  <a:pt x="1045" y="697"/>
                </a:cubicBezTo>
                <a:cubicBezTo>
                  <a:pt x="1044" y="698"/>
                  <a:pt x="1044" y="699"/>
                  <a:pt x="1043" y="700"/>
                </a:cubicBezTo>
                <a:cubicBezTo>
                  <a:pt x="1042" y="702"/>
                  <a:pt x="1041" y="705"/>
                  <a:pt x="1038" y="704"/>
                </a:cubicBezTo>
                <a:cubicBezTo>
                  <a:pt x="1037" y="703"/>
                  <a:pt x="1034" y="701"/>
                  <a:pt x="1034" y="700"/>
                </a:cubicBezTo>
                <a:cubicBezTo>
                  <a:pt x="1033" y="699"/>
                  <a:pt x="1033" y="697"/>
                  <a:pt x="1033" y="696"/>
                </a:cubicBezTo>
                <a:cubicBezTo>
                  <a:pt x="1032" y="695"/>
                  <a:pt x="1032" y="694"/>
                  <a:pt x="1032" y="692"/>
                </a:cubicBezTo>
                <a:cubicBezTo>
                  <a:pt x="1032" y="690"/>
                  <a:pt x="1034" y="688"/>
                  <a:pt x="1036" y="686"/>
                </a:cubicBezTo>
                <a:cubicBezTo>
                  <a:pt x="1035" y="686"/>
                  <a:pt x="1035" y="687"/>
                  <a:pt x="1034" y="688"/>
                </a:cubicBezTo>
                <a:cubicBezTo>
                  <a:pt x="1036" y="686"/>
                  <a:pt x="1034" y="688"/>
                  <a:pt x="1034" y="688"/>
                </a:cubicBezTo>
                <a:close/>
                <a:moveTo>
                  <a:pt x="1065" y="660"/>
                </a:moveTo>
                <a:cubicBezTo>
                  <a:pt x="1064" y="659"/>
                  <a:pt x="1063" y="658"/>
                  <a:pt x="1063" y="656"/>
                </a:cubicBezTo>
                <a:cubicBezTo>
                  <a:pt x="1062" y="655"/>
                  <a:pt x="1065" y="655"/>
                  <a:pt x="1065" y="655"/>
                </a:cubicBezTo>
                <a:cubicBezTo>
                  <a:pt x="1067" y="655"/>
                  <a:pt x="1069" y="655"/>
                  <a:pt x="1071" y="655"/>
                </a:cubicBezTo>
                <a:cubicBezTo>
                  <a:pt x="1073" y="656"/>
                  <a:pt x="1075" y="656"/>
                  <a:pt x="1077" y="657"/>
                </a:cubicBezTo>
                <a:cubicBezTo>
                  <a:pt x="1078" y="658"/>
                  <a:pt x="1080" y="660"/>
                  <a:pt x="1078" y="661"/>
                </a:cubicBezTo>
                <a:cubicBezTo>
                  <a:pt x="1078" y="662"/>
                  <a:pt x="1077" y="662"/>
                  <a:pt x="1076" y="663"/>
                </a:cubicBezTo>
                <a:cubicBezTo>
                  <a:pt x="1075" y="663"/>
                  <a:pt x="1074" y="664"/>
                  <a:pt x="1073" y="664"/>
                </a:cubicBezTo>
                <a:cubicBezTo>
                  <a:pt x="1071" y="665"/>
                  <a:pt x="1070" y="665"/>
                  <a:pt x="1068" y="663"/>
                </a:cubicBezTo>
                <a:cubicBezTo>
                  <a:pt x="1067" y="662"/>
                  <a:pt x="1066" y="660"/>
                  <a:pt x="1064" y="660"/>
                </a:cubicBezTo>
                <a:cubicBezTo>
                  <a:pt x="1065" y="660"/>
                  <a:pt x="1065" y="660"/>
                  <a:pt x="1065" y="660"/>
                </a:cubicBezTo>
                <a:cubicBezTo>
                  <a:pt x="1063" y="659"/>
                  <a:pt x="1065" y="660"/>
                  <a:pt x="1065" y="660"/>
                </a:cubicBezTo>
                <a:close/>
                <a:moveTo>
                  <a:pt x="1084" y="653"/>
                </a:moveTo>
                <a:cubicBezTo>
                  <a:pt x="1082" y="652"/>
                  <a:pt x="1083" y="651"/>
                  <a:pt x="1084" y="650"/>
                </a:cubicBezTo>
                <a:cubicBezTo>
                  <a:pt x="1085" y="650"/>
                  <a:pt x="1087" y="650"/>
                  <a:pt x="1088" y="651"/>
                </a:cubicBezTo>
                <a:cubicBezTo>
                  <a:pt x="1089" y="652"/>
                  <a:pt x="1090" y="653"/>
                  <a:pt x="1091" y="653"/>
                </a:cubicBezTo>
                <a:cubicBezTo>
                  <a:pt x="1092" y="654"/>
                  <a:pt x="1094" y="654"/>
                  <a:pt x="1094" y="656"/>
                </a:cubicBezTo>
                <a:cubicBezTo>
                  <a:pt x="1094" y="658"/>
                  <a:pt x="1091" y="658"/>
                  <a:pt x="1090" y="657"/>
                </a:cubicBezTo>
                <a:cubicBezTo>
                  <a:pt x="1088" y="657"/>
                  <a:pt x="1088" y="656"/>
                  <a:pt x="1087" y="655"/>
                </a:cubicBezTo>
                <a:cubicBezTo>
                  <a:pt x="1086" y="654"/>
                  <a:pt x="1084" y="653"/>
                  <a:pt x="1083" y="652"/>
                </a:cubicBezTo>
                <a:cubicBezTo>
                  <a:pt x="1083" y="652"/>
                  <a:pt x="1083" y="653"/>
                  <a:pt x="1084" y="653"/>
                </a:cubicBezTo>
                <a:cubicBezTo>
                  <a:pt x="1082" y="652"/>
                  <a:pt x="1084" y="653"/>
                  <a:pt x="1084" y="653"/>
                </a:cubicBezTo>
                <a:close/>
                <a:moveTo>
                  <a:pt x="1010" y="911"/>
                </a:moveTo>
                <a:cubicBezTo>
                  <a:pt x="1008" y="911"/>
                  <a:pt x="1006" y="911"/>
                  <a:pt x="1004" y="912"/>
                </a:cubicBezTo>
                <a:cubicBezTo>
                  <a:pt x="1002" y="913"/>
                  <a:pt x="1006" y="915"/>
                  <a:pt x="1006" y="915"/>
                </a:cubicBezTo>
                <a:cubicBezTo>
                  <a:pt x="1009" y="917"/>
                  <a:pt x="1011" y="917"/>
                  <a:pt x="1014" y="917"/>
                </a:cubicBezTo>
                <a:cubicBezTo>
                  <a:pt x="1017" y="918"/>
                  <a:pt x="1019" y="920"/>
                  <a:pt x="1021" y="920"/>
                </a:cubicBezTo>
                <a:cubicBezTo>
                  <a:pt x="1024" y="921"/>
                  <a:pt x="1024" y="919"/>
                  <a:pt x="1024" y="917"/>
                </a:cubicBezTo>
                <a:cubicBezTo>
                  <a:pt x="1023" y="916"/>
                  <a:pt x="1023" y="915"/>
                  <a:pt x="1022" y="914"/>
                </a:cubicBezTo>
                <a:cubicBezTo>
                  <a:pt x="1021" y="914"/>
                  <a:pt x="1019" y="913"/>
                  <a:pt x="1019" y="912"/>
                </a:cubicBezTo>
                <a:cubicBezTo>
                  <a:pt x="1018" y="909"/>
                  <a:pt x="1016" y="911"/>
                  <a:pt x="1014" y="911"/>
                </a:cubicBezTo>
                <a:cubicBezTo>
                  <a:pt x="1012" y="911"/>
                  <a:pt x="1010" y="911"/>
                  <a:pt x="1008" y="911"/>
                </a:cubicBezTo>
                <a:cubicBezTo>
                  <a:pt x="1009" y="911"/>
                  <a:pt x="1010" y="911"/>
                  <a:pt x="1010" y="911"/>
                </a:cubicBezTo>
                <a:cubicBezTo>
                  <a:pt x="1009" y="911"/>
                  <a:pt x="1010" y="911"/>
                  <a:pt x="1010" y="911"/>
                </a:cubicBezTo>
                <a:close/>
                <a:moveTo>
                  <a:pt x="1071" y="640"/>
                </a:moveTo>
                <a:cubicBezTo>
                  <a:pt x="1073" y="640"/>
                  <a:pt x="1077" y="642"/>
                  <a:pt x="1074" y="642"/>
                </a:cubicBezTo>
                <a:cubicBezTo>
                  <a:pt x="1073" y="642"/>
                  <a:pt x="1071" y="642"/>
                  <a:pt x="1071" y="641"/>
                </a:cubicBezTo>
                <a:cubicBezTo>
                  <a:pt x="1069" y="641"/>
                  <a:pt x="1071" y="640"/>
                  <a:pt x="1072" y="640"/>
                </a:cubicBezTo>
                <a:cubicBezTo>
                  <a:pt x="1072" y="640"/>
                  <a:pt x="1072" y="640"/>
                  <a:pt x="1071" y="640"/>
                </a:cubicBezTo>
                <a:cubicBezTo>
                  <a:pt x="1073" y="640"/>
                  <a:pt x="1071" y="640"/>
                  <a:pt x="1071" y="640"/>
                </a:cubicBezTo>
                <a:close/>
                <a:moveTo>
                  <a:pt x="1129" y="674"/>
                </a:moveTo>
                <a:cubicBezTo>
                  <a:pt x="1130" y="673"/>
                  <a:pt x="1132" y="674"/>
                  <a:pt x="1134" y="675"/>
                </a:cubicBezTo>
                <a:cubicBezTo>
                  <a:pt x="1134" y="675"/>
                  <a:pt x="1135" y="676"/>
                  <a:pt x="1136" y="676"/>
                </a:cubicBezTo>
                <a:cubicBezTo>
                  <a:pt x="1136" y="677"/>
                  <a:pt x="1137" y="679"/>
                  <a:pt x="1136" y="678"/>
                </a:cubicBezTo>
                <a:cubicBezTo>
                  <a:pt x="1135" y="678"/>
                  <a:pt x="1134" y="677"/>
                  <a:pt x="1133" y="677"/>
                </a:cubicBezTo>
                <a:cubicBezTo>
                  <a:pt x="1132" y="676"/>
                  <a:pt x="1131" y="676"/>
                  <a:pt x="1130" y="676"/>
                </a:cubicBezTo>
                <a:cubicBezTo>
                  <a:pt x="1127" y="676"/>
                  <a:pt x="1129" y="674"/>
                  <a:pt x="1130" y="673"/>
                </a:cubicBezTo>
                <a:cubicBezTo>
                  <a:pt x="1130" y="674"/>
                  <a:pt x="1130" y="674"/>
                  <a:pt x="1129" y="674"/>
                </a:cubicBezTo>
                <a:cubicBezTo>
                  <a:pt x="1131" y="672"/>
                  <a:pt x="1129" y="674"/>
                  <a:pt x="1129" y="674"/>
                </a:cubicBezTo>
                <a:close/>
                <a:moveTo>
                  <a:pt x="1191" y="672"/>
                </a:moveTo>
                <a:cubicBezTo>
                  <a:pt x="1193" y="673"/>
                  <a:pt x="1195" y="674"/>
                  <a:pt x="1197" y="675"/>
                </a:cubicBezTo>
                <a:cubicBezTo>
                  <a:pt x="1199" y="676"/>
                  <a:pt x="1201" y="677"/>
                  <a:pt x="1202" y="678"/>
                </a:cubicBezTo>
                <a:cubicBezTo>
                  <a:pt x="1204" y="679"/>
                  <a:pt x="1202" y="679"/>
                  <a:pt x="1201" y="679"/>
                </a:cubicBezTo>
                <a:cubicBezTo>
                  <a:pt x="1199" y="679"/>
                  <a:pt x="1198" y="679"/>
                  <a:pt x="1196" y="679"/>
                </a:cubicBezTo>
                <a:cubicBezTo>
                  <a:pt x="1194" y="680"/>
                  <a:pt x="1193" y="680"/>
                  <a:pt x="1193" y="678"/>
                </a:cubicBezTo>
                <a:cubicBezTo>
                  <a:pt x="1192" y="676"/>
                  <a:pt x="1192" y="675"/>
                  <a:pt x="1190" y="674"/>
                </a:cubicBezTo>
                <a:cubicBezTo>
                  <a:pt x="1190" y="674"/>
                  <a:pt x="1188" y="672"/>
                  <a:pt x="1189" y="672"/>
                </a:cubicBezTo>
                <a:cubicBezTo>
                  <a:pt x="1190" y="672"/>
                  <a:pt x="1192" y="672"/>
                  <a:pt x="1193" y="673"/>
                </a:cubicBezTo>
                <a:cubicBezTo>
                  <a:pt x="1192" y="672"/>
                  <a:pt x="1192" y="672"/>
                  <a:pt x="1191" y="672"/>
                </a:cubicBezTo>
                <a:cubicBezTo>
                  <a:pt x="1193" y="673"/>
                  <a:pt x="1191" y="672"/>
                  <a:pt x="1191" y="672"/>
                </a:cubicBezTo>
                <a:close/>
                <a:moveTo>
                  <a:pt x="1291" y="704"/>
                </a:moveTo>
                <a:cubicBezTo>
                  <a:pt x="1290" y="704"/>
                  <a:pt x="1288" y="704"/>
                  <a:pt x="1286" y="704"/>
                </a:cubicBezTo>
                <a:cubicBezTo>
                  <a:pt x="1285" y="704"/>
                  <a:pt x="1284" y="705"/>
                  <a:pt x="1285" y="706"/>
                </a:cubicBezTo>
                <a:cubicBezTo>
                  <a:pt x="1287" y="707"/>
                  <a:pt x="1289" y="707"/>
                  <a:pt x="1290" y="709"/>
                </a:cubicBezTo>
                <a:cubicBezTo>
                  <a:pt x="1291" y="709"/>
                  <a:pt x="1292" y="712"/>
                  <a:pt x="1294" y="712"/>
                </a:cubicBezTo>
                <a:cubicBezTo>
                  <a:pt x="1295" y="711"/>
                  <a:pt x="1295" y="710"/>
                  <a:pt x="1295" y="709"/>
                </a:cubicBezTo>
                <a:cubicBezTo>
                  <a:pt x="1295" y="708"/>
                  <a:pt x="1295" y="707"/>
                  <a:pt x="1296" y="707"/>
                </a:cubicBezTo>
                <a:cubicBezTo>
                  <a:pt x="1297" y="707"/>
                  <a:pt x="1298" y="706"/>
                  <a:pt x="1298" y="705"/>
                </a:cubicBezTo>
                <a:cubicBezTo>
                  <a:pt x="1298" y="705"/>
                  <a:pt x="1296" y="705"/>
                  <a:pt x="1295" y="705"/>
                </a:cubicBezTo>
                <a:cubicBezTo>
                  <a:pt x="1294" y="704"/>
                  <a:pt x="1293" y="704"/>
                  <a:pt x="1292" y="704"/>
                </a:cubicBezTo>
                <a:cubicBezTo>
                  <a:pt x="1292" y="704"/>
                  <a:pt x="1291" y="704"/>
                  <a:pt x="1291" y="704"/>
                </a:cubicBezTo>
                <a:cubicBezTo>
                  <a:pt x="1291" y="704"/>
                  <a:pt x="1291" y="704"/>
                  <a:pt x="1291" y="704"/>
                </a:cubicBezTo>
                <a:cubicBezTo>
                  <a:pt x="1290" y="704"/>
                  <a:pt x="1291" y="704"/>
                  <a:pt x="1291" y="704"/>
                </a:cubicBezTo>
                <a:close/>
                <a:moveTo>
                  <a:pt x="1288" y="697"/>
                </a:moveTo>
                <a:cubicBezTo>
                  <a:pt x="1288" y="694"/>
                  <a:pt x="1293" y="698"/>
                  <a:pt x="1294" y="699"/>
                </a:cubicBezTo>
                <a:cubicBezTo>
                  <a:pt x="1295" y="701"/>
                  <a:pt x="1292" y="700"/>
                  <a:pt x="1291" y="700"/>
                </a:cubicBezTo>
                <a:cubicBezTo>
                  <a:pt x="1289" y="699"/>
                  <a:pt x="1288" y="697"/>
                  <a:pt x="1288" y="695"/>
                </a:cubicBezTo>
                <a:cubicBezTo>
                  <a:pt x="1288" y="696"/>
                  <a:pt x="1288" y="696"/>
                  <a:pt x="1288" y="697"/>
                </a:cubicBezTo>
                <a:cubicBezTo>
                  <a:pt x="1288" y="694"/>
                  <a:pt x="1288" y="697"/>
                  <a:pt x="1288" y="697"/>
                </a:cubicBezTo>
                <a:close/>
                <a:moveTo>
                  <a:pt x="1294" y="682"/>
                </a:moveTo>
                <a:cubicBezTo>
                  <a:pt x="1292" y="681"/>
                  <a:pt x="1296" y="680"/>
                  <a:pt x="1297" y="680"/>
                </a:cubicBezTo>
                <a:cubicBezTo>
                  <a:pt x="1298" y="680"/>
                  <a:pt x="1302" y="679"/>
                  <a:pt x="1301" y="681"/>
                </a:cubicBezTo>
                <a:cubicBezTo>
                  <a:pt x="1300" y="683"/>
                  <a:pt x="1299" y="684"/>
                  <a:pt x="1297" y="684"/>
                </a:cubicBezTo>
                <a:cubicBezTo>
                  <a:pt x="1296" y="684"/>
                  <a:pt x="1294" y="682"/>
                  <a:pt x="1294" y="682"/>
                </a:cubicBezTo>
                <a:cubicBezTo>
                  <a:pt x="1294" y="682"/>
                  <a:pt x="1294" y="682"/>
                  <a:pt x="1294" y="682"/>
                </a:cubicBezTo>
                <a:cubicBezTo>
                  <a:pt x="1293" y="682"/>
                  <a:pt x="1294" y="682"/>
                  <a:pt x="1294" y="682"/>
                </a:cubicBezTo>
                <a:close/>
                <a:moveTo>
                  <a:pt x="1288" y="674"/>
                </a:moveTo>
                <a:cubicBezTo>
                  <a:pt x="1290" y="673"/>
                  <a:pt x="1290" y="673"/>
                  <a:pt x="1291" y="675"/>
                </a:cubicBezTo>
                <a:cubicBezTo>
                  <a:pt x="1291" y="676"/>
                  <a:pt x="1292" y="678"/>
                  <a:pt x="1291" y="678"/>
                </a:cubicBezTo>
                <a:cubicBezTo>
                  <a:pt x="1289" y="679"/>
                  <a:pt x="1288" y="678"/>
                  <a:pt x="1288" y="677"/>
                </a:cubicBezTo>
                <a:cubicBezTo>
                  <a:pt x="1288" y="675"/>
                  <a:pt x="1288" y="674"/>
                  <a:pt x="1289" y="673"/>
                </a:cubicBezTo>
                <a:cubicBezTo>
                  <a:pt x="1289" y="673"/>
                  <a:pt x="1289" y="674"/>
                  <a:pt x="1288" y="674"/>
                </a:cubicBezTo>
                <a:cubicBezTo>
                  <a:pt x="1289" y="673"/>
                  <a:pt x="1288" y="674"/>
                  <a:pt x="1288" y="674"/>
                </a:cubicBezTo>
                <a:close/>
                <a:moveTo>
                  <a:pt x="1237" y="733"/>
                </a:moveTo>
                <a:cubicBezTo>
                  <a:pt x="1237" y="735"/>
                  <a:pt x="1232" y="737"/>
                  <a:pt x="1233" y="739"/>
                </a:cubicBezTo>
                <a:cubicBezTo>
                  <a:pt x="1234" y="741"/>
                  <a:pt x="1238" y="738"/>
                  <a:pt x="1239" y="738"/>
                </a:cubicBezTo>
                <a:cubicBezTo>
                  <a:pt x="1241" y="737"/>
                  <a:pt x="1244" y="736"/>
                  <a:pt x="1243" y="732"/>
                </a:cubicBezTo>
                <a:cubicBezTo>
                  <a:pt x="1242" y="731"/>
                  <a:pt x="1240" y="730"/>
                  <a:pt x="1239" y="731"/>
                </a:cubicBezTo>
                <a:cubicBezTo>
                  <a:pt x="1238" y="732"/>
                  <a:pt x="1237" y="733"/>
                  <a:pt x="1237" y="734"/>
                </a:cubicBezTo>
                <a:cubicBezTo>
                  <a:pt x="1237" y="734"/>
                  <a:pt x="1237" y="734"/>
                  <a:pt x="1237" y="733"/>
                </a:cubicBezTo>
                <a:cubicBezTo>
                  <a:pt x="1237" y="736"/>
                  <a:pt x="1237" y="733"/>
                  <a:pt x="1237" y="733"/>
                </a:cubicBezTo>
                <a:close/>
                <a:moveTo>
                  <a:pt x="1049" y="831"/>
                </a:moveTo>
                <a:cubicBezTo>
                  <a:pt x="1049" y="832"/>
                  <a:pt x="1048" y="833"/>
                  <a:pt x="1048" y="834"/>
                </a:cubicBezTo>
                <a:cubicBezTo>
                  <a:pt x="1048" y="835"/>
                  <a:pt x="1048" y="836"/>
                  <a:pt x="1048" y="837"/>
                </a:cubicBezTo>
                <a:cubicBezTo>
                  <a:pt x="1047" y="839"/>
                  <a:pt x="1046" y="842"/>
                  <a:pt x="1045" y="843"/>
                </a:cubicBezTo>
                <a:cubicBezTo>
                  <a:pt x="1044" y="844"/>
                  <a:pt x="1042" y="846"/>
                  <a:pt x="1043" y="847"/>
                </a:cubicBezTo>
                <a:cubicBezTo>
                  <a:pt x="1044" y="849"/>
                  <a:pt x="1046" y="846"/>
                  <a:pt x="1047" y="845"/>
                </a:cubicBezTo>
                <a:cubicBezTo>
                  <a:pt x="1048" y="843"/>
                  <a:pt x="1049" y="841"/>
                  <a:pt x="1050" y="839"/>
                </a:cubicBezTo>
                <a:cubicBezTo>
                  <a:pt x="1051" y="838"/>
                  <a:pt x="1054" y="837"/>
                  <a:pt x="1054" y="835"/>
                </a:cubicBezTo>
                <a:cubicBezTo>
                  <a:pt x="1054" y="834"/>
                  <a:pt x="1052" y="833"/>
                  <a:pt x="1051" y="831"/>
                </a:cubicBezTo>
                <a:cubicBezTo>
                  <a:pt x="1050" y="830"/>
                  <a:pt x="1050" y="830"/>
                  <a:pt x="1049" y="831"/>
                </a:cubicBezTo>
                <a:cubicBezTo>
                  <a:pt x="1049" y="831"/>
                  <a:pt x="1049" y="831"/>
                  <a:pt x="1049" y="831"/>
                </a:cubicBezTo>
                <a:cubicBezTo>
                  <a:pt x="1049" y="831"/>
                  <a:pt x="1049" y="831"/>
                  <a:pt x="1049" y="831"/>
                </a:cubicBezTo>
                <a:close/>
                <a:moveTo>
                  <a:pt x="1058" y="835"/>
                </a:moveTo>
                <a:cubicBezTo>
                  <a:pt x="1057" y="835"/>
                  <a:pt x="1057" y="836"/>
                  <a:pt x="1057" y="837"/>
                </a:cubicBezTo>
                <a:cubicBezTo>
                  <a:pt x="1057" y="838"/>
                  <a:pt x="1057" y="839"/>
                  <a:pt x="1056" y="839"/>
                </a:cubicBezTo>
                <a:cubicBezTo>
                  <a:pt x="1055" y="841"/>
                  <a:pt x="1058" y="841"/>
                  <a:pt x="1059" y="840"/>
                </a:cubicBezTo>
                <a:cubicBezTo>
                  <a:pt x="1060" y="840"/>
                  <a:pt x="1059" y="838"/>
                  <a:pt x="1059" y="837"/>
                </a:cubicBezTo>
                <a:cubicBezTo>
                  <a:pt x="1059" y="836"/>
                  <a:pt x="1059" y="834"/>
                  <a:pt x="1057" y="835"/>
                </a:cubicBezTo>
                <a:cubicBezTo>
                  <a:pt x="1058" y="835"/>
                  <a:pt x="1058" y="835"/>
                  <a:pt x="1058" y="835"/>
                </a:cubicBezTo>
                <a:cubicBezTo>
                  <a:pt x="1057" y="836"/>
                  <a:pt x="1058" y="835"/>
                  <a:pt x="1058" y="835"/>
                </a:cubicBezTo>
                <a:close/>
                <a:moveTo>
                  <a:pt x="1042" y="840"/>
                </a:moveTo>
                <a:cubicBezTo>
                  <a:pt x="1042" y="841"/>
                  <a:pt x="1042" y="841"/>
                  <a:pt x="1041" y="842"/>
                </a:cubicBezTo>
                <a:cubicBezTo>
                  <a:pt x="1040" y="843"/>
                  <a:pt x="1039" y="843"/>
                  <a:pt x="1038" y="844"/>
                </a:cubicBezTo>
                <a:cubicBezTo>
                  <a:pt x="1038" y="844"/>
                  <a:pt x="1037" y="846"/>
                  <a:pt x="1038" y="846"/>
                </a:cubicBezTo>
                <a:cubicBezTo>
                  <a:pt x="1039" y="847"/>
                  <a:pt x="1040" y="847"/>
                  <a:pt x="1040" y="846"/>
                </a:cubicBezTo>
                <a:cubicBezTo>
                  <a:pt x="1040" y="844"/>
                  <a:pt x="1043" y="843"/>
                  <a:pt x="1043" y="841"/>
                </a:cubicBezTo>
                <a:cubicBezTo>
                  <a:pt x="1043" y="840"/>
                  <a:pt x="1043" y="839"/>
                  <a:pt x="1042" y="841"/>
                </a:cubicBezTo>
                <a:cubicBezTo>
                  <a:pt x="1042" y="840"/>
                  <a:pt x="1042" y="840"/>
                  <a:pt x="1042" y="840"/>
                </a:cubicBezTo>
                <a:cubicBezTo>
                  <a:pt x="1042" y="840"/>
                  <a:pt x="1042" y="840"/>
                  <a:pt x="1042" y="840"/>
                </a:cubicBezTo>
                <a:close/>
                <a:moveTo>
                  <a:pt x="1161" y="558"/>
                </a:moveTo>
                <a:cubicBezTo>
                  <a:pt x="1161" y="561"/>
                  <a:pt x="1159" y="562"/>
                  <a:pt x="1156" y="563"/>
                </a:cubicBezTo>
                <a:cubicBezTo>
                  <a:pt x="1155" y="564"/>
                  <a:pt x="1154" y="565"/>
                  <a:pt x="1154" y="566"/>
                </a:cubicBezTo>
                <a:cubicBezTo>
                  <a:pt x="1153" y="567"/>
                  <a:pt x="1152" y="568"/>
                  <a:pt x="1151" y="568"/>
                </a:cubicBezTo>
                <a:cubicBezTo>
                  <a:pt x="1148" y="570"/>
                  <a:pt x="1146" y="571"/>
                  <a:pt x="1144" y="572"/>
                </a:cubicBezTo>
                <a:cubicBezTo>
                  <a:pt x="1141" y="574"/>
                  <a:pt x="1142" y="577"/>
                  <a:pt x="1139" y="578"/>
                </a:cubicBezTo>
                <a:cubicBezTo>
                  <a:pt x="1137" y="579"/>
                  <a:pt x="1132" y="580"/>
                  <a:pt x="1133" y="583"/>
                </a:cubicBezTo>
                <a:cubicBezTo>
                  <a:pt x="1135" y="585"/>
                  <a:pt x="1137" y="587"/>
                  <a:pt x="1139" y="589"/>
                </a:cubicBezTo>
                <a:cubicBezTo>
                  <a:pt x="1140" y="589"/>
                  <a:pt x="1141" y="590"/>
                  <a:pt x="1142" y="591"/>
                </a:cubicBezTo>
                <a:cubicBezTo>
                  <a:pt x="1143" y="592"/>
                  <a:pt x="1144" y="593"/>
                  <a:pt x="1145" y="594"/>
                </a:cubicBezTo>
                <a:cubicBezTo>
                  <a:pt x="1146" y="596"/>
                  <a:pt x="1147" y="598"/>
                  <a:pt x="1146" y="600"/>
                </a:cubicBezTo>
                <a:cubicBezTo>
                  <a:pt x="1145" y="603"/>
                  <a:pt x="1142" y="599"/>
                  <a:pt x="1140" y="599"/>
                </a:cubicBezTo>
                <a:cubicBezTo>
                  <a:pt x="1138" y="598"/>
                  <a:pt x="1135" y="600"/>
                  <a:pt x="1134" y="602"/>
                </a:cubicBezTo>
                <a:cubicBezTo>
                  <a:pt x="1133" y="603"/>
                  <a:pt x="1133" y="604"/>
                  <a:pt x="1132" y="604"/>
                </a:cubicBezTo>
                <a:cubicBezTo>
                  <a:pt x="1131" y="604"/>
                  <a:pt x="1130" y="603"/>
                  <a:pt x="1130" y="602"/>
                </a:cubicBezTo>
                <a:cubicBezTo>
                  <a:pt x="1128" y="601"/>
                  <a:pt x="1124" y="601"/>
                  <a:pt x="1123" y="602"/>
                </a:cubicBezTo>
                <a:cubicBezTo>
                  <a:pt x="1120" y="603"/>
                  <a:pt x="1122" y="606"/>
                  <a:pt x="1118" y="605"/>
                </a:cubicBezTo>
                <a:cubicBezTo>
                  <a:pt x="1116" y="605"/>
                  <a:pt x="1114" y="603"/>
                  <a:pt x="1111" y="603"/>
                </a:cubicBezTo>
                <a:cubicBezTo>
                  <a:pt x="1110" y="603"/>
                  <a:pt x="1109" y="603"/>
                  <a:pt x="1108" y="604"/>
                </a:cubicBezTo>
                <a:cubicBezTo>
                  <a:pt x="1107" y="604"/>
                  <a:pt x="1108" y="606"/>
                  <a:pt x="1108" y="606"/>
                </a:cubicBezTo>
                <a:cubicBezTo>
                  <a:pt x="1110" y="608"/>
                  <a:pt x="1112" y="608"/>
                  <a:pt x="1114" y="609"/>
                </a:cubicBezTo>
                <a:cubicBezTo>
                  <a:pt x="1115" y="610"/>
                  <a:pt x="1115" y="611"/>
                  <a:pt x="1117" y="612"/>
                </a:cubicBezTo>
                <a:cubicBezTo>
                  <a:pt x="1118" y="612"/>
                  <a:pt x="1119" y="613"/>
                  <a:pt x="1118" y="614"/>
                </a:cubicBezTo>
                <a:cubicBezTo>
                  <a:pt x="1117" y="614"/>
                  <a:pt x="1116" y="615"/>
                  <a:pt x="1116" y="615"/>
                </a:cubicBezTo>
                <a:cubicBezTo>
                  <a:pt x="1116" y="616"/>
                  <a:pt x="1116" y="617"/>
                  <a:pt x="1116" y="618"/>
                </a:cubicBezTo>
                <a:cubicBezTo>
                  <a:pt x="1116" y="619"/>
                  <a:pt x="1117" y="622"/>
                  <a:pt x="1115" y="620"/>
                </a:cubicBezTo>
                <a:cubicBezTo>
                  <a:pt x="1113" y="619"/>
                  <a:pt x="1111" y="616"/>
                  <a:pt x="1111" y="614"/>
                </a:cubicBezTo>
                <a:cubicBezTo>
                  <a:pt x="1112" y="614"/>
                  <a:pt x="1112" y="612"/>
                  <a:pt x="1112" y="611"/>
                </a:cubicBezTo>
                <a:cubicBezTo>
                  <a:pt x="1112" y="611"/>
                  <a:pt x="1109" y="610"/>
                  <a:pt x="1109" y="610"/>
                </a:cubicBezTo>
                <a:cubicBezTo>
                  <a:pt x="1107" y="610"/>
                  <a:pt x="1104" y="610"/>
                  <a:pt x="1103" y="608"/>
                </a:cubicBezTo>
                <a:cubicBezTo>
                  <a:pt x="1101" y="606"/>
                  <a:pt x="1101" y="604"/>
                  <a:pt x="1098" y="604"/>
                </a:cubicBezTo>
                <a:cubicBezTo>
                  <a:pt x="1095" y="604"/>
                  <a:pt x="1093" y="604"/>
                  <a:pt x="1090" y="603"/>
                </a:cubicBezTo>
                <a:cubicBezTo>
                  <a:pt x="1088" y="603"/>
                  <a:pt x="1086" y="600"/>
                  <a:pt x="1083" y="603"/>
                </a:cubicBezTo>
                <a:cubicBezTo>
                  <a:pt x="1082" y="605"/>
                  <a:pt x="1084" y="607"/>
                  <a:pt x="1082" y="609"/>
                </a:cubicBezTo>
                <a:cubicBezTo>
                  <a:pt x="1080" y="610"/>
                  <a:pt x="1077" y="610"/>
                  <a:pt x="1075" y="610"/>
                </a:cubicBezTo>
                <a:cubicBezTo>
                  <a:pt x="1073" y="611"/>
                  <a:pt x="1071" y="612"/>
                  <a:pt x="1070" y="614"/>
                </a:cubicBezTo>
                <a:cubicBezTo>
                  <a:pt x="1069" y="615"/>
                  <a:pt x="1068" y="616"/>
                  <a:pt x="1067" y="617"/>
                </a:cubicBezTo>
                <a:cubicBezTo>
                  <a:pt x="1067" y="618"/>
                  <a:pt x="1066" y="620"/>
                  <a:pt x="1066" y="621"/>
                </a:cubicBezTo>
                <a:cubicBezTo>
                  <a:pt x="1066" y="623"/>
                  <a:pt x="1068" y="625"/>
                  <a:pt x="1070" y="626"/>
                </a:cubicBezTo>
                <a:cubicBezTo>
                  <a:pt x="1071" y="626"/>
                  <a:pt x="1072" y="626"/>
                  <a:pt x="1073" y="627"/>
                </a:cubicBezTo>
                <a:cubicBezTo>
                  <a:pt x="1074" y="628"/>
                  <a:pt x="1075" y="630"/>
                  <a:pt x="1076" y="631"/>
                </a:cubicBezTo>
                <a:cubicBezTo>
                  <a:pt x="1079" y="634"/>
                  <a:pt x="1086" y="634"/>
                  <a:pt x="1090" y="634"/>
                </a:cubicBezTo>
                <a:cubicBezTo>
                  <a:pt x="1093" y="634"/>
                  <a:pt x="1093" y="631"/>
                  <a:pt x="1095" y="631"/>
                </a:cubicBezTo>
                <a:cubicBezTo>
                  <a:pt x="1097" y="631"/>
                  <a:pt x="1099" y="633"/>
                  <a:pt x="1101" y="631"/>
                </a:cubicBezTo>
                <a:cubicBezTo>
                  <a:pt x="1102" y="630"/>
                  <a:pt x="1102" y="628"/>
                  <a:pt x="1104" y="629"/>
                </a:cubicBezTo>
                <a:cubicBezTo>
                  <a:pt x="1106" y="629"/>
                  <a:pt x="1107" y="628"/>
                  <a:pt x="1107" y="626"/>
                </a:cubicBezTo>
                <a:cubicBezTo>
                  <a:pt x="1106" y="624"/>
                  <a:pt x="1109" y="624"/>
                  <a:pt x="1110" y="624"/>
                </a:cubicBezTo>
                <a:cubicBezTo>
                  <a:pt x="1111" y="624"/>
                  <a:pt x="1112" y="624"/>
                  <a:pt x="1113" y="625"/>
                </a:cubicBezTo>
                <a:cubicBezTo>
                  <a:pt x="1115" y="625"/>
                  <a:pt x="1116" y="626"/>
                  <a:pt x="1117" y="627"/>
                </a:cubicBezTo>
                <a:cubicBezTo>
                  <a:pt x="1119" y="627"/>
                  <a:pt x="1120" y="628"/>
                  <a:pt x="1121" y="628"/>
                </a:cubicBezTo>
                <a:cubicBezTo>
                  <a:pt x="1122" y="628"/>
                  <a:pt x="1124" y="629"/>
                  <a:pt x="1125" y="628"/>
                </a:cubicBezTo>
                <a:cubicBezTo>
                  <a:pt x="1126" y="628"/>
                  <a:pt x="1127" y="627"/>
                  <a:pt x="1128" y="627"/>
                </a:cubicBezTo>
                <a:cubicBezTo>
                  <a:pt x="1129" y="626"/>
                  <a:pt x="1129" y="625"/>
                  <a:pt x="1128" y="625"/>
                </a:cubicBezTo>
                <a:cubicBezTo>
                  <a:pt x="1126" y="623"/>
                  <a:pt x="1124" y="622"/>
                  <a:pt x="1123" y="620"/>
                </a:cubicBezTo>
                <a:cubicBezTo>
                  <a:pt x="1122" y="619"/>
                  <a:pt x="1125" y="619"/>
                  <a:pt x="1125" y="618"/>
                </a:cubicBezTo>
                <a:cubicBezTo>
                  <a:pt x="1126" y="617"/>
                  <a:pt x="1128" y="616"/>
                  <a:pt x="1129" y="616"/>
                </a:cubicBezTo>
                <a:cubicBezTo>
                  <a:pt x="1131" y="615"/>
                  <a:pt x="1130" y="619"/>
                  <a:pt x="1129" y="620"/>
                </a:cubicBezTo>
                <a:cubicBezTo>
                  <a:pt x="1128" y="622"/>
                  <a:pt x="1130" y="622"/>
                  <a:pt x="1132" y="623"/>
                </a:cubicBezTo>
                <a:cubicBezTo>
                  <a:pt x="1134" y="624"/>
                  <a:pt x="1135" y="622"/>
                  <a:pt x="1137" y="620"/>
                </a:cubicBezTo>
                <a:cubicBezTo>
                  <a:pt x="1139" y="619"/>
                  <a:pt x="1140" y="622"/>
                  <a:pt x="1140" y="623"/>
                </a:cubicBezTo>
                <a:cubicBezTo>
                  <a:pt x="1141" y="624"/>
                  <a:pt x="1142" y="624"/>
                  <a:pt x="1143" y="624"/>
                </a:cubicBezTo>
                <a:cubicBezTo>
                  <a:pt x="1144" y="624"/>
                  <a:pt x="1145" y="623"/>
                  <a:pt x="1147" y="623"/>
                </a:cubicBezTo>
                <a:cubicBezTo>
                  <a:pt x="1148" y="622"/>
                  <a:pt x="1149" y="624"/>
                  <a:pt x="1150" y="624"/>
                </a:cubicBezTo>
                <a:cubicBezTo>
                  <a:pt x="1151" y="624"/>
                  <a:pt x="1152" y="623"/>
                  <a:pt x="1152" y="624"/>
                </a:cubicBezTo>
                <a:cubicBezTo>
                  <a:pt x="1152" y="626"/>
                  <a:pt x="1150" y="627"/>
                  <a:pt x="1150" y="628"/>
                </a:cubicBezTo>
                <a:cubicBezTo>
                  <a:pt x="1149" y="630"/>
                  <a:pt x="1149" y="633"/>
                  <a:pt x="1152" y="633"/>
                </a:cubicBezTo>
                <a:cubicBezTo>
                  <a:pt x="1153" y="632"/>
                  <a:pt x="1153" y="632"/>
                  <a:pt x="1154" y="633"/>
                </a:cubicBezTo>
                <a:cubicBezTo>
                  <a:pt x="1155" y="633"/>
                  <a:pt x="1156" y="634"/>
                  <a:pt x="1156" y="635"/>
                </a:cubicBezTo>
                <a:cubicBezTo>
                  <a:pt x="1157" y="637"/>
                  <a:pt x="1158" y="638"/>
                  <a:pt x="1159" y="639"/>
                </a:cubicBezTo>
                <a:cubicBezTo>
                  <a:pt x="1160" y="639"/>
                  <a:pt x="1161" y="639"/>
                  <a:pt x="1162" y="640"/>
                </a:cubicBezTo>
                <a:cubicBezTo>
                  <a:pt x="1163" y="641"/>
                  <a:pt x="1162" y="643"/>
                  <a:pt x="1163" y="644"/>
                </a:cubicBezTo>
                <a:cubicBezTo>
                  <a:pt x="1163" y="646"/>
                  <a:pt x="1165" y="644"/>
                  <a:pt x="1166" y="644"/>
                </a:cubicBezTo>
                <a:cubicBezTo>
                  <a:pt x="1169" y="642"/>
                  <a:pt x="1169" y="644"/>
                  <a:pt x="1169" y="646"/>
                </a:cubicBezTo>
                <a:cubicBezTo>
                  <a:pt x="1170" y="647"/>
                  <a:pt x="1171" y="646"/>
                  <a:pt x="1172" y="646"/>
                </a:cubicBezTo>
                <a:cubicBezTo>
                  <a:pt x="1173" y="647"/>
                  <a:pt x="1174" y="647"/>
                  <a:pt x="1175" y="646"/>
                </a:cubicBezTo>
                <a:cubicBezTo>
                  <a:pt x="1176" y="646"/>
                  <a:pt x="1177" y="645"/>
                  <a:pt x="1178" y="646"/>
                </a:cubicBezTo>
                <a:cubicBezTo>
                  <a:pt x="1178" y="646"/>
                  <a:pt x="1178" y="647"/>
                  <a:pt x="1179" y="647"/>
                </a:cubicBezTo>
                <a:cubicBezTo>
                  <a:pt x="1179" y="647"/>
                  <a:pt x="1180" y="647"/>
                  <a:pt x="1180" y="647"/>
                </a:cubicBezTo>
                <a:cubicBezTo>
                  <a:pt x="1182" y="649"/>
                  <a:pt x="1180" y="650"/>
                  <a:pt x="1182" y="651"/>
                </a:cubicBezTo>
                <a:cubicBezTo>
                  <a:pt x="1183" y="651"/>
                  <a:pt x="1184" y="652"/>
                  <a:pt x="1184" y="653"/>
                </a:cubicBezTo>
                <a:cubicBezTo>
                  <a:pt x="1184" y="654"/>
                  <a:pt x="1182" y="654"/>
                  <a:pt x="1181" y="655"/>
                </a:cubicBezTo>
                <a:cubicBezTo>
                  <a:pt x="1180" y="656"/>
                  <a:pt x="1180" y="658"/>
                  <a:pt x="1177" y="657"/>
                </a:cubicBezTo>
                <a:cubicBezTo>
                  <a:pt x="1176" y="657"/>
                  <a:pt x="1173" y="655"/>
                  <a:pt x="1173" y="656"/>
                </a:cubicBezTo>
                <a:cubicBezTo>
                  <a:pt x="1173" y="659"/>
                  <a:pt x="1176" y="659"/>
                  <a:pt x="1177" y="661"/>
                </a:cubicBezTo>
                <a:cubicBezTo>
                  <a:pt x="1178" y="663"/>
                  <a:pt x="1181" y="663"/>
                  <a:pt x="1183" y="663"/>
                </a:cubicBezTo>
                <a:cubicBezTo>
                  <a:pt x="1185" y="663"/>
                  <a:pt x="1187" y="663"/>
                  <a:pt x="1189" y="663"/>
                </a:cubicBezTo>
                <a:cubicBezTo>
                  <a:pt x="1190" y="663"/>
                  <a:pt x="1191" y="664"/>
                  <a:pt x="1191" y="665"/>
                </a:cubicBezTo>
                <a:cubicBezTo>
                  <a:pt x="1191" y="665"/>
                  <a:pt x="1189" y="667"/>
                  <a:pt x="1190" y="668"/>
                </a:cubicBezTo>
                <a:cubicBezTo>
                  <a:pt x="1191" y="669"/>
                  <a:pt x="1193" y="668"/>
                  <a:pt x="1194" y="668"/>
                </a:cubicBezTo>
                <a:cubicBezTo>
                  <a:pt x="1195" y="668"/>
                  <a:pt x="1197" y="668"/>
                  <a:pt x="1198" y="669"/>
                </a:cubicBezTo>
                <a:cubicBezTo>
                  <a:pt x="1200" y="669"/>
                  <a:pt x="1201" y="669"/>
                  <a:pt x="1202" y="669"/>
                </a:cubicBezTo>
                <a:cubicBezTo>
                  <a:pt x="1204" y="670"/>
                  <a:pt x="1204" y="671"/>
                  <a:pt x="1205" y="672"/>
                </a:cubicBezTo>
                <a:cubicBezTo>
                  <a:pt x="1207" y="674"/>
                  <a:pt x="1210" y="673"/>
                  <a:pt x="1212" y="672"/>
                </a:cubicBezTo>
                <a:cubicBezTo>
                  <a:pt x="1213" y="672"/>
                  <a:pt x="1214" y="672"/>
                  <a:pt x="1215" y="672"/>
                </a:cubicBezTo>
                <a:cubicBezTo>
                  <a:pt x="1216" y="673"/>
                  <a:pt x="1216" y="674"/>
                  <a:pt x="1215" y="675"/>
                </a:cubicBezTo>
                <a:cubicBezTo>
                  <a:pt x="1215" y="676"/>
                  <a:pt x="1215" y="677"/>
                  <a:pt x="1216" y="677"/>
                </a:cubicBezTo>
                <a:cubicBezTo>
                  <a:pt x="1216" y="678"/>
                  <a:pt x="1217" y="677"/>
                  <a:pt x="1218" y="678"/>
                </a:cubicBezTo>
                <a:cubicBezTo>
                  <a:pt x="1219" y="678"/>
                  <a:pt x="1219" y="680"/>
                  <a:pt x="1220" y="682"/>
                </a:cubicBezTo>
                <a:cubicBezTo>
                  <a:pt x="1221" y="684"/>
                  <a:pt x="1223" y="684"/>
                  <a:pt x="1225" y="684"/>
                </a:cubicBezTo>
                <a:cubicBezTo>
                  <a:pt x="1228" y="683"/>
                  <a:pt x="1230" y="684"/>
                  <a:pt x="1232" y="686"/>
                </a:cubicBezTo>
                <a:cubicBezTo>
                  <a:pt x="1234" y="687"/>
                  <a:pt x="1237" y="688"/>
                  <a:pt x="1240" y="688"/>
                </a:cubicBezTo>
                <a:cubicBezTo>
                  <a:pt x="1241" y="688"/>
                  <a:pt x="1243" y="688"/>
                  <a:pt x="1244" y="689"/>
                </a:cubicBezTo>
                <a:cubicBezTo>
                  <a:pt x="1246" y="689"/>
                  <a:pt x="1247" y="690"/>
                  <a:pt x="1249" y="690"/>
                </a:cubicBezTo>
                <a:cubicBezTo>
                  <a:pt x="1251" y="691"/>
                  <a:pt x="1254" y="690"/>
                  <a:pt x="1256" y="692"/>
                </a:cubicBezTo>
                <a:cubicBezTo>
                  <a:pt x="1259" y="693"/>
                  <a:pt x="1261" y="694"/>
                  <a:pt x="1264" y="695"/>
                </a:cubicBezTo>
                <a:cubicBezTo>
                  <a:pt x="1266" y="696"/>
                  <a:pt x="1269" y="698"/>
                  <a:pt x="1272" y="698"/>
                </a:cubicBezTo>
                <a:cubicBezTo>
                  <a:pt x="1273" y="697"/>
                  <a:pt x="1274" y="697"/>
                  <a:pt x="1275" y="697"/>
                </a:cubicBezTo>
                <a:cubicBezTo>
                  <a:pt x="1276" y="697"/>
                  <a:pt x="1276" y="696"/>
                  <a:pt x="1275" y="695"/>
                </a:cubicBezTo>
                <a:cubicBezTo>
                  <a:pt x="1274" y="694"/>
                  <a:pt x="1271" y="692"/>
                  <a:pt x="1273" y="691"/>
                </a:cubicBezTo>
                <a:cubicBezTo>
                  <a:pt x="1274" y="689"/>
                  <a:pt x="1277" y="690"/>
                  <a:pt x="1274" y="688"/>
                </a:cubicBezTo>
                <a:cubicBezTo>
                  <a:pt x="1272" y="687"/>
                  <a:pt x="1270" y="687"/>
                  <a:pt x="1268" y="684"/>
                </a:cubicBezTo>
                <a:cubicBezTo>
                  <a:pt x="1267" y="683"/>
                  <a:pt x="1267" y="682"/>
                  <a:pt x="1267" y="681"/>
                </a:cubicBezTo>
                <a:cubicBezTo>
                  <a:pt x="1267" y="680"/>
                  <a:pt x="1265" y="679"/>
                  <a:pt x="1264" y="679"/>
                </a:cubicBezTo>
                <a:cubicBezTo>
                  <a:pt x="1262" y="677"/>
                  <a:pt x="1260" y="677"/>
                  <a:pt x="1258" y="676"/>
                </a:cubicBezTo>
                <a:cubicBezTo>
                  <a:pt x="1255" y="675"/>
                  <a:pt x="1255" y="674"/>
                  <a:pt x="1254" y="672"/>
                </a:cubicBezTo>
                <a:cubicBezTo>
                  <a:pt x="1252" y="670"/>
                  <a:pt x="1251" y="669"/>
                  <a:pt x="1249" y="669"/>
                </a:cubicBezTo>
                <a:cubicBezTo>
                  <a:pt x="1248" y="670"/>
                  <a:pt x="1246" y="670"/>
                  <a:pt x="1246" y="669"/>
                </a:cubicBezTo>
                <a:cubicBezTo>
                  <a:pt x="1245" y="669"/>
                  <a:pt x="1245" y="668"/>
                  <a:pt x="1246" y="667"/>
                </a:cubicBezTo>
                <a:cubicBezTo>
                  <a:pt x="1246" y="664"/>
                  <a:pt x="1244" y="664"/>
                  <a:pt x="1242" y="664"/>
                </a:cubicBezTo>
                <a:cubicBezTo>
                  <a:pt x="1239" y="664"/>
                  <a:pt x="1238" y="663"/>
                  <a:pt x="1236" y="661"/>
                </a:cubicBezTo>
                <a:cubicBezTo>
                  <a:pt x="1234" y="659"/>
                  <a:pt x="1232" y="658"/>
                  <a:pt x="1231" y="656"/>
                </a:cubicBezTo>
                <a:cubicBezTo>
                  <a:pt x="1229" y="654"/>
                  <a:pt x="1227" y="652"/>
                  <a:pt x="1225" y="650"/>
                </a:cubicBezTo>
                <a:cubicBezTo>
                  <a:pt x="1223" y="648"/>
                  <a:pt x="1224" y="647"/>
                  <a:pt x="1227" y="647"/>
                </a:cubicBezTo>
                <a:cubicBezTo>
                  <a:pt x="1229" y="647"/>
                  <a:pt x="1232" y="647"/>
                  <a:pt x="1233" y="649"/>
                </a:cubicBezTo>
                <a:cubicBezTo>
                  <a:pt x="1235" y="651"/>
                  <a:pt x="1238" y="652"/>
                  <a:pt x="1240" y="654"/>
                </a:cubicBezTo>
                <a:cubicBezTo>
                  <a:pt x="1241" y="654"/>
                  <a:pt x="1244" y="658"/>
                  <a:pt x="1245" y="657"/>
                </a:cubicBezTo>
                <a:cubicBezTo>
                  <a:pt x="1247" y="656"/>
                  <a:pt x="1244" y="652"/>
                  <a:pt x="1244" y="651"/>
                </a:cubicBezTo>
                <a:cubicBezTo>
                  <a:pt x="1243" y="648"/>
                  <a:pt x="1247" y="650"/>
                  <a:pt x="1248" y="651"/>
                </a:cubicBezTo>
                <a:cubicBezTo>
                  <a:pt x="1249" y="652"/>
                  <a:pt x="1249" y="654"/>
                  <a:pt x="1250" y="656"/>
                </a:cubicBezTo>
                <a:cubicBezTo>
                  <a:pt x="1251" y="658"/>
                  <a:pt x="1254" y="659"/>
                  <a:pt x="1256" y="660"/>
                </a:cubicBezTo>
                <a:cubicBezTo>
                  <a:pt x="1259" y="660"/>
                  <a:pt x="1259" y="662"/>
                  <a:pt x="1261" y="664"/>
                </a:cubicBezTo>
                <a:cubicBezTo>
                  <a:pt x="1263" y="666"/>
                  <a:pt x="1263" y="665"/>
                  <a:pt x="1263" y="663"/>
                </a:cubicBezTo>
                <a:cubicBezTo>
                  <a:pt x="1262" y="661"/>
                  <a:pt x="1264" y="661"/>
                  <a:pt x="1265" y="662"/>
                </a:cubicBezTo>
                <a:cubicBezTo>
                  <a:pt x="1268" y="663"/>
                  <a:pt x="1267" y="665"/>
                  <a:pt x="1268" y="667"/>
                </a:cubicBezTo>
                <a:cubicBezTo>
                  <a:pt x="1269" y="668"/>
                  <a:pt x="1272" y="669"/>
                  <a:pt x="1271" y="667"/>
                </a:cubicBezTo>
                <a:cubicBezTo>
                  <a:pt x="1271" y="666"/>
                  <a:pt x="1271" y="665"/>
                  <a:pt x="1271" y="665"/>
                </a:cubicBezTo>
                <a:cubicBezTo>
                  <a:pt x="1272" y="665"/>
                  <a:pt x="1273" y="665"/>
                  <a:pt x="1273" y="666"/>
                </a:cubicBezTo>
                <a:cubicBezTo>
                  <a:pt x="1274" y="667"/>
                  <a:pt x="1274" y="667"/>
                  <a:pt x="1275" y="667"/>
                </a:cubicBezTo>
                <a:cubicBezTo>
                  <a:pt x="1275" y="667"/>
                  <a:pt x="1277" y="667"/>
                  <a:pt x="1277" y="667"/>
                </a:cubicBezTo>
                <a:cubicBezTo>
                  <a:pt x="1277" y="668"/>
                  <a:pt x="1277" y="668"/>
                  <a:pt x="1277" y="669"/>
                </a:cubicBezTo>
                <a:cubicBezTo>
                  <a:pt x="1277" y="670"/>
                  <a:pt x="1278" y="669"/>
                  <a:pt x="1279" y="669"/>
                </a:cubicBezTo>
                <a:cubicBezTo>
                  <a:pt x="1281" y="669"/>
                  <a:pt x="1280" y="672"/>
                  <a:pt x="1282" y="672"/>
                </a:cubicBezTo>
                <a:cubicBezTo>
                  <a:pt x="1283" y="672"/>
                  <a:pt x="1284" y="671"/>
                  <a:pt x="1286" y="671"/>
                </a:cubicBezTo>
                <a:cubicBezTo>
                  <a:pt x="1286" y="671"/>
                  <a:pt x="1287" y="673"/>
                  <a:pt x="1287" y="671"/>
                </a:cubicBezTo>
                <a:cubicBezTo>
                  <a:pt x="1287" y="669"/>
                  <a:pt x="1287" y="667"/>
                  <a:pt x="1289" y="668"/>
                </a:cubicBezTo>
                <a:cubicBezTo>
                  <a:pt x="1292" y="668"/>
                  <a:pt x="1293" y="671"/>
                  <a:pt x="1296" y="671"/>
                </a:cubicBezTo>
                <a:cubicBezTo>
                  <a:pt x="1297" y="671"/>
                  <a:pt x="1296" y="668"/>
                  <a:pt x="1296" y="668"/>
                </a:cubicBezTo>
                <a:cubicBezTo>
                  <a:pt x="1295" y="667"/>
                  <a:pt x="1295" y="667"/>
                  <a:pt x="1295" y="666"/>
                </a:cubicBezTo>
                <a:cubicBezTo>
                  <a:pt x="1295" y="665"/>
                  <a:pt x="1295" y="665"/>
                  <a:pt x="1295" y="665"/>
                </a:cubicBezTo>
                <a:cubicBezTo>
                  <a:pt x="1295" y="664"/>
                  <a:pt x="1294" y="663"/>
                  <a:pt x="1293" y="662"/>
                </a:cubicBezTo>
                <a:cubicBezTo>
                  <a:pt x="1293" y="662"/>
                  <a:pt x="1292" y="661"/>
                  <a:pt x="1291" y="660"/>
                </a:cubicBezTo>
                <a:cubicBezTo>
                  <a:pt x="1291" y="660"/>
                  <a:pt x="1292" y="659"/>
                  <a:pt x="1291" y="658"/>
                </a:cubicBezTo>
                <a:cubicBezTo>
                  <a:pt x="1291" y="656"/>
                  <a:pt x="1290" y="655"/>
                  <a:pt x="1291" y="654"/>
                </a:cubicBezTo>
                <a:cubicBezTo>
                  <a:pt x="1291" y="653"/>
                  <a:pt x="1292" y="652"/>
                  <a:pt x="1291" y="650"/>
                </a:cubicBezTo>
                <a:cubicBezTo>
                  <a:pt x="1290" y="649"/>
                  <a:pt x="1287" y="648"/>
                  <a:pt x="1287" y="646"/>
                </a:cubicBezTo>
                <a:cubicBezTo>
                  <a:pt x="1287" y="645"/>
                  <a:pt x="1290" y="647"/>
                  <a:pt x="1290" y="647"/>
                </a:cubicBezTo>
                <a:cubicBezTo>
                  <a:pt x="1292" y="649"/>
                  <a:pt x="1294" y="651"/>
                  <a:pt x="1295" y="653"/>
                </a:cubicBezTo>
                <a:cubicBezTo>
                  <a:pt x="1295" y="655"/>
                  <a:pt x="1295" y="658"/>
                  <a:pt x="1297" y="659"/>
                </a:cubicBezTo>
                <a:cubicBezTo>
                  <a:pt x="1299" y="661"/>
                  <a:pt x="1300" y="659"/>
                  <a:pt x="1299" y="657"/>
                </a:cubicBezTo>
                <a:cubicBezTo>
                  <a:pt x="1299" y="654"/>
                  <a:pt x="1300" y="651"/>
                  <a:pt x="1298" y="649"/>
                </a:cubicBezTo>
                <a:cubicBezTo>
                  <a:pt x="1297" y="648"/>
                  <a:pt x="1296" y="647"/>
                  <a:pt x="1295" y="647"/>
                </a:cubicBezTo>
                <a:cubicBezTo>
                  <a:pt x="1294" y="646"/>
                  <a:pt x="1293" y="646"/>
                  <a:pt x="1293" y="645"/>
                </a:cubicBezTo>
                <a:cubicBezTo>
                  <a:pt x="1294" y="644"/>
                  <a:pt x="1297" y="644"/>
                  <a:pt x="1297" y="642"/>
                </a:cubicBezTo>
                <a:cubicBezTo>
                  <a:pt x="1297" y="640"/>
                  <a:pt x="1294" y="640"/>
                  <a:pt x="1292" y="640"/>
                </a:cubicBezTo>
                <a:cubicBezTo>
                  <a:pt x="1289" y="639"/>
                  <a:pt x="1290" y="637"/>
                  <a:pt x="1288" y="635"/>
                </a:cubicBezTo>
                <a:cubicBezTo>
                  <a:pt x="1286" y="635"/>
                  <a:pt x="1284" y="634"/>
                  <a:pt x="1283" y="634"/>
                </a:cubicBezTo>
                <a:cubicBezTo>
                  <a:pt x="1280" y="633"/>
                  <a:pt x="1281" y="631"/>
                  <a:pt x="1283" y="631"/>
                </a:cubicBezTo>
                <a:cubicBezTo>
                  <a:pt x="1285" y="631"/>
                  <a:pt x="1287" y="631"/>
                  <a:pt x="1289" y="631"/>
                </a:cubicBezTo>
                <a:cubicBezTo>
                  <a:pt x="1291" y="630"/>
                  <a:pt x="1291" y="628"/>
                  <a:pt x="1289" y="627"/>
                </a:cubicBezTo>
                <a:cubicBezTo>
                  <a:pt x="1287" y="627"/>
                  <a:pt x="1284" y="627"/>
                  <a:pt x="1282" y="627"/>
                </a:cubicBezTo>
                <a:cubicBezTo>
                  <a:pt x="1279" y="627"/>
                  <a:pt x="1281" y="625"/>
                  <a:pt x="1282" y="624"/>
                </a:cubicBezTo>
                <a:cubicBezTo>
                  <a:pt x="1283" y="622"/>
                  <a:pt x="1281" y="619"/>
                  <a:pt x="1279" y="618"/>
                </a:cubicBezTo>
                <a:cubicBezTo>
                  <a:pt x="1276" y="617"/>
                  <a:pt x="1278" y="620"/>
                  <a:pt x="1277" y="621"/>
                </a:cubicBezTo>
                <a:cubicBezTo>
                  <a:pt x="1277" y="622"/>
                  <a:pt x="1276" y="622"/>
                  <a:pt x="1276" y="621"/>
                </a:cubicBezTo>
                <a:cubicBezTo>
                  <a:pt x="1275" y="621"/>
                  <a:pt x="1274" y="621"/>
                  <a:pt x="1273" y="621"/>
                </a:cubicBezTo>
                <a:cubicBezTo>
                  <a:pt x="1272" y="621"/>
                  <a:pt x="1269" y="622"/>
                  <a:pt x="1269" y="620"/>
                </a:cubicBezTo>
                <a:cubicBezTo>
                  <a:pt x="1270" y="619"/>
                  <a:pt x="1273" y="619"/>
                  <a:pt x="1271" y="617"/>
                </a:cubicBezTo>
                <a:cubicBezTo>
                  <a:pt x="1270" y="616"/>
                  <a:pt x="1269" y="616"/>
                  <a:pt x="1269" y="616"/>
                </a:cubicBezTo>
                <a:cubicBezTo>
                  <a:pt x="1267" y="615"/>
                  <a:pt x="1267" y="614"/>
                  <a:pt x="1266" y="613"/>
                </a:cubicBezTo>
                <a:cubicBezTo>
                  <a:pt x="1265" y="611"/>
                  <a:pt x="1264" y="612"/>
                  <a:pt x="1264" y="614"/>
                </a:cubicBezTo>
                <a:cubicBezTo>
                  <a:pt x="1263" y="614"/>
                  <a:pt x="1265" y="620"/>
                  <a:pt x="1263" y="619"/>
                </a:cubicBezTo>
                <a:cubicBezTo>
                  <a:pt x="1262" y="618"/>
                  <a:pt x="1262" y="615"/>
                  <a:pt x="1261" y="614"/>
                </a:cubicBezTo>
                <a:cubicBezTo>
                  <a:pt x="1258" y="613"/>
                  <a:pt x="1260" y="612"/>
                  <a:pt x="1260" y="610"/>
                </a:cubicBezTo>
                <a:cubicBezTo>
                  <a:pt x="1260" y="608"/>
                  <a:pt x="1259" y="609"/>
                  <a:pt x="1258" y="609"/>
                </a:cubicBezTo>
                <a:cubicBezTo>
                  <a:pt x="1257" y="608"/>
                  <a:pt x="1256" y="608"/>
                  <a:pt x="1255" y="607"/>
                </a:cubicBezTo>
                <a:cubicBezTo>
                  <a:pt x="1255" y="606"/>
                  <a:pt x="1255" y="605"/>
                  <a:pt x="1254" y="605"/>
                </a:cubicBezTo>
                <a:cubicBezTo>
                  <a:pt x="1253" y="604"/>
                  <a:pt x="1252" y="604"/>
                  <a:pt x="1253" y="603"/>
                </a:cubicBezTo>
                <a:cubicBezTo>
                  <a:pt x="1254" y="602"/>
                  <a:pt x="1257" y="600"/>
                  <a:pt x="1254" y="599"/>
                </a:cubicBezTo>
                <a:cubicBezTo>
                  <a:pt x="1252" y="598"/>
                  <a:pt x="1251" y="599"/>
                  <a:pt x="1251" y="596"/>
                </a:cubicBezTo>
                <a:cubicBezTo>
                  <a:pt x="1250" y="594"/>
                  <a:pt x="1247" y="594"/>
                  <a:pt x="1246" y="596"/>
                </a:cubicBezTo>
                <a:cubicBezTo>
                  <a:pt x="1245" y="596"/>
                  <a:pt x="1242" y="600"/>
                  <a:pt x="1241" y="599"/>
                </a:cubicBezTo>
                <a:cubicBezTo>
                  <a:pt x="1240" y="598"/>
                  <a:pt x="1241" y="596"/>
                  <a:pt x="1241" y="595"/>
                </a:cubicBezTo>
                <a:cubicBezTo>
                  <a:pt x="1242" y="593"/>
                  <a:pt x="1243" y="591"/>
                  <a:pt x="1240" y="591"/>
                </a:cubicBezTo>
                <a:cubicBezTo>
                  <a:pt x="1240" y="591"/>
                  <a:pt x="1239" y="591"/>
                  <a:pt x="1238" y="591"/>
                </a:cubicBezTo>
                <a:cubicBezTo>
                  <a:pt x="1237" y="591"/>
                  <a:pt x="1238" y="589"/>
                  <a:pt x="1238" y="588"/>
                </a:cubicBezTo>
                <a:cubicBezTo>
                  <a:pt x="1238" y="587"/>
                  <a:pt x="1235" y="587"/>
                  <a:pt x="1235" y="585"/>
                </a:cubicBezTo>
                <a:cubicBezTo>
                  <a:pt x="1234" y="585"/>
                  <a:pt x="1239" y="586"/>
                  <a:pt x="1237" y="583"/>
                </a:cubicBezTo>
                <a:cubicBezTo>
                  <a:pt x="1237" y="582"/>
                  <a:pt x="1232" y="581"/>
                  <a:pt x="1230" y="581"/>
                </a:cubicBezTo>
                <a:cubicBezTo>
                  <a:pt x="1230" y="581"/>
                  <a:pt x="1228" y="581"/>
                  <a:pt x="1228" y="581"/>
                </a:cubicBezTo>
                <a:cubicBezTo>
                  <a:pt x="1228" y="580"/>
                  <a:pt x="1229" y="580"/>
                  <a:pt x="1230" y="579"/>
                </a:cubicBezTo>
                <a:cubicBezTo>
                  <a:pt x="1230" y="579"/>
                  <a:pt x="1231" y="579"/>
                  <a:pt x="1232" y="579"/>
                </a:cubicBezTo>
                <a:cubicBezTo>
                  <a:pt x="1234" y="580"/>
                  <a:pt x="1235" y="580"/>
                  <a:pt x="1237" y="580"/>
                </a:cubicBezTo>
                <a:cubicBezTo>
                  <a:pt x="1239" y="580"/>
                  <a:pt x="1241" y="582"/>
                  <a:pt x="1241" y="584"/>
                </a:cubicBezTo>
                <a:cubicBezTo>
                  <a:pt x="1241" y="585"/>
                  <a:pt x="1241" y="586"/>
                  <a:pt x="1242" y="587"/>
                </a:cubicBezTo>
                <a:cubicBezTo>
                  <a:pt x="1242" y="588"/>
                  <a:pt x="1244" y="588"/>
                  <a:pt x="1245" y="589"/>
                </a:cubicBezTo>
                <a:cubicBezTo>
                  <a:pt x="1248" y="589"/>
                  <a:pt x="1250" y="588"/>
                  <a:pt x="1253" y="588"/>
                </a:cubicBezTo>
                <a:cubicBezTo>
                  <a:pt x="1256" y="588"/>
                  <a:pt x="1256" y="586"/>
                  <a:pt x="1254" y="584"/>
                </a:cubicBezTo>
                <a:cubicBezTo>
                  <a:pt x="1253" y="582"/>
                  <a:pt x="1252" y="582"/>
                  <a:pt x="1249" y="581"/>
                </a:cubicBezTo>
                <a:cubicBezTo>
                  <a:pt x="1248" y="581"/>
                  <a:pt x="1247" y="581"/>
                  <a:pt x="1246" y="580"/>
                </a:cubicBezTo>
                <a:cubicBezTo>
                  <a:pt x="1245" y="579"/>
                  <a:pt x="1246" y="578"/>
                  <a:pt x="1246" y="577"/>
                </a:cubicBezTo>
                <a:cubicBezTo>
                  <a:pt x="1246" y="576"/>
                  <a:pt x="1240" y="573"/>
                  <a:pt x="1241" y="572"/>
                </a:cubicBezTo>
                <a:cubicBezTo>
                  <a:pt x="1243" y="570"/>
                  <a:pt x="1245" y="572"/>
                  <a:pt x="1246" y="573"/>
                </a:cubicBezTo>
                <a:cubicBezTo>
                  <a:pt x="1247" y="575"/>
                  <a:pt x="1249" y="577"/>
                  <a:pt x="1251" y="576"/>
                </a:cubicBezTo>
                <a:cubicBezTo>
                  <a:pt x="1252" y="576"/>
                  <a:pt x="1251" y="575"/>
                  <a:pt x="1251" y="574"/>
                </a:cubicBezTo>
                <a:cubicBezTo>
                  <a:pt x="1251" y="573"/>
                  <a:pt x="1252" y="573"/>
                  <a:pt x="1252" y="573"/>
                </a:cubicBezTo>
                <a:cubicBezTo>
                  <a:pt x="1253" y="573"/>
                  <a:pt x="1254" y="573"/>
                  <a:pt x="1254" y="572"/>
                </a:cubicBezTo>
                <a:cubicBezTo>
                  <a:pt x="1255" y="572"/>
                  <a:pt x="1253" y="571"/>
                  <a:pt x="1253" y="571"/>
                </a:cubicBezTo>
                <a:cubicBezTo>
                  <a:pt x="1252" y="571"/>
                  <a:pt x="1246" y="569"/>
                  <a:pt x="1249" y="568"/>
                </a:cubicBezTo>
                <a:cubicBezTo>
                  <a:pt x="1250" y="568"/>
                  <a:pt x="1251" y="568"/>
                  <a:pt x="1252" y="568"/>
                </a:cubicBezTo>
                <a:cubicBezTo>
                  <a:pt x="1254" y="568"/>
                  <a:pt x="1255" y="568"/>
                  <a:pt x="1257" y="568"/>
                </a:cubicBezTo>
                <a:cubicBezTo>
                  <a:pt x="1259" y="567"/>
                  <a:pt x="1262" y="567"/>
                  <a:pt x="1261" y="569"/>
                </a:cubicBezTo>
                <a:cubicBezTo>
                  <a:pt x="1261" y="571"/>
                  <a:pt x="1259" y="573"/>
                  <a:pt x="1262" y="574"/>
                </a:cubicBezTo>
                <a:cubicBezTo>
                  <a:pt x="1264" y="574"/>
                  <a:pt x="1266" y="574"/>
                  <a:pt x="1267" y="575"/>
                </a:cubicBezTo>
                <a:cubicBezTo>
                  <a:pt x="1268" y="577"/>
                  <a:pt x="1270" y="576"/>
                  <a:pt x="1272" y="578"/>
                </a:cubicBezTo>
                <a:cubicBezTo>
                  <a:pt x="1273" y="579"/>
                  <a:pt x="1272" y="581"/>
                  <a:pt x="1275" y="582"/>
                </a:cubicBezTo>
                <a:cubicBezTo>
                  <a:pt x="1277" y="582"/>
                  <a:pt x="1278" y="579"/>
                  <a:pt x="1280" y="577"/>
                </a:cubicBezTo>
                <a:cubicBezTo>
                  <a:pt x="1280" y="576"/>
                  <a:pt x="1283" y="572"/>
                  <a:pt x="1283" y="576"/>
                </a:cubicBezTo>
                <a:cubicBezTo>
                  <a:pt x="1283" y="578"/>
                  <a:pt x="1282" y="579"/>
                  <a:pt x="1281" y="580"/>
                </a:cubicBezTo>
                <a:cubicBezTo>
                  <a:pt x="1280" y="581"/>
                  <a:pt x="1275" y="586"/>
                  <a:pt x="1279" y="585"/>
                </a:cubicBezTo>
                <a:cubicBezTo>
                  <a:pt x="1282" y="585"/>
                  <a:pt x="1284" y="583"/>
                  <a:pt x="1287" y="582"/>
                </a:cubicBezTo>
                <a:cubicBezTo>
                  <a:pt x="1290" y="581"/>
                  <a:pt x="1293" y="581"/>
                  <a:pt x="1295" y="580"/>
                </a:cubicBezTo>
                <a:cubicBezTo>
                  <a:pt x="1296" y="579"/>
                  <a:pt x="1297" y="579"/>
                  <a:pt x="1298" y="578"/>
                </a:cubicBezTo>
                <a:cubicBezTo>
                  <a:pt x="1299" y="577"/>
                  <a:pt x="1300" y="577"/>
                  <a:pt x="1300" y="577"/>
                </a:cubicBezTo>
                <a:cubicBezTo>
                  <a:pt x="1301" y="576"/>
                  <a:pt x="1302" y="577"/>
                  <a:pt x="1301" y="578"/>
                </a:cubicBezTo>
                <a:cubicBezTo>
                  <a:pt x="1301" y="579"/>
                  <a:pt x="1300" y="579"/>
                  <a:pt x="1299" y="580"/>
                </a:cubicBezTo>
                <a:cubicBezTo>
                  <a:pt x="1297" y="581"/>
                  <a:pt x="1295" y="581"/>
                  <a:pt x="1296" y="584"/>
                </a:cubicBezTo>
                <a:cubicBezTo>
                  <a:pt x="1296" y="586"/>
                  <a:pt x="1295" y="586"/>
                  <a:pt x="1294" y="587"/>
                </a:cubicBezTo>
                <a:cubicBezTo>
                  <a:pt x="1291" y="587"/>
                  <a:pt x="1287" y="586"/>
                  <a:pt x="1285" y="589"/>
                </a:cubicBezTo>
                <a:cubicBezTo>
                  <a:pt x="1285" y="590"/>
                  <a:pt x="1283" y="593"/>
                  <a:pt x="1284" y="594"/>
                </a:cubicBezTo>
                <a:cubicBezTo>
                  <a:pt x="1285" y="596"/>
                  <a:pt x="1290" y="593"/>
                  <a:pt x="1290" y="594"/>
                </a:cubicBezTo>
                <a:cubicBezTo>
                  <a:pt x="1290" y="596"/>
                  <a:pt x="1287" y="597"/>
                  <a:pt x="1288" y="598"/>
                </a:cubicBezTo>
                <a:cubicBezTo>
                  <a:pt x="1288" y="599"/>
                  <a:pt x="1291" y="598"/>
                  <a:pt x="1291" y="598"/>
                </a:cubicBezTo>
                <a:cubicBezTo>
                  <a:pt x="1292" y="598"/>
                  <a:pt x="1295" y="597"/>
                  <a:pt x="1294" y="599"/>
                </a:cubicBezTo>
                <a:cubicBezTo>
                  <a:pt x="1293" y="599"/>
                  <a:pt x="1292" y="599"/>
                  <a:pt x="1292" y="599"/>
                </a:cubicBezTo>
                <a:cubicBezTo>
                  <a:pt x="1291" y="599"/>
                  <a:pt x="1291" y="600"/>
                  <a:pt x="1291" y="601"/>
                </a:cubicBezTo>
                <a:cubicBezTo>
                  <a:pt x="1289" y="605"/>
                  <a:pt x="1298" y="600"/>
                  <a:pt x="1299" y="601"/>
                </a:cubicBezTo>
                <a:cubicBezTo>
                  <a:pt x="1300" y="602"/>
                  <a:pt x="1295" y="604"/>
                  <a:pt x="1296" y="606"/>
                </a:cubicBezTo>
                <a:cubicBezTo>
                  <a:pt x="1297" y="607"/>
                  <a:pt x="1299" y="610"/>
                  <a:pt x="1301" y="609"/>
                </a:cubicBezTo>
                <a:cubicBezTo>
                  <a:pt x="1302" y="608"/>
                  <a:pt x="1301" y="606"/>
                  <a:pt x="1302" y="604"/>
                </a:cubicBezTo>
                <a:cubicBezTo>
                  <a:pt x="1303" y="603"/>
                  <a:pt x="1303" y="607"/>
                  <a:pt x="1304" y="607"/>
                </a:cubicBezTo>
                <a:cubicBezTo>
                  <a:pt x="1305" y="608"/>
                  <a:pt x="1308" y="606"/>
                  <a:pt x="1307" y="609"/>
                </a:cubicBezTo>
                <a:cubicBezTo>
                  <a:pt x="1307" y="610"/>
                  <a:pt x="1308" y="610"/>
                  <a:pt x="1309" y="610"/>
                </a:cubicBezTo>
                <a:cubicBezTo>
                  <a:pt x="1310" y="611"/>
                  <a:pt x="1311" y="611"/>
                  <a:pt x="1312" y="612"/>
                </a:cubicBezTo>
                <a:cubicBezTo>
                  <a:pt x="1313" y="613"/>
                  <a:pt x="1313" y="614"/>
                  <a:pt x="1314" y="614"/>
                </a:cubicBezTo>
                <a:cubicBezTo>
                  <a:pt x="1315" y="615"/>
                  <a:pt x="1316" y="614"/>
                  <a:pt x="1317" y="613"/>
                </a:cubicBezTo>
                <a:cubicBezTo>
                  <a:pt x="1317" y="612"/>
                  <a:pt x="1315" y="610"/>
                  <a:pt x="1316" y="609"/>
                </a:cubicBezTo>
                <a:cubicBezTo>
                  <a:pt x="1317" y="608"/>
                  <a:pt x="1318" y="608"/>
                  <a:pt x="1319" y="607"/>
                </a:cubicBezTo>
                <a:cubicBezTo>
                  <a:pt x="1321" y="606"/>
                  <a:pt x="1318" y="604"/>
                  <a:pt x="1317" y="604"/>
                </a:cubicBezTo>
                <a:cubicBezTo>
                  <a:pt x="1316" y="603"/>
                  <a:pt x="1315" y="602"/>
                  <a:pt x="1315" y="601"/>
                </a:cubicBezTo>
                <a:cubicBezTo>
                  <a:pt x="1315" y="600"/>
                  <a:pt x="1317" y="599"/>
                  <a:pt x="1316" y="598"/>
                </a:cubicBezTo>
                <a:cubicBezTo>
                  <a:pt x="1315" y="597"/>
                  <a:pt x="1312" y="596"/>
                  <a:pt x="1314" y="594"/>
                </a:cubicBezTo>
                <a:cubicBezTo>
                  <a:pt x="1315" y="593"/>
                  <a:pt x="1317" y="594"/>
                  <a:pt x="1318" y="594"/>
                </a:cubicBezTo>
                <a:cubicBezTo>
                  <a:pt x="1320" y="594"/>
                  <a:pt x="1319" y="593"/>
                  <a:pt x="1318" y="592"/>
                </a:cubicBezTo>
                <a:cubicBezTo>
                  <a:pt x="1317" y="591"/>
                  <a:pt x="1317" y="590"/>
                  <a:pt x="1316" y="589"/>
                </a:cubicBezTo>
                <a:cubicBezTo>
                  <a:pt x="1316" y="588"/>
                  <a:pt x="1316" y="587"/>
                  <a:pt x="1317" y="587"/>
                </a:cubicBezTo>
                <a:cubicBezTo>
                  <a:pt x="1318" y="588"/>
                  <a:pt x="1319" y="589"/>
                  <a:pt x="1320" y="590"/>
                </a:cubicBezTo>
                <a:cubicBezTo>
                  <a:pt x="1321" y="592"/>
                  <a:pt x="1322" y="594"/>
                  <a:pt x="1323" y="596"/>
                </a:cubicBezTo>
                <a:cubicBezTo>
                  <a:pt x="1324" y="597"/>
                  <a:pt x="1326" y="598"/>
                  <a:pt x="1326" y="596"/>
                </a:cubicBezTo>
                <a:cubicBezTo>
                  <a:pt x="1327" y="595"/>
                  <a:pt x="1326" y="593"/>
                  <a:pt x="1327" y="592"/>
                </a:cubicBezTo>
                <a:cubicBezTo>
                  <a:pt x="1328" y="592"/>
                  <a:pt x="1330" y="593"/>
                  <a:pt x="1330" y="592"/>
                </a:cubicBezTo>
                <a:cubicBezTo>
                  <a:pt x="1330" y="590"/>
                  <a:pt x="1330" y="590"/>
                  <a:pt x="1329" y="589"/>
                </a:cubicBezTo>
                <a:cubicBezTo>
                  <a:pt x="1329" y="589"/>
                  <a:pt x="1327" y="588"/>
                  <a:pt x="1328" y="588"/>
                </a:cubicBezTo>
                <a:cubicBezTo>
                  <a:pt x="1331" y="586"/>
                  <a:pt x="1335" y="594"/>
                  <a:pt x="1338" y="591"/>
                </a:cubicBezTo>
                <a:cubicBezTo>
                  <a:pt x="1339" y="589"/>
                  <a:pt x="1336" y="587"/>
                  <a:pt x="1334" y="586"/>
                </a:cubicBezTo>
                <a:cubicBezTo>
                  <a:pt x="1332" y="585"/>
                  <a:pt x="1330" y="585"/>
                  <a:pt x="1328" y="584"/>
                </a:cubicBezTo>
                <a:cubicBezTo>
                  <a:pt x="1328" y="584"/>
                  <a:pt x="1324" y="581"/>
                  <a:pt x="1326" y="581"/>
                </a:cubicBezTo>
                <a:cubicBezTo>
                  <a:pt x="1327" y="581"/>
                  <a:pt x="1327" y="581"/>
                  <a:pt x="1328" y="581"/>
                </a:cubicBezTo>
                <a:cubicBezTo>
                  <a:pt x="1329" y="582"/>
                  <a:pt x="1331" y="583"/>
                  <a:pt x="1332" y="583"/>
                </a:cubicBezTo>
                <a:cubicBezTo>
                  <a:pt x="1334" y="584"/>
                  <a:pt x="1336" y="585"/>
                  <a:pt x="1338" y="585"/>
                </a:cubicBezTo>
                <a:cubicBezTo>
                  <a:pt x="1340" y="585"/>
                  <a:pt x="1342" y="584"/>
                  <a:pt x="1341" y="582"/>
                </a:cubicBezTo>
                <a:cubicBezTo>
                  <a:pt x="1338" y="580"/>
                  <a:pt x="1334" y="581"/>
                  <a:pt x="1331" y="580"/>
                </a:cubicBezTo>
                <a:cubicBezTo>
                  <a:pt x="1331" y="579"/>
                  <a:pt x="1330" y="578"/>
                  <a:pt x="1329" y="578"/>
                </a:cubicBezTo>
                <a:cubicBezTo>
                  <a:pt x="1329" y="578"/>
                  <a:pt x="1328" y="576"/>
                  <a:pt x="1328" y="576"/>
                </a:cubicBezTo>
                <a:cubicBezTo>
                  <a:pt x="1330" y="576"/>
                  <a:pt x="1330" y="578"/>
                  <a:pt x="1332" y="578"/>
                </a:cubicBezTo>
                <a:cubicBezTo>
                  <a:pt x="1333" y="578"/>
                  <a:pt x="1335" y="577"/>
                  <a:pt x="1333" y="575"/>
                </a:cubicBezTo>
                <a:cubicBezTo>
                  <a:pt x="1333" y="575"/>
                  <a:pt x="1330" y="573"/>
                  <a:pt x="1333" y="573"/>
                </a:cubicBezTo>
                <a:cubicBezTo>
                  <a:pt x="1334" y="574"/>
                  <a:pt x="1336" y="574"/>
                  <a:pt x="1337" y="575"/>
                </a:cubicBezTo>
                <a:cubicBezTo>
                  <a:pt x="1339" y="575"/>
                  <a:pt x="1340" y="576"/>
                  <a:pt x="1341" y="576"/>
                </a:cubicBezTo>
                <a:cubicBezTo>
                  <a:pt x="1343" y="577"/>
                  <a:pt x="1344" y="577"/>
                  <a:pt x="1345" y="577"/>
                </a:cubicBezTo>
                <a:cubicBezTo>
                  <a:pt x="1346" y="578"/>
                  <a:pt x="1352" y="576"/>
                  <a:pt x="1351" y="575"/>
                </a:cubicBezTo>
                <a:cubicBezTo>
                  <a:pt x="1350" y="574"/>
                  <a:pt x="1347" y="575"/>
                  <a:pt x="1346" y="575"/>
                </a:cubicBezTo>
                <a:cubicBezTo>
                  <a:pt x="1345" y="575"/>
                  <a:pt x="1344" y="575"/>
                  <a:pt x="1344" y="574"/>
                </a:cubicBezTo>
                <a:cubicBezTo>
                  <a:pt x="1344" y="573"/>
                  <a:pt x="1345" y="573"/>
                  <a:pt x="1345" y="573"/>
                </a:cubicBezTo>
                <a:cubicBezTo>
                  <a:pt x="1347" y="573"/>
                  <a:pt x="1350" y="572"/>
                  <a:pt x="1347" y="570"/>
                </a:cubicBezTo>
                <a:cubicBezTo>
                  <a:pt x="1346" y="569"/>
                  <a:pt x="1344" y="567"/>
                  <a:pt x="1342" y="568"/>
                </a:cubicBezTo>
                <a:cubicBezTo>
                  <a:pt x="1341" y="569"/>
                  <a:pt x="1340" y="568"/>
                  <a:pt x="1340" y="568"/>
                </a:cubicBezTo>
                <a:cubicBezTo>
                  <a:pt x="1339" y="567"/>
                  <a:pt x="1340" y="566"/>
                  <a:pt x="1341" y="566"/>
                </a:cubicBezTo>
                <a:cubicBezTo>
                  <a:pt x="1343" y="565"/>
                  <a:pt x="1346" y="566"/>
                  <a:pt x="1348" y="567"/>
                </a:cubicBezTo>
                <a:cubicBezTo>
                  <a:pt x="1348" y="568"/>
                  <a:pt x="1349" y="569"/>
                  <a:pt x="1350" y="569"/>
                </a:cubicBezTo>
                <a:cubicBezTo>
                  <a:pt x="1351" y="569"/>
                  <a:pt x="1353" y="569"/>
                  <a:pt x="1354" y="569"/>
                </a:cubicBezTo>
                <a:cubicBezTo>
                  <a:pt x="1356" y="567"/>
                  <a:pt x="1352" y="564"/>
                  <a:pt x="1351" y="563"/>
                </a:cubicBezTo>
                <a:cubicBezTo>
                  <a:pt x="1350" y="562"/>
                  <a:pt x="1349" y="558"/>
                  <a:pt x="1346" y="558"/>
                </a:cubicBezTo>
                <a:cubicBezTo>
                  <a:pt x="1345" y="559"/>
                  <a:pt x="1344" y="559"/>
                  <a:pt x="1344" y="559"/>
                </a:cubicBezTo>
                <a:cubicBezTo>
                  <a:pt x="1343" y="559"/>
                  <a:pt x="1342" y="559"/>
                  <a:pt x="1342" y="558"/>
                </a:cubicBezTo>
                <a:cubicBezTo>
                  <a:pt x="1340" y="557"/>
                  <a:pt x="1337" y="558"/>
                  <a:pt x="1337" y="560"/>
                </a:cubicBezTo>
                <a:cubicBezTo>
                  <a:pt x="1337" y="561"/>
                  <a:pt x="1339" y="563"/>
                  <a:pt x="1339" y="565"/>
                </a:cubicBezTo>
                <a:cubicBezTo>
                  <a:pt x="1337" y="567"/>
                  <a:pt x="1336" y="562"/>
                  <a:pt x="1336" y="562"/>
                </a:cubicBezTo>
                <a:cubicBezTo>
                  <a:pt x="1335" y="561"/>
                  <a:pt x="1334" y="558"/>
                  <a:pt x="1332" y="560"/>
                </a:cubicBezTo>
                <a:cubicBezTo>
                  <a:pt x="1330" y="561"/>
                  <a:pt x="1330" y="564"/>
                  <a:pt x="1329" y="565"/>
                </a:cubicBezTo>
                <a:cubicBezTo>
                  <a:pt x="1328" y="567"/>
                  <a:pt x="1328" y="567"/>
                  <a:pt x="1328" y="565"/>
                </a:cubicBezTo>
                <a:cubicBezTo>
                  <a:pt x="1328" y="563"/>
                  <a:pt x="1328" y="562"/>
                  <a:pt x="1328" y="561"/>
                </a:cubicBezTo>
                <a:cubicBezTo>
                  <a:pt x="1328" y="559"/>
                  <a:pt x="1327" y="558"/>
                  <a:pt x="1325" y="558"/>
                </a:cubicBezTo>
                <a:cubicBezTo>
                  <a:pt x="1323" y="558"/>
                  <a:pt x="1321" y="560"/>
                  <a:pt x="1320" y="562"/>
                </a:cubicBezTo>
                <a:cubicBezTo>
                  <a:pt x="1320" y="563"/>
                  <a:pt x="1320" y="566"/>
                  <a:pt x="1319" y="564"/>
                </a:cubicBezTo>
                <a:cubicBezTo>
                  <a:pt x="1318" y="564"/>
                  <a:pt x="1319" y="563"/>
                  <a:pt x="1317" y="563"/>
                </a:cubicBezTo>
                <a:cubicBezTo>
                  <a:pt x="1317" y="562"/>
                  <a:pt x="1316" y="562"/>
                  <a:pt x="1315" y="562"/>
                </a:cubicBezTo>
                <a:cubicBezTo>
                  <a:pt x="1314" y="562"/>
                  <a:pt x="1312" y="562"/>
                  <a:pt x="1314" y="561"/>
                </a:cubicBezTo>
                <a:cubicBezTo>
                  <a:pt x="1315" y="559"/>
                  <a:pt x="1318" y="559"/>
                  <a:pt x="1320" y="558"/>
                </a:cubicBezTo>
                <a:cubicBezTo>
                  <a:pt x="1321" y="557"/>
                  <a:pt x="1321" y="557"/>
                  <a:pt x="1322" y="556"/>
                </a:cubicBezTo>
                <a:cubicBezTo>
                  <a:pt x="1322" y="554"/>
                  <a:pt x="1322" y="553"/>
                  <a:pt x="1323" y="553"/>
                </a:cubicBezTo>
                <a:cubicBezTo>
                  <a:pt x="1324" y="552"/>
                  <a:pt x="1325" y="552"/>
                  <a:pt x="1326" y="552"/>
                </a:cubicBezTo>
                <a:cubicBezTo>
                  <a:pt x="1327" y="551"/>
                  <a:pt x="1326" y="549"/>
                  <a:pt x="1325" y="549"/>
                </a:cubicBezTo>
                <a:cubicBezTo>
                  <a:pt x="1323" y="548"/>
                  <a:pt x="1321" y="549"/>
                  <a:pt x="1320" y="551"/>
                </a:cubicBezTo>
                <a:cubicBezTo>
                  <a:pt x="1320" y="552"/>
                  <a:pt x="1319" y="553"/>
                  <a:pt x="1319" y="554"/>
                </a:cubicBezTo>
                <a:cubicBezTo>
                  <a:pt x="1318" y="555"/>
                  <a:pt x="1317" y="556"/>
                  <a:pt x="1316" y="556"/>
                </a:cubicBezTo>
                <a:cubicBezTo>
                  <a:pt x="1315" y="557"/>
                  <a:pt x="1314" y="558"/>
                  <a:pt x="1313" y="558"/>
                </a:cubicBezTo>
                <a:cubicBezTo>
                  <a:pt x="1312" y="557"/>
                  <a:pt x="1313" y="556"/>
                  <a:pt x="1314" y="556"/>
                </a:cubicBezTo>
                <a:cubicBezTo>
                  <a:pt x="1315" y="555"/>
                  <a:pt x="1318" y="551"/>
                  <a:pt x="1315" y="550"/>
                </a:cubicBezTo>
                <a:cubicBezTo>
                  <a:pt x="1314" y="550"/>
                  <a:pt x="1313" y="550"/>
                  <a:pt x="1312" y="551"/>
                </a:cubicBezTo>
                <a:cubicBezTo>
                  <a:pt x="1311" y="551"/>
                  <a:pt x="1310" y="552"/>
                  <a:pt x="1309" y="552"/>
                </a:cubicBezTo>
                <a:cubicBezTo>
                  <a:pt x="1307" y="553"/>
                  <a:pt x="1304" y="552"/>
                  <a:pt x="1302" y="553"/>
                </a:cubicBezTo>
                <a:cubicBezTo>
                  <a:pt x="1300" y="554"/>
                  <a:pt x="1300" y="556"/>
                  <a:pt x="1298" y="557"/>
                </a:cubicBezTo>
                <a:cubicBezTo>
                  <a:pt x="1296" y="558"/>
                  <a:pt x="1297" y="556"/>
                  <a:pt x="1297" y="555"/>
                </a:cubicBezTo>
                <a:cubicBezTo>
                  <a:pt x="1299" y="553"/>
                  <a:pt x="1297" y="552"/>
                  <a:pt x="1295" y="552"/>
                </a:cubicBezTo>
                <a:cubicBezTo>
                  <a:pt x="1294" y="552"/>
                  <a:pt x="1296" y="550"/>
                  <a:pt x="1296" y="550"/>
                </a:cubicBezTo>
                <a:cubicBezTo>
                  <a:pt x="1297" y="550"/>
                  <a:pt x="1298" y="550"/>
                  <a:pt x="1299" y="550"/>
                </a:cubicBezTo>
                <a:cubicBezTo>
                  <a:pt x="1300" y="549"/>
                  <a:pt x="1296" y="548"/>
                  <a:pt x="1296" y="547"/>
                </a:cubicBezTo>
                <a:cubicBezTo>
                  <a:pt x="1297" y="546"/>
                  <a:pt x="1302" y="547"/>
                  <a:pt x="1303" y="547"/>
                </a:cubicBezTo>
                <a:cubicBezTo>
                  <a:pt x="1304" y="548"/>
                  <a:pt x="1309" y="549"/>
                  <a:pt x="1309" y="547"/>
                </a:cubicBezTo>
                <a:cubicBezTo>
                  <a:pt x="1309" y="546"/>
                  <a:pt x="1309" y="545"/>
                  <a:pt x="1309" y="544"/>
                </a:cubicBezTo>
                <a:cubicBezTo>
                  <a:pt x="1308" y="543"/>
                  <a:pt x="1308" y="541"/>
                  <a:pt x="1308" y="540"/>
                </a:cubicBezTo>
                <a:cubicBezTo>
                  <a:pt x="1306" y="537"/>
                  <a:pt x="1299" y="532"/>
                  <a:pt x="1296" y="536"/>
                </a:cubicBezTo>
                <a:cubicBezTo>
                  <a:pt x="1295" y="538"/>
                  <a:pt x="1294" y="536"/>
                  <a:pt x="1292" y="536"/>
                </a:cubicBezTo>
                <a:cubicBezTo>
                  <a:pt x="1290" y="536"/>
                  <a:pt x="1291" y="539"/>
                  <a:pt x="1290" y="539"/>
                </a:cubicBezTo>
                <a:cubicBezTo>
                  <a:pt x="1287" y="538"/>
                  <a:pt x="1288" y="537"/>
                  <a:pt x="1289" y="536"/>
                </a:cubicBezTo>
                <a:cubicBezTo>
                  <a:pt x="1291" y="534"/>
                  <a:pt x="1291" y="532"/>
                  <a:pt x="1289" y="531"/>
                </a:cubicBezTo>
                <a:cubicBezTo>
                  <a:pt x="1287" y="530"/>
                  <a:pt x="1285" y="530"/>
                  <a:pt x="1285" y="532"/>
                </a:cubicBezTo>
                <a:cubicBezTo>
                  <a:pt x="1284" y="533"/>
                  <a:pt x="1284" y="534"/>
                  <a:pt x="1285" y="535"/>
                </a:cubicBezTo>
                <a:cubicBezTo>
                  <a:pt x="1286" y="536"/>
                  <a:pt x="1286" y="536"/>
                  <a:pt x="1286" y="538"/>
                </a:cubicBezTo>
                <a:cubicBezTo>
                  <a:pt x="1287" y="540"/>
                  <a:pt x="1285" y="540"/>
                  <a:pt x="1284" y="538"/>
                </a:cubicBezTo>
                <a:cubicBezTo>
                  <a:pt x="1283" y="537"/>
                  <a:pt x="1282" y="535"/>
                  <a:pt x="1282" y="533"/>
                </a:cubicBezTo>
                <a:cubicBezTo>
                  <a:pt x="1283" y="532"/>
                  <a:pt x="1284" y="529"/>
                  <a:pt x="1282" y="528"/>
                </a:cubicBezTo>
                <a:cubicBezTo>
                  <a:pt x="1281" y="527"/>
                  <a:pt x="1279" y="529"/>
                  <a:pt x="1278" y="530"/>
                </a:cubicBezTo>
                <a:cubicBezTo>
                  <a:pt x="1277" y="532"/>
                  <a:pt x="1277" y="534"/>
                  <a:pt x="1276" y="536"/>
                </a:cubicBezTo>
                <a:cubicBezTo>
                  <a:pt x="1276" y="537"/>
                  <a:pt x="1275" y="539"/>
                  <a:pt x="1274" y="540"/>
                </a:cubicBezTo>
                <a:cubicBezTo>
                  <a:pt x="1273" y="541"/>
                  <a:pt x="1274" y="536"/>
                  <a:pt x="1274" y="536"/>
                </a:cubicBezTo>
                <a:cubicBezTo>
                  <a:pt x="1274" y="535"/>
                  <a:pt x="1275" y="533"/>
                  <a:pt x="1275" y="532"/>
                </a:cubicBezTo>
                <a:cubicBezTo>
                  <a:pt x="1275" y="531"/>
                  <a:pt x="1275" y="531"/>
                  <a:pt x="1275" y="530"/>
                </a:cubicBezTo>
                <a:cubicBezTo>
                  <a:pt x="1275" y="529"/>
                  <a:pt x="1276" y="528"/>
                  <a:pt x="1276" y="528"/>
                </a:cubicBezTo>
                <a:cubicBezTo>
                  <a:pt x="1276" y="526"/>
                  <a:pt x="1273" y="527"/>
                  <a:pt x="1273" y="527"/>
                </a:cubicBezTo>
                <a:cubicBezTo>
                  <a:pt x="1270" y="528"/>
                  <a:pt x="1271" y="531"/>
                  <a:pt x="1271" y="533"/>
                </a:cubicBezTo>
                <a:cubicBezTo>
                  <a:pt x="1270" y="535"/>
                  <a:pt x="1269" y="535"/>
                  <a:pt x="1266" y="534"/>
                </a:cubicBezTo>
                <a:cubicBezTo>
                  <a:pt x="1266" y="533"/>
                  <a:pt x="1261" y="532"/>
                  <a:pt x="1262" y="531"/>
                </a:cubicBezTo>
                <a:cubicBezTo>
                  <a:pt x="1263" y="530"/>
                  <a:pt x="1264" y="530"/>
                  <a:pt x="1265" y="530"/>
                </a:cubicBezTo>
                <a:cubicBezTo>
                  <a:pt x="1266" y="530"/>
                  <a:pt x="1267" y="530"/>
                  <a:pt x="1267" y="529"/>
                </a:cubicBezTo>
                <a:cubicBezTo>
                  <a:pt x="1268" y="529"/>
                  <a:pt x="1269" y="528"/>
                  <a:pt x="1269" y="528"/>
                </a:cubicBezTo>
                <a:cubicBezTo>
                  <a:pt x="1269" y="527"/>
                  <a:pt x="1267" y="527"/>
                  <a:pt x="1267" y="527"/>
                </a:cubicBezTo>
                <a:cubicBezTo>
                  <a:pt x="1266" y="527"/>
                  <a:pt x="1265" y="528"/>
                  <a:pt x="1264" y="528"/>
                </a:cubicBezTo>
                <a:cubicBezTo>
                  <a:pt x="1263" y="528"/>
                  <a:pt x="1262" y="526"/>
                  <a:pt x="1261" y="527"/>
                </a:cubicBezTo>
                <a:cubicBezTo>
                  <a:pt x="1260" y="527"/>
                  <a:pt x="1260" y="528"/>
                  <a:pt x="1259" y="527"/>
                </a:cubicBezTo>
                <a:cubicBezTo>
                  <a:pt x="1258" y="526"/>
                  <a:pt x="1258" y="525"/>
                  <a:pt x="1259" y="524"/>
                </a:cubicBezTo>
                <a:cubicBezTo>
                  <a:pt x="1260" y="522"/>
                  <a:pt x="1259" y="522"/>
                  <a:pt x="1257" y="522"/>
                </a:cubicBezTo>
                <a:cubicBezTo>
                  <a:pt x="1256" y="522"/>
                  <a:pt x="1255" y="522"/>
                  <a:pt x="1254" y="522"/>
                </a:cubicBezTo>
                <a:cubicBezTo>
                  <a:pt x="1253" y="523"/>
                  <a:pt x="1253" y="525"/>
                  <a:pt x="1252" y="525"/>
                </a:cubicBezTo>
                <a:cubicBezTo>
                  <a:pt x="1251" y="525"/>
                  <a:pt x="1248" y="525"/>
                  <a:pt x="1248" y="524"/>
                </a:cubicBezTo>
                <a:cubicBezTo>
                  <a:pt x="1248" y="523"/>
                  <a:pt x="1251" y="522"/>
                  <a:pt x="1252" y="521"/>
                </a:cubicBezTo>
                <a:cubicBezTo>
                  <a:pt x="1253" y="518"/>
                  <a:pt x="1249" y="521"/>
                  <a:pt x="1248" y="521"/>
                </a:cubicBezTo>
                <a:cubicBezTo>
                  <a:pt x="1247" y="521"/>
                  <a:pt x="1242" y="521"/>
                  <a:pt x="1243" y="519"/>
                </a:cubicBezTo>
                <a:cubicBezTo>
                  <a:pt x="1243" y="518"/>
                  <a:pt x="1245" y="518"/>
                  <a:pt x="1246" y="518"/>
                </a:cubicBezTo>
                <a:cubicBezTo>
                  <a:pt x="1246" y="517"/>
                  <a:pt x="1247" y="516"/>
                  <a:pt x="1247" y="516"/>
                </a:cubicBezTo>
                <a:cubicBezTo>
                  <a:pt x="1248" y="514"/>
                  <a:pt x="1242" y="516"/>
                  <a:pt x="1242" y="516"/>
                </a:cubicBezTo>
                <a:cubicBezTo>
                  <a:pt x="1240" y="516"/>
                  <a:pt x="1241" y="514"/>
                  <a:pt x="1240" y="513"/>
                </a:cubicBezTo>
                <a:cubicBezTo>
                  <a:pt x="1239" y="511"/>
                  <a:pt x="1236" y="512"/>
                  <a:pt x="1234" y="512"/>
                </a:cubicBezTo>
                <a:cubicBezTo>
                  <a:pt x="1232" y="512"/>
                  <a:pt x="1228" y="512"/>
                  <a:pt x="1226" y="511"/>
                </a:cubicBezTo>
                <a:cubicBezTo>
                  <a:pt x="1225" y="510"/>
                  <a:pt x="1226" y="509"/>
                  <a:pt x="1227" y="509"/>
                </a:cubicBezTo>
                <a:cubicBezTo>
                  <a:pt x="1228" y="509"/>
                  <a:pt x="1229" y="509"/>
                  <a:pt x="1230" y="509"/>
                </a:cubicBezTo>
                <a:cubicBezTo>
                  <a:pt x="1232" y="509"/>
                  <a:pt x="1233" y="509"/>
                  <a:pt x="1234" y="509"/>
                </a:cubicBezTo>
                <a:cubicBezTo>
                  <a:pt x="1235" y="509"/>
                  <a:pt x="1237" y="510"/>
                  <a:pt x="1237" y="509"/>
                </a:cubicBezTo>
                <a:cubicBezTo>
                  <a:pt x="1239" y="506"/>
                  <a:pt x="1235" y="507"/>
                  <a:pt x="1234" y="507"/>
                </a:cubicBezTo>
                <a:cubicBezTo>
                  <a:pt x="1231" y="508"/>
                  <a:pt x="1230" y="506"/>
                  <a:pt x="1227" y="506"/>
                </a:cubicBezTo>
                <a:cubicBezTo>
                  <a:pt x="1226" y="506"/>
                  <a:pt x="1225" y="505"/>
                  <a:pt x="1224" y="505"/>
                </a:cubicBezTo>
                <a:cubicBezTo>
                  <a:pt x="1223" y="504"/>
                  <a:pt x="1222" y="505"/>
                  <a:pt x="1221" y="504"/>
                </a:cubicBezTo>
                <a:cubicBezTo>
                  <a:pt x="1220" y="504"/>
                  <a:pt x="1217" y="504"/>
                  <a:pt x="1219" y="502"/>
                </a:cubicBezTo>
                <a:cubicBezTo>
                  <a:pt x="1219" y="501"/>
                  <a:pt x="1222" y="503"/>
                  <a:pt x="1223" y="503"/>
                </a:cubicBezTo>
                <a:cubicBezTo>
                  <a:pt x="1226" y="503"/>
                  <a:pt x="1229" y="504"/>
                  <a:pt x="1231" y="503"/>
                </a:cubicBezTo>
                <a:cubicBezTo>
                  <a:pt x="1232" y="503"/>
                  <a:pt x="1233" y="503"/>
                  <a:pt x="1233" y="502"/>
                </a:cubicBezTo>
                <a:cubicBezTo>
                  <a:pt x="1234" y="501"/>
                  <a:pt x="1232" y="500"/>
                  <a:pt x="1232" y="500"/>
                </a:cubicBezTo>
                <a:cubicBezTo>
                  <a:pt x="1233" y="498"/>
                  <a:pt x="1237" y="499"/>
                  <a:pt x="1238" y="498"/>
                </a:cubicBezTo>
                <a:cubicBezTo>
                  <a:pt x="1239" y="498"/>
                  <a:pt x="1244" y="498"/>
                  <a:pt x="1241" y="496"/>
                </a:cubicBezTo>
                <a:cubicBezTo>
                  <a:pt x="1240" y="496"/>
                  <a:pt x="1239" y="496"/>
                  <a:pt x="1238" y="495"/>
                </a:cubicBezTo>
                <a:cubicBezTo>
                  <a:pt x="1237" y="495"/>
                  <a:pt x="1236" y="494"/>
                  <a:pt x="1236" y="494"/>
                </a:cubicBezTo>
                <a:cubicBezTo>
                  <a:pt x="1234" y="491"/>
                  <a:pt x="1232" y="494"/>
                  <a:pt x="1231" y="495"/>
                </a:cubicBezTo>
                <a:cubicBezTo>
                  <a:pt x="1230" y="495"/>
                  <a:pt x="1227" y="496"/>
                  <a:pt x="1225" y="496"/>
                </a:cubicBezTo>
                <a:cubicBezTo>
                  <a:pt x="1224" y="496"/>
                  <a:pt x="1221" y="495"/>
                  <a:pt x="1224" y="495"/>
                </a:cubicBezTo>
                <a:cubicBezTo>
                  <a:pt x="1224" y="494"/>
                  <a:pt x="1225" y="494"/>
                  <a:pt x="1226" y="494"/>
                </a:cubicBezTo>
                <a:cubicBezTo>
                  <a:pt x="1227" y="494"/>
                  <a:pt x="1227" y="493"/>
                  <a:pt x="1227" y="492"/>
                </a:cubicBezTo>
                <a:cubicBezTo>
                  <a:pt x="1228" y="490"/>
                  <a:pt x="1233" y="493"/>
                  <a:pt x="1234" y="491"/>
                </a:cubicBezTo>
                <a:cubicBezTo>
                  <a:pt x="1235" y="490"/>
                  <a:pt x="1229" y="489"/>
                  <a:pt x="1229" y="489"/>
                </a:cubicBezTo>
                <a:cubicBezTo>
                  <a:pt x="1226" y="488"/>
                  <a:pt x="1225" y="490"/>
                  <a:pt x="1222" y="490"/>
                </a:cubicBezTo>
                <a:cubicBezTo>
                  <a:pt x="1220" y="491"/>
                  <a:pt x="1220" y="489"/>
                  <a:pt x="1221" y="488"/>
                </a:cubicBezTo>
                <a:cubicBezTo>
                  <a:pt x="1223" y="488"/>
                  <a:pt x="1225" y="487"/>
                  <a:pt x="1226" y="487"/>
                </a:cubicBezTo>
                <a:cubicBezTo>
                  <a:pt x="1228" y="486"/>
                  <a:pt x="1231" y="487"/>
                  <a:pt x="1233" y="487"/>
                </a:cubicBezTo>
                <a:cubicBezTo>
                  <a:pt x="1234" y="488"/>
                  <a:pt x="1235" y="488"/>
                  <a:pt x="1237" y="488"/>
                </a:cubicBezTo>
                <a:cubicBezTo>
                  <a:pt x="1238" y="489"/>
                  <a:pt x="1239" y="489"/>
                  <a:pt x="1240" y="490"/>
                </a:cubicBezTo>
                <a:cubicBezTo>
                  <a:pt x="1242" y="491"/>
                  <a:pt x="1243" y="493"/>
                  <a:pt x="1246" y="493"/>
                </a:cubicBezTo>
                <a:cubicBezTo>
                  <a:pt x="1247" y="494"/>
                  <a:pt x="1248" y="494"/>
                  <a:pt x="1250" y="493"/>
                </a:cubicBezTo>
                <a:cubicBezTo>
                  <a:pt x="1251" y="493"/>
                  <a:pt x="1253" y="493"/>
                  <a:pt x="1254" y="494"/>
                </a:cubicBezTo>
                <a:cubicBezTo>
                  <a:pt x="1257" y="494"/>
                  <a:pt x="1260" y="495"/>
                  <a:pt x="1262" y="493"/>
                </a:cubicBezTo>
                <a:cubicBezTo>
                  <a:pt x="1264" y="491"/>
                  <a:pt x="1262" y="489"/>
                  <a:pt x="1260" y="488"/>
                </a:cubicBezTo>
                <a:cubicBezTo>
                  <a:pt x="1257" y="487"/>
                  <a:pt x="1255" y="486"/>
                  <a:pt x="1253" y="485"/>
                </a:cubicBezTo>
                <a:cubicBezTo>
                  <a:pt x="1250" y="485"/>
                  <a:pt x="1247" y="486"/>
                  <a:pt x="1244" y="486"/>
                </a:cubicBezTo>
                <a:cubicBezTo>
                  <a:pt x="1241" y="486"/>
                  <a:pt x="1239" y="484"/>
                  <a:pt x="1236" y="484"/>
                </a:cubicBezTo>
                <a:cubicBezTo>
                  <a:pt x="1233" y="483"/>
                  <a:pt x="1232" y="481"/>
                  <a:pt x="1229" y="481"/>
                </a:cubicBezTo>
                <a:cubicBezTo>
                  <a:pt x="1228" y="481"/>
                  <a:pt x="1227" y="482"/>
                  <a:pt x="1226" y="482"/>
                </a:cubicBezTo>
                <a:cubicBezTo>
                  <a:pt x="1224" y="483"/>
                  <a:pt x="1223" y="483"/>
                  <a:pt x="1221" y="484"/>
                </a:cubicBezTo>
                <a:cubicBezTo>
                  <a:pt x="1218" y="485"/>
                  <a:pt x="1215" y="484"/>
                  <a:pt x="1212" y="484"/>
                </a:cubicBezTo>
                <a:cubicBezTo>
                  <a:pt x="1211" y="484"/>
                  <a:pt x="1209" y="484"/>
                  <a:pt x="1208" y="483"/>
                </a:cubicBezTo>
                <a:cubicBezTo>
                  <a:pt x="1208" y="483"/>
                  <a:pt x="1207" y="482"/>
                  <a:pt x="1208" y="482"/>
                </a:cubicBezTo>
                <a:cubicBezTo>
                  <a:pt x="1209" y="482"/>
                  <a:pt x="1210" y="482"/>
                  <a:pt x="1212" y="482"/>
                </a:cubicBezTo>
                <a:cubicBezTo>
                  <a:pt x="1213" y="482"/>
                  <a:pt x="1215" y="482"/>
                  <a:pt x="1217" y="482"/>
                </a:cubicBezTo>
                <a:cubicBezTo>
                  <a:pt x="1220" y="482"/>
                  <a:pt x="1222" y="481"/>
                  <a:pt x="1225" y="480"/>
                </a:cubicBezTo>
                <a:cubicBezTo>
                  <a:pt x="1228" y="478"/>
                  <a:pt x="1230" y="478"/>
                  <a:pt x="1234" y="478"/>
                </a:cubicBezTo>
                <a:cubicBezTo>
                  <a:pt x="1235" y="478"/>
                  <a:pt x="1236" y="478"/>
                  <a:pt x="1237" y="478"/>
                </a:cubicBezTo>
                <a:cubicBezTo>
                  <a:pt x="1238" y="477"/>
                  <a:pt x="1239" y="476"/>
                  <a:pt x="1240" y="476"/>
                </a:cubicBezTo>
                <a:cubicBezTo>
                  <a:pt x="1241" y="475"/>
                  <a:pt x="1242" y="475"/>
                  <a:pt x="1243" y="475"/>
                </a:cubicBezTo>
                <a:cubicBezTo>
                  <a:pt x="1245" y="474"/>
                  <a:pt x="1246" y="475"/>
                  <a:pt x="1247" y="475"/>
                </a:cubicBezTo>
                <a:cubicBezTo>
                  <a:pt x="1249" y="475"/>
                  <a:pt x="1250" y="475"/>
                  <a:pt x="1251" y="475"/>
                </a:cubicBezTo>
                <a:cubicBezTo>
                  <a:pt x="1252" y="476"/>
                  <a:pt x="1253" y="476"/>
                  <a:pt x="1254" y="476"/>
                </a:cubicBezTo>
                <a:cubicBezTo>
                  <a:pt x="1256" y="475"/>
                  <a:pt x="1254" y="472"/>
                  <a:pt x="1253" y="470"/>
                </a:cubicBezTo>
                <a:cubicBezTo>
                  <a:pt x="1252" y="468"/>
                  <a:pt x="1250" y="467"/>
                  <a:pt x="1248" y="465"/>
                </a:cubicBezTo>
                <a:cubicBezTo>
                  <a:pt x="1247" y="464"/>
                  <a:pt x="1246" y="463"/>
                  <a:pt x="1245" y="463"/>
                </a:cubicBezTo>
                <a:cubicBezTo>
                  <a:pt x="1244" y="462"/>
                  <a:pt x="1243" y="461"/>
                  <a:pt x="1242" y="460"/>
                </a:cubicBezTo>
                <a:cubicBezTo>
                  <a:pt x="1241" y="459"/>
                  <a:pt x="1241" y="459"/>
                  <a:pt x="1240" y="459"/>
                </a:cubicBezTo>
                <a:cubicBezTo>
                  <a:pt x="1239" y="460"/>
                  <a:pt x="1239" y="461"/>
                  <a:pt x="1239" y="462"/>
                </a:cubicBezTo>
                <a:cubicBezTo>
                  <a:pt x="1238" y="465"/>
                  <a:pt x="1235" y="466"/>
                  <a:pt x="1232" y="467"/>
                </a:cubicBezTo>
                <a:cubicBezTo>
                  <a:pt x="1230" y="468"/>
                  <a:pt x="1227" y="469"/>
                  <a:pt x="1225" y="471"/>
                </a:cubicBezTo>
                <a:cubicBezTo>
                  <a:pt x="1222" y="472"/>
                  <a:pt x="1220" y="474"/>
                  <a:pt x="1217" y="475"/>
                </a:cubicBezTo>
                <a:cubicBezTo>
                  <a:pt x="1215" y="476"/>
                  <a:pt x="1212" y="476"/>
                  <a:pt x="1210" y="475"/>
                </a:cubicBezTo>
                <a:cubicBezTo>
                  <a:pt x="1209" y="475"/>
                  <a:pt x="1210" y="474"/>
                  <a:pt x="1210" y="474"/>
                </a:cubicBezTo>
                <a:cubicBezTo>
                  <a:pt x="1211" y="473"/>
                  <a:pt x="1213" y="473"/>
                  <a:pt x="1214" y="473"/>
                </a:cubicBezTo>
                <a:cubicBezTo>
                  <a:pt x="1216" y="473"/>
                  <a:pt x="1218" y="472"/>
                  <a:pt x="1220" y="470"/>
                </a:cubicBezTo>
                <a:cubicBezTo>
                  <a:pt x="1221" y="470"/>
                  <a:pt x="1222" y="469"/>
                  <a:pt x="1223" y="469"/>
                </a:cubicBezTo>
                <a:cubicBezTo>
                  <a:pt x="1224" y="468"/>
                  <a:pt x="1225" y="467"/>
                  <a:pt x="1226" y="466"/>
                </a:cubicBezTo>
                <a:cubicBezTo>
                  <a:pt x="1228" y="465"/>
                  <a:pt x="1227" y="463"/>
                  <a:pt x="1225" y="463"/>
                </a:cubicBezTo>
                <a:cubicBezTo>
                  <a:pt x="1222" y="463"/>
                  <a:pt x="1220" y="464"/>
                  <a:pt x="1217" y="464"/>
                </a:cubicBezTo>
                <a:cubicBezTo>
                  <a:pt x="1215" y="464"/>
                  <a:pt x="1213" y="465"/>
                  <a:pt x="1212" y="468"/>
                </a:cubicBezTo>
                <a:cubicBezTo>
                  <a:pt x="1212" y="470"/>
                  <a:pt x="1209" y="471"/>
                  <a:pt x="1207" y="472"/>
                </a:cubicBezTo>
                <a:cubicBezTo>
                  <a:pt x="1206" y="472"/>
                  <a:pt x="1199" y="475"/>
                  <a:pt x="1199" y="474"/>
                </a:cubicBezTo>
                <a:cubicBezTo>
                  <a:pt x="1198" y="473"/>
                  <a:pt x="1201" y="471"/>
                  <a:pt x="1202" y="470"/>
                </a:cubicBezTo>
                <a:cubicBezTo>
                  <a:pt x="1204" y="469"/>
                  <a:pt x="1204" y="466"/>
                  <a:pt x="1205" y="465"/>
                </a:cubicBezTo>
                <a:cubicBezTo>
                  <a:pt x="1208" y="464"/>
                  <a:pt x="1210" y="462"/>
                  <a:pt x="1213" y="461"/>
                </a:cubicBezTo>
                <a:cubicBezTo>
                  <a:pt x="1215" y="460"/>
                  <a:pt x="1218" y="459"/>
                  <a:pt x="1220" y="459"/>
                </a:cubicBezTo>
                <a:cubicBezTo>
                  <a:pt x="1224" y="459"/>
                  <a:pt x="1227" y="458"/>
                  <a:pt x="1230" y="457"/>
                </a:cubicBezTo>
                <a:cubicBezTo>
                  <a:pt x="1232" y="457"/>
                  <a:pt x="1234" y="455"/>
                  <a:pt x="1235" y="453"/>
                </a:cubicBezTo>
                <a:cubicBezTo>
                  <a:pt x="1235" y="452"/>
                  <a:pt x="1235" y="451"/>
                  <a:pt x="1234" y="451"/>
                </a:cubicBezTo>
                <a:cubicBezTo>
                  <a:pt x="1232" y="451"/>
                  <a:pt x="1231" y="450"/>
                  <a:pt x="1229" y="450"/>
                </a:cubicBezTo>
                <a:cubicBezTo>
                  <a:pt x="1224" y="448"/>
                  <a:pt x="1219" y="443"/>
                  <a:pt x="1214" y="446"/>
                </a:cubicBezTo>
                <a:cubicBezTo>
                  <a:pt x="1213" y="446"/>
                  <a:pt x="1212" y="447"/>
                  <a:pt x="1211" y="448"/>
                </a:cubicBezTo>
                <a:cubicBezTo>
                  <a:pt x="1210" y="448"/>
                  <a:pt x="1208" y="449"/>
                  <a:pt x="1208" y="449"/>
                </a:cubicBezTo>
                <a:cubicBezTo>
                  <a:pt x="1206" y="451"/>
                  <a:pt x="1203" y="449"/>
                  <a:pt x="1202" y="452"/>
                </a:cubicBezTo>
                <a:cubicBezTo>
                  <a:pt x="1202" y="452"/>
                  <a:pt x="1203" y="454"/>
                  <a:pt x="1201" y="454"/>
                </a:cubicBezTo>
                <a:cubicBezTo>
                  <a:pt x="1200" y="453"/>
                  <a:pt x="1200" y="452"/>
                  <a:pt x="1199" y="451"/>
                </a:cubicBezTo>
                <a:cubicBezTo>
                  <a:pt x="1199" y="451"/>
                  <a:pt x="1198" y="450"/>
                  <a:pt x="1198" y="449"/>
                </a:cubicBezTo>
                <a:cubicBezTo>
                  <a:pt x="1199" y="448"/>
                  <a:pt x="1200" y="448"/>
                  <a:pt x="1201" y="448"/>
                </a:cubicBezTo>
                <a:cubicBezTo>
                  <a:pt x="1201" y="448"/>
                  <a:pt x="1202" y="448"/>
                  <a:pt x="1203" y="448"/>
                </a:cubicBezTo>
                <a:cubicBezTo>
                  <a:pt x="1204" y="448"/>
                  <a:pt x="1204" y="447"/>
                  <a:pt x="1204" y="446"/>
                </a:cubicBezTo>
                <a:cubicBezTo>
                  <a:pt x="1206" y="444"/>
                  <a:pt x="1208" y="445"/>
                  <a:pt x="1210" y="444"/>
                </a:cubicBezTo>
                <a:cubicBezTo>
                  <a:pt x="1211" y="443"/>
                  <a:pt x="1210" y="442"/>
                  <a:pt x="1209" y="442"/>
                </a:cubicBezTo>
                <a:cubicBezTo>
                  <a:pt x="1208" y="442"/>
                  <a:pt x="1208" y="442"/>
                  <a:pt x="1207" y="443"/>
                </a:cubicBezTo>
                <a:cubicBezTo>
                  <a:pt x="1206" y="443"/>
                  <a:pt x="1205" y="444"/>
                  <a:pt x="1204" y="444"/>
                </a:cubicBezTo>
                <a:cubicBezTo>
                  <a:pt x="1203" y="445"/>
                  <a:pt x="1201" y="445"/>
                  <a:pt x="1200" y="445"/>
                </a:cubicBezTo>
                <a:cubicBezTo>
                  <a:pt x="1199" y="446"/>
                  <a:pt x="1198" y="447"/>
                  <a:pt x="1197" y="447"/>
                </a:cubicBezTo>
                <a:cubicBezTo>
                  <a:pt x="1196" y="448"/>
                  <a:pt x="1195" y="448"/>
                  <a:pt x="1194" y="448"/>
                </a:cubicBezTo>
                <a:cubicBezTo>
                  <a:pt x="1193" y="449"/>
                  <a:pt x="1192" y="449"/>
                  <a:pt x="1191" y="450"/>
                </a:cubicBezTo>
                <a:cubicBezTo>
                  <a:pt x="1190" y="451"/>
                  <a:pt x="1190" y="452"/>
                  <a:pt x="1190" y="454"/>
                </a:cubicBezTo>
                <a:cubicBezTo>
                  <a:pt x="1189" y="456"/>
                  <a:pt x="1188" y="459"/>
                  <a:pt x="1187" y="461"/>
                </a:cubicBezTo>
                <a:cubicBezTo>
                  <a:pt x="1187" y="461"/>
                  <a:pt x="1185" y="466"/>
                  <a:pt x="1184" y="464"/>
                </a:cubicBezTo>
                <a:cubicBezTo>
                  <a:pt x="1184" y="462"/>
                  <a:pt x="1184" y="461"/>
                  <a:pt x="1185" y="459"/>
                </a:cubicBezTo>
                <a:cubicBezTo>
                  <a:pt x="1185" y="457"/>
                  <a:pt x="1187" y="454"/>
                  <a:pt x="1185" y="452"/>
                </a:cubicBezTo>
                <a:cubicBezTo>
                  <a:pt x="1183" y="451"/>
                  <a:pt x="1181" y="452"/>
                  <a:pt x="1180" y="453"/>
                </a:cubicBezTo>
                <a:cubicBezTo>
                  <a:pt x="1179" y="454"/>
                  <a:pt x="1177" y="456"/>
                  <a:pt x="1176" y="457"/>
                </a:cubicBezTo>
                <a:cubicBezTo>
                  <a:pt x="1175" y="457"/>
                  <a:pt x="1172" y="457"/>
                  <a:pt x="1173" y="456"/>
                </a:cubicBezTo>
                <a:cubicBezTo>
                  <a:pt x="1173" y="455"/>
                  <a:pt x="1174" y="454"/>
                  <a:pt x="1175" y="453"/>
                </a:cubicBezTo>
                <a:cubicBezTo>
                  <a:pt x="1176" y="452"/>
                  <a:pt x="1177" y="451"/>
                  <a:pt x="1178" y="450"/>
                </a:cubicBezTo>
                <a:cubicBezTo>
                  <a:pt x="1179" y="450"/>
                  <a:pt x="1180" y="449"/>
                  <a:pt x="1181" y="449"/>
                </a:cubicBezTo>
                <a:cubicBezTo>
                  <a:pt x="1183" y="449"/>
                  <a:pt x="1184" y="449"/>
                  <a:pt x="1185" y="449"/>
                </a:cubicBezTo>
                <a:cubicBezTo>
                  <a:pt x="1187" y="450"/>
                  <a:pt x="1189" y="447"/>
                  <a:pt x="1191" y="446"/>
                </a:cubicBezTo>
                <a:cubicBezTo>
                  <a:pt x="1193" y="444"/>
                  <a:pt x="1195" y="443"/>
                  <a:pt x="1196" y="441"/>
                </a:cubicBezTo>
                <a:cubicBezTo>
                  <a:pt x="1197" y="439"/>
                  <a:pt x="1196" y="437"/>
                  <a:pt x="1194" y="436"/>
                </a:cubicBezTo>
                <a:cubicBezTo>
                  <a:pt x="1192" y="435"/>
                  <a:pt x="1190" y="436"/>
                  <a:pt x="1188" y="437"/>
                </a:cubicBezTo>
                <a:cubicBezTo>
                  <a:pt x="1188" y="438"/>
                  <a:pt x="1187" y="439"/>
                  <a:pt x="1187" y="440"/>
                </a:cubicBezTo>
                <a:cubicBezTo>
                  <a:pt x="1187" y="441"/>
                  <a:pt x="1187" y="442"/>
                  <a:pt x="1186" y="443"/>
                </a:cubicBezTo>
                <a:cubicBezTo>
                  <a:pt x="1185" y="443"/>
                  <a:pt x="1185" y="443"/>
                  <a:pt x="1184" y="442"/>
                </a:cubicBezTo>
                <a:cubicBezTo>
                  <a:pt x="1183" y="442"/>
                  <a:pt x="1181" y="442"/>
                  <a:pt x="1180" y="443"/>
                </a:cubicBezTo>
                <a:cubicBezTo>
                  <a:pt x="1177" y="443"/>
                  <a:pt x="1174" y="444"/>
                  <a:pt x="1171" y="445"/>
                </a:cubicBezTo>
                <a:cubicBezTo>
                  <a:pt x="1169" y="446"/>
                  <a:pt x="1168" y="448"/>
                  <a:pt x="1166" y="449"/>
                </a:cubicBezTo>
                <a:cubicBezTo>
                  <a:pt x="1166" y="450"/>
                  <a:pt x="1165" y="450"/>
                  <a:pt x="1164" y="450"/>
                </a:cubicBezTo>
                <a:cubicBezTo>
                  <a:pt x="1163" y="450"/>
                  <a:pt x="1161" y="450"/>
                  <a:pt x="1162" y="449"/>
                </a:cubicBezTo>
                <a:cubicBezTo>
                  <a:pt x="1163" y="447"/>
                  <a:pt x="1166" y="447"/>
                  <a:pt x="1167" y="445"/>
                </a:cubicBezTo>
                <a:cubicBezTo>
                  <a:pt x="1167" y="445"/>
                  <a:pt x="1168" y="444"/>
                  <a:pt x="1168" y="443"/>
                </a:cubicBezTo>
                <a:cubicBezTo>
                  <a:pt x="1167" y="443"/>
                  <a:pt x="1165" y="444"/>
                  <a:pt x="1164" y="444"/>
                </a:cubicBezTo>
                <a:cubicBezTo>
                  <a:pt x="1162" y="445"/>
                  <a:pt x="1159" y="445"/>
                  <a:pt x="1159" y="443"/>
                </a:cubicBezTo>
                <a:cubicBezTo>
                  <a:pt x="1159" y="441"/>
                  <a:pt x="1162" y="442"/>
                  <a:pt x="1163" y="442"/>
                </a:cubicBezTo>
                <a:cubicBezTo>
                  <a:pt x="1165" y="441"/>
                  <a:pt x="1168" y="440"/>
                  <a:pt x="1170" y="438"/>
                </a:cubicBezTo>
                <a:cubicBezTo>
                  <a:pt x="1172" y="437"/>
                  <a:pt x="1172" y="434"/>
                  <a:pt x="1175" y="434"/>
                </a:cubicBezTo>
                <a:cubicBezTo>
                  <a:pt x="1176" y="433"/>
                  <a:pt x="1177" y="433"/>
                  <a:pt x="1178" y="434"/>
                </a:cubicBezTo>
                <a:cubicBezTo>
                  <a:pt x="1179" y="434"/>
                  <a:pt x="1180" y="435"/>
                  <a:pt x="1181" y="435"/>
                </a:cubicBezTo>
                <a:cubicBezTo>
                  <a:pt x="1182" y="435"/>
                  <a:pt x="1183" y="434"/>
                  <a:pt x="1184" y="433"/>
                </a:cubicBezTo>
                <a:cubicBezTo>
                  <a:pt x="1184" y="432"/>
                  <a:pt x="1185" y="431"/>
                  <a:pt x="1186" y="430"/>
                </a:cubicBezTo>
                <a:cubicBezTo>
                  <a:pt x="1187" y="429"/>
                  <a:pt x="1185" y="427"/>
                  <a:pt x="1184" y="426"/>
                </a:cubicBezTo>
                <a:cubicBezTo>
                  <a:pt x="1183" y="425"/>
                  <a:pt x="1182" y="425"/>
                  <a:pt x="1181" y="424"/>
                </a:cubicBezTo>
                <a:cubicBezTo>
                  <a:pt x="1180" y="424"/>
                  <a:pt x="1179" y="423"/>
                  <a:pt x="1177" y="422"/>
                </a:cubicBezTo>
                <a:cubicBezTo>
                  <a:pt x="1174" y="421"/>
                  <a:pt x="1171" y="421"/>
                  <a:pt x="1169" y="420"/>
                </a:cubicBezTo>
                <a:cubicBezTo>
                  <a:pt x="1166" y="419"/>
                  <a:pt x="1165" y="417"/>
                  <a:pt x="1163" y="419"/>
                </a:cubicBezTo>
                <a:cubicBezTo>
                  <a:pt x="1162" y="420"/>
                  <a:pt x="1161" y="420"/>
                  <a:pt x="1161" y="422"/>
                </a:cubicBezTo>
                <a:cubicBezTo>
                  <a:pt x="1160" y="423"/>
                  <a:pt x="1161" y="424"/>
                  <a:pt x="1160" y="425"/>
                </a:cubicBezTo>
                <a:cubicBezTo>
                  <a:pt x="1160" y="426"/>
                  <a:pt x="1159" y="426"/>
                  <a:pt x="1158" y="426"/>
                </a:cubicBezTo>
                <a:cubicBezTo>
                  <a:pt x="1157" y="426"/>
                  <a:pt x="1156" y="427"/>
                  <a:pt x="1156" y="428"/>
                </a:cubicBezTo>
                <a:cubicBezTo>
                  <a:pt x="1155" y="429"/>
                  <a:pt x="1155" y="432"/>
                  <a:pt x="1154" y="433"/>
                </a:cubicBezTo>
                <a:cubicBezTo>
                  <a:pt x="1152" y="434"/>
                  <a:pt x="1151" y="436"/>
                  <a:pt x="1150" y="437"/>
                </a:cubicBezTo>
                <a:cubicBezTo>
                  <a:pt x="1147" y="439"/>
                  <a:pt x="1148" y="436"/>
                  <a:pt x="1149" y="435"/>
                </a:cubicBezTo>
                <a:cubicBezTo>
                  <a:pt x="1150" y="433"/>
                  <a:pt x="1153" y="432"/>
                  <a:pt x="1153" y="430"/>
                </a:cubicBezTo>
                <a:cubicBezTo>
                  <a:pt x="1153" y="427"/>
                  <a:pt x="1149" y="428"/>
                  <a:pt x="1148" y="429"/>
                </a:cubicBezTo>
                <a:cubicBezTo>
                  <a:pt x="1146" y="430"/>
                  <a:pt x="1146" y="433"/>
                  <a:pt x="1144" y="435"/>
                </a:cubicBezTo>
                <a:cubicBezTo>
                  <a:pt x="1143" y="436"/>
                  <a:pt x="1140" y="438"/>
                  <a:pt x="1140" y="435"/>
                </a:cubicBezTo>
                <a:cubicBezTo>
                  <a:pt x="1140" y="433"/>
                  <a:pt x="1143" y="432"/>
                  <a:pt x="1144" y="430"/>
                </a:cubicBezTo>
                <a:cubicBezTo>
                  <a:pt x="1145" y="429"/>
                  <a:pt x="1145" y="428"/>
                  <a:pt x="1146" y="427"/>
                </a:cubicBezTo>
                <a:cubicBezTo>
                  <a:pt x="1146" y="427"/>
                  <a:pt x="1147" y="426"/>
                  <a:pt x="1147" y="426"/>
                </a:cubicBezTo>
                <a:cubicBezTo>
                  <a:pt x="1147" y="425"/>
                  <a:pt x="1146" y="425"/>
                  <a:pt x="1145" y="424"/>
                </a:cubicBezTo>
                <a:cubicBezTo>
                  <a:pt x="1144" y="424"/>
                  <a:pt x="1145" y="423"/>
                  <a:pt x="1145" y="422"/>
                </a:cubicBezTo>
                <a:cubicBezTo>
                  <a:pt x="1145" y="421"/>
                  <a:pt x="1144" y="421"/>
                  <a:pt x="1143" y="421"/>
                </a:cubicBezTo>
                <a:cubicBezTo>
                  <a:pt x="1143" y="421"/>
                  <a:pt x="1142" y="422"/>
                  <a:pt x="1142" y="423"/>
                </a:cubicBezTo>
                <a:cubicBezTo>
                  <a:pt x="1142" y="424"/>
                  <a:pt x="1141" y="424"/>
                  <a:pt x="1140" y="425"/>
                </a:cubicBezTo>
                <a:cubicBezTo>
                  <a:pt x="1139" y="426"/>
                  <a:pt x="1138" y="428"/>
                  <a:pt x="1138" y="429"/>
                </a:cubicBezTo>
                <a:cubicBezTo>
                  <a:pt x="1137" y="430"/>
                  <a:pt x="1137" y="431"/>
                  <a:pt x="1136" y="432"/>
                </a:cubicBezTo>
                <a:cubicBezTo>
                  <a:pt x="1135" y="432"/>
                  <a:pt x="1134" y="432"/>
                  <a:pt x="1134" y="431"/>
                </a:cubicBezTo>
                <a:cubicBezTo>
                  <a:pt x="1134" y="429"/>
                  <a:pt x="1137" y="427"/>
                  <a:pt x="1135" y="426"/>
                </a:cubicBezTo>
                <a:cubicBezTo>
                  <a:pt x="1135" y="425"/>
                  <a:pt x="1134" y="425"/>
                  <a:pt x="1133" y="424"/>
                </a:cubicBezTo>
                <a:cubicBezTo>
                  <a:pt x="1133" y="423"/>
                  <a:pt x="1135" y="423"/>
                  <a:pt x="1135" y="423"/>
                </a:cubicBezTo>
                <a:cubicBezTo>
                  <a:pt x="1138" y="422"/>
                  <a:pt x="1139" y="420"/>
                  <a:pt x="1140" y="418"/>
                </a:cubicBezTo>
                <a:cubicBezTo>
                  <a:pt x="1141" y="417"/>
                  <a:pt x="1142" y="416"/>
                  <a:pt x="1143" y="416"/>
                </a:cubicBezTo>
                <a:cubicBezTo>
                  <a:pt x="1143" y="416"/>
                  <a:pt x="1144" y="415"/>
                  <a:pt x="1144" y="415"/>
                </a:cubicBezTo>
                <a:cubicBezTo>
                  <a:pt x="1145" y="414"/>
                  <a:pt x="1142" y="414"/>
                  <a:pt x="1142" y="414"/>
                </a:cubicBezTo>
                <a:cubicBezTo>
                  <a:pt x="1141" y="414"/>
                  <a:pt x="1139" y="415"/>
                  <a:pt x="1138" y="416"/>
                </a:cubicBezTo>
                <a:cubicBezTo>
                  <a:pt x="1137" y="417"/>
                  <a:pt x="1138" y="419"/>
                  <a:pt x="1136" y="420"/>
                </a:cubicBezTo>
                <a:cubicBezTo>
                  <a:pt x="1133" y="421"/>
                  <a:pt x="1135" y="418"/>
                  <a:pt x="1136" y="417"/>
                </a:cubicBezTo>
                <a:cubicBezTo>
                  <a:pt x="1136" y="415"/>
                  <a:pt x="1133" y="417"/>
                  <a:pt x="1132" y="417"/>
                </a:cubicBezTo>
                <a:cubicBezTo>
                  <a:pt x="1131" y="419"/>
                  <a:pt x="1128" y="417"/>
                  <a:pt x="1127" y="420"/>
                </a:cubicBezTo>
                <a:cubicBezTo>
                  <a:pt x="1126" y="422"/>
                  <a:pt x="1128" y="423"/>
                  <a:pt x="1129" y="424"/>
                </a:cubicBezTo>
                <a:cubicBezTo>
                  <a:pt x="1129" y="425"/>
                  <a:pt x="1128" y="426"/>
                  <a:pt x="1127" y="427"/>
                </a:cubicBezTo>
                <a:cubicBezTo>
                  <a:pt x="1126" y="428"/>
                  <a:pt x="1125" y="428"/>
                  <a:pt x="1125" y="430"/>
                </a:cubicBezTo>
                <a:cubicBezTo>
                  <a:pt x="1124" y="430"/>
                  <a:pt x="1123" y="432"/>
                  <a:pt x="1122" y="432"/>
                </a:cubicBezTo>
                <a:cubicBezTo>
                  <a:pt x="1121" y="432"/>
                  <a:pt x="1120" y="432"/>
                  <a:pt x="1120" y="431"/>
                </a:cubicBezTo>
                <a:cubicBezTo>
                  <a:pt x="1120" y="429"/>
                  <a:pt x="1123" y="428"/>
                  <a:pt x="1124" y="427"/>
                </a:cubicBezTo>
                <a:cubicBezTo>
                  <a:pt x="1126" y="425"/>
                  <a:pt x="1123" y="424"/>
                  <a:pt x="1122" y="423"/>
                </a:cubicBezTo>
                <a:cubicBezTo>
                  <a:pt x="1120" y="422"/>
                  <a:pt x="1123" y="421"/>
                  <a:pt x="1124" y="420"/>
                </a:cubicBezTo>
                <a:cubicBezTo>
                  <a:pt x="1126" y="419"/>
                  <a:pt x="1123" y="418"/>
                  <a:pt x="1122" y="419"/>
                </a:cubicBezTo>
                <a:cubicBezTo>
                  <a:pt x="1121" y="420"/>
                  <a:pt x="1120" y="420"/>
                  <a:pt x="1118" y="421"/>
                </a:cubicBezTo>
                <a:cubicBezTo>
                  <a:pt x="1118" y="421"/>
                  <a:pt x="1117" y="422"/>
                  <a:pt x="1116" y="422"/>
                </a:cubicBezTo>
                <a:cubicBezTo>
                  <a:pt x="1115" y="422"/>
                  <a:pt x="1115" y="421"/>
                  <a:pt x="1115" y="420"/>
                </a:cubicBezTo>
                <a:cubicBezTo>
                  <a:pt x="1116" y="420"/>
                  <a:pt x="1117" y="420"/>
                  <a:pt x="1117" y="420"/>
                </a:cubicBezTo>
                <a:cubicBezTo>
                  <a:pt x="1118" y="419"/>
                  <a:pt x="1119" y="419"/>
                  <a:pt x="1119" y="418"/>
                </a:cubicBezTo>
                <a:cubicBezTo>
                  <a:pt x="1119" y="417"/>
                  <a:pt x="1118" y="417"/>
                  <a:pt x="1117" y="417"/>
                </a:cubicBezTo>
                <a:cubicBezTo>
                  <a:pt x="1116" y="416"/>
                  <a:pt x="1117" y="415"/>
                  <a:pt x="1117" y="415"/>
                </a:cubicBezTo>
                <a:cubicBezTo>
                  <a:pt x="1118" y="414"/>
                  <a:pt x="1119" y="414"/>
                  <a:pt x="1120" y="414"/>
                </a:cubicBezTo>
                <a:cubicBezTo>
                  <a:pt x="1121" y="414"/>
                  <a:pt x="1123" y="414"/>
                  <a:pt x="1123" y="413"/>
                </a:cubicBezTo>
                <a:cubicBezTo>
                  <a:pt x="1124" y="412"/>
                  <a:pt x="1125" y="412"/>
                  <a:pt x="1126" y="413"/>
                </a:cubicBezTo>
                <a:cubicBezTo>
                  <a:pt x="1127" y="413"/>
                  <a:pt x="1129" y="413"/>
                  <a:pt x="1130" y="413"/>
                </a:cubicBezTo>
                <a:cubicBezTo>
                  <a:pt x="1131" y="412"/>
                  <a:pt x="1132" y="411"/>
                  <a:pt x="1133" y="411"/>
                </a:cubicBezTo>
                <a:cubicBezTo>
                  <a:pt x="1134" y="411"/>
                  <a:pt x="1135" y="411"/>
                  <a:pt x="1136" y="410"/>
                </a:cubicBezTo>
                <a:cubicBezTo>
                  <a:pt x="1137" y="409"/>
                  <a:pt x="1136" y="407"/>
                  <a:pt x="1136" y="407"/>
                </a:cubicBezTo>
                <a:cubicBezTo>
                  <a:pt x="1135" y="404"/>
                  <a:pt x="1133" y="404"/>
                  <a:pt x="1131" y="403"/>
                </a:cubicBezTo>
                <a:cubicBezTo>
                  <a:pt x="1128" y="403"/>
                  <a:pt x="1125" y="403"/>
                  <a:pt x="1122" y="403"/>
                </a:cubicBezTo>
                <a:cubicBezTo>
                  <a:pt x="1119" y="403"/>
                  <a:pt x="1119" y="406"/>
                  <a:pt x="1117" y="406"/>
                </a:cubicBezTo>
                <a:cubicBezTo>
                  <a:pt x="1116" y="407"/>
                  <a:pt x="1115" y="406"/>
                  <a:pt x="1114" y="406"/>
                </a:cubicBezTo>
                <a:cubicBezTo>
                  <a:pt x="1113" y="407"/>
                  <a:pt x="1113" y="408"/>
                  <a:pt x="1112" y="409"/>
                </a:cubicBezTo>
                <a:cubicBezTo>
                  <a:pt x="1111" y="411"/>
                  <a:pt x="1111" y="414"/>
                  <a:pt x="1109" y="415"/>
                </a:cubicBezTo>
                <a:cubicBezTo>
                  <a:pt x="1108" y="415"/>
                  <a:pt x="1107" y="416"/>
                  <a:pt x="1106" y="416"/>
                </a:cubicBezTo>
                <a:cubicBezTo>
                  <a:pt x="1106" y="416"/>
                  <a:pt x="1102" y="416"/>
                  <a:pt x="1102" y="415"/>
                </a:cubicBezTo>
                <a:cubicBezTo>
                  <a:pt x="1103" y="415"/>
                  <a:pt x="1105" y="415"/>
                  <a:pt x="1106" y="414"/>
                </a:cubicBezTo>
                <a:cubicBezTo>
                  <a:pt x="1108" y="413"/>
                  <a:pt x="1108" y="411"/>
                  <a:pt x="1109" y="409"/>
                </a:cubicBezTo>
                <a:cubicBezTo>
                  <a:pt x="1109" y="407"/>
                  <a:pt x="1111" y="405"/>
                  <a:pt x="1113" y="404"/>
                </a:cubicBezTo>
                <a:cubicBezTo>
                  <a:pt x="1114" y="404"/>
                  <a:pt x="1116" y="404"/>
                  <a:pt x="1115" y="403"/>
                </a:cubicBezTo>
                <a:cubicBezTo>
                  <a:pt x="1114" y="402"/>
                  <a:pt x="1112" y="403"/>
                  <a:pt x="1111" y="403"/>
                </a:cubicBezTo>
                <a:cubicBezTo>
                  <a:pt x="1110" y="404"/>
                  <a:pt x="1108" y="404"/>
                  <a:pt x="1107" y="404"/>
                </a:cubicBezTo>
                <a:cubicBezTo>
                  <a:pt x="1106" y="405"/>
                  <a:pt x="1105" y="406"/>
                  <a:pt x="1104" y="407"/>
                </a:cubicBezTo>
                <a:cubicBezTo>
                  <a:pt x="1103" y="408"/>
                  <a:pt x="1102" y="411"/>
                  <a:pt x="1100" y="412"/>
                </a:cubicBezTo>
                <a:cubicBezTo>
                  <a:pt x="1099" y="412"/>
                  <a:pt x="1097" y="412"/>
                  <a:pt x="1098" y="411"/>
                </a:cubicBezTo>
                <a:cubicBezTo>
                  <a:pt x="1098" y="410"/>
                  <a:pt x="1099" y="409"/>
                  <a:pt x="1099" y="409"/>
                </a:cubicBezTo>
                <a:cubicBezTo>
                  <a:pt x="1101" y="407"/>
                  <a:pt x="1102" y="404"/>
                  <a:pt x="1104" y="403"/>
                </a:cubicBezTo>
                <a:cubicBezTo>
                  <a:pt x="1106" y="401"/>
                  <a:pt x="1109" y="401"/>
                  <a:pt x="1111" y="401"/>
                </a:cubicBezTo>
                <a:cubicBezTo>
                  <a:pt x="1114" y="401"/>
                  <a:pt x="1118" y="401"/>
                  <a:pt x="1119" y="399"/>
                </a:cubicBezTo>
                <a:cubicBezTo>
                  <a:pt x="1120" y="398"/>
                  <a:pt x="1121" y="395"/>
                  <a:pt x="1120" y="394"/>
                </a:cubicBezTo>
                <a:cubicBezTo>
                  <a:pt x="1119" y="392"/>
                  <a:pt x="1117" y="391"/>
                  <a:pt x="1115" y="391"/>
                </a:cubicBezTo>
                <a:cubicBezTo>
                  <a:pt x="1113" y="390"/>
                  <a:pt x="1110" y="388"/>
                  <a:pt x="1108" y="388"/>
                </a:cubicBezTo>
                <a:cubicBezTo>
                  <a:pt x="1106" y="388"/>
                  <a:pt x="1103" y="391"/>
                  <a:pt x="1101" y="389"/>
                </a:cubicBezTo>
                <a:cubicBezTo>
                  <a:pt x="1099" y="387"/>
                  <a:pt x="1097" y="387"/>
                  <a:pt x="1095" y="387"/>
                </a:cubicBezTo>
                <a:cubicBezTo>
                  <a:pt x="1094" y="387"/>
                  <a:pt x="1093" y="386"/>
                  <a:pt x="1093" y="385"/>
                </a:cubicBezTo>
                <a:cubicBezTo>
                  <a:pt x="1092" y="384"/>
                  <a:pt x="1090" y="383"/>
                  <a:pt x="1089" y="383"/>
                </a:cubicBezTo>
                <a:cubicBezTo>
                  <a:pt x="1087" y="382"/>
                  <a:pt x="1084" y="383"/>
                  <a:pt x="1082" y="383"/>
                </a:cubicBezTo>
                <a:cubicBezTo>
                  <a:pt x="1079" y="383"/>
                  <a:pt x="1076" y="383"/>
                  <a:pt x="1073" y="384"/>
                </a:cubicBezTo>
                <a:cubicBezTo>
                  <a:pt x="1070" y="385"/>
                  <a:pt x="1060" y="388"/>
                  <a:pt x="1063" y="392"/>
                </a:cubicBezTo>
                <a:cubicBezTo>
                  <a:pt x="1064" y="394"/>
                  <a:pt x="1067" y="395"/>
                  <a:pt x="1070" y="396"/>
                </a:cubicBezTo>
                <a:cubicBezTo>
                  <a:pt x="1072" y="396"/>
                  <a:pt x="1075" y="398"/>
                  <a:pt x="1077" y="398"/>
                </a:cubicBezTo>
                <a:cubicBezTo>
                  <a:pt x="1080" y="399"/>
                  <a:pt x="1083" y="399"/>
                  <a:pt x="1085" y="401"/>
                </a:cubicBezTo>
                <a:cubicBezTo>
                  <a:pt x="1086" y="401"/>
                  <a:pt x="1088" y="402"/>
                  <a:pt x="1086" y="402"/>
                </a:cubicBezTo>
                <a:cubicBezTo>
                  <a:pt x="1085" y="403"/>
                  <a:pt x="1084" y="402"/>
                  <a:pt x="1083" y="401"/>
                </a:cubicBezTo>
                <a:cubicBezTo>
                  <a:pt x="1082" y="401"/>
                  <a:pt x="1081" y="400"/>
                  <a:pt x="1080" y="401"/>
                </a:cubicBezTo>
                <a:cubicBezTo>
                  <a:pt x="1078" y="402"/>
                  <a:pt x="1079" y="403"/>
                  <a:pt x="1078" y="404"/>
                </a:cubicBezTo>
                <a:cubicBezTo>
                  <a:pt x="1077" y="406"/>
                  <a:pt x="1076" y="401"/>
                  <a:pt x="1075" y="400"/>
                </a:cubicBezTo>
                <a:cubicBezTo>
                  <a:pt x="1074" y="398"/>
                  <a:pt x="1071" y="399"/>
                  <a:pt x="1068" y="398"/>
                </a:cubicBezTo>
                <a:cubicBezTo>
                  <a:pt x="1067" y="398"/>
                  <a:pt x="1066" y="397"/>
                  <a:pt x="1065" y="397"/>
                </a:cubicBezTo>
                <a:cubicBezTo>
                  <a:pt x="1064" y="397"/>
                  <a:pt x="1064" y="398"/>
                  <a:pt x="1063" y="398"/>
                </a:cubicBezTo>
                <a:cubicBezTo>
                  <a:pt x="1062" y="400"/>
                  <a:pt x="1061" y="398"/>
                  <a:pt x="1061" y="397"/>
                </a:cubicBezTo>
                <a:cubicBezTo>
                  <a:pt x="1061" y="396"/>
                  <a:pt x="1058" y="395"/>
                  <a:pt x="1058" y="397"/>
                </a:cubicBezTo>
                <a:cubicBezTo>
                  <a:pt x="1057" y="399"/>
                  <a:pt x="1060" y="400"/>
                  <a:pt x="1062" y="401"/>
                </a:cubicBezTo>
                <a:cubicBezTo>
                  <a:pt x="1063" y="402"/>
                  <a:pt x="1064" y="402"/>
                  <a:pt x="1065" y="403"/>
                </a:cubicBezTo>
                <a:cubicBezTo>
                  <a:pt x="1065" y="404"/>
                  <a:pt x="1066" y="406"/>
                  <a:pt x="1068" y="406"/>
                </a:cubicBezTo>
                <a:cubicBezTo>
                  <a:pt x="1069" y="406"/>
                  <a:pt x="1070" y="406"/>
                  <a:pt x="1071" y="407"/>
                </a:cubicBezTo>
                <a:cubicBezTo>
                  <a:pt x="1072" y="408"/>
                  <a:pt x="1073" y="409"/>
                  <a:pt x="1073" y="409"/>
                </a:cubicBezTo>
                <a:cubicBezTo>
                  <a:pt x="1076" y="412"/>
                  <a:pt x="1072" y="413"/>
                  <a:pt x="1070" y="413"/>
                </a:cubicBezTo>
                <a:cubicBezTo>
                  <a:pt x="1068" y="412"/>
                  <a:pt x="1066" y="411"/>
                  <a:pt x="1065" y="409"/>
                </a:cubicBezTo>
                <a:cubicBezTo>
                  <a:pt x="1064" y="407"/>
                  <a:pt x="1063" y="405"/>
                  <a:pt x="1061" y="404"/>
                </a:cubicBezTo>
                <a:cubicBezTo>
                  <a:pt x="1059" y="403"/>
                  <a:pt x="1056" y="401"/>
                  <a:pt x="1056" y="404"/>
                </a:cubicBezTo>
                <a:cubicBezTo>
                  <a:pt x="1057" y="406"/>
                  <a:pt x="1059" y="407"/>
                  <a:pt x="1061" y="408"/>
                </a:cubicBezTo>
                <a:cubicBezTo>
                  <a:pt x="1061" y="409"/>
                  <a:pt x="1062" y="410"/>
                  <a:pt x="1062" y="410"/>
                </a:cubicBezTo>
                <a:cubicBezTo>
                  <a:pt x="1062" y="411"/>
                  <a:pt x="1061" y="411"/>
                  <a:pt x="1060" y="411"/>
                </a:cubicBezTo>
                <a:cubicBezTo>
                  <a:pt x="1059" y="410"/>
                  <a:pt x="1059" y="410"/>
                  <a:pt x="1058" y="410"/>
                </a:cubicBezTo>
                <a:cubicBezTo>
                  <a:pt x="1056" y="409"/>
                  <a:pt x="1055" y="409"/>
                  <a:pt x="1053" y="409"/>
                </a:cubicBezTo>
                <a:cubicBezTo>
                  <a:pt x="1051" y="409"/>
                  <a:pt x="1049" y="407"/>
                  <a:pt x="1051" y="406"/>
                </a:cubicBezTo>
                <a:cubicBezTo>
                  <a:pt x="1051" y="405"/>
                  <a:pt x="1052" y="405"/>
                  <a:pt x="1052" y="404"/>
                </a:cubicBezTo>
                <a:cubicBezTo>
                  <a:pt x="1053" y="402"/>
                  <a:pt x="1052" y="401"/>
                  <a:pt x="1052" y="400"/>
                </a:cubicBezTo>
                <a:cubicBezTo>
                  <a:pt x="1053" y="397"/>
                  <a:pt x="1051" y="396"/>
                  <a:pt x="1049" y="395"/>
                </a:cubicBezTo>
                <a:cubicBezTo>
                  <a:pt x="1046" y="394"/>
                  <a:pt x="1046" y="396"/>
                  <a:pt x="1045" y="398"/>
                </a:cubicBezTo>
                <a:cubicBezTo>
                  <a:pt x="1045" y="399"/>
                  <a:pt x="1042" y="398"/>
                  <a:pt x="1042" y="401"/>
                </a:cubicBezTo>
                <a:cubicBezTo>
                  <a:pt x="1043" y="401"/>
                  <a:pt x="1043" y="402"/>
                  <a:pt x="1042" y="403"/>
                </a:cubicBezTo>
                <a:cubicBezTo>
                  <a:pt x="1041" y="403"/>
                  <a:pt x="1040" y="403"/>
                  <a:pt x="1039" y="402"/>
                </a:cubicBezTo>
                <a:cubicBezTo>
                  <a:pt x="1038" y="401"/>
                  <a:pt x="1037" y="401"/>
                  <a:pt x="1036" y="401"/>
                </a:cubicBezTo>
                <a:cubicBezTo>
                  <a:pt x="1035" y="400"/>
                  <a:pt x="1035" y="400"/>
                  <a:pt x="1034" y="399"/>
                </a:cubicBezTo>
                <a:cubicBezTo>
                  <a:pt x="1033" y="397"/>
                  <a:pt x="1030" y="399"/>
                  <a:pt x="1030" y="401"/>
                </a:cubicBezTo>
                <a:cubicBezTo>
                  <a:pt x="1030" y="402"/>
                  <a:pt x="1031" y="403"/>
                  <a:pt x="1030" y="404"/>
                </a:cubicBezTo>
                <a:cubicBezTo>
                  <a:pt x="1029" y="405"/>
                  <a:pt x="1028" y="406"/>
                  <a:pt x="1028" y="406"/>
                </a:cubicBezTo>
                <a:cubicBezTo>
                  <a:pt x="1027" y="407"/>
                  <a:pt x="1022" y="412"/>
                  <a:pt x="1021" y="411"/>
                </a:cubicBezTo>
                <a:cubicBezTo>
                  <a:pt x="1019" y="410"/>
                  <a:pt x="1022" y="407"/>
                  <a:pt x="1020" y="406"/>
                </a:cubicBezTo>
                <a:cubicBezTo>
                  <a:pt x="1019" y="406"/>
                  <a:pt x="1018" y="406"/>
                  <a:pt x="1018" y="405"/>
                </a:cubicBezTo>
                <a:cubicBezTo>
                  <a:pt x="1017" y="404"/>
                  <a:pt x="1019" y="404"/>
                  <a:pt x="1019" y="404"/>
                </a:cubicBezTo>
                <a:cubicBezTo>
                  <a:pt x="1022" y="403"/>
                  <a:pt x="1020" y="401"/>
                  <a:pt x="1021" y="399"/>
                </a:cubicBezTo>
                <a:cubicBezTo>
                  <a:pt x="1022" y="398"/>
                  <a:pt x="1023" y="398"/>
                  <a:pt x="1024" y="397"/>
                </a:cubicBezTo>
                <a:cubicBezTo>
                  <a:pt x="1025" y="396"/>
                  <a:pt x="1026" y="395"/>
                  <a:pt x="1026" y="395"/>
                </a:cubicBezTo>
                <a:cubicBezTo>
                  <a:pt x="1027" y="394"/>
                  <a:pt x="1028" y="392"/>
                  <a:pt x="1027" y="391"/>
                </a:cubicBezTo>
                <a:cubicBezTo>
                  <a:pt x="1024" y="391"/>
                  <a:pt x="1022" y="393"/>
                  <a:pt x="1020" y="395"/>
                </a:cubicBezTo>
                <a:cubicBezTo>
                  <a:pt x="1018" y="396"/>
                  <a:pt x="1018" y="398"/>
                  <a:pt x="1016" y="399"/>
                </a:cubicBezTo>
                <a:cubicBezTo>
                  <a:pt x="1015" y="399"/>
                  <a:pt x="1014" y="399"/>
                  <a:pt x="1014" y="399"/>
                </a:cubicBezTo>
                <a:cubicBezTo>
                  <a:pt x="1013" y="399"/>
                  <a:pt x="1014" y="397"/>
                  <a:pt x="1014" y="397"/>
                </a:cubicBezTo>
                <a:cubicBezTo>
                  <a:pt x="1015" y="395"/>
                  <a:pt x="1018" y="394"/>
                  <a:pt x="1019" y="393"/>
                </a:cubicBezTo>
                <a:cubicBezTo>
                  <a:pt x="1021" y="391"/>
                  <a:pt x="1023" y="389"/>
                  <a:pt x="1026" y="388"/>
                </a:cubicBezTo>
                <a:cubicBezTo>
                  <a:pt x="1027" y="387"/>
                  <a:pt x="1030" y="385"/>
                  <a:pt x="1031" y="383"/>
                </a:cubicBezTo>
                <a:cubicBezTo>
                  <a:pt x="1032" y="381"/>
                  <a:pt x="1029" y="380"/>
                  <a:pt x="1028" y="379"/>
                </a:cubicBezTo>
                <a:cubicBezTo>
                  <a:pt x="1026" y="378"/>
                  <a:pt x="1026" y="377"/>
                  <a:pt x="1026" y="375"/>
                </a:cubicBezTo>
                <a:cubicBezTo>
                  <a:pt x="1026" y="372"/>
                  <a:pt x="1026" y="370"/>
                  <a:pt x="1024" y="369"/>
                </a:cubicBezTo>
                <a:cubicBezTo>
                  <a:pt x="1022" y="367"/>
                  <a:pt x="1019" y="367"/>
                  <a:pt x="1016" y="366"/>
                </a:cubicBezTo>
                <a:cubicBezTo>
                  <a:pt x="1014" y="365"/>
                  <a:pt x="1016" y="360"/>
                  <a:pt x="1016" y="358"/>
                </a:cubicBezTo>
                <a:cubicBezTo>
                  <a:pt x="1015" y="356"/>
                  <a:pt x="1014" y="355"/>
                  <a:pt x="1012" y="354"/>
                </a:cubicBezTo>
                <a:cubicBezTo>
                  <a:pt x="1011" y="353"/>
                  <a:pt x="1011" y="351"/>
                  <a:pt x="1010" y="351"/>
                </a:cubicBezTo>
                <a:cubicBezTo>
                  <a:pt x="1009" y="350"/>
                  <a:pt x="1007" y="350"/>
                  <a:pt x="1005" y="350"/>
                </a:cubicBezTo>
                <a:cubicBezTo>
                  <a:pt x="1002" y="350"/>
                  <a:pt x="999" y="351"/>
                  <a:pt x="996" y="351"/>
                </a:cubicBezTo>
                <a:cubicBezTo>
                  <a:pt x="994" y="351"/>
                  <a:pt x="991" y="350"/>
                  <a:pt x="988" y="351"/>
                </a:cubicBezTo>
                <a:cubicBezTo>
                  <a:pt x="986" y="351"/>
                  <a:pt x="984" y="354"/>
                  <a:pt x="982" y="354"/>
                </a:cubicBezTo>
                <a:cubicBezTo>
                  <a:pt x="979" y="355"/>
                  <a:pt x="976" y="355"/>
                  <a:pt x="974" y="356"/>
                </a:cubicBezTo>
                <a:cubicBezTo>
                  <a:pt x="971" y="357"/>
                  <a:pt x="972" y="358"/>
                  <a:pt x="973" y="359"/>
                </a:cubicBezTo>
                <a:cubicBezTo>
                  <a:pt x="974" y="360"/>
                  <a:pt x="975" y="360"/>
                  <a:pt x="975" y="361"/>
                </a:cubicBezTo>
                <a:cubicBezTo>
                  <a:pt x="975" y="363"/>
                  <a:pt x="973" y="363"/>
                  <a:pt x="972" y="363"/>
                </a:cubicBezTo>
                <a:cubicBezTo>
                  <a:pt x="970" y="361"/>
                  <a:pt x="970" y="359"/>
                  <a:pt x="967" y="359"/>
                </a:cubicBezTo>
                <a:cubicBezTo>
                  <a:pt x="966" y="359"/>
                  <a:pt x="965" y="359"/>
                  <a:pt x="964" y="360"/>
                </a:cubicBezTo>
                <a:cubicBezTo>
                  <a:pt x="963" y="360"/>
                  <a:pt x="962" y="360"/>
                  <a:pt x="961" y="361"/>
                </a:cubicBezTo>
                <a:cubicBezTo>
                  <a:pt x="958" y="363"/>
                  <a:pt x="962" y="363"/>
                  <a:pt x="962" y="365"/>
                </a:cubicBezTo>
                <a:cubicBezTo>
                  <a:pt x="963" y="367"/>
                  <a:pt x="961" y="367"/>
                  <a:pt x="960" y="365"/>
                </a:cubicBezTo>
                <a:cubicBezTo>
                  <a:pt x="958" y="364"/>
                  <a:pt x="958" y="361"/>
                  <a:pt x="955" y="362"/>
                </a:cubicBezTo>
                <a:cubicBezTo>
                  <a:pt x="954" y="362"/>
                  <a:pt x="950" y="362"/>
                  <a:pt x="950" y="363"/>
                </a:cubicBezTo>
                <a:cubicBezTo>
                  <a:pt x="949" y="368"/>
                  <a:pt x="958" y="369"/>
                  <a:pt x="960" y="370"/>
                </a:cubicBezTo>
                <a:cubicBezTo>
                  <a:pt x="963" y="371"/>
                  <a:pt x="966" y="371"/>
                  <a:pt x="968" y="372"/>
                </a:cubicBezTo>
                <a:cubicBezTo>
                  <a:pt x="969" y="372"/>
                  <a:pt x="973" y="374"/>
                  <a:pt x="971" y="374"/>
                </a:cubicBezTo>
                <a:cubicBezTo>
                  <a:pt x="970" y="374"/>
                  <a:pt x="968" y="374"/>
                  <a:pt x="967" y="374"/>
                </a:cubicBezTo>
                <a:cubicBezTo>
                  <a:pt x="966" y="373"/>
                  <a:pt x="965" y="373"/>
                  <a:pt x="963" y="373"/>
                </a:cubicBezTo>
                <a:cubicBezTo>
                  <a:pt x="960" y="372"/>
                  <a:pt x="957" y="371"/>
                  <a:pt x="954" y="371"/>
                </a:cubicBezTo>
                <a:cubicBezTo>
                  <a:pt x="953" y="371"/>
                  <a:pt x="948" y="370"/>
                  <a:pt x="948" y="371"/>
                </a:cubicBezTo>
                <a:cubicBezTo>
                  <a:pt x="948" y="372"/>
                  <a:pt x="951" y="373"/>
                  <a:pt x="952" y="374"/>
                </a:cubicBezTo>
                <a:cubicBezTo>
                  <a:pt x="954" y="375"/>
                  <a:pt x="957" y="375"/>
                  <a:pt x="960" y="376"/>
                </a:cubicBezTo>
                <a:cubicBezTo>
                  <a:pt x="961" y="376"/>
                  <a:pt x="962" y="377"/>
                  <a:pt x="963" y="377"/>
                </a:cubicBezTo>
                <a:cubicBezTo>
                  <a:pt x="964" y="378"/>
                  <a:pt x="966" y="379"/>
                  <a:pt x="967" y="379"/>
                </a:cubicBezTo>
                <a:cubicBezTo>
                  <a:pt x="967" y="380"/>
                  <a:pt x="970" y="381"/>
                  <a:pt x="969" y="382"/>
                </a:cubicBezTo>
                <a:cubicBezTo>
                  <a:pt x="969" y="383"/>
                  <a:pt x="967" y="382"/>
                  <a:pt x="967" y="382"/>
                </a:cubicBezTo>
                <a:cubicBezTo>
                  <a:pt x="965" y="382"/>
                  <a:pt x="965" y="381"/>
                  <a:pt x="964" y="381"/>
                </a:cubicBezTo>
                <a:cubicBezTo>
                  <a:pt x="963" y="380"/>
                  <a:pt x="961" y="380"/>
                  <a:pt x="960" y="379"/>
                </a:cubicBezTo>
                <a:cubicBezTo>
                  <a:pt x="957" y="379"/>
                  <a:pt x="955" y="379"/>
                  <a:pt x="952" y="377"/>
                </a:cubicBezTo>
                <a:cubicBezTo>
                  <a:pt x="950" y="376"/>
                  <a:pt x="947" y="375"/>
                  <a:pt x="945" y="374"/>
                </a:cubicBezTo>
                <a:cubicBezTo>
                  <a:pt x="942" y="374"/>
                  <a:pt x="941" y="375"/>
                  <a:pt x="940" y="378"/>
                </a:cubicBezTo>
                <a:cubicBezTo>
                  <a:pt x="940" y="379"/>
                  <a:pt x="941" y="380"/>
                  <a:pt x="940" y="381"/>
                </a:cubicBezTo>
                <a:cubicBezTo>
                  <a:pt x="940" y="383"/>
                  <a:pt x="940" y="384"/>
                  <a:pt x="941" y="385"/>
                </a:cubicBezTo>
                <a:cubicBezTo>
                  <a:pt x="942" y="386"/>
                  <a:pt x="943" y="386"/>
                  <a:pt x="943" y="388"/>
                </a:cubicBezTo>
                <a:cubicBezTo>
                  <a:pt x="943" y="388"/>
                  <a:pt x="943" y="390"/>
                  <a:pt x="944" y="390"/>
                </a:cubicBezTo>
                <a:cubicBezTo>
                  <a:pt x="944" y="391"/>
                  <a:pt x="946" y="391"/>
                  <a:pt x="947" y="392"/>
                </a:cubicBezTo>
                <a:cubicBezTo>
                  <a:pt x="948" y="392"/>
                  <a:pt x="949" y="393"/>
                  <a:pt x="951" y="393"/>
                </a:cubicBezTo>
                <a:cubicBezTo>
                  <a:pt x="952" y="393"/>
                  <a:pt x="954" y="390"/>
                  <a:pt x="955" y="393"/>
                </a:cubicBezTo>
                <a:cubicBezTo>
                  <a:pt x="955" y="395"/>
                  <a:pt x="959" y="393"/>
                  <a:pt x="960" y="394"/>
                </a:cubicBezTo>
                <a:cubicBezTo>
                  <a:pt x="961" y="395"/>
                  <a:pt x="958" y="396"/>
                  <a:pt x="957" y="397"/>
                </a:cubicBezTo>
                <a:cubicBezTo>
                  <a:pt x="956" y="398"/>
                  <a:pt x="961" y="401"/>
                  <a:pt x="962" y="402"/>
                </a:cubicBezTo>
                <a:cubicBezTo>
                  <a:pt x="962" y="402"/>
                  <a:pt x="967" y="404"/>
                  <a:pt x="966" y="405"/>
                </a:cubicBezTo>
                <a:cubicBezTo>
                  <a:pt x="964" y="406"/>
                  <a:pt x="961" y="403"/>
                  <a:pt x="959" y="402"/>
                </a:cubicBezTo>
                <a:cubicBezTo>
                  <a:pt x="957" y="401"/>
                  <a:pt x="954" y="401"/>
                  <a:pt x="953" y="399"/>
                </a:cubicBezTo>
                <a:cubicBezTo>
                  <a:pt x="952" y="397"/>
                  <a:pt x="947" y="397"/>
                  <a:pt x="945" y="398"/>
                </a:cubicBezTo>
                <a:cubicBezTo>
                  <a:pt x="943" y="398"/>
                  <a:pt x="942" y="400"/>
                  <a:pt x="943" y="402"/>
                </a:cubicBezTo>
                <a:cubicBezTo>
                  <a:pt x="943" y="402"/>
                  <a:pt x="943" y="403"/>
                  <a:pt x="942" y="404"/>
                </a:cubicBezTo>
                <a:cubicBezTo>
                  <a:pt x="942" y="405"/>
                  <a:pt x="939" y="404"/>
                  <a:pt x="938" y="405"/>
                </a:cubicBezTo>
                <a:cubicBezTo>
                  <a:pt x="935" y="405"/>
                  <a:pt x="936" y="407"/>
                  <a:pt x="938" y="408"/>
                </a:cubicBezTo>
                <a:cubicBezTo>
                  <a:pt x="940" y="409"/>
                  <a:pt x="943" y="409"/>
                  <a:pt x="944" y="412"/>
                </a:cubicBezTo>
                <a:cubicBezTo>
                  <a:pt x="944" y="414"/>
                  <a:pt x="944" y="415"/>
                  <a:pt x="946" y="416"/>
                </a:cubicBezTo>
                <a:cubicBezTo>
                  <a:pt x="947" y="417"/>
                  <a:pt x="949" y="417"/>
                  <a:pt x="951" y="417"/>
                </a:cubicBezTo>
                <a:cubicBezTo>
                  <a:pt x="953" y="416"/>
                  <a:pt x="955" y="416"/>
                  <a:pt x="957" y="417"/>
                </a:cubicBezTo>
                <a:cubicBezTo>
                  <a:pt x="959" y="417"/>
                  <a:pt x="960" y="420"/>
                  <a:pt x="959" y="422"/>
                </a:cubicBezTo>
                <a:cubicBezTo>
                  <a:pt x="959" y="423"/>
                  <a:pt x="958" y="422"/>
                  <a:pt x="957" y="423"/>
                </a:cubicBezTo>
                <a:cubicBezTo>
                  <a:pt x="956" y="423"/>
                  <a:pt x="956" y="424"/>
                  <a:pt x="956" y="425"/>
                </a:cubicBezTo>
                <a:cubicBezTo>
                  <a:pt x="955" y="428"/>
                  <a:pt x="957" y="430"/>
                  <a:pt x="956" y="433"/>
                </a:cubicBezTo>
                <a:cubicBezTo>
                  <a:pt x="956" y="434"/>
                  <a:pt x="956" y="438"/>
                  <a:pt x="955" y="439"/>
                </a:cubicBezTo>
                <a:cubicBezTo>
                  <a:pt x="954" y="440"/>
                  <a:pt x="953" y="440"/>
                  <a:pt x="953" y="439"/>
                </a:cubicBezTo>
                <a:cubicBezTo>
                  <a:pt x="952" y="438"/>
                  <a:pt x="952" y="437"/>
                  <a:pt x="953" y="436"/>
                </a:cubicBezTo>
                <a:cubicBezTo>
                  <a:pt x="953" y="434"/>
                  <a:pt x="951" y="433"/>
                  <a:pt x="949" y="433"/>
                </a:cubicBezTo>
                <a:cubicBezTo>
                  <a:pt x="948" y="432"/>
                  <a:pt x="947" y="432"/>
                  <a:pt x="946" y="433"/>
                </a:cubicBezTo>
                <a:cubicBezTo>
                  <a:pt x="945" y="433"/>
                  <a:pt x="943" y="433"/>
                  <a:pt x="942" y="434"/>
                </a:cubicBezTo>
                <a:cubicBezTo>
                  <a:pt x="939" y="434"/>
                  <a:pt x="936" y="434"/>
                  <a:pt x="934" y="436"/>
                </a:cubicBezTo>
                <a:cubicBezTo>
                  <a:pt x="933" y="437"/>
                  <a:pt x="933" y="438"/>
                  <a:pt x="932" y="438"/>
                </a:cubicBezTo>
                <a:cubicBezTo>
                  <a:pt x="931" y="438"/>
                  <a:pt x="930" y="438"/>
                  <a:pt x="930" y="438"/>
                </a:cubicBezTo>
                <a:cubicBezTo>
                  <a:pt x="928" y="439"/>
                  <a:pt x="926" y="439"/>
                  <a:pt x="925" y="439"/>
                </a:cubicBezTo>
                <a:cubicBezTo>
                  <a:pt x="924" y="439"/>
                  <a:pt x="921" y="438"/>
                  <a:pt x="922" y="437"/>
                </a:cubicBezTo>
                <a:cubicBezTo>
                  <a:pt x="923" y="436"/>
                  <a:pt x="926" y="436"/>
                  <a:pt x="927" y="436"/>
                </a:cubicBezTo>
                <a:cubicBezTo>
                  <a:pt x="929" y="435"/>
                  <a:pt x="930" y="435"/>
                  <a:pt x="931" y="434"/>
                </a:cubicBezTo>
                <a:cubicBezTo>
                  <a:pt x="932" y="433"/>
                  <a:pt x="933" y="432"/>
                  <a:pt x="934" y="432"/>
                </a:cubicBezTo>
                <a:cubicBezTo>
                  <a:pt x="935" y="431"/>
                  <a:pt x="937" y="431"/>
                  <a:pt x="938" y="431"/>
                </a:cubicBezTo>
                <a:cubicBezTo>
                  <a:pt x="939" y="431"/>
                  <a:pt x="941" y="431"/>
                  <a:pt x="942" y="430"/>
                </a:cubicBezTo>
                <a:cubicBezTo>
                  <a:pt x="945" y="430"/>
                  <a:pt x="947" y="428"/>
                  <a:pt x="949" y="427"/>
                </a:cubicBezTo>
                <a:cubicBezTo>
                  <a:pt x="950" y="427"/>
                  <a:pt x="953" y="425"/>
                  <a:pt x="951" y="424"/>
                </a:cubicBezTo>
                <a:cubicBezTo>
                  <a:pt x="949" y="424"/>
                  <a:pt x="947" y="424"/>
                  <a:pt x="945" y="424"/>
                </a:cubicBezTo>
                <a:cubicBezTo>
                  <a:pt x="943" y="424"/>
                  <a:pt x="942" y="422"/>
                  <a:pt x="941" y="420"/>
                </a:cubicBezTo>
                <a:cubicBezTo>
                  <a:pt x="939" y="418"/>
                  <a:pt x="936" y="417"/>
                  <a:pt x="934" y="415"/>
                </a:cubicBezTo>
                <a:cubicBezTo>
                  <a:pt x="932" y="414"/>
                  <a:pt x="930" y="412"/>
                  <a:pt x="929" y="410"/>
                </a:cubicBezTo>
                <a:cubicBezTo>
                  <a:pt x="927" y="407"/>
                  <a:pt x="927" y="405"/>
                  <a:pt x="927" y="402"/>
                </a:cubicBezTo>
                <a:cubicBezTo>
                  <a:pt x="928" y="399"/>
                  <a:pt x="928" y="397"/>
                  <a:pt x="929" y="394"/>
                </a:cubicBezTo>
                <a:cubicBezTo>
                  <a:pt x="931" y="392"/>
                  <a:pt x="929" y="391"/>
                  <a:pt x="927" y="390"/>
                </a:cubicBezTo>
                <a:cubicBezTo>
                  <a:pt x="925" y="388"/>
                  <a:pt x="924" y="386"/>
                  <a:pt x="923" y="384"/>
                </a:cubicBezTo>
                <a:cubicBezTo>
                  <a:pt x="923" y="383"/>
                  <a:pt x="922" y="382"/>
                  <a:pt x="922" y="381"/>
                </a:cubicBezTo>
                <a:cubicBezTo>
                  <a:pt x="922" y="379"/>
                  <a:pt x="924" y="378"/>
                  <a:pt x="924" y="377"/>
                </a:cubicBezTo>
                <a:cubicBezTo>
                  <a:pt x="926" y="375"/>
                  <a:pt x="928" y="373"/>
                  <a:pt x="930" y="371"/>
                </a:cubicBezTo>
                <a:cubicBezTo>
                  <a:pt x="931" y="368"/>
                  <a:pt x="932" y="366"/>
                  <a:pt x="934" y="364"/>
                </a:cubicBezTo>
                <a:cubicBezTo>
                  <a:pt x="938" y="361"/>
                  <a:pt x="942" y="357"/>
                  <a:pt x="947" y="355"/>
                </a:cubicBezTo>
                <a:cubicBezTo>
                  <a:pt x="949" y="354"/>
                  <a:pt x="952" y="353"/>
                  <a:pt x="953" y="351"/>
                </a:cubicBezTo>
                <a:cubicBezTo>
                  <a:pt x="953" y="349"/>
                  <a:pt x="951" y="349"/>
                  <a:pt x="950" y="348"/>
                </a:cubicBezTo>
                <a:cubicBezTo>
                  <a:pt x="945" y="347"/>
                  <a:pt x="939" y="347"/>
                  <a:pt x="934" y="347"/>
                </a:cubicBezTo>
                <a:cubicBezTo>
                  <a:pt x="928" y="347"/>
                  <a:pt x="921" y="347"/>
                  <a:pt x="915" y="348"/>
                </a:cubicBezTo>
                <a:cubicBezTo>
                  <a:pt x="909" y="349"/>
                  <a:pt x="903" y="351"/>
                  <a:pt x="898" y="354"/>
                </a:cubicBezTo>
                <a:cubicBezTo>
                  <a:pt x="896" y="355"/>
                  <a:pt x="893" y="356"/>
                  <a:pt x="891" y="358"/>
                </a:cubicBezTo>
                <a:cubicBezTo>
                  <a:pt x="890" y="359"/>
                  <a:pt x="886" y="361"/>
                  <a:pt x="888" y="363"/>
                </a:cubicBezTo>
                <a:cubicBezTo>
                  <a:pt x="889" y="366"/>
                  <a:pt x="886" y="365"/>
                  <a:pt x="884" y="366"/>
                </a:cubicBezTo>
                <a:cubicBezTo>
                  <a:pt x="882" y="367"/>
                  <a:pt x="880" y="369"/>
                  <a:pt x="878" y="371"/>
                </a:cubicBezTo>
                <a:cubicBezTo>
                  <a:pt x="876" y="373"/>
                  <a:pt x="877" y="376"/>
                  <a:pt x="877" y="379"/>
                </a:cubicBezTo>
                <a:cubicBezTo>
                  <a:pt x="877" y="380"/>
                  <a:pt x="876" y="380"/>
                  <a:pt x="875" y="381"/>
                </a:cubicBezTo>
                <a:cubicBezTo>
                  <a:pt x="874" y="382"/>
                  <a:pt x="874" y="382"/>
                  <a:pt x="874" y="384"/>
                </a:cubicBezTo>
                <a:cubicBezTo>
                  <a:pt x="874" y="386"/>
                  <a:pt x="871" y="387"/>
                  <a:pt x="870" y="389"/>
                </a:cubicBezTo>
                <a:cubicBezTo>
                  <a:pt x="869" y="390"/>
                  <a:pt x="869" y="391"/>
                  <a:pt x="868" y="392"/>
                </a:cubicBezTo>
                <a:cubicBezTo>
                  <a:pt x="868" y="394"/>
                  <a:pt x="868" y="395"/>
                  <a:pt x="867" y="396"/>
                </a:cubicBezTo>
                <a:cubicBezTo>
                  <a:pt x="867" y="398"/>
                  <a:pt x="869" y="400"/>
                  <a:pt x="871" y="400"/>
                </a:cubicBezTo>
                <a:cubicBezTo>
                  <a:pt x="873" y="400"/>
                  <a:pt x="872" y="403"/>
                  <a:pt x="870" y="403"/>
                </a:cubicBezTo>
                <a:cubicBezTo>
                  <a:pt x="868" y="404"/>
                  <a:pt x="867" y="404"/>
                  <a:pt x="866" y="406"/>
                </a:cubicBezTo>
                <a:cubicBezTo>
                  <a:pt x="865" y="407"/>
                  <a:pt x="865" y="408"/>
                  <a:pt x="865" y="409"/>
                </a:cubicBezTo>
                <a:cubicBezTo>
                  <a:pt x="866" y="410"/>
                  <a:pt x="866" y="411"/>
                  <a:pt x="867" y="413"/>
                </a:cubicBezTo>
                <a:cubicBezTo>
                  <a:pt x="868" y="413"/>
                  <a:pt x="869" y="414"/>
                  <a:pt x="869" y="415"/>
                </a:cubicBezTo>
                <a:cubicBezTo>
                  <a:pt x="868" y="416"/>
                  <a:pt x="867" y="417"/>
                  <a:pt x="867" y="417"/>
                </a:cubicBezTo>
                <a:cubicBezTo>
                  <a:pt x="866" y="419"/>
                  <a:pt x="866" y="423"/>
                  <a:pt x="867" y="424"/>
                </a:cubicBezTo>
                <a:cubicBezTo>
                  <a:pt x="871" y="428"/>
                  <a:pt x="877" y="428"/>
                  <a:pt x="882" y="428"/>
                </a:cubicBezTo>
                <a:cubicBezTo>
                  <a:pt x="885" y="428"/>
                  <a:pt x="887" y="429"/>
                  <a:pt x="890" y="429"/>
                </a:cubicBezTo>
                <a:cubicBezTo>
                  <a:pt x="892" y="430"/>
                  <a:pt x="893" y="430"/>
                  <a:pt x="895" y="430"/>
                </a:cubicBezTo>
                <a:cubicBezTo>
                  <a:pt x="896" y="430"/>
                  <a:pt x="898" y="431"/>
                  <a:pt x="899" y="430"/>
                </a:cubicBezTo>
                <a:cubicBezTo>
                  <a:pt x="900" y="430"/>
                  <a:pt x="901" y="429"/>
                  <a:pt x="902" y="429"/>
                </a:cubicBezTo>
                <a:cubicBezTo>
                  <a:pt x="903" y="429"/>
                  <a:pt x="904" y="430"/>
                  <a:pt x="905" y="430"/>
                </a:cubicBezTo>
                <a:cubicBezTo>
                  <a:pt x="907" y="433"/>
                  <a:pt x="909" y="434"/>
                  <a:pt x="912" y="435"/>
                </a:cubicBezTo>
                <a:cubicBezTo>
                  <a:pt x="913" y="435"/>
                  <a:pt x="915" y="435"/>
                  <a:pt x="916" y="436"/>
                </a:cubicBezTo>
                <a:cubicBezTo>
                  <a:pt x="916" y="438"/>
                  <a:pt x="914" y="438"/>
                  <a:pt x="913" y="438"/>
                </a:cubicBezTo>
                <a:cubicBezTo>
                  <a:pt x="912" y="438"/>
                  <a:pt x="911" y="438"/>
                  <a:pt x="910" y="438"/>
                </a:cubicBezTo>
                <a:cubicBezTo>
                  <a:pt x="908" y="438"/>
                  <a:pt x="907" y="438"/>
                  <a:pt x="905" y="438"/>
                </a:cubicBezTo>
                <a:cubicBezTo>
                  <a:pt x="903" y="439"/>
                  <a:pt x="902" y="439"/>
                  <a:pt x="900" y="439"/>
                </a:cubicBezTo>
                <a:cubicBezTo>
                  <a:pt x="898" y="440"/>
                  <a:pt x="896" y="439"/>
                  <a:pt x="894" y="437"/>
                </a:cubicBezTo>
                <a:cubicBezTo>
                  <a:pt x="893" y="435"/>
                  <a:pt x="889" y="436"/>
                  <a:pt x="887" y="436"/>
                </a:cubicBezTo>
                <a:cubicBezTo>
                  <a:pt x="885" y="437"/>
                  <a:pt x="882" y="437"/>
                  <a:pt x="880" y="436"/>
                </a:cubicBezTo>
                <a:cubicBezTo>
                  <a:pt x="879" y="435"/>
                  <a:pt x="875" y="433"/>
                  <a:pt x="875" y="436"/>
                </a:cubicBezTo>
                <a:cubicBezTo>
                  <a:pt x="875" y="438"/>
                  <a:pt x="877" y="439"/>
                  <a:pt x="878" y="441"/>
                </a:cubicBezTo>
                <a:cubicBezTo>
                  <a:pt x="878" y="443"/>
                  <a:pt x="878" y="446"/>
                  <a:pt x="880" y="447"/>
                </a:cubicBezTo>
                <a:cubicBezTo>
                  <a:pt x="883" y="448"/>
                  <a:pt x="885" y="448"/>
                  <a:pt x="887" y="449"/>
                </a:cubicBezTo>
                <a:cubicBezTo>
                  <a:pt x="889" y="451"/>
                  <a:pt x="891" y="453"/>
                  <a:pt x="893" y="455"/>
                </a:cubicBezTo>
                <a:cubicBezTo>
                  <a:pt x="894" y="455"/>
                  <a:pt x="896" y="455"/>
                  <a:pt x="897" y="456"/>
                </a:cubicBezTo>
                <a:cubicBezTo>
                  <a:pt x="898" y="457"/>
                  <a:pt x="898" y="458"/>
                  <a:pt x="899" y="458"/>
                </a:cubicBezTo>
                <a:cubicBezTo>
                  <a:pt x="900" y="459"/>
                  <a:pt x="901" y="461"/>
                  <a:pt x="903" y="461"/>
                </a:cubicBezTo>
                <a:cubicBezTo>
                  <a:pt x="904" y="460"/>
                  <a:pt x="905" y="459"/>
                  <a:pt x="906" y="459"/>
                </a:cubicBezTo>
                <a:cubicBezTo>
                  <a:pt x="908" y="458"/>
                  <a:pt x="911" y="459"/>
                  <a:pt x="913" y="459"/>
                </a:cubicBezTo>
                <a:cubicBezTo>
                  <a:pt x="914" y="459"/>
                  <a:pt x="917" y="459"/>
                  <a:pt x="916" y="457"/>
                </a:cubicBezTo>
                <a:cubicBezTo>
                  <a:pt x="916" y="457"/>
                  <a:pt x="914" y="454"/>
                  <a:pt x="916" y="454"/>
                </a:cubicBezTo>
                <a:cubicBezTo>
                  <a:pt x="916" y="454"/>
                  <a:pt x="917" y="453"/>
                  <a:pt x="918" y="453"/>
                </a:cubicBezTo>
                <a:cubicBezTo>
                  <a:pt x="919" y="454"/>
                  <a:pt x="919" y="455"/>
                  <a:pt x="920" y="456"/>
                </a:cubicBezTo>
                <a:cubicBezTo>
                  <a:pt x="923" y="458"/>
                  <a:pt x="923" y="454"/>
                  <a:pt x="925" y="455"/>
                </a:cubicBezTo>
                <a:cubicBezTo>
                  <a:pt x="927" y="456"/>
                  <a:pt x="925" y="457"/>
                  <a:pt x="925" y="457"/>
                </a:cubicBezTo>
                <a:cubicBezTo>
                  <a:pt x="925" y="458"/>
                  <a:pt x="925" y="460"/>
                  <a:pt x="926" y="461"/>
                </a:cubicBezTo>
                <a:cubicBezTo>
                  <a:pt x="927" y="463"/>
                  <a:pt x="930" y="462"/>
                  <a:pt x="932" y="464"/>
                </a:cubicBezTo>
                <a:cubicBezTo>
                  <a:pt x="934" y="465"/>
                  <a:pt x="934" y="468"/>
                  <a:pt x="937" y="467"/>
                </a:cubicBezTo>
                <a:cubicBezTo>
                  <a:pt x="938" y="467"/>
                  <a:pt x="939" y="465"/>
                  <a:pt x="940" y="465"/>
                </a:cubicBezTo>
                <a:cubicBezTo>
                  <a:pt x="941" y="464"/>
                  <a:pt x="942" y="464"/>
                  <a:pt x="943" y="465"/>
                </a:cubicBezTo>
                <a:cubicBezTo>
                  <a:pt x="944" y="466"/>
                  <a:pt x="945" y="466"/>
                  <a:pt x="946" y="467"/>
                </a:cubicBezTo>
                <a:cubicBezTo>
                  <a:pt x="948" y="467"/>
                  <a:pt x="949" y="466"/>
                  <a:pt x="951" y="466"/>
                </a:cubicBezTo>
                <a:cubicBezTo>
                  <a:pt x="953" y="465"/>
                  <a:pt x="955" y="466"/>
                  <a:pt x="957" y="467"/>
                </a:cubicBezTo>
                <a:cubicBezTo>
                  <a:pt x="959" y="469"/>
                  <a:pt x="962" y="469"/>
                  <a:pt x="965" y="470"/>
                </a:cubicBezTo>
                <a:cubicBezTo>
                  <a:pt x="971" y="471"/>
                  <a:pt x="977" y="469"/>
                  <a:pt x="983" y="468"/>
                </a:cubicBezTo>
                <a:cubicBezTo>
                  <a:pt x="986" y="468"/>
                  <a:pt x="988" y="468"/>
                  <a:pt x="990" y="470"/>
                </a:cubicBezTo>
                <a:cubicBezTo>
                  <a:pt x="991" y="470"/>
                  <a:pt x="993" y="471"/>
                  <a:pt x="994" y="472"/>
                </a:cubicBezTo>
                <a:cubicBezTo>
                  <a:pt x="995" y="472"/>
                  <a:pt x="996" y="473"/>
                  <a:pt x="997" y="474"/>
                </a:cubicBezTo>
                <a:cubicBezTo>
                  <a:pt x="998" y="474"/>
                  <a:pt x="999" y="475"/>
                  <a:pt x="1000" y="474"/>
                </a:cubicBezTo>
                <a:cubicBezTo>
                  <a:pt x="1001" y="474"/>
                  <a:pt x="1001" y="473"/>
                  <a:pt x="1001" y="473"/>
                </a:cubicBezTo>
                <a:cubicBezTo>
                  <a:pt x="1002" y="472"/>
                  <a:pt x="1005" y="472"/>
                  <a:pt x="1006" y="472"/>
                </a:cubicBezTo>
                <a:cubicBezTo>
                  <a:pt x="1008" y="471"/>
                  <a:pt x="1006" y="470"/>
                  <a:pt x="1005" y="469"/>
                </a:cubicBezTo>
                <a:cubicBezTo>
                  <a:pt x="1003" y="469"/>
                  <a:pt x="1001" y="468"/>
                  <a:pt x="999" y="467"/>
                </a:cubicBezTo>
                <a:cubicBezTo>
                  <a:pt x="996" y="464"/>
                  <a:pt x="992" y="464"/>
                  <a:pt x="988" y="462"/>
                </a:cubicBezTo>
                <a:cubicBezTo>
                  <a:pt x="987" y="461"/>
                  <a:pt x="985" y="460"/>
                  <a:pt x="985" y="459"/>
                </a:cubicBezTo>
                <a:cubicBezTo>
                  <a:pt x="986" y="457"/>
                  <a:pt x="990" y="460"/>
                  <a:pt x="991" y="460"/>
                </a:cubicBezTo>
                <a:cubicBezTo>
                  <a:pt x="993" y="462"/>
                  <a:pt x="995" y="462"/>
                  <a:pt x="997" y="463"/>
                </a:cubicBezTo>
                <a:cubicBezTo>
                  <a:pt x="1000" y="463"/>
                  <a:pt x="1001" y="466"/>
                  <a:pt x="1003" y="467"/>
                </a:cubicBezTo>
                <a:cubicBezTo>
                  <a:pt x="1006" y="468"/>
                  <a:pt x="1008" y="468"/>
                  <a:pt x="1011" y="470"/>
                </a:cubicBezTo>
                <a:cubicBezTo>
                  <a:pt x="1012" y="471"/>
                  <a:pt x="1014" y="472"/>
                  <a:pt x="1015" y="473"/>
                </a:cubicBezTo>
                <a:cubicBezTo>
                  <a:pt x="1016" y="474"/>
                  <a:pt x="1022" y="478"/>
                  <a:pt x="1023" y="476"/>
                </a:cubicBezTo>
                <a:cubicBezTo>
                  <a:pt x="1023" y="474"/>
                  <a:pt x="1020" y="473"/>
                  <a:pt x="1019" y="472"/>
                </a:cubicBezTo>
                <a:cubicBezTo>
                  <a:pt x="1018" y="471"/>
                  <a:pt x="1018" y="470"/>
                  <a:pt x="1017" y="469"/>
                </a:cubicBezTo>
                <a:cubicBezTo>
                  <a:pt x="1016" y="468"/>
                  <a:pt x="1015" y="468"/>
                  <a:pt x="1014" y="468"/>
                </a:cubicBezTo>
                <a:cubicBezTo>
                  <a:pt x="1012" y="468"/>
                  <a:pt x="1009" y="467"/>
                  <a:pt x="1008" y="465"/>
                </a:cubicBezTo>
                <a:cubicBezTo>
                  <a:pt x="1007" y="464"/>
                  <a:pt x="1013" y="465"/>
                  <a:pt x="1013" y="465"/>
                </a:cubicBezTo>
                <a:cubicBezTo>
                  <a:pt x="1016" y="466"/>
                  <a:pt x="1018" y="467"/>
                  <a:pt x="1021" y="467"/>
                </a:cubicBezTo>
                <a:cubicBezTo>
                  <a:pt x="1024" y="467"/>
                  <a:pt x="1027" y="468"/>
                  <a:pt x="1031" y="468"/>
                </a:cubicBezTo>
                <a:cubicBezTo>
                  <a:pt x="1033" y="467"/>
                  <a:pt x="1035" y="468"/>
                  <a:pt x="1038" y="469"/>
                </a:cubicBezTo>
                <a:cubicBezTo>
                  <a:pt x="1040" y="471"/>
                  <a:pt x="1042" y="473"/>
                  <a:pt x="1045" y="473"/>
                </a:cubicBezTo>
                <a:cubicBezTo>
                  <a:pt x="1048" y="472"/>
                  <a:pt x="1050" y="472"/>
                  <a:pt x="1052" y="472"/>
                </a:cubicBezTo>
                <a:cubicBezTo>
                  <a:pt x="1054" y="472"/>
                  <a:pt x="1057" y="472"/>
                  <a:pt x="1058" y="470"/>
                </a:cubicBezTo>
                <a:cubicBezTo>
                  <a:pt x="1059" y="467"/>
                  <a:pt x="1057" y="465"/>
                  <a:pt x="1056" y="463"/>
                </a:cubicBezTo>
                <a:cubicBezTo>
                  <a:pt x="1056" y="460"/>
                  <a:pt x="1054" y="459"/>
                  <a:pt x="1051" y="458"/>
                </a:cubicBezTo>
                <a:cubicBezTo>
                  <a:pt x="1049" y="458"/>
                  <a:pt x="1047" y="459"/>
                  <a:pt x="1045" y="457"/>
                </a:cubicBezTo>
                <a:cubicBezTo>
                  <a:pt x="1043" y="455"/>
                  <a:pt x="1047" y="454"/>
                  <a:pt x="1048" y="455"/>
                </a:cubicBezTo>
                <a:cubicBezTo>
                  <a:pt x="1049" y="455"/>
                  <a:pt x="1050" y="456"/>
                  <a:pt x="1051" y="455"/>
                </a:cubicBezTo>
                <a:cubicBezTo>
                  <a:pt x="1052" y="455"/>
                  <a:pt x="1052" y="454"/>
                  <a:pt x="1052" y="453"/>
                </a:cubicBezTo>
                <a:cubicBezTo>
                  <a:pt x="1052" y="452"/>
                  <a:pt x="1052" y="451"/>
                  <a:pt x="1051" y="451"/>
                </a:cubicBezTo>
                <a:cubicBezTo>
                  <a:pt x="1050" y="450"/>
                  <a:pt x="1050" y="449"/>
                  <a:pt x="1051" y="448"/>
                </a:cubicBezTo>
                <a:cubicBezTo>
                  <a:pt x="1052" y="447"/>
                  <a:pt x="1057" y="449"/>
                  <a:pt x="1057" y="451"/>
                </a:cubicBezTo>
                <a:cubicBezTo>
                  <a:pt x="1056" y="453"/>
                  <a:pt x="1054" y="452"/>
                  <a:pt x="1056" y="455"/>
                </a:cubicBezTo>
                <a:cubicBezTo>
                  <a:pt x="1056" y="455"/>
                  <a:pt x="1057" y="455"/>
                  <a:pt x="1058" y="455"/>
                </a:cubicBezTo>
                <a:cubicBezTo>
                  <a:pt x="1060" y="456"/>
                  <a:pt x="1060" y="456"/>
                  <a:pt x="1061" y="457"/>
                </a:cubicBezTo>
                <a:cubicBezTo>
                  <a:pt x="1062" y="458"/>
                  <a:pt x="1063" y="458"/>
                  <a:pt x="1064" y="458"/>
                </a:cubicBezTo>
                <a:cubicBezTo>
                  <a:pt x="1064" y="459"/>
                  <a:pt x="1064" y="460"/>
                  <a:pt x="1064" y="460"/>
                </a:cubicBezTo>
                <a:cubicBezTo>
                  <a:pt x="1065" y="462"/>
                  <a:pt x="1068" y="461"/>
                  <a:pt x="1070" y="460"/>
                </a:cubicBezTo>
                <a:cubicBezTo>
                  <a:pt x="1074" y="458"/>
                  <a:pt x="1077" y="464"/>
                  <a:pt x="1077" y="468"/>
                </a:cubicBezTo>
                <a:cubicBezTo>
                  <a:pt x="1077" y="470"/>
                  <a:pt x="1076" y="477"/>
                  <a:pt x="1080" y="473"/>
                </a:cubicBezTo>
                <a:cubicBezTo>
                  <a:pt x="1081" y="473"/>
                  <a:pt x="1082" y="472"/>
                  <a:pt x="1083" y="471"/>
                </a:cubicBezTo>
                <a:cubicBezTo>
                  <a:pt x="1083" y="470"/>
                  <a:pt x="1085" y="470"/>
                  <a:pt x="1086" y="470"/>
                </a:cubicBezTo>
                <a:cubicBezTo>
                  <a:pt x="1086" y="470"/>
                  <a:pt x="1087" y="469"/>
                  <a:pt x="1087" y="470"/>
                </a:cubicBezTo>
                <a:cubicBezTo>
                  <a:pt x="1087" y="471"/>
                  <a:pt x="1086" y="471"/>
                  <a:pt x="1086" y="472"/>
                </a:cubicBezTo>
                <a:cubicBezTo>
                  <a:pt x="1087" y="473"/>
                  <a:pt x="1089" y="473"/>
                  <a:pt x="1090" y="473"/>
                </a:cubicBezTo>
                <a:cubicBezTo>
                  <a:pt x="1092" y="473"/>
                  <a:pt x="1092" y="475"/>
                  <a:pt x="1090" y="476"/>
                </a:cubicBezTo>
                <a:cubicBezTo>
                  <a:pt x="1088" y="476"/>
                  <a:pt x="1087" y="477"/>
                  <a:pt x="1086" y="478"/>
                </a:cubicBezTo>
                <a:cubicBezTo>
                  <a:pt x="1084" y="479"/>
                  <a:pt x="1090" y="479"/>
                  <a:pt x="1090" y="480"/>
                </a:cubicBezTo>
                <a:cubicBezTo>
                  <a:pt x="1091" y="480"/>
                  <a:pt x="1091" y="481"/>
                  <a:pt x="1092" y="481"/>
                </a:cubicBezTo>
                <a:cubicBezTo>
                  <a:pt x="1093" y="481"/>
                  <a:pt x="1093" y="480"/>
                  <a:pt x="1093" y="479"/>
                </a:cubicBezTo>
                <a:cubicBezTo>
                  <a:pt x="1094" y="477"/>
                  <a:pt x="1096" y="477"/>
                  <a:pt x="1098" y="477"/>
                </a:cubicBezTo>
                <a:cubicBezTo>
                  <a:pt x="1099" y="477"/>
                  <a:pt x="1100" y="479"/>
                  <a:pt x="1099" y="479"/>
                </a:cubicBezTo>
                <a:cubicBezTo>
                  <a:pt x="1098" y="479"/>
                  <a:pt x="1097" y="480"/>
                  <a:pt x="1096" y="480"/>
                </a:cubicBezTo>
                <a:cubicBezTo>
                  <a:pt x="1094" y="480"/>
                  <a:pt x="1095" y="482"/>
                  <a:pt x="1096" y="483"/>
                </a:cubicBezTo>
                <a:cubicBezTo>
                  <a:pt x="1097" y="484"/>
                  <a:pt x="1098" y="484"/>
                  <a:pt x="1098" y="485"/>
                </a:cubicBezTo>
                <a:cubicBezTo>
                  <a:pt x="1099" y="486"/>
                  <a:pt x="1100" y="486"/>
                  <a:pt x="1101" y="486"/>
                </a:cubicBezTo>
                <a:cubicBezTo>
                  <a:pt x="1102" y="486"/>
                  <a:pt x="1104" y="486"/>
                  <a:pt x="1105" y="486"/>
                </a:cubicBezTo>
                <a:cubicBezTo>
                  <a:pt x="1106" y="487"/>
                  <a:pt x="1106" y="488"/>
                  <a:pt x="1107" y="489"/>
                </a:cubicBezTo>
                <a:cubicBezTo>
                  <a:pt x="1108" y="490"/>
                  <a:pt x="1111" y="490"/>
                  <a:pt x="1111" y="492"/>
                </a:cubicBezTo>
                <a:cubicBezTo>
                  <a:pt x="1110" y="494"/>
                  <a:pt x="1108" y="495"/>
                  <a:pt x="1106" y="497"/>
                </a:cubicBezTo>
                <a:cubicBezTo>
                  <a:pt x="1105" y="499"/>
                  <a:pt x="1103" y="497"/>
                  <a:pt x="1101" y="497"/>
                </a:cubicBezTo>
                <a:cubicBezTo>
                  <a:pt x="1099" y="496"/>
                  <a:pt x="1095" y="496"/>
                  <a:pt x="1095" y="498"/>
                </a:cubicBezTo>
                <a:cubicBezTo>
                  <a:pt x="1094" y="500"/>
                  <a:pt x="1097" y="502"/>
                  <a:pt x="1095" y="504"/>
                </a:cubicBezTo>
                <a:cubicBezTo>
                  <a:pt x="1095" y="504"/>
                  <a:pt x="1094" y="505"/>
                  <a:pt x="1094" y="506"/>
                </a:cubicBezTo>
                <a:cubicBezTo>
                  <a:pt x="1094" y="507"/>
                  <a:pt x="1096" y="508"/>
                  <a:pt x="1097" y="508"/>
                </a:cubicBezTo>
                <a:cubicBezTo>
                  <a:pt x="1100" y="507"/>
                  <a:pt x="1102" y="505"/>
                  <a:pt x="1104" y="504"/>
                </a:cubicBezTo>
                <a:cubicBezTo>
                  <a:pt x="1107" y="503"/>
                  <a:pt x="1110" y="503"/>
                  <a:pt x="1111" y="501"/>
                </a:cubicBezTo>
                <a:cubicBezTo>
                  <a:pt x="1112" y="500"/>
                  <a:pt x="1113" y="497"/>
                  <a:pt x="1115" y="498"/>
                </a:cubicBezTo>
                <a:cubicBezTo>
                  <a:pt x="1116" y="498"/>
                  <a:pt x="1118" y="502"/>
                  <a:pt x="1120" y="500"/>
                </a:cubicBezTo>
                <a:cubicBezTo>
                  <a:pt x="1121" y="499"/>
                  <a:pt x="1121" y="497"/>
                  <a:pt x="1123" y="496"/>
                </a:cubicBezTo>
                <a:cubicBezTo>
                  <a:pt x="1124" y="496"/>
                  <a:pt x="1125" y="496"/>
                  <a:pt x="1126" y="497"/>
                </a:cubicBezTo>
                <a:cubicBezTo>
                  <a:pt x="1126" y="497"/>
                  <a:pt x="1125" y="498"/>
                  <a:pt x="1125" y="498"/>
                </a:cubicBezTo>
                <a:cubicBezTo>
                  <a:pt x="1123" y="500"/>
                  <a:pt x="1125" y="500"/>
                  <a:pt x="1126" y="501"/>
                </a:cubicBezTo>
                <a:cubicBezTo>
                  <a:pt x="1128" y="501"/>
                  <a:pt x="1124" y="503"/>
                  <a:pt x="1124" y="504"/>
                </a:cubicBezTo>
                <a:cubicBezTo>
                  <a:pt x="1125" y="506"/>
                  <a:pt x="1129" y="504"/>
                  <a:pt x="1130" y="506"/>
                </a:cubicBezTo>
                <a:cubicBezTo>
                  <a:pt x="1130" y="507"/>
                  <a:pt x="1130" y="508"/>
                  <a:pt x="1130" y="508"/>
                </a:cubicBezTo>
                <a:cubicBezTo>
                  <a:pt x="1130" y="510"/>
                  <a:pt x="1131" y="510"/>
                  <a:pt x="1132" y="511"/>
                </a:cubicBezTo>
                <a:cubicBezTo>
                  <a:pt x="1134" y="512"/>
                  <a:pt x="1137" y="512"/>
                  <a:pt x="1139" y="512"/>
                </a:cubicBezTo>
                <a:cubicBezTo>
                  <a:pt x="1140" y="512"/>
                  <a:pt x="1140" y="512"/>
                  <a:pt x="1140" y="511"/>
                </a:cubicBezTo>
                <a:cubicBezTo>
                  <a:pt x="1140" y="510"/>
                  <a:pt x="1139" y="510"/>
                  <a:pt x="1138" y="509"/>
                </a:cubicBezTo>
                <a:cubicBezTo>
                  <a:pt x="1137" y="509"/>
                  <a:pt x="1136" y="508"/>
                  <a:pt x="1136" y="507"/>
                </a:cubicBezTo>
                <a:cubicBezTo>
                  <a:pt x="1136" y="507"/>
                  <a:pt x="1137" y="507"/>
                  <a:pt x="1138" y="507"/>
                </a:cubicBezTo>
                <a:cubicBezTo>
                  <a:pt x="1140" y="507"/>
                  <a:pt x="1142" y="509"/>
                  <a:pt x="1142" y="510"/>
                </a:cubicBezTo>
                <a:cubicBezTo>
                  <a:pt x="1142" y="511"/>
                  <a:pt x="1141" y="512"/>
                  <a:pt x="1141" y="513"/>
                </a:cubicBezTo>
                <a:cubicBezTo>
                  <a:pt x="1140" y="514"/>
                  <a:pt x="1141" y="515"/>
                  <a:pt x="1141" y="516"/>
                </a:cubicBezTo>
                <a:cubicBezTo>
                  <a:pt x="1142" y="518"/>
                  <a:pt x="1144" y="520"/>
                  <a:pt x="1147" y="519"/>
                </a:cubicBezTo>
                <a:cubicBezTo>
                  <a:pt x="1148" y="518"/>
                  <a:pt x="1149" y="515"/>
                  <a:pt x="1151" y="517"/>
                </a:cubicBezTo>
                <a:cubicBezTo>
                  <a:pt x="1152" y="517"/>
                  <a:pt x="1152" y="519"/>
                  <a:pt x="1152" y="519"/>
                </a:cubicBezTo>
                <a:cubicBezTo>
                  <a:pt x="1152" y="521"/>
                  <a:pt x="1153" y="520"/>
                  <a:pt x="1154" y="520"/>
                </a:cubicBezTo>
                <a:cubicBezTo>
                  <a:pt x="1157" y="520"/>
                  <a:pt x="1155" y="523"/>
                  <a:pt x="1155" y="525"/>
                </a:cubicBezTo>
                <a:cubicBezTo>
                  <a:pt x="1155" y="526"/>
                  <a:pt x="1156" y="527"/>
                  <a:pt x="1157" y="528"/>
                </a:cubicBezTo>
                <a:cubicBezTo>
                  <a:pt x="1157" y="529"/>
                  <a:pt x="1158" y="530"/>
                  <a:pt x="1159" y="531"/>
                </a:cubicBezTo>
                <a:cubicBezTo>
                  <a:pt x="1160" y="532"/>
                  <a:pt x="1162" y="532"/>
                  <a:pt x="1162" y="535"/>
                </a:cubicBezTo>
                <a:cubicBezTo>
                  <a:pt x="1162" y="536"/>
                  <a:pt x="1162" y="537"/>
                  <a:pt x="1163" y="538"/>
                </a:cubicBezTo>
                <a:cubicBezTo>
                  <a:pt x="1164" y="538"/>
                  <a:pt x="1165" y="540"/>
                  <a:pt x="1165" y="541"/>
                </a:cubicBezTo>
                <a:cubicBezTo>
                  <a:pt x="1165" y="542"/>
                  <a:pt x="1165" y="543"/>
                  <a:pt x="1165" y="544"/>
                </a:cubicBezTo>
                <a:cubicBezTo>
                  <a:pt x="1166" y="545"/>
                  <a:pt x="1166" y="546"/>
                  <a:pt x="1167" y="547"/>
                </a:cubicBezTo>
                <a:cubicBezTo>
                  <a:pt x="1168" y="548"/>
                  <a:pt x="1171" y="550"/>
                  <a:pt x="1169" y="552"/>
                </a:cubicBezTo>
                <a:cubicBezTo>
                  <a:pt x="1168" y="552"/>
                  <a:pt x="1167" y="553"/>
                  <a:pt x="1166" y="553"/>
                </a:cubicBezTo>
                <a:cubicBezTo>
                  <a:pt x="1164" y="554"/>
                  <a:pt x="1164" y="554"/>
                  <a:pt x="1164" y="555"/>
                </a:cubicBezTo>
                <a:cubicBezTo>
                  <a:pt x="1163" y="556"/>
                  <a:pt x="1162" y="557"/>
                  <a:pt x="1161" y="558"/>
                </a:cubicBezTo>
                <a:cubicBezTo>
                  <a:pt x="1161" y="558"/>
                  <a:pt x="1161" y="559"/>
                  <a:pt x="1161" y="559"/>
                </a:cubicBezTo>
                <a:cubicBezTo>
                  <a:pt x="1161" y="559"/>
                  <a:pt x="1161" y="559"/>
                  <a:pt x="1161" y="558"/>
                </a:cubicBezTo>
                <a:cubicBezTo>
                  <a:pt x="1161" y="560"/>
                  <a:pt x="1161" y="558"/>
                  <a:pt x="1161" y="558"/>
                </a:cubicBezTo>
                <a:close/>
                <a:moveTo>
                  <a:pt x="1303" y="986"/>
                </a:moveTo>
                <a:cubicBezTo>
                  <a:pt x="1303" y="990"/>
                  <a:pt x="1308" y="989"/>
                  <a:pt x="1311" y="990"/>
                </a:cubicBezTo>
                <a:cubicBezTo>
                  <a:pt x="1313" y="991"/>
                  <a:pt x="1314" y="994"/>
                  <a:pt x="1315" y="996"/>
                </a:cubicBezTo>
                <a:cubicBezTo>
                  <a:pt x="1316" y="998"/>
                  <a:pt x="1319" y="998"/>
                  <a:pt x="1321" y="998"/>
                </a:cubicBezTo>
                <a:cubicBezTo>
                  <a:pt x="1324" y="999"/>
                  <a:pt x="1327" y="999"/>
                  <a:pt x="1329" y="1000"/>
                </a:cubicBezTo>
                <a:cubicBezTo>
                  <a:pt x="1331" y="1001"/>
                  <a:pt x="1333" y="1003"/>
                  <a:pt x="1335" y="1003"/>
                </a:cubicBezTo>
                <a:cubicBezTo>
                  <a:pt x="1338" y="1004"/>
                  <a:pt x="1340" y="1003"/>
                  <a:pt x="1343" y="1004"/>
                </a:cubicBezTo>
                <a:cubicBezTo>
                  <a:pt x="1345" y="1004"/>
                  <a:pt x="1347" y="1003"/>
                  <a:pt x="1348" y="1002"/>
                </a:cubicBezTo>
                <a:cubicBezTo>
                  <a:pt x="1350" y="1001"/>
                  <a:pt x="1347" y="999"/>
                  <a:pt x="1346" y="998"/>
                </a:cubicBezTo>
                <a:cubicBezTo>
                  <a:pt x="1345" y="997"/>
                  <a:pt x="1344" y="997"/>
                  <a:pt x="1343" y="997"/>
                </a:cubicBezTo>
                <a:cubicBezTo>
                  <a:pt x="1342" y="996"/>
                  <a:pt x="1341" y="997"/>
                  <a:pt x="1339" y="997"/>
                </a:cubicBezTo>
                <a:cubicBezTo>
                  <a:pt x="1337" y="996"/>
                  <a:pt x="1337" y="993"/>
                  <a:pt x="1335" y="991"/>
                </a:cubicBezTo>
                <a:cubicBezTo>
                  <a:pt x="1333" y="990"/>
                  <a:pt x="1331" y="990"/>
                  <a:pt x="1329" y="990"/>
                </a:cubicBezTo>
                <a:cubicBezTo>
                  <a:pt x="1327" y="989"/>
                  <a:pt x="1325" y="988"/>
                  <a:pt x="1323" y="987"/>
                </a:cubicBezTo>
                <a:cubicBezTo>
                  <a:pt x="1321" y="986"/>
                  <a:pt x="1319" y="986"/>
                  <a:pt x="1316" y="986"/>
                </a:cubicBezTo>
                <a:cubicBezTo>
                  <a:pt x="1313" y="986"/>
                  <a:pt x="1310" y="986"/>
                  <a:pt x="1307" y="986"/>
                </a:cubicBezTo>
                <a:cubicBezTo>
                  <a:pt x="1306" y="986"/>
                  <a:pt x="1301" y="984"/>
                  <a:pt x="1303" y="987"/>
                </a:cubicBezTo>
                <a:cubicBezTo>
                  <a:pt x="1303" y="987"/>
                  <a:pt x="1303" y="987"/>
                  <a:pt x="1303" y="986"/>
                </a:cubicBezTo>
                <a:cubicBezTo>
                  <a:pt x="1303" y="990"/>
                  <a:pt x="1303" y="986"/>
                  <a:pt x="1303" y="986"/>
                </a:cubicBezTo>
                <a:close/>
                <a:moveTo>
                  <a:pt x="1452" y="965"/>
                </a:moveTo>
                <a:cubicBezTo>
                  <a:pt x="1452" y="965"/>
                  <a:pt x="1450" y="966"/>
                  <a:pt x="1450" y="967"/>
                </a:cubicBezTo>
                <a:cubicBezTo>
                  <a:pt x="1451" y="968"/>
                  <a:pt x="1453" y="967"/>
                  <a:pt x="1454" y="967"/>
                </a:cubicBezTo>
                <a:cubicBezTo>
                  <a:pt x="1455" y="967"/>
                  <a:pt x="1456" y="966"/>
                  <a:pt x="1455" y="965"/>
                </a:cubicBezTo>
                <a:cubicBezTo>
                  <a:pt x="1454" y="964"/>
                  <a:pt x="1452" y="965"/>
                  <a:pt x="1452" y="965"/>
                </a:cubicBezTo>
                <a:cubicBezTo>
                  <a:pt x="1452" y="965"/>
                  <a:pt x="1452" y="965"/>
                  <a:pt x="1452" y="965"/>
                </a:cubicBezTo>
                <a:cubicBezTo>
                  <a:pt x="1451" y="966"/>
                  <a:pt x="1452" y="965"/>
                  <a:pt x="1452" y="965"/>
                </a:cubicBezTo>
                <a:close/>
                <a:moveTo>
                  <a:pt x="1467" y="990"/>
                </a:moveTo>
                <a:cubicBezTo>
                  <a:pt x="1466" y="991"/>
                  <a:pt x="1464" y="990"/>
                  <a:pt x="1465" y="992"/>
                </a:cubicBezTo>
                <a:cubicBezTo>
                  <a:pt x="1465" y="993"/>
                  <a:pt x="1467" y="992"/>
                  <a:pt x="1468" y="992"/>
                </a:cubicBezTo>
                <a:cubicBezTo>
                  <a:pt x="1469" y="992"/>
                  <a:pt x="1471" y="991"/>
                  <a:pt x="1469" y="990"/>
                </a:cubicBezTo>
                <a:cubicBezTo>
                  <a:pt x="1468" y="989"/>
                  <a:pt x="1467" y="990"/>
                  <a:pt x="1466" y="991"/>
                </a:cubicBezTo>
                <a:cubicBezTo>
                  <a:pt x="1467" y="991"/>
                  <a:pt x="1467" y="990"/>
                  <a:pt x="1467" y="990"/>
                </a:cubicBezTo>
                <a:cubicBezTo>
                  <a:pt x="1466" y="991"/>
                  <a:pt x="1467" y="990"/>
                  <a:pt x="1467" y="990"/>
                </a:cubicBezTo>
                <a:close/>
                <a:moveTo>
                  <a:pt x="1476" y="988"/>
                </a:moveTo>
                <a:cubicBezTo>
                  <a:pt x="1475" y="988"/>
                  <a:pt x="1474" y="989"/>
                  <a:pt x="1474" y="991"/>
                </a:cubicBezTo>
                <a:cubicBezTo>
                  <a:pt x="1475" y="992"/>
                  <a:pt x="1477" y="991"/>
                  <a:pt x="1479" y="991"/>
                </a:cubicBezTo>
                <a:cubicBezTo>
                  <a:pt x="1481" y="992"/>
                  <a:pt x="1480" y="990"/>
                  <a:pt x="1479" y="989"/>
                </a:cubicBezTo>
                <a:cubicBezTo>
                  <a:pt x="1478" y="987"/>
                  <a:pt x="1477" y="987"/>
                  <a:pt x="1475" y="988"/>
                </a:cubicBezTo>
                <a:cubicBezTo>
                  <a:pt x="1475" y="988"/>
                  <a:pt x="1476" y="988"/>
                  <a:pt x="1476" y="988"/>
                </a:cubicBezTo>
                <a:cubicBezTo>
                  <a:pt x="1475" y="988"/>
                  <a:pt x="1476" y="988"/>
                  <a:pt x="1476" y="988"/>
                </a:cubicBezTo>
                <a:close/>
                <a:moveTo>
                  <a:pt x="1457" y="993"/>
                </a:moveTo>
                <a:cubicBezTo>
                  <a:pt x="1456" y="994"/>
                  <a:pt x="1456" y="994"/>
                  <a:pt x="1457" y="995"/>
                </a:cubicBezTo>
                <a:cubicBezTo>
                  <a:pt x="1458" y="995"/>
                  <a:pt x="1459" y="997"/>
                  <a:pt x="1460" y="996"/>
                </a:cubicBezTo>
                <a:cubicBezTo>
                  <a:pt x="1460" y="994"/>
                  <a:pt x="1459" y="991"/>
                  <a:pt x="1457" y="993"/>
                </a:cubicBezTo>
                <a:cubicBezTo>
                  <a:pt x="1457" y="993"/>
                  <a:pt x="1457" y="993"/>
                  <a:pt x="1457" y="993"/>
                </a:cubicBezTo>
                <a:cubicBezTo>
                  <a:pt x="1457" y="993"/>
                  <a:pt x="1457" y="993"/>
                  <a:pt x="1457" y="993"/>
                </a:cubicBezTo>
                <a:close/>
                <a:moveTo>
                  <a:pt x="1445" y="1035"/>
                </a:moveTo>
                <a:cubicBezTo>
                  <a:pt x="1445" y="1035"/>
                  <a:pt x="1443" y="1036"/>
                  <a:pt x="1444" y="1037"/>
                </a:cubicBezTo>
                <a:cubicBezTo>
                  <a:pt x="1444" y="1038"/>
                  <a:pt x="1446" y="1039"/>
                  <a:pt x="1447" y="1038"/>
                </a:cubicBezTo>
                <a:cubicBezTo>
                  <a:pt x="1447" y="1037"/>
                  <a:pt x="1448" y="1035"/>
                  <a:pt x="1447" y="1035"/>
                </a:cubicBezTo>
                <a:cubicBezTo>
                  <a:pt x="1447" y="1035"/>
                  <a:pt x="1445" y="1035"/>
                  <a:pt x="1445" y="1035"/>
                </a:cubicBezTo>
                <a:cubicBezTo>
                  <a:pt x="1445" y="1035"/>
                  <a:pt x="1445" y="1035"/>
                  <a:pt x="1445" y="1035"/>
                </a:cubicBezTo>
                <a:cubicBezTo>
                  <a:pt x="1445" y="1035"/>
                  <a:pt x="1445" y="1035"/>
                  <a:pt x="1445" y="1035"/>
                </a:cubicBezTo>
                <a:close/>
                <a:moveTo>
                  <a:pt x="1346" y="1037"/>
                </a:moveTo>
                <a:cubicBezTo>
                  <a:pt x="1346" y="1037"/>
                  <a:pt x="1345" y="1038"/>
                  <a:pt x="1344" y="1038"/>
                </a:cubicBezTo>
                <a:cubicBezTo>
                  <a:pt x="1344" y="1039"/>
                  <a:pt x="1344" y="1040"/>
                  <a:pt x="1343" y="1040"/>
                </a:cubicBezTo>
                <a:cubicBezTo>
                  <a:pt x="1342" y="1042"/>
                  <a:pt x="1342" y="1043"/>
                  <a:pt x="1344" y="1043"/>
                </a:cubicBezTo>
                <a:cubicBezTo>
                  <a:pt x="1345" y="1044"/>
                  <a:pt x="1347" y="1044"/>
                  <a:pt x="1347" y="1043"/>
                </a:cubicBezTo>
                <a:cubicBezTo>
                  <a:pt x="1347" y="1041"/>
                  <a:pt x="1347" y="1040"/>
                  <a:pt x="1348" y="1038"/>
                </a:cubicBezTo>
                <a:cubicBezTo>
                  <a:pt x="1349" y="1037"/>
                  <a:pt x="1350" y="1037"/>
                  <a:pt x="1352" y="1036"/>
                </a:cubicBezTo>
                <a:cubicBezTo>
                  <a:pt x="1352" y="1036"/>
                  <a:pt x="1355" y="1036"/>
                  <a:pt x="1355" y="1035"/>
                </a:cubicBezTo>
                <a:cubicBezTo>
                  <a:pt x="1354" y="1032"/>
                  <a:pt x="1346" y="1037"/>
                  <a:pt x="1346" y="1037"/>
                </a:cubicBezTo>
                <a:cubicBezTo>
                  <a:pt x="1346" y="1037"/>
                  <a:pt x="1346" y="1037"/>
                  <a:pt x="1346" y="1037"/>
                </a:cubicBezTo>
                <a:cubicBezTo>
                  <a:pt x="1346" y="1037"/>
                  <a:pt x="1346" y="1037"/>
                  <a:pt x="1346" y="1037"/>
                </a:cubicBezTo>
                <a:close/>
                <a:moveTo>
                  <a:pt x="1136" y="523"/>
                </a:moveTo>
                <a:cubicBezTo>
                  <a:pt x="1138" y="525"/>
                  <a:pt x="1139" y="527"/>
                  <a:pt x="1142" y="527"/>
                </a:cubicBezTo>
                <a:cubicBezTo>
                  <a:pt x="1144" y="527"/>
                  <a:pt x="1149" y="528"/>
                  <a:pt x="1149" y="531"/>
                </a:cubicBezTo>
                <a:cubicBezTo>
                  <a:pt x="1149" y="532"/>
                  <a:pt x="1150" y="533"/>
                  <a:pt x="1150" y="534"/>
                </a:cubicBezTo>
                <a:cubicBezTo>
                  <a:pt x="1149" y="535"/>
                  <a:pt x="1148" y="534"/>
                  <a:pt x="1147" y="534"/>
                </a:cubicBezTo>
                <a:cubicBezTo>
                  <a:pt x="1144" y="534"/>
                  <a:pt x="1141" y="534"/>
                  <a:pt x="1138" y="535"/>
                </a:cubicBezTo>
                <a:cubicBezTo>
                  <a:pt x="1136" y="535"/>
                  <a:pt x="1132" y="535"/>
                  <a:pt x="1130" y="533"/>
                </a:cubicBezTo>
                <a:cubicBezTo>
                  <a:pt x="1129" y="532"/>
                  <a:pt x="1128" y="532"/>
                  <a:pt x="1127" y="531"/>
                </a:cubicBezTo>
                <a:cubicBezTo>
                  <a:pt x="1126" y="531"/>
                  <a:pt x="1125" y="530"/>
                  <a:pt x="1126" y="529"/>
                </a:cubicBezTo>
                <a:cubicBezTo>
                  <a:pt x="1126" y="527"/>
                  <a:pt x="1128" y="527"/>
                  <a:pt x="1129" y="527"/>
                </a:cubicBezTo>
                <a:cubicBezTo>
                  <a:pt x="1130" y="526"/>
                  <a:pt x="1131" y="525"/>
                  <a:pt x="1132" y="525"/>
                </a:cubicBezTo>
                <a:cubicBezTo>
                  <a:pt x="1133" y="524"/>
                  <a:pt x="1134" y="523"/>
                  <a:pt x="1135" y="523"/>
                </a:cubicBezTo>
                <a:cubicBezTo>
                  <a:pt x="1136" y="523"/>
                  <a:pt x="1136" y="524"/>
                  <a:pt x="1137" y="524"/>
                </a:cubicBezTo>
                <a:cubicBezTo>
                  <a:pt x="1136" y="524"/>
                  <a:pt x="1136" y="524"/>
                  <a:pt x="1136" y="523"/>
                </a:cubicBezTo>
                <a:cubicBezTo>
                  <a:pt x="1138" y="525"/>
                  <a:pt x="1136" y="523"/>
                  <a:pt x="1136" y="523"/>
                </a:cubicBezTo>
                <a:close/>
                <a:moveTo>
                  <a:pt x="1046" y="936"/>
                </a:moveTo>
                <a:cubicBezTo>
                  <a:pt x="1045" y="936"/>
                  <a:pt x="1042" y="936"/>
                  <a:pt x="1042" y="937"/>
                </a:cubicBezTo>
                <a:cubicBezTo>
                  <a:pt x="1042" y="938"/>
                  <a:pt x="1043" y="939"/>
                  <a:pt x="1044" y="939"/>
                </a:cubicBezTo>
                <a:cubicBezTo>
                  <a:pt x="1045" y="939"/>
                  <a:pt x="1047" y="939"/>
                  <a:pt x="1048" y="939"/>
                </a:cubicBezTo>
                <a:cubicBezTo>
                  <a:pt x="1049" y="939"/>
                  <a:pt x="1050" y="934"/>
                  <a:pt x="1048" y="934"/>
                </a:cubicBezTo>
                <a:cubicBezTo>
                  <a:pt x="1047" y="934"/>
                  <a:pt x="1046" y="936"/>
                  <a:pt x="1045" y="936"/>
                </a:cubicBezTo>
                <a:cubicBezTo>
                  <a:pt x="1045" y="936"/>
                  <a:pt x="1046" y="936"/>
                  <a:pt x="1046" y="936"/>
                </a:cubicBezTo>
                <a:cubicBezTo>
                  <a:pt x="1045" y="936"/>
                  <a:pt x="1046" y="936"/>
                  <a:pt x="1046" y="936"/>
                </a:cubicBezTo>
                <a:close/>
                <a:moveTo>
                  <a:pt x="1102" y="520"/>
                </a:moveTo>
                <a:cubicBezTo>
                  <a:pt x="1104" y="520"/>
                  <a:pt x="1107" y="518"/>
                  <a:pt x="1109" y="518"/>
                </a:cubicBezTo>
                <a:cubicBezTo>
                  <a:pt x="1110" y="519"/>
                  <a:pt x="1112" y="519"/>
                  <a:pt x="1113" y="520"/>
                </a:cubicBezTo>
                <a:cubicBezTo>
                  <a:pt x="1114" y="520"/>
                  <a:pt x="1116" y="521"/>
                  <a:pt x="1117" y="521"/>
                </a:cubicBezTo>
                <a:cubicBezTo>
                  <a:pt x="1119" y="521"/>
                  <a:pt x="1120" y="523"/>
                  <a:pt x="1120" y="525"/>
                </a:cubicBezTo>
                <a:cubicBezTo>
                  <a:pt x="1120" y="527"/>
                  <a:pt x="1117" y="529"/>
                  <a:pt x="1118" y="531"/>
                </a:cubicBezTo>
                <a:cubicBezTo>
                  <a:pt x="1119" y="533"/>
                  <a:pt x="1121" y="535"/>
                  <a:pt x="1121" y="538"/>
                </a:cubicBezTo>
                <a:cubicBezTo>
                  <a:pt x="1122" y="540"/>
                  <a:pt x="1120" y="542"/>
                  <a:pt x="1119" y="543"/>
                </a:cubicBezTo>
                <a:cubicBezTo>
                  <a:pt x="1116" y="544"/>
                  <a:pt x="1115" y="546"/>
                  <a:pt x="1113" y="548"/>
                </a:cubicBezTo>
                <a:cubicBezTo>
                  <a:pt x="1110" y="549"/>
                  <a:pt x="1108" y="549"/>
                  <a:pt x="1105" y="549"/>
                </a:cubicBezTo>
                <a:cubicBezTo>
                  <a:pt x="1102" y="549"/>
                  <a:pt x="1100" y="550"/>
                  <a:pt x="1097" y="551"/>
                </a:cubicBezTo>
                <a:cubicBezTo>
                  <a:pt x="1095" y="551"/>
                  <a:pt x="1092" y="550"/>
                  <a:pt x="1090" y="548"/>
                </a:cubicBezTo>
                <a:cubicBezTo>
                  <a:pt x="1088" y="547"/>
                  <a:pt x="1086" y="545"/>
                  <a:pt x="1085" y="543"/>
                </a:cubicBezTo>
                <a:cubicBezTo>
                  <a:pt x="1084" y="541"/>
                  <a:pt x="1082" y="538"/>
                  <a:pt x="1082" y="536"/>
                </a:cubicBezTo>
                <a:cubicBezTo>
                  <a:pt x="1083" y="534"/>
                  <a:pt x="1085" y="532"/>
                  <a:pt x="1087" y="530"/>
                </a:cubicBezTo>
                <a:cubicBezTo>
                  <a:pt x="1088" y="528"/>
                  <a:pt x="1090" y="526"/>
                  <a:pt x="1091" y="524"/>
                </a:cubicBezTo>
                <a:cubicBezTo>
                  <a:pt x="1092" y="522"/>
                  <a:pt x="1092" y="520"/>
                  <a:pt x="1095" y="520"/>
                </a:cubicBezTo>
                <a:cubicBezTo>
                  <a:pt x="1096" y="520"/>
                  <a:pt x="1098" y="521"/>
                  <a:pt x="1099" y="520"/>
                </a:cubicBezTo>
                <a:cubicBezTo>
                  <a:pt x="1100" y="520"/>
                  <a:pt x="1101" y="520"/>
                  <a:pt x="1102" y="520"/>
                </a:cubicBezTo>
                <a:cubicBezTo>
                  <a:pt x="1102" y="520"/>
                  <a:pt x="1102" y="520"/>
                  <a:pt x="1102" y="520"/>
                </a:cubicBezTo>
                <a:cubicBezTo>
                  <a:pt x="1103" y="520"/>
                  <a:pt x="1102" y="520"/>
                  <a:pt x="1102" y="520"/>
                </a:cubicBezTo>
                <a:close/>
                <a:moveTo>
                  <a:pt x="1116" y="509"/>
                </a:moveTo>
                <a:cubicBezTo>
                  <a:pt x="1117" y="506"/>
                  <a:pt x="1120" y="508"/>
                  <a:pt x="1121" y="509"/>
                </a:cubicBezTo>
                <a:cubicBezTo>
                  <a:pt x="1123" y="510"/>
                  <a:pt x="1123" y="512"/>
                  <a:pt x="1124" y="513"/>
                </a:cubicBezTo>
                <a:cubicBezTo>
                  <a:pt x="1125" y="514"/>
                  <a:pt x="1126" y="515"/>
                  <a:pt x="1125" y="517"/>
                </a:cubicBezTo>
                <a:cubicBezTo>
                  <a:pt x="1125" y="517"/>
                  <a:pt x="1123" y="519"/>
                  <a:pt x="1122" y="518"/>
                </a:cubicBezTo>
                <a:cubicBezTo>
                  <a:pt x="1121" y="518"/>
                  <a:pt x="1120" y="516"/>
                  <a:pt x="1120" y="515"/>
                </a:cubicBezTo>
                <a:cubicBezTo>
                  <a:pt x="1119" y="513"/>
                  <a:pt x="1117" y="513"/>
                  <a:pt x="1116" y="511"/>
                </a:cubicBezTo>
                <a:cubicBezTo>
                  <a:pt x="1115" y="510"/>
                  <a:pt x="1116" y="509"/>
                  <a:pt x="1117" y="508"/>
                </a:cubicBezTo>
                <a:cubicBezTo>
                  <a:pt x="1117" y="508"/>
                  <a:pt x="1116" y="508"/>
                  <a:pt x="1116" y="509"/>
                </a:cubicBezTo>
                <a:cubicBezTo>
                  <a:pt x="1117" y="506"/>
                  <a:pt x="1116" y="509"/>
                  <a:pt x="1116" y="509"/>
                </a:cubicBezTo>
                <a:close/>
                <a:moveTo>
                  <a:pt x="1082" y="487"/>
                </a:moveTo>
                <a:cubicBezTo>
                  <a:pt x="1083" y="485"/>
                  <a:pt x="1087" y="486"/>
                  <a:pt x="1089" y="487"/>
                </a:cubicBezTo>
                <a:cubicBezTo>
                  <a:pt x="1090" y="487"/>
                  <a:pt x="1094" y="488"/>
                  <a:pt x="1093" y="489"/>
                </a:cubicBezTo>
                <a:cubicBezTo>
                  <a:pt x="1093" y="491"/>
                  <a:pt x="1091" y="491"/>
                  <a:pt x="1090" y="492"/>
                </a:cubicBezTo>
                <a:cubicBezTo>
                  <a:pt x="1089" y="493"/>
                  <a:pt x="1089" y="495"/>
                  <a:pt x="1088" y="496"/>
                </a:cubicBezTo>
                <a:cubicBezTo>
                  <a:pt x="1087" y="496"/>
                  <a:pt x="1085" y="495"/>
                  <a:pt x="1084" y="494"/>
                </a:cubicBezTo>
                <a:cubicBezTo>
                  <a:pt x="1081" y="492"/>
                  <a:pt x="1081" y="488"/>
                  <a:pt x="1083" y="486"/>
                </a:cubicBezTo>
                <a:cubicBezTo>
                  <a:pt x="1083" y="486"/>
                  <a:pt x="1082" y="487"/>
                  <a:pt x="1082" y="487"/>
                </a:cubicBezTo>
                <a:cubicBezTo>
                  <a:pt x="1083" y="485"/>
                  <a:pt x="1082" y="487"/>
                  <a:pt x="1082" y="487"/>
                </a:cubicBezTo>
                <a:close/>
                <a:moveTo>
                  <a:pt x="1065" y="478"/>
                </a:moveTo>
                <a:cubicBezTo>
                  <a:pt x="1066" y="477"/>
                  <a:pt x="1068" y="476"/>
                  <a:pt x="1069" y="476"/>
                </a:cubicBezTo>
                <a:cubicBezTo>
                  <a:pt x="1070" y="476"/>
                  <a:pt x="1072" y="478"/>
                  <a:pt x="1072" y="479"/>
                </a:cubicBezTo>
                <a:cubicBezTo>
                  <a:pt x="1072" y="481"/>
                  <a:pt x="1068" y="481"/>
                  <a:pt x="1066" y="481"/>
                </a:cubicBezTo>
                <a:cubicBezTo>
                  <a:pt x="1065" y="482"/>
                  <a:pt x="1064" y="482"/>
                  <a:pt x="1063" y="482"/>
                </a:cubicBezTo>
                <a:cubicBezTo>
                  <a:pt x="1062" y="483"/>
                  <a:pt x="1060" y="485"/>
                  <a:pt x="1059" y="483"/>
                </a:cubicBezTo>
                <a:cubicBezTo>
                  <a:pt x="1059" y="481"/>
                  <a:pt x="1062" y="481"/>
                  <a:pt x="1063" y="480"/>
                </a:cubicBezTo>
                <a:cubicBezTo>
                  <a:pt x="1064" y="479"/>
                  <a:pt x="1065" y="478"/>
                  <a:pt x="1066" y="477"/>
                </a:cubicBezTo>
                <a:cubicBezTo>
                  <a:pt x="1066" y="478"/>
                  <a:pt x="1065" y="478"/>
                  <a:pt x="1065" y="478"/>
                </a:cubicBezTo>
                <a:cubicBezTo>
                  <a:pt x="1067" y="477"/>
                  <a:pt x="1065" y="478"/>
                  <a:pt x="1065" y="478"/>
                </a:cubicBezTo>
                <a:close/>
                <a:moveTo>
                  <a:pt x="1060" y="490"/>
                </a:moveTo>
                <a:cubicBezTo>
                  <a:pt x="1060" y="488"/>
                  <a:pt x="1062" y="485"/>
                  <a:pt x="1064" y="486"/>
                </a:cubicBezTo>
                <a:cubicBezTo>
                  <a:pt x="1065" y="487"/>
                  <a:pt x="1068" y="489"/>
                  <a:pt x="1067" y="490"/>
                </a:cubicBezTo>
                <a:cubicBezTo>
                  <a:pt x="1067" y="492"/>
                  <a:pt x="1064" y="493"/>
                  <a:pt x="1062" y="493"/>
                </a:cubicBezTo>
                <a:cubicBezTo>
                  <a:pt x="1059" y="495"/>
                  <a:pt x="1060" y="498"/>
                  <a:pt x="1057" y="500"/>
                </a:cubicBezTo>
                <a:cubicBezTo>
                  <a:pt x="1055" y="501"/>
                  <a:pt x="1053" y="501"/>
                  <a:pt x="1051" y="503"/>
                </a:cubicBezTo>
                <a:cubicBezTo>
                  <a:pt x="1050" y="504"/>
                  <a:pt x="1049" y="504"/>
                  <a:pt x="1048" y="502"/>
                </a:cubicBezTo>
                <a:cubicBezTo>
                  <a:pt x="1048" y="501"/>
                  <a:pt x="1049" y="500"/>
                  <a:pt x="1050" y="499"/>
                </a:cubicBezTo>
                <a:cubicBezTo>
                  <a:pt x="1052" y="497"/>
                  <a:pt x="1055" y="495"/>
                  <a:pt x="1057" y="494"/>
                </a:cubicBezTo>
                <a:cubicBezTo>
                  <a:pt x="1059" y="492"/>
                  <a:pt x="1059" y="491"/>
                  <a:pt x="1060" y="489"/>
                </a:cubicBezTo>
                <a:cubicBezTo>
                  <a:pt x="1060" y="489"/>
                  <a:pt x="1060" y="490"/>
                  <a:pt x="1060" y="490"/>
                </a:cubicBezTo>
                <a:cubicBezTo>
                  <a:pt x="1060" y="489"/>
                  <a:pt x="1060" y="490"/>
                  <a:pt x="1060" y="490"/>
                </a:cubicBezTo>
                <a:close/>
                <a:moveTo>
                  <a:pt x="1037" y="476"/>
                </a:moveTo>
                <a:cubicBezTo>
                  <a:pt x="1038" y="477"/>
                  <a:pt x="1040" y="477"/>
                  <a:pt x="1041" y="476"/>
                </a:cubicBezTo>
                <a:cubicBezTo>
                  <a:pt x="1043" y="475"/>
                  <a:pt x="1044" y="474"/>
                  <a:pt x="1046" y="475"/>
                </a:cubicBezTo>
                <a:cubicBezTo>
                  <a:pt x="1047" y="475"/>
                  <a:pt x="1047" y="476"/>
                  <a:pt x="1048" y="477"/>
                </a:cubicBezTo>
                <a:cubicBezTo>
                  <a:pt x="1048" y="479"/>
                  <a:pt x="1046" y="478"/>
                  <a:pt x="1046" y="478"/>
                </a:cubicBezTo>
                <a:cubicBezTo>
                  <a:pt x="1044" y="478"/>
                  <a:pt x="1043" y="478"/>
                  <a:pt x="1042" y="479"/>
                </a:cubicBezTo>
                <a:cubicBezTo>
                  <a:pt x="1041" y="479"/>
                  <a:pt x="1041" y="480"/>
                  <a:pt x="1040" y="480"/>
                </a:cubicBezTo>
                <a:cubicBezTo>
                  <a:pt x="1039" y="479"/>
                  <a:pt x="1039" y="480"/>
                  <a:pt x="1038" y="480"/>
                </a:cubicBezTo>
                <a:cubicBezTo>
                  <a:pt x="1038" y="481"/>
                  <a:pt x="1038" y="483"/>
                  <a:pt x="1037" y="483"/>
                </a:cubicBezTo>
                <a:cubicBezTo>
                  <a:pt x="1036" y="484"/>
                  <a:pt x="1034" y="483"/>
                  <a:pt x="1034" y="482"/>
                </a:cubicBezTo>
                <a:cubicBezTo>
                  <a:pt x="1034" y="482"/>
                  <a:pt x="1034" y="480"/>
                  <a:pt x="1033" y="480"/>
                </a:cubicBezTo>
                <a:cubicBezTo>
                  <a:pt x="1032" y="481"/>
                  <a:pt x="1032" y="482"/>
                  <a:pt x="1031" y="481"/>
                </a:cubicBezTo>
                <a:cubicBezTo>
                  <a:pt x="1030" y="480"/>
                  <a:pt x="1030" y="478"/>
                  <a:pt x="1029" y="478"/>
                </a:cubicBezTo>
                <a:cubicBezTo>
                  <a:pt x="1028" y="478"/>
                  <a:pt x="1025" y="479"/>
                  <a:pt x="1027" y="478"/>
                </a:cubicBezTo>
                <a:cubicBezTo>
                  <a:pt x="1028" y="477"/>
                  <a:pt x="1029" y="477"/>
                  <a:pt x="1029" y="476"/>
                </a:cubicBezTo>
                <a:cubicBezTo>
                  <a:pt x="1030" y="475"/>
                  <a:pt x="1030" y="474"/>
                  <a:pt x="1032" y="474"/>
                </a:cubicBezTo>
                <a:cubicBezTo>
                  <a:pt x="1033" y="474"/>
                  <a:pt x="1034" y="476"/>
                  <a:pt x="1035" y="476"/>
                </a:cubicBezTo>
                <a:cubicBezTo>
                  <a:pt x="1036" y="476"/>
                  <a:pt x="1037" y="476"/>
                  <a:pt x="1038" y="477"/>
                </a:cubicBezTo>
                <a:cubicBezTo>
                  <a:pt x="1037" y="476"/>
                  <a:pt x="1037" y="476"/>
                  <a:pt x="1037" y="476"/>
                </a:cubicBezTo>
                <a:cubicBezTo>
                  <a:pt x="1038" y="477"/>
                  <a:pt x="1037" y="476"/>
                  <a:pt x="1037" y="476"/>
                </a:cubicBezTo>
                <a:close/>
                <a:moveTo>
                  <a:pt x="1037" y="391"/>
                </a:moveTo>
                <a:cubicBezTo>
                  <a:pt x="1038" y="389"/>
                  <a:pt x="1041" y="392"/>
                  <a:pt x="1041" y="393"/>
                </a:cubicBezTo>
                <a:cubicBezTo>
                  <a:pt x="1042" y="394"/>
                  <a:pt x="1043" y="395"/>
                  <a:pt x="1043" y="396"/>
                </a:cubicBezTo>
                <a:cubicBezTo>
                  <a:pt x="1043" y="397"/>
                  <a:pt x="1042" y="397"/>
                  <a:pt x="1041" y="397"/>
                </a:cubicBezTo>
                <a:cubicBezTo>
                  <a:pt x="1039" y="398"/>
                  <a:pt x="1039" y="399"/>
                  <a:pt x="1037" y="399"/>
                </a:cubicBezTo>
                <a:cubicBezTo>
                  <a:pt x="1036" y="398"/>
                  <a:pt x="1035" y="397"/>
                  <a:pt x="1035" y="396"/>
                </a:cubicBezTo>
                <a:cubicBezTo>
                  <a:pt x="1034" y="395"/>
                  <a:pt x="1033" y="394"/>
                  <a:pt x="1034" y="393"/>
                </a:cubicBezTo>
                <a:cubicBezTo>
                  <a:pt x="1036" y="392"/>
                  <a:pt x="1037" y="392"/>
                  <a:pt x="1037" y="390"/>
                </a:cubicBezTo>
                <a:cubicBezTo>
                  <a:pt x="1037" y="391"/>
                  <a:pt x="1037" y="391"/>
                  <a:pt x="1037" y="391"/>
                </a:cubicBezTo>
                <a:cubicBezTo>
                  <a:pt x="1038" y="388"/>
                  <a:pt x="1037" y="391"/>
                  <a:pt x="1037" y="391"/>
                </a:cubicBezTo>
                <a:close/>
                <a:moveTo>
                  <a:pt x="1034" y="372"/>
                </a:moveTo>
                <a:cubicBezTo>
                  <a:pt x="1034" y="371"/>
                  <a:pt x="1034" y="369"/>
                  <a:pt x="1034" y="368"/>
                </a:cubicBezTo>
                <a:cubicBezTo>
                  <a:pt x="1034" y="367"/>
                  <a:pt x="1034" y="366"/>
                  <a:pt x="1033" y="365"/>
                </a:cubicBezTo>
                <a:cubicBezTo>
                  <a:pt x="1030" y="365"/>
                  <a:pt x="1027" y="365"/>
                  <a:pt x="1025" y="365"/>
                </a:cubicBezTo>
                <a:cubicBezTo>
                  <a:pt x="1024" y="364"/>
                  <a:pt x="1022" y="362"/>
                  <a:pt x="1022" y="361"/>
                </a:cubicBezTo>
                <a:cubicBezTo>
                  <a:pt x="1023" y="360"/>
                  <a:pt x="1024" y="359"/>
                  <a:pt x="1024" y="358"/>
                </a:cubicBezTo>
                <a:cubicBezTo>
                  <a:pt x="1024" y="357"/>
                  <a:pt x="1023" y="356"/>
                  <a:pt x="1022" y="355"/>
                </a:cubicBezTo>
                <a:cubicBezTo>
                  <a:pt x="1021" y="354"/>
                  <a:pt x="1022" y="351"/>
                  <a:pt x="1022" y="350"/>
                </a:cubicBezTo>
                <a:cubicBezTo>
                  <a:pt x="1024" y="348"/>
                  <a:pt x="1029" y="350"/>
                  <a:pt x="1031" y="350"/>
                </a:cubicBezTo>
                <a:cubicBezTo>
                  <a:pt x="1034" y="351"/>
                  <a:pt x="1036" y="350"/>
                  <a:pt x="1039" y="352"/>
                </a:cubicBezTo>
                <a:cubicBezTo>
                  <a:pt x="1042" y="353"/>
                  <a:pt x="1044" y="355"/>
                  <a:pt x="1047" y="355"/>
                </a:cubicBezTo>
                <a:cubicBezTo>
                  <a:pt x="1050" y="355"/>
                  <a:pt x="1053" y="354"/>
                  <a:pt x="1055" y="353"/>
                </a:cubicBezTo>
                <a:cubicBezTo>
                  <a:pt x="1058" y="353"/>
                  <a:pt x="1062" y="353"/>
                  <a:pt x="1065" y="353"/>
                </a:cubicBezTo>
                <a:cubicBezTo>
                  <a:pt x="1067" y="353"/>
                  <a:pt x="1069" y="353"/>
                  <a:pt x="1072" y="355"/>
                </a:cubicBezTo>
                <a:cubicBezTo>
                  <a:pt x="1074" y="356"/>
                  <a:pt x="1077" y="356"/>
                  <a:pt x="1080" y="356"/>
                </a:cubicBezTo>
                <a:cubicBezTo>
                  <a:pt x="1083" y="356"/>
                  <a:pt x="1084" y="358"/>
                  <a:pt x="1085" y="360"/>
                </a:cubicBezTo>
                <a:cubicBezTo>
                  <a:pt x="1086" y="361"/>
                  <a:pt x="1086" y="362"/>
                  <a:pt x="1087" y="363"/>
                </a:cubicBezTo>
                <a:cubicBezTo>
                  <a:pt x="1088" y="364"/>
                  <a:pt x="1089" y="363"/>
                  <a:pt x="1091" y="363"/>
                </a:cubicBezTo>
                <a:cubicBezTo>
                  <a:pt x="1093" y="364"/>
                  <a:pt x="1094" y="366"/>
                  <a:pt x="1095" y="368"/>
                </a:cubicBezTo>
                <a:cubicBezTo>
                  <a:pt x="1095" y="369"/>
                  <a:pt x="1096" y="370"/>
                  <a:pt x="1097" y="370"/>
                </a:cubicBezTo>
                <a:cubicBezTo>
                  <a:pt x="1098" y="371"/>
                  <a:pt x="1099" y="371"/>
                  <a:pt x="1099" y="372"/>
                </a:cubicBezTo>
                <a:cubicBezTo>
                  <a:pt x="1100" y="373"/>
                  <a:pt x="1099" y="375"/>
                  <a:pt x="1100" y="375"/>
                </a:cubicBezTo>
                <a:cubicBezTo>
                  <a:pt x="1100" y="376"/>
                  <a:pt x="1103" y="376"/>
                  <a:pt x="1103" y="377"/>
                </a:cubicBezTo>
                <a:cubicBezTo>
                  <a:pt x="1102" y="378"/>
                  <a:pt x="1096" y="377"/>
                  <a:pt x="1095" y="377"/>
                </a:cubicBezTo>
                <a:cubicBezTo>
                  <a:pt x="1091" y="377"/>
                  <a:pt x="1087" y="376"/>
                  <a:pt x="1082" y="376"/>
                </a:cubicBezTo>
                <a:cubicBezTo>
                  <a:pt x="1078" y="376"/>
                  <a:pt x="1074" y="377"/>
                  <a:pt x="1069" y="377"/>
                </a:cubicBezTo>
                <a:cubicBezTo>
                  <a:pt x="1065" y="377"/>
                  <a:pt x="1062" y="377"/>
                  <a:pt x="1058" y="379"/>
                </a:cubicBezTo>
                <a:cubicBezTo>
                  <a:pt x="1054" y="380"/>
                  <a:pt x="1051" y="382"/>
                  <a:pt x="1047" y="382"/>
                </a:cubicBezTo>
                <a:cubicBezTo>
                  <a:pt x="1046" y="381"/>
                  <a:pt x="1044" y="381"/>
                  <a:pt x="1042" y="381"/>
                </a:cubicBezTo>
                <a:cubicBezTo>
                  <a:pt x="1041" y="380"/>
                  <a:pt x="1039" y="379"/>
                  <a:pt x="1037" y="377"/>
                </a:cubicBezTo>
                <a:cubicBezTo>
                  <a:pt x="1036" y="377"/>
                  <a:pt x="1034" y="376"/>
                  <a:pt x="1034" y="375"/>
                </a:cubicBezTo>
                <a:cubicBezTo>
                  <a:pt x="1034" y="373"/>
                  <a:pt x="1034" y="372"/>
                  <a:pt x="1034" y="370"/>
                </a:cubicBezTo>
                <a:cubicBezTo>
                  <a:pt x="1034" y="371"/>
                  <a:pt x="1034" y="371"/>
                  <a:pt x="1034" y="372"/>
                </a:cubicBezTo>
                <a:cubicBezTo>
                  <a:pt x="1034" y="370"/>
                  <a:pt x="1034" y="372"/>
                  <a:pt x="1034" y="372"/>
                </a:cubicBezTo>
                <a:close/>
                <a:moveTo>
                  <a:pt x="991" y="280"/>
                </a:moveTo>
                <a:cubicBezTo>
                  <a:pt x="997" y="278"/>
                  <a:pt x="1003" y="280"/>
                  <a:pt x="1009" y="281"/>
                </a:cubicBezTo>
                <a:cubicBezTo>
                  <a:pt x="1012" y="281"/>
                  <a:pt x="1014" y="281"/>
                  <a:pt x="1016" y="282"/>
                </a:cubicBezTo>
                <a:cubicBezTo>
                  <a:pt x="1018" y="283"/>
                  <a:pt x="1018" y="284"/>
                  <a:pt x="1019" y="285"/>
                </a:cubicBezTo>
                <a:cubicBezTo>
                  <a:pt x="1020" y="286"/>
                  <a:pt x="1022" y="286"/>
                  <a:pt x="1023" y="286"/>
                </a:cubicBezTo>
                <a:cubicBezTo>
                  <a:pt x="1026" y="286"/>
                  <a:pt x="1028" y="285"/>
                  <a:pt x="1031" y="286"/>
                </a:cubicBezTo>
                <a:cubicBezTo>
                  <a:pt x="1032" y="287"/>
                  <a:pt x="1033" y="287"/>
                  <a:pt x="1034" y="287"/>
                </a:cubicBezTo>
                <a:cubicBezTo>
                  <a:pt x="1035" y="288"/>
                  <a:pt x="1035" y="289"/>
                  <a:pt x="1034" y="290"/>
                </a:cubicBezTo>
                <a:cubicBezTo>
                  <a:pt x="1034" y="290"/>
                  <a:pt x="1032" y="291"/>
                  <a:pt x="1033" y="292"/>
                </a:cubicBezTo>
                <a:cubicBezTo>
                  <a:pt x="1033" y="292"/>
                  <a:pt x="1034" y="293"/>
                  <a:pt x="1035" y="293"/>
                </a:cubicBezTo>
                <a:cubicBezTo>
                  <a:pt x="1036" y="293"/>
                  <a:pt x="1037" y="293"/>
                  <a:pt x="1039" y="292"/>
                </a:cubicBezTo>
                <a:cubicBezTo>
                  <a:pt x="1039" y="292"/>
                  <a:pt x="1041" y="291"/>
                  <a:pt x="1042" y="292"/>
                </a:cubicBezTo>
                <a:cubicBezTo>
                  <a:pt x="1044" y="293"/>
                  <a:pt x="1047" y="299"/>
                  <a:pt x="1043" y="300"/>
                </a:cubicBezTo>
                <a:cubicBezTo>
                  <a:pt x="1040" y="301"/>
                  <a:pt x="1037" y="302"/>
                  <a:pt x="1035" y="303"/>
                </a:cubicBezTo>
                <a:cubicBezTo>
                  <a:pt x="1034" y="304"/>
                  <a:pt x="1032" y="304"/>
                  <a:pt x="1031" y="305"/>
                </a:cubicBezTo>
                <a:cubicBezTo>
                  <a:pt x="1030" y="305"/>
                  <a:pt x="1029" y="305"/>
                  <a:pt x="1030" y="306"/>
                </a:cubicBezTo>
                <a:cubicBezTo>
                  <a:pt x="1031" y="307"/>
                  <a:pt x="1032" y="307"/>
                  <a:pt x="1032" y="308"/>
                </a:cubicBezTo>
                <a:cubicBezTo>
                  <a:pt x="1032" y="309"/>
                  <a:pt x="1031" y="310"/>
                  <a:pt x="1031" y="312"/>
                </a:cubicBezTo>
                <a:cubicBezTo>
                  <a:pt x="1032" y="313"/>
                  <a:pt x="1033" y="314"/>
                  <a:pt x="1033" y="315"/>
                </a:cubicBezTo>
                <a:cubicBezTo>
                  <a:pt x="1034" y="316"/>
                  <a:pt x="1034" y="317"/>
                  <a:pt x="1033" y="319"/>
                </a:cubicBezTo>
                <a:cubicBezTo>
                  <a:pt x="1033" y="320"/>
                  <a:pt x="1032" y="321"/>
                  <a:pt x="1032" y="321"/>
                </a:cubicBezTo>
                <a:cubicBezTo>
                  <a:pt x="1031" y="322"/>
                  <a:pt x="1030" y="322"/>
                  <a:pt x="1029" y="322"/>
                </a:cubicBezTo>
                <a:cubicBezTo>
                  <a:pt x="1025" y="322"/>
                  <a:pt x="1022" y="323"/>
                  <a:pt x="1019" y="323"/>
                </a:cubicBezTo>
                <a:cubicBezTo>
                  <a:pt x="1018" y="324"/>
                  <a:pt x="1016" y="324"/>
                  <a:pt x="1015" y="324"/>
                </a:cubicBezTo>
                <a:cubicBezTo>
                  <a:pt x="1014" y="325"/>
                  <a:pt x="1013" y="325"/>
                  <a:pt x="1012" y="326"/>
                </a:cubicBezTo>
                <a:cubicBezTo>
                  <a:pt x="1009" y="326"/>
                  <a:pt x="1005" y="326"/>
                  <a:pt x="1002" y="326"/>
                </a:cubicBezTo>
                <a:cubicBezTo>
                  <a:pt x="999" y="325"/>
                  <a:pt x="998" y="324"/>
                  <a:pt x="996" y="323"/>
                </a:cubicBezTo>
                <a:cubicBezTo>
                  <a:pt x="995" y="323"/>
                  <a:pt x="994" y="323"/>
                  <a:pt x="992" y="323"/>
                </a:cubicBezTo>
                <a:cubicBezTo>
                  <a:pt x="991" y="324"/>
                  <a:pt x="990" y="324"/>
                  <a:pt x="989" y="323"/>
                </a:cubicBezTo>
                <a:cubicBezTo>
                  <a:pt x="986" y="323"/>
                  <a:pt x="985" y="321"/>
                  <a:pt x="985" y="319"/>
                </a:cubicBezTo>
                <a:cubicBezTo>
                  <a:pt x="985" y="317"/>
                  <a:pt x="986" y="314"/>
                  <a:pt x="984" y="314"/>
                </a:cubicBezTo>
                <a:cubicBezTo>
                  <a:pt x="983" y="313"/>
                  <a:pt x="982" y="313"/>
                  <a:pt x="981" y="313"/>
                </a:cubicBezTo>
                <a:cubicBezTo>
                  <a:pt x="980" y="313"/>
                  <a:pt x="979" y="312"/>
                  <a:pt x="978" y="312"/>
                </a:cubicBezTo>
                <a:cubicBezTo>
                  <a:pt x="978" y="311"/>
                  <a:pt x="977" y="312"/>
                  <a:pt x="977" y="313"/>
                </a:cubicBezTo>
                <a:cubicBezTo>
                  <a:pt x="977" y="314"/>
                  <a:pt x="978" y="315"/>
                  <a:pt x="978" y="316"/>
                </a:cubicBezTo>
                <a:cubicBezTo>
                  <a:pt x="979" y="317"/>
                  <a:pt x="979" y="321"/>
                  <a:pt x="977" y="322"/>
                </a:cubicBezTo>
                <a:cubicBezTo>
                  <a:pt x="975" y="322"/>
                  <a:pt x="972" y="322"/>
                  <a:pt x="969" y="323"/>
                </a:cubicBezTo>
                <a:cubicBezTo>
                  <a:pt x="967" y="324"/>
                  <a:pt x="964" y="325"/>
                  <a:pt x="961" y="325"/>
                </a:cubicBezTo>
                <a:cubicBezTo>
                  <a:pt x="959" y="325"/>
                  <a:pt x="956" y="326"/>
                  <a:pt x="955" y="323"/>
                </a:cubicBezTo>
                <a:cubicBezTo>
                  <a:pt x="954" y="321"/>
                  <a:pt x="952" y="322"/>
                  <a:pt x="950" y="324"/>
                </a:cubicBezTo>
                <a:cubicBezTo>
                  <a:pt x="950" y="324"/>
                  <a:pt x="950" y="325"/>
                  <a:pt x="949" y="325"/>
                </a:cubicBezTo>
                <a:cubicBezTo>
                  <a:pt x="947" y="326"/>
                  <a:pt x="946" y="324"/>
                  <a:pt x="945" y="323"/>
                </a:cubicBezTo>
                <a:cubicBezTo>
                  <a:pt x="945" y="323"/>
                  <a:pt x="943" y="318"/>
                  <a:pt x="942" y="319"/>
                </a:cubicBezTo>
                <a:cubicBezTo>
                  <a:pt x="941" y="320"/>
                  <a:pt x="943" y="322"/>
                  <a:pt x="942" y="323"/>
                </a:cubicBezTo>
                <a:cubicBezTo>
                  <a:pt x="941" y="324"/>
                  <a:pt x="940" y="324"/>
                  <a:pt x="939" y="324"/>
                </a:cubicBezTo>
                <a:cubicBezTo>
                  <a:pt x="938" y="324"/>
                  <a:pt x="936" y="325"/>
                  <a:pt x="935" y="324"/>
                </a:cubicBezTo>
                <a:cubicBezTo>
                  <a:pt x="934" y="324"/>
                  <a:pt x="933" y="319"/>
                  <a:pt x="931" y="321"/>
                </a:cubicBezTo>
                <a:cubicBezTo>
                  <a:pt x="930" y="322"/>
                  <a:pt x="929" y="325"/>
                  <a:pt x="927" y="324"/>
                </a:cubicBezTo>
                <a:cubicBezTo>
                  <a:pt x="925" y="323"/>
                  <a:pt x="924" y="320"/>
                  <a:pt x="922" y="320"/>
                </a:cubicBezTo>
                <a:cubicBezTo>
                  <a:pt x="920" y="320"/>
                  <a:pt x="923" y="325"/>
                  <a:pt x="922" y="325"/>
                </a:cubicBezTo>
                <a:cubicBezTo>
                  <a:pt x="921" y="327"/>
                  <a:pt x="918" y="324"/>
                  <a:pt x="917" y="324"/>
                </a:cubicBezTo>
                <a:cubicBezTo>
                  <a:pt x="916" y="324"/>
                  <a:pt x="915" y="325"/>
                  <a:pt x="914" y="325"/>
                </a:cubicBezTo>
                <a:cubicBezTo>
                  <a:pt x="913" y="325"/>
                  <a:pt x="912" y="324"/>
                  <a:pt x="911" y="324"/>
                </a:cubicBezTo>
                <a:cubicBezTo>
                  <a:pt x="910" y="324"/>
                  <a:pt x="910" y="324"/>
                  <a:pt x="909" y="324"/>
                </a:cubicBezTo>
                <a:cubicBezTo>
                  <a:pt x="909" y="324"/>
                  <a:pt x="909" y="324"/>
                  <a:pt x="908" y="325"/>
                </a:cubicBezTo>
                <a:cubicBezTo>
                  <a:pt x="907" y="325"/>
                  <a:pt x="906" y="324"/>
                  <a:pt x="904" y="324"/>
                </a:cubicBezTo>
                <a:cubicBezTo>
                  <a:pt x="902" y="324"/>
                  <a:pt x="899" y="324"/>
                  <a:pt x="896" y="324"/>
                </a:cubicBezTo>
                <a:cubicBezTo>
                  <a:pt x="895" y="324"/>
                  <a:pt x="894" y="324"/>
                  <a:pt x="894" y="323"/>
                </a:cubicBezTo>
                <a:cubicBezTo>
                  <a:pt x="893" y="322"/>
                  <a:pt x="893" y="321"/>
                  <a:pt x="893" y="320"/>
                </a:cubicBezTo>
                <a:cubicBezTo>
                  <a:pt x="894" y="319"/>
                  <a:pt x="897" y="316"/>
                  <a:pt x="895" y="315"/>
                </a:cubicBezTo>
                <a:cubicBezTo>
                  <a:pt x="894" y="314"/>
                  <a:pt x="894" y="314"/>
                  <a:pt x="893" y="313"/>
                </a:cubicBezTo>
                <a:cubicBezTo>
                  <a:pt x="893" y="312"/>
                  <a:pt x="892" y="311"/>
                  <a:pt x="891" y="311"/>
                </a:cubicBezTo>
                <a:cubicBezTo>
                  <a:pt x="889" y="312"/>
                  <a:pt x="889" y="314"/>
                  <a:pt x="888" y="316"/>
                </a:cubicBezTo>
                <a:cubicBezTo>
                  <a:pt x="887" y="318"/>
                  <a:pt x="885" y="317"/>
                  <a:pt x="884" y="315"/>
                </a:cubicBezTo>
                <a:cubicBezTo>
                  <a:pt x="884" y="314"/>
                  <a:pt x="884" y="313"/>
                  <a:pt x="884" y="313"/>
                </a:cubicBezTo>
                <a:cubicBezTo>
                  <a:pt x="883" y="313"/>
                  <a:pt x="882" y="313"/>
                  <a:pt x="882" y="314"/>
                </a:cubicBezTo>
                <a:cubicBezTo>
                  <a:pt x="881" y="315"/>
                  <a:pt x="881" y="316"/>
                  <a:pt x="880" y="316"/>
                </a:cubicBezTo>
                <a:cubicBezTo>
                  <a:pt x="879" y="316"/>
                  <a:pt x="878" y="316"/>
                  <a:pt x="879" y="318"/>
                </a:cubicBezTo>
                <a:cubicBezTo>
                  <a:pt x="879" y="319"/>
                  <a:pt x="880" y="319"/>
                  <a:pt x="879" y="320"/>
                </a:cubicBezTo>
                <a:cubicBezTo>
                  <a:pt x="879" y="321"/>
                  <a:pt x="878" y="322"/>
                  <a:pt x="877" y="322"/>
                </a:cubicBezTo>
                <a:cubicBezTo>
                  <a:pt x="875" y="323"/>
                  <a:pt x="871" y="323"/>
                  <a:pt x="868" y="322"/>
                </a:cubicBezTo>
                <a:cubicBezTo>
                  <a:pt x="865" y="322"/>
                  <a:pt x="863" y="322"/>
                  <a:pt x="861" y="321"/>
                </a:cubicBezTo>
                <a:cubicBezTo>
                  <a:pt x="858" y="320"/>
                  <a:pt x="857" y="318"/>
                  <a:pt x="854" y="317"/>
                </a:cubicBezTo>
                <a:cubicBezTo>
                  <a:pt x="852" y="317"/>
                  <a:pt x="852" y="316"/>
                  <a:pt x="853" y="314"/>
                </a:cubicBezTo>
                <a:cubicBezTo>
                  <a:pt x="854" y="312"/>
                  <a:pt x="854" y="310"/>
                  <a:pt x="851" y="312"/>
                </a:cubicBezTo>
                <a:cubicBezTo>
                  <a:pt x="850" y="312"/>
                  <a:pt x="848" y="313"/>
                  <a:pt x="847" y="315"/>
                </a:cubicBezTo>
                <a:cubicBezTo>
                  <a:pt x="846" y="315"/>
                  <a:pt x="846" y="317"/>
                  <a:pt x="845" y="317"/>
                </a:cubicBezTo>
                <a:cubicBezTo>
                  <a:pt x="844" y="318"/>
                  <a:pt x="843" y="318"/>
                  <a:pt x="841" y="318"/>
                </a:cubicBezTo>
                <a:cubicBezTo>
                  <a:pt x="839" y="318"/>
                  <a:pt x="837" y="318"/>
                  <a:pt x="835" y="316"/>
                </a:cubicBezTo>
                <a:cubicBezTo>
                  <a:pt x="833" y="314"/>
                  <a:pt x="833" y="312"/>
                  <a:pt x="832" y="309"/>
                </a:cubicBezTo>
                <a:cubicBezTo>
                  <a:pt x="831" y="307"/>
                  <a:pt x="829" y="305"/>
                  <a:pt x="827" y="303"/>
                </a:cubicBezTo>
                <a:cubicBezTo>
                  <a:pt x="825" y="301"/>
                  <a:pt x="827" y="299"/>
                  <a:pt x="828" y="296"/>
                </a:cubicBezTo>
                <a:cubicBezTo>
                  <a:pt x="828" y="294"/>
                  <a:pt x="827" y="292"/>
                  <a:pt x="829" y="291"/>
                </a:cubicBezTo>
                <a:cubicBezTo>
                  <a:pt x="831" y="290"/>
                  <a:pt x="833" y="289"/>
                  <a:pt x="833" y="287"/>
                </a:cubicBezTo>
                <a:cubicBezTo>
                  <a:pt x="832" y="286"/>
                  <a:pt x="832" y="285"/>
                  <a:pt x="831" y="284"/>
                </a:cubicBezTo>
                <a:cubicBezTo>
                  <a:pt x="831" y="283"/>
                  <a:pt x="831" y="281"/>
                  <a:pt x="831" y="280"/>
                </a:cubicBezTo>
                <a:cubicBezTo>
                  <a:pt x="831" y="278"/>
                  <a:pt x="830" y="276"/>
                  <a:pt x="828" y="275"/>
                </a:cubicBezTo>
                <a:cubicBezTo>
                  <a:pt x="826" y="275"/>
                  <a:pt x="824" y="274"/>
                  <a:pt x="823" y="273"/>
                </a:cubicBezTo>
                <a:cubicBezTo>
                  <a:pt x="822" y="272"/>
                  <a:pt x="823" y="270"/>
                  <a:pt x="822" y="270"/>
                </a:cubicBezTo>
                <a:cubicBezTo>
                  <a:pt x="822" y="268"/>
                  <a:pt x="821" y="267"/>
                  <a:pt x="821" y="266"/>
                </a:cubicBezTo>
                <a:cubicBezTo>
                  <a:pt x="820" y="265"/>
                  <a:pt x="819" y="264"/>
                  <a:pt x="818" y="264"/>
                </a:cubicBezTo>
                <a:cubicBezTo>
                  <a:pt x="817" y="263"/>
                  <a:pt x="817" y="262"/>
                  <a:pt x="816" y="261"/>
                </a:cubicBezTo>
                <a:cubicBezTo>
                  <a:pt x="815" y="259"/>
                  <a:pt x="811" y="260"/>
                  <a:pt x="809" y="260"/>
                </a:cubicBezTo>
                <a:cubicBezTo>
                  <a:pt x="808" y="261"/>
                  <a:pt x="807" y="261"/>
                  <a:pt x="806" y="261"/>
                </a:cubicBezTo>
                <a:cubicBezTo>
                  <a:pt x="805" y="262"/>
                  <a:pt x="803" y="261"/>
                  <a:pt x="802" y="262"/>
                </a:cubicBezTo>
                <a:cubicBezTo>
                  <a:pt x="801" y="263"/>
                  <a:pt x="800" y="263"/>
                  <a:pt x="798" y="263"/>
                </a:cubicBezTo>
                <a:cubicBezTo>
                  <a:pt x="797" y="263"/>
                  <a:pt x="795" y="263"/>
                  <a:pt x="794" y="262"/>
                </a:cubicBezTo>
                <a:cubicBezTo>
                  <a:pt x="791" y="262"/>
                  <a:pt x="788" y="261"/>
                  <a:pt x="786" y="262"/>
                </a:cubicBezTo>
                <a:cubicBezTo>
                  <a:pt x="784" y="262"/>
                  <a:pt x="782" y="265"/>
                  <a:pt x="779" y="265"/>
                </a:cubicBezTo>
                <a:cubicBezTo>
                  <a:pt x="777" y="265"/>
                  <a:pt x="776" y="264"/>
                  <a:pt x="778" y="263"/>
                </a:cubicBezTo>
                <a:cubicBezTo>
                  <a:pt x="780" y="262"/>
                  <a:pt x="782" y="260"/>
                  <a:pt x="779" y="259"/>
                </a:cubicBezTo>
                <a:cubicBezTo>
                  <a:pt x="777" y="259"/>
                  <a:pt x="774" y="259"/>
                  <a:pt x="772" y="259"/>
                </a:cubicBezTo>
                <a:cubicBezTo>
                  <a:pt x="770" y="258"/>
                  <a:pt x="766" y="257"/>
                  <a:pt x="768" y="255"/>
                </a:cubicBezTo>
                <a:cubicBezTo>
                  <a:pt x="769" y="254"/>
                  <a:pt x="771" y="254"/>
                  <a:pt x="772" y="253"/>
                </a:cubicBezTo>
                <a:cubicBezTo>
                  <a:pt x="772" y="253"/>
                  <a:pt x="773" y="252"/>
                  <a:pt x="773" y="251"/>
                </a:cubicBezTo>
                <a:cubicBezTo>
                  <a:pt x="772" y="251"/>
                  <a:pt x="772" y="251"/>
                  <a:pt x="771" y="251"/>
                </a:cubicBezTo>
                <a:cubicBezTo>
                  <a:pt x="771" y="251"/>
                  <a:pt x="770" y="251"/>
                  <a:pt x="770" y="251"/>
                </a:cubicBezTo>
                <a:cubicBezTo>
                  <a:pt x="769" y="251"/>
                  <a:pt x="767" y="251"/>
                  <a:pt x="767" y="252"/>
                </a:cubicBezTo>
                <a:cubicBezTo>
                  <a:pt x="767" y="253"/>
                  <a:pt x="766" y="253"/>
                  <a:pt x="765" y="253"/>
                </a:cubicBezTo>
                <a:cubicBezTo>
                  <a:pt x="764" y="252"/>
                  <a:pt x="763" y="252"/>
                  <a:pt x="762" y="251"/>
                </a:cubicBezTo>
                <a:cubicBezTo>
                  <a:pt x="761" y="251"/>
                  <a:pt x="760" y="250"/>
                  <a:pt x="758" y="250"/>
                </a:cubicBezTo>
                <a:cubicBezTo>
                  <a:pt x="756" y="249"/>
                  <a:pt x="760" y="248"/>
                  <a:pt x="760" y="247"/>
                </a:cubicBezTo>
                <a:cubicBezTo>
                  <a:pt x="761" y="245"/>
                  <a:pt x="759" y="244"/>
                  <a:pt x="757" y="243"/>
                </a:cubicBezTo>
                <a:cubicBezTo>
                  <a:pt x="756" y="243"/>
                  <a:pt x="752" y="242"/>
                  <a:pt x="753" y="240"/>
                </a:cubicBezTo>
                <a:cubicBezTo>
                  <a:pt x="755" y="238"/>
                  <a:pt x="757" y="240"/>
                  <a:pt x="759" y="239"/>
                </a:cubicBezTo>
                <a:cubicBezTo>
                  <a:pt x="760" y="239"/>
                  <a:pt x="761" y="238"/>
                  <a:pt x="762" y="237"/>
                </a:cubicBezTo>
                <a:cubicBezTo>
                  <a:pt x="763" y="237"/>
                  <a:pt x="764" y="237"/>
                  <a:pt x="765" y="236"/>
                </a:cubicBezTo>
                <a:cubicBezTo>
                  <a:pt x="766" y="236"/>
                  <a:pt x="767" y="235"/>
                  <a:pt x="768" y="235"/>
                </a:cubicBezTo>
                <a:cubicBezTo>
                  <a:pt x="770" y="235"/>
                  <a:pt x="771" y="236"/>
                  <a:pt x="772" y="237"/>
                </a:cubicBezTo>
                <a:cubicBezTo>
                  <a:pt x="775" y="238"/>
                  <a:pt x="777" y="238"/>
                  <a:pt x="780" y="238"/>
                </a:cubicBezTo>
                <a:cubicBezTo>
                  <a:pt x="783" y="239"/>
                  <a:pt x="786" y="240"/>
                  <a:pt x="789" y="240"/>
                </a:cubicBezTo>
                <a:cubicBezTo>
                  <a:pt x="792" y="240"/>
                  <a:pt x="795" y="241"/>
                  <a:pt x="797" y="241"/>
                </a:cubicBezTo>
                <a:cubicBezTo>
                  <a:pt x="800" y="242"/>
                  <a:pt x="802" y="241"/>
                  <a:pt x="804" y="243"/>
                </a:cubicBezTo>
                <a:cubicBezTo>
                  <a:pt x="806" y="244"/>
                  <a:pt x="807" y="246"/>
                  <a:pt x="810" y="247"/>
                </a:cubicBezTo>
                <a:cubicBezTo>
                  <a:pt x="812" y="248"/>
                  <a:pt x="811" y="251"/>
                  <a:pt x="810" y="253"/>
                </a:cubicBezTo>
                <a:cubicBezTo>
                  <a:pt x="808" y="254"/>
                  <a:pt x="806" y="255"/>
                  <a:pt x="805" y="257"/>
                </a:cubicBezTo>
                <a:cubicBezTo>
                  <a:pt x="804" y="258"/>
                  <a:pt x="805" y="258"/>
                  <a:pt x="806" y="259"/>
                </a:cubicBezTo>
                <a:cubicBezTo>
                  <a:pt x="807" y="259"/>
                  <a:pt x="808" y="259"/>
                  <a:pt x="809" y="258"/>
                </a:cubicBezTo>
                <a:cubicBezTo>
                  <a:pt x="811" y="256"/>
                  <a:pt x="812" y="254"/>
                  <a:pt x="814" y="253"/>
                </a:cubicBezTo>
                <a:cubicBezTo>
                  <a:pt x="817" y="252"/>
                  <a:pt x="820" y="252"/>
                  <a:pt x="823" y="253"/>
                </a:cubicBezTo>
                <a:cubicBezTo>
                  <a:pt x="826" y="253"/>
                  <a:pt x="829" y="252"/>
                  <a:pt x="831" y="251"/>
                </a:cubicBezTo>
                <a:cubicBezTo>
                  <a:pt x="835" y="250"/>
                  <a:pt x="838" y="250"/>
                  <a:pt x="841" y="250"/>
                </a:cubicBezTo>
                <a:cubicBezTo>
                  <a:pt x="845" y="250"/>
                  <a:pt x="851" y="251"/>
                  <a:pt x="853" y="255"/>
                </a:cubicBezTo>
                <a:cubicBezTo>
                  <a:pt x="854" y="257"/>
                  <a:pt x="849" y="256"/>
                  <a:pt x="848" y="256"/>
                </a:cubicBezTo>
                <a:cubicBezTo>
                  <a:pt x="847" y="255"/>
                  <a:pt x="845" y="255"/>
                  <a:pt x="844" y="255"/>
                </a:cubicBezTo>
                <a:cubicBezTo>
                  <a:pt x="843" y="255"/>
                  <a:pt x="842" y="255"/>
                  <a:pt x="841" y="256"/>
                </a:cubicBezTo>
                <a:cubicBezTo>
                  <a:pt x="840" y="257"/>
                  <a:pt x="844" y="257"/>
                  <a:pt x="844" y="257"/>
                </a:cubicBezTo>
                <a:cubicBezTo>
                  <a:pt x="847" y="258"/>
                  <a:pt x="850" y="259"/>
                  <a:pt x="853" y="259"/>
                </a:cubicBezTo>
                <a:cubicBezTo>
                  <a:pt x="854" y="259"/>
                  <a:pt x="856" y="259"/>
                  <a:pt x="857" y="259"/>
                </a:cubicBezTo>
                <a:cubicBezTo>
                  <a:pt x="858" y="259"/>
                  <a:pt x="860" y="260"/>
                  <a:pt x="861" y="260"/>
                </a:cubicBezTo>
                <a:cubicBezTo>
                  <a:pt x="864" y="260"/>
                  <a:pt x="867" y="261"/>
                  <a:pt x="870" y="261"/>
                </a:cubicBezTo>
                <a:cubicBezTo>
                  <a:pt x="872" y="262"/>
                  <a:pt x="875" y="262"/>
                  <a:pt x="877" y="264"/>
                </a:cubicBezTo>
                <a:cubicBezTo>
                  <a:pt x="880" y="266"/>
                  <a:pt x="876" y="267"/>
                  <a:pt x="874" y="267"/>
                </a:cubicBezTo>
                <a:cubicBezTo>
                  <a:pt x="871" y="266"/>
                  <a:pt x="868" y="266"/>
                  <a:pt x="865" y="266"/>
                </a:cubicBezTo>
                <a:cubicBezTo>
                  <a:pt x="862" y="266"/>
                  <a:pt x="859" y="267"/>
                  <a:pt x="856" y="266"/>
                </a:cubicBezTo>
                <a:cubicBezTo>
                  <a:pt x="854" y="266"/>
                  <a:pt x="853" y="266"/>
                  <a:pt x="852" y="265"/>
                </a:cubicBezTo>
                <a:cubicBezTo>
                  <a:pt x="850" y="265"/>
                  <a:pt x="849" y="265"/>
                  <a:pt x="847" y="265"/>
                </a:cubicBezTo>
                <a:cubicBezTo>
                  <a:pt x="846" y="265"/>
                  <a:pt x="845" y="265"/>
                  <a:pt x="843" y="264"/>
                </a:cubicBezTo>
                <a:cubicBezTo>
                  <a:pt x="842" y="264"/>
                  <a:pt x="840" y="263"/>
                  <a:pt x="840" y="264"/>
                </a:cubicBezTo>
                <a:cubicBezTo>
                  <a:pt x="839" y="265"/>
                  <a:pt x="840" y="265"/>
                  <a:pt x="840" y="266"/>
                </a:cubicBezTo>
                <a:cubicBezTo>
                  <a:pt x="841" y="266"/>
                  <a:pt x="842" y="267"/>
                  <a:pt x="843" y="268"/>
                </a:cubicBezTo>
                <a:cubicBezTo>
                  <a:pt x="844" y="270"/>
                  <a:pt x="848" y="269"/>
                  <a:pt x="850" y="270"/>
                </a:cubicBezTo>
                <a:cubicBezTo>
                  <a:pt x="850" y="270"/>
                  <a:pt x="856" y="270"/>
                  <a:pt x="855" y="271"/>
                </a:cubicBezTo>
                <a:cubicBezTo>
                  <a:pt x="855" y="273"/>
                  <a:pt x="847" y="270"/>
                  <a:pt x="848" y="273"/>
                </a:cubicBezTo>
                <a:cubicBezTo>
                  <a:pt x="848" y="273"/>
                  <a:pt x="849" y="274"/>
                  <a:pt x="849" y="275"/>
                </a:cubicBezTo>
                <a:cubicBezTo>
                  <a:pt x="849" y="275"/>
                  <a:pt x="848" y="276"/>
                  <a:pt x="848" y="277"/>
                </a:cubicBezTo>
                <a:cubicBezTo>
                  <a:pt x="848" y="277"/>
                  <a:pt x="847" y="279"/>
                  <a:pt x="847" y="279"/>
                </a:cubicBezTo>
                <a:cubicBezTo>
                  <a:pt x="848" y="279"/>
                  <a:pt x="849" y="278"/>
                  <a:pt x="849" y="278"/>
                </a:cubicBezTo>
                <a:cubicBezTo>
                  <a:pt x="851" y="276"/>
                  <a:pt x="854" y="274"/>
                  <a:pt x="856" y="275"/>
                </a:cubicBezTo>
                <a:cubicBezTo>
                  <a:pt x="857" y="275"/>
                  <a:pt x="858" y="276"/>
                  <a:pt x="859" y="276"/>
                </a:cubicBezTo>
                <a:cubicBezTo>
                  <a:pt x="861" y="275"/>
                  <a:pt x="862" y="275"/>
                  <a:pt x="864" y="275"/>
                </a:cubicBezTo>
                <a:cubicBezTo>
                  <a:pt x="866" y="274"/>
                  <a:pt x="869" y="274"/>
                  <a:pt x="870" y="276"/>
                </a:cubicBezTo>
                <a:cubicBezTo>
                  <a:pt x="870" y="277"/>
                  <a:pt x="870" y="280"/>
                  <a:pt x="872" y="280"/>
                </a:cubicBezTo>
                <a:cubicBezTo>
                  <a:pt x="873" y="280"/>
                  <a:pt x="874" y="279"/>
                  <a:pt x="875" y="279"/>
                </a:cubicBezTo>
                <a:cubicBezTo>
                  <a:pt x="876" y="280"/>
                  <a:pt x="876" y="281"/>
                  <a:pt x="877" y="282"/>
                </a:cubicBezTo>
                <a:cubicBezTo>
                  <a:pt x="878" y="283"/>
                  <a:pt x="879" y="283"/>
                  <a:pt x="879" y="284"/>
                </a:cubicBezTo>
                <a:cubicBezTo>
                  <a:pt x="880" y="285"/>
                  <a:pt x="879" y="286"/>
                  <a:pt x="878" y="286"/>
                </a:cubicBezTo>
                <a:cubicBezTo>
                  <a:pt x="876" y="286"/>
                  <a:pt x="873" y="286"/>
                  <a:pt x="872" y="288"/>
                </a:cubicBezTo>
                <a:cubicBezTo>
                  <a:pt x="872" y="289"/>
                  <a:pt x="873" y="289"/>
                  <a:pt x="874" y="289"/>
                </a:cubicBezTo>
                <a:cubicBezTo>
                  <a:pt x="876" y="290"/>
                  <a:pt x="877" y="289"/>
                  <a:pt x="878" y="289"/>
                </a:cubicBezTo>
                <a:cubicBezTo>
                  <a:pt x="880" y="289"/>
                  <a:pt x="883" y="290"/>
                  <a:pt x="885" y="289"/>
                </a:cubicBezTo>
                <a:cubicBezTo>
                  <a:pt x="887" y="289"/>
                  <a:pt x="886" y="284"/>
                  <a:pt x="888" y="285"/>
                </a:cubicBezTo>
                <a:cubicBezTo>
                  <a:pt x="890" y="286"/>
                  <a:pt x="891" y="287"/>
                  <a:pt x="892" y="288"/>
                </a:cubicBezTo>
                <a:cubicBezTo>
                  <a:pt x="893" y="288"/>
                  <a:pt x="894" y="289"/>
                  <a:pt x="894" y="290"/>
                </a:cubicBezTo>
                <a:cubicBezTo>
                  <a:pt x="895" y="293"/>
                  <a:pt x="898" y="290"/>
                  <a:pt x="900" y="290"/>
                </a:cubicBezTo>
                <a:cubicBezTo>
                  <a:pt x="902" y="288"/>
                  <a:pt x="904" y="287"/>
                  <a:pt x="906" y="289"/>
                </a:cubicBezTo>
                <a:cubicBezTo>
                  <a:pt x="908" y="292"/>
                  <a:pt x="909" y="289"/>
                  <a:pt x="911" y="288"/>
                </a:cubicBezTo>
                <a:cubicBezTo>
                  <a:pt x="915" y="285"/>
                  <a:pt x="920" y="292"/>
                  <a:pt x="923" y="294"/>
                </a:cubicBezTo>
                <a:cubicBezTo>
                  <a:pt x="926" y="295"/>
                  <a:pt x="928" y="294"/>
                  <a:pt x="931" y="294"/>
                </a:cubicBezTo>
                <a:cubicBezTo>
                  <a:pt x="934" y="293"/>
                  <a:pt x="936" y="293"/>
                  <a:pt x="939" y="294"/>
                </a:cubicBezTo>
                <a:cubicBezTo>
                  <a:pt x="942" y="295"/>
                  <a:pt x="941" y="292"/>
                  <a:pt x="938" y="292"/>
                </a:cubicBezTo>
                <a:cubicBezTo>
                  <a:pt x="937" y="292"/>
                  <a:pt x="936" y="292"/>
                  <a:pt x="935" y="291"/>
                </a:cubicBezTo>
                <a:cubicBezTo>
                  <a:pt x="935" y="290"/>
                  <a:pt x="934" y="290"/>
                  <a:pt x="936" y="289"/>
                </a:cubicBezTo>
                <a:cubicBezTo>
                  <a:pt x="937" y="289"/>
                  <a:pt x="939" y="289"/>
                  <a:pt x="941" y="288"/>
                </a:cubicBezTo>
                <a:cubicBezTo>
                  <a:pt x="942" y="287"/>
                  <a:pt x="943" y="287"/>
                  <a:pt x="944" y="287"/>
                </a:cubicBezTo>
                <a:cubicBezTo>
                  <a:pt x="945" y="288"/>
                  <a:pt x="946" y="289"/>
                  <a:pt x="947" y="288"/>
                </a:cubicBezTo>
                <a:cubicBezTo>
                  <a:pt x="948" y="288"/>
                  <a:pt x="948" y="287"/>
                  <a:pt x="949" y="286"/>
                </a:cubicBezTo>
                <a:cubicBezTo>
                  <a:pt x="949" y="286"/>
                  <a:pt x="951" y="285"/>
                  <a:pt x="952" y="285"/>
                </a:cubicBezTo>
                <a:cubicBezTo>
                  <a:pt x="953" y="285"/>
                  <a:pt x="955" y="285"/>
                  <a:pt x="956" y="286"/>
                </a:cubicBezTo>
                <a:cubicBezTo>
                  <a:pt x="958" y="286"/>
                  <a:pt x="959" y="285"/>
                  <a:pt x="960" y="285"/>
                </a:cubicBezTo>
                <a:cubicBezTo>
                  <a:pt x="961" y="284"/>
                  <a:pt x="963" y="284"/>
                  <a:pt x="964" y="283"/>
                </a:cubicBezTo>
                <a:cubicBezTo>
                  <a:pt x="966" y="283"/>
                  <a:pt x="966" y="282"/>
                  <a:pt x="968" y="281"/>
                </a:cubicBezTo>
                <a:cubicBezTo>
                  <a:pt x="970" y="279"/>
                  <a:pt x="974" y="280"/>
                  <a:pt x="977" y="282"/>
                </a:cubicBezTo>
                <a:cubicBezTo>
                  <a:pt x="978" y="283"/>
                  <a:pt x="978" y="283"/>
                  <a:pt x="980" y="283"/>
                </a:cubicBezTo>
                <a:cubicBezTo>
                  <a:pt x="981" y="283"/>
                  <a:pt x="983" y="283"/>
                  <a:pt x="984" y="282"/>
                </a:cubicBezTo>
                <a:cubicBezTo>
                  <a:pt x="987" y="281"/>
                  <a:pt x="989" y="280"/>
                  <a:pt x="992" y="279"/>
                </a:cubicBezTo>
                <a:cubicBezTo>
                  <a:pt x="992" y="279"/>
                  <a:pt x="991" y="280"/>
                  <a:pt x="991" y="280"/>
                </a:cubicBezTo>
                <a:cubicBezTo>
                  <a:pt x="994" y="279"/>
                  <a:pt x="991" y="280"/>
                  <a:pt x="991" y="280"/>
                </a:cubicBezTo>
                <a:close/>
                <a:moveTo>
                  <a:pt x="1037" y="309"/>
                </a:moveTo>
                <a:cubicBezTo>
                  <a:pt x="1038" y="309"/>
                  <a:pt x="1040" y="309"/>
                  <a:pt x="1041" y="308"/>
                </a:cubicBezTo>
                <a:cubicBezTo>
                  <a:pt x="1042" y="308"/>
                  <a:pt x="1043" y="306"/>
                  <a:pt x="1044" y="307"/>
                </a:cubicBezTo>
                <a:cubicBezTo>
                  <a:pt x="1045" y="308"/>
                  <a:pt x="1046" y="309"/>
                  <a:pt x="1047" y="310"/>
                </a:cubicBezTo>
                <a:cubicBezTo>
                  <a:pt x="1048" y="311"/>
                  <a:pt x="1045" y="311"/>
                  <a:pt x="1044" y="311"/>
                </a:cubicBezTo>
                <a:cubicBezTo>
                  <a:pt x="1043" y="311"/>
                  <a:pt x="1042" y="311"/>
                  <a:pt x="1041" y="311"/>
                </a:cubicBezTo>
                <a:cubicBezTo>
                  <a:pt x="1039" y="311"/>
                  <a:pt x="1038" y="312"/>
                  <a:pt x="1036" y="312"/>
                </a:cubicBezTo>
                <a:cubicBezTo>
                  <a:pt x="1035" y="312"/>
                  <a:pt x="1034" y="311"/>
                  <a:pt x="1035" y="310"/>
                </a:cubicBezTo>
                <a:cubicBezTo>
                  <a:pt x="1035" y="309"/>
                  <a:pt x="1037" y="309"/>
                  <a:pt x="1038" y="309"/>
                </a:cubicBezTo>
                <a:cubicBezTo>
                  <a:pt x="1038" y="309"/>
                  <a:pt x="1037" y="309"/>
                  <a:pt x="1037" y="309"/>
                </a:cubicBezTo>
                <a:cubicBezTo>
                  <a:pt x="1039" y="308"/>
                  <a:pt x="1037" y="309"/>
                  <a:pt x="1037" y="309"/>
                </a:cubicBezTo>
                <a:close/>
                <a:moveTo>
                  <a:pt x="1047" y="272"/>
                </a:moveTo>
                <a:cubicBezTo>
                  <a:pt x="1049" y="270"/>
                  <a:pt x="1051" y="269"/>
                  <a:pt x="1053" y="269"/>
                </a:cubicBezTo>
                <a:cubicBezTo>
                  <a:pt x="1054" y="269"/>
                  <a:pt x="1055" y="269"/>
                  <a:pt x="1055" y="269"/>
                </a:cubicBezTo>
                <a:cubicBezTo>
                  <a:pt x="1056" y="270"/>
                  <a:pt x="1055" y="270"/>
                  <a:pt x="1055" y="271"/>
                </a:cubicBezTo>
                <a:cubicBezTo>
                  <a:pt x="1054" y="272"/>
                  <a:pt x="1051" y="275"/>
                  <a:pt x="1053" y="276"/>
                </a:cubicBezTo>
                <a:cubicBezTo>
                  <a:pt x="1053" y="277"/>
                  <a:pt x="1058" y="279"/>
                  <a:pt x="1055" y="279"/>
                </a:cubicBezTo>
                <a:cubicBezTo>
                  <a:pt x="1054" y="280"/>
                  <a:pt x="1053" y="279"/>
                  <a:pt x="1052" y="279"/>
                </a:cubicBezTo>
                <a:cubicBezTo>
                  <a:pt x="1051" y="279"/>
                  <a:pt x="1050" y="279"/>
                  <a:pt x="1049" y="279"/>
                </a:cubicBezTo>
                <a:cubicBezTo>
                  <a:pt x="1046" y="280"/>
                  <a:pt x="1044" y="281"/>
                  <a:pt x="1042" y="278"/>
                </a:cubicBezTo>
                <a:cubicBezTo>
                  <a:pt x="1041" y="276"/>
                  <a:pt x="1044" y="275"/>
                  <a:pt x="1046" y="274"/>
                </a:cubicBezTo>
                <a:cubicBezTo>
                  <a:pt x="1047" y="273"/>
                  <a:pt x="1048" y="271"/>
                  <a:pt x="1049" y="270"/>
                </a:cubicBezTo>
                <a:cubicBezTo>
                  <a:pt x="1048" y="271"/>
                  <a:pt x="1048" y="271"/>
                  <a:pt x="1047" y="272"/>
                </a:cubicBezTo>
                <a:cubicBezTo>
                  <a:pt x="1049" y="270"/>
                  <a:pt x="1047" y="272"/>
                  <a:pt x="1047" y="272"/>
                </a:cubicBezTo>
                <a:close/>
                <a:moveTo>
                  <a:pt x="1050" y="259"/>
                </a:moveTo>
                <a:cubicBezTo>
                  <a:pt x="1051" y="257"/>
                  <a:pt x="1053" y="255"/>
                  <a:pt x="1054" y="254"/>
                </a:cubicBezTo>
                <a:cubicBezTo>
                  <a:pt x="1057" y="252"/>
                  <a:pt x="1059" y="253"/>
                  <a:pt x="1061" y="255"/>
                </a:cubicBezTo>
                <a:cubicBezTo>
                  <a:pt x="1063" y="256"/>
                  <a:pt x="1066" y="253"/>
                  <a:pt x="1068" y="252"/>
                </a:cubicBezTo>
                <a:cubicBezTo>
                  <a:pt x="1070" y="251"/>
                  <a:pt x="1073" y="250"/>
                  <a:pt x="1074" y="248"/>
                </a:cubicBezTo>
                <a:cubicBezTo>
                  <a:pt x="1075" y="246"/>
                  <a:pt x="1073" y="244"/>
                  <a:pt x="1072" y="242"/>
                </a:cubicBezTo>
                <a:cubicBezTo>
                  <a:pt x="1071" y="240"/>
                  <a:pt x="1070" y="238"/>
                  <a:pt x="1068" y="238"/>
                </a:cubicBezTo>
                <a:cubicBezTo>
                  <a:pt x="1066" y="238"/>
                  <a:pt x="1063" y="239"/>
                  <a:pt x="1061" y="240"/>
                </a:cubicBezTo>
                <a:cubicBezTo>
                  <a:pt x="1059" y="242"/>
                  <a:pt x="1058" y="244"/>
                  <a:pt x="1055" y="243"/>
                </a:cubicBezTo>
                <a:cubicBezTo>
                  <a:pt x="1053" y="242"/>
                  <a:pt x="1052" y="239"/>
                  <a:pt x="1049" y="240"/>
                </a:cubicBezTo>
                <a:cubicBezTo>
                  <a:pt x="1048" y="240"/>
                  <a:pt x="1046" y="241"/>
                  <a:pt x="1047" y="239"/>
                </a:cubicBezTo>
                <a:cubicBezTo>
                  <a:pt x="1047" y="237"/>
                  <a:pt x="1049" y="236"/>
                  <a:pt x="1050" y="235"/>
                </a:cubicBezTo>
                <a:cubicBezTo>
                  <a:pt x="1051" y="234"/>
                  <a:pt x="1051" y="231"/>
                  <a:pt x="1050" y="230"/>
                </a:cubicBezTo>
                <a:cubicBezTo>
                  <a:pt x="1049" y="230"/>
                  <a:pt x="1048" y="230"/>
                  <a:pt x="1047" y="231"/>
                </a:cubicBezTo>
                <a:cubicBezTo>
                  <a:pt x="1046" y="231"/>
                  <a:pt x="1044" y="231"/>
                  <a:pt x="1043" y="231"/>
                </a:cubicBezTo>
                <a:cubicBezTo>
                  <a:pt x="1041" y="231"/>
                  <a:pt x="1038" y="231"/>
                  <a:pt x="1035" y="232"/>
                </a:cubicBezTo>
                <a:cubicBezTo>
                  <a:pt x="1035" y="233"/>
                  <a:pt x="1030" y="237"/>
                  <a:pt x="1030" y="236"/>
                </a:cubicBezTo>
                <a:cubicBezTo>
                  <a:pt x="1028" y="234"/>
                  <a:pt x="1031" y="231"/>
                  <a:pt x="1029" y="230"/>
                </a:cubicBezTo>
                <a:cubicBezTo>
                  <a:pt x="1029" y="229"/>
                  <a:pt x="1027" y="230"/>
                  <a:pt x="1027" y="230"/>
                </a:cubicBezTo>
                <a:cubicBezTo>
                  <a:pt x="1025" y="230"/>
                  <a:pt x="1024" y="229"/>
                  <a:pt x="1023" y="229"/>
                </a:cubicBezTo>
                <a:cubicBezTo>
                  <a:pt x="1021" y="228"/>
                  <a:pt x="1018" y="228"/>
                  <a:pt x="1015" y="229"/>
                </a:cubicBezTo>
                <a:cubicBezTo>
                  <a:pt x="1013" y="231"/>
                  <a:pt x="1011" y="231"/>
                  <a:pt x="1008" y="232"/>
                </a:cubicBezTo>
                <a:cubicBezTo>
                  <a:pt x="1007" y="232"/>
                  <a:pt x="1006" y="233"/>
                  <a:pt x="1006" y="232"/>
                </a:cubicBezTo>
                <a:cubicBezTo>
                  <a:pt x="1005" y="232"/>
                  <a:pt x="1005" y="230"/>
                  <a:pt x="1004" y="229"/>
                </a:cubicBezTo>
                <a:cubicBezTo>
                  <a:pt x="1003" y="229"/>
                  <a:pt x="998" y="229"/>
                  <a:pt x="1000" y="227"/>
                </a:cubicBezTo>
                <a:cubicBezTo>
                  <a:pt x="1000" y="226"/>
                  <a:pt x="1002" y="226"/>
                  <a:pt x="1003" y="226"/>
                </a:cubicBezTo>
                <a:cubicBezTo>
                  <a:pt x="1004" y="227"/>
                  <a:pt x="1006" y="227"/>
                  <a:pt x="1007" y="227"/>
                </a:cubicBezTo>
                <a:cubicBezTo>
                  <a:pt x="1009" y="227"/>
                  <a:pt x="1013" y="227"/>
                  <a:pt x="1013" y="225"/>
                </a:cubicBezTo>
                <a:cubicBezTo>
                  <a:pt x="1013" y="224"/>
                  <a:pt x="1009" y="224"/>
                  <a:pt x="1009" y="223"/>
                </a:cubicBezTo>
                <a:cubicBezTo>
                  <a:pt x="1006" y="222"/>
                  <a:pt x="1007" y="221"/>
                  <a:pt x="1006" y="219"/>
                </a:cubicBezTo>
                <a:cubicBezTo>
                  <a:pt x="1006" y="217"/>
                  <a:pt x="1003" y="216"/>
                  <a:pt x="1002" y="214"/>
                </a:cubicBezTo>
                <a:cubicBezTo>
                  <a:pt x="1002" y="213"/>
                  <a:pt x="1004" y="213"/>
                  <a:pt x="1005" y="213"/>
                </a:cubicBezTo>
                <a:cubicBezTo>
                  <a:pt x="1006" y="213"/>
                  <a:pt x="1007" y="214"/>
                  <a:pt x="1008" y="215"/>
                </a:cubicBezTo>
                <a:cubicBezTo>
                  <a:pt x="1009" y="216"/>
                  <a:pt x="1010" y="217"/>
                  <a:pt x="1011" y="218"/>
                </a:cubicBezTo>
                <a:cubicBezTo>
                  <a:pt x="1012" y="219"/>
                  <a:pt x="1013" y="219"/>
                  <a:pt x="1014" y="220"/>
                </a:cubicBezTo>
                <a:cubicBezTo>
                  <a:pt x="1024" y="227"/>
                  <a:pt x="1037" y="228"/>
                  <a:pt x="1049" y="226"/>
                </a:cubicBezTo>
                <a:cubicBezTo>
                  <a:pt x="1052" y="226"/>
                  <a:pt x="1055" y="226"/>
                  <a:pt x="1058" y="225"/>
                </a:cubicBezTo>
                <a:cubicBezTo>
                  <a:pt x="1061" y="225"/>
                  <a:pt x="1063" y="223"/>
                  <a:pt x="1064" y="220"/>
                </a:cubicBezTo>
                <a:cubicBezTo>
                  <a:pt x="1065" y="218"/>
                  <a:pt x="1067" y="218"/>
                  <a:pt x="1069" y="216"/>
                </a:cubicBezTo>
                <a:cubicBezTo>
                  <a:pt x="1071" y="214"/>
                  <a:pt x="1070" y="212"/>
                  <a:pt x="1070" y="210"/>
                </a:cubicBezTo>
                <a:cubicBezTo>
                  <a:pt x="1071" y="209"/>
                  <a:pt x="1070" y="209"/>
                  <a:pt x="1069" y="208"/>
                </a:cubicBezTo>
                <a:cubicBezTo>
                  <a:pt x="1068" y="208"/>
                  <a:pt x="1068" y="207"/>
                  <a:pt x="1067" y="206"/>
                </a:cubicBezTo>
                <a:cubicBezTo>
                  <a:pt x="1066" y="206"/>
                  <a:pt x="1063" y="206"/>
                  <a:pt x="1064" y="204"/>
                </a:cubicBezTo>
                <a:cubicBezTo>
                  <a:pt x="1064" y="204"/>
                  <a:pt x="1064" y="203"/>
                  <a:pt x="1065" y="202"/>
                </a:cubicBezTo>
                <a:cubicBezTo>
                  <a:pt x="1066" y="201"/>
                  <a:pt x="1067" y="202"/>
                  <a:pt x="1068" y="202"/>
                </a:cubicBezTo>
                <a:cubicBezTo>
                  <a:pt x="1071" y="202"/>
                  <a:pt x="1074" y="202"/>
                  <a:pt x="1077" y="203"/>
                </a:cubicBezTo>
                <a:cubicBezTo>
                  <a:pt x="1083" y="205"/>
                  <a:pt x="1090" y="206"/>
                  <a:pt x="1095" y="204"/>
                </a:cubicBezTo>
                <a:cubicBezTo>
                  <a:pt x="1098" y="203"/>
                  <a:pt x="1100" y="201"/>
                  <a:pt x="1103" y="201"/>
                </a:cubicBezTo>
                <a:cubicBezTo>
                  <a:pt x="1103" y="202"/>
                  <a:pt x="1105" y="202"/>
                  <a:pt x="1105" y="201"/>
                </a:cubicBezTo>
                <a:cubicBezTo>
                  <a:pt x="1105" y="201"/>
                  <a:pt x="1106" y="199"/>
                  <a:pt x="1106" y="199"/>
                </a:cubicBezTo>
                <a:cubicBezTo>
                  <a:pt x="1106" y="197"/>
                  <a:pt x="1102" y="196"/>
                  <a:pt x="1101" y="196"/>
                </a:cubicBezTo>
                <a:cubicBezTo>
                  <a:pt x="1098" y="197"/>
                  <a:pt x="1095" y="196"/>
                  <a:pt x="1093" y="196"/>
                </a:cubicBezTo>
                <a:cubicBezTo>
                  <a:pt x="1092" y="195"/>
                  <a:pt x="1089" y="195"/>
                  <a:pt x="1090" y="194"/>
                </a:cubicBezTo>
                <a:cubicBezTo>
                  <a:pt x="1091" y="193"/>
                  <a:pt x="1093" y="193"/>
                  <a:pt x="1094" y="193"/>
                </a:cubicBezTo>
                <a:cubicBezTo>
                  <a:pt x="1096" y="193"/>
                  <a:pt x="1097" y="192"/>
                  <a:pt x="1099" y="192"/>
                </a:cubicBezTo>
                <a:cubicBezTo>
                  <a:pt x="1102" y="192"/>
                  <a:pt x="1105" y="193"/>
                  <a:pt x="1107" y="193"/>
                </a:cubicBezTo>
                <a:cubicBezTo>
                  <a:pt x="1109" y="194"/>
                  <a:pt x="1111" y="194"/>
                  <a:pt x="1111" y="192"/>
                </a:cubicBezTo>
                <a:cubicBezTo>
                  <a:pt x="1111" y="190"/>
                  <a:pt x="1114" y="189"/>
                  <a:pt x="1114" y="187"/>
                </a:cubicBezTo>
                <a:cubicBezTo>
                  <a:pt x="1114" y="185"/>
                  <a:pt x="1110" y="186"/>
                  <a:pt x="1109" y="185"/>
                </a:cubicBezTo>
                <a:cubicBezTo>
                  <a:pt x="1108" y="185"/>
                  <a:pt x="1106" y="185"/>
                  <a:pt x="1105" y="185"/>
                </a:cubicBezTo>
                <a:cubicBezTo>
                  <a:pt x="1103" y="184"/>
                  <a:pt x="1102" y="183"/>
                  <a:pt x="1100" y="183"/>
                </a:cubicBezTo>
                <a:cubicBezTo>
                  <a:pt x="1099" y="184"/>
                  <a:pt x="1097" y="184"/>
                  <a:pt x="1096" y="183"/>
                </a:cubicBezTo>
                <a:cubicBezTo>
                  <a:pt x="1093" y="182"/>
                  <a:pt x="1097" y="181"/>
                  <a:pt x="1098" y="181"/>
                </a:cubicBezTo>
                <a:cubicBezTo>
                  <a:pt x="1101" y="181"/>
                  <a:pt x="1103" y="181"/>
                  <a:pt x="1106" y="181"/>
                </a:cubicBezTo>
                <a:cubicBezTo>
                  <a:pt x="1109" y="181"/>
                  <a:pt x="1112" y="181"/>
                  <a:pt x="1116" y="181"/>
                </a:cubicBezTo>
                <a:cubicBezTo>
                  <a:pt x="1118" y="180"/>
                  <a:pt x="1121" y="181"/>
                  <a:pt x="1123" y="181"/>
                </a:cubicBezTo>
                <a:cubicBezTo>
                  <a:pt x="1126" y="181"/>
                  <a:pt x="1124" y="177"/>
                  <a:pt x="1125" y="175"/>
                </a:cubicBezTo>
                <a:cubicBezTo>
                  <a:pt x="1125" y="173"/>
                  <a:pt x="1126" y="171"/>
                  <a:pt x="1123" y="171"/>
                </a:cubicBezTo>
                <a:cubicBezTo>
                  <a:pt x="1120" y="170"/>
                  <a:pt x="1117" y="170"/>
                  <a:pt x="1114" y="169"/>
                </a:cubicBezTo>
                <a:cubicBezTo>
                  <a:pt x="1112" y="168"/>
                  <a:pt x="1109" y="168"/>
                  <a:pt x="1107" y="169"/>
                </a:cubicBezTo>
                <a:cubicBezTo>
                  <a:pt x="1106" y="169"/>
                  <a:pt x="1105" y="169"/>
                  <a:pt x="1103" y="169"/>
                </a:cubicBezTo>
                <a:cubicBezTo>
                  <a:pt x="1102" y="169"/>
                  <a:pt x="1101" y="170"/>
                  <a:pt x="1100" y="170"/>
                </a:cubicBezTo>
                <a:cubicBezTo>
                  <a:pt x="1099" y="170"/>
                  <a:pt x="1097" y="170"/>
                  <a:pt x="1099" y="168"/>
                </a:cubicBezTo>
                <a:cubicBezTo>
                  <a:pt x="1099" y="168"/>
                  <a:pt x="1104" y="164"/>
                  <a:pt x="1101" y="164"/>
                </a:cubicBezTo>
                <a:cubicBezTo>
                  <a:pt x="1100" y="164"/>
                  <a:pt x="1099" y="164"/>
                  <a:pt x="1098" y="164"/>
                </a:cubicBezTo>
                <a:cubicBezTo>
                  <a:pt x="1097" y="164"/>
                  <a:pt x="1095" y="164"/>
                  <a:pt x="1094" y="164"/>
                </a:cubicBezTo>
                <a:cubicBezTo>
                  <a:pt x="1092" y="164"/>
                  <a:pt x="1091" y="164"/>
                  <a:pt x="1089" y="164"/>
                </a:cubicBezTo>
                <a:cubicBezTo>
                  <a:pt x="1088" y="164"/>
                  <a:pt x="1087" y="165"/>
                  <a:pt x="1085" y="165"/>
                </a:cubicBezTo>
                <a:cubicBezTo>
                  <a:pt x="1083" y="165"/>
                  <a:pt x="1080" y="165"/>
                  <a:pt x="1077" y="166"/>
                </a:cubicBezTo>
                <a:cubicBezTo>
                  <a:pt x="1075" y="166"/>
                  <a:pt x="1073" y="168"/>
                  <a:pt x="1072" y="169"/>
                </a:cubicBezTo>
                <a:cubicBezTo>
                  <a:pt x="1071" y="170"/>
                  <a:pt x="1069" y="172"/>
                  <a:pt x="1068" y="172"/>
                </a:cubicBezTo>
                <a:cubicBezTo>
                  <a:pt x="1066" y="172"/>
                  <a:pt x="1065" y="171"/>
                  <a:pt x="1066" y="170"/>
                </a:cubicBezTo>
                <a:cubicBezTo>
                  <a:pt x="1067" y="168"/>
                  <a:pt x="1069" y="167"/>
                  <a:pt x="1070" y="166"/>
                </a:cubicBezTo>
                <a:cubicBezTo>
                  <a:pt x="1071" y="165"/>
                  <a:pt x="1073" y="164"/>
                  <a:pt x="1070" y="164"/>
                </a:cubicBezTo>
                <a:cubicBezTo>
                  <a:pt x="1067" y="163"/>
                  <a:pt x="1065" y="164"/>
                  <a:pt x="1062" y="164"/>
                </a:cubicBezTo>
                <a:cubicBezTo>
                  <a:pt x="1061" y="164"/>
                  <a:pt x="1060" y="164"/>
                  <a:pt x="1059" y="163"/>
                </a:cubicBezTo>
                <a:cubicBezTo>
                  <a:pt x="1058" y="163"/>
                  <a:pt x="1058" y="162"/>
                  <a:pt x="1059" y="161"/>
                </a:cubicBezTo>
                <a:cubicBezTo>
                  <a:pt x="1061" y="161"/>
                  <a:pt x="1062" y="162"/>
                  <a:pt x="1064" y="161"/>
                </a:cubicBezTo>
                <a:cubicBezTo>
                  <a:pt x="1065" y="161"/>
                  <a:pt x="1067" y="161"/>
                  <a:pt x="1068" y="161"/>
                </a:cubicBezTo>
                <a:cubicBezTo>
                  <a:pt x="1071" y="161"/>
                  <a:pt x="1074" y="162"/>
                  <a:pt x="1078" y="162"/>
                </a:cubicBezTo>
                <a:cubicBezTo>
                  <a:pt x="1080" y="162"/>
                  <a:pt x="1083" y="162"/>
                  <a:pt x="1086" y="163"/>
                </a:cubicBezTo>
                <a:cubicBezTo>
                  <a:pt x="1089" y="163"/>
                  <a:pt x="1092" y="162"/>
                  <a:pt x="1094" y="161"/>
                </a:cubicBezTo>
                <a:cubicBezTo>
                  <a:pt x="1095" y="160"/>
                  <a:pt x="1095" y="159"/>
                  <a:pt x="1094" y="159"/>
                </a:cubicBezTo>
                <a:cubicBezTo>
                  <a:pt x="1093" y="158"/>
                  <a:pt x="1092" y="159"/>
                  <a:pt x="1091" y="159"/>
                </a:cubicBezTo>
                <a:cubicBezTo>
                  <a:pt x="1088" y="159"/>
                  <a:pt x="1085" y="159"/>
                  <a:pt x="1082" y="159"/>
                </a:cubicBezTo>
                <a:cubicBezTo>
                  <a:pt x="1080" y="159"/>
                  <a:pt x="1077" y="159"/>
                  <a:pt x="1074" y="159"/>
                </a:cubicBezTo>
                <a:cubicBezTo>
                  <a:pt x="1073" y="159"/>
                  <a:pt x="1071" y="159"/>
                  <a:pt x="1070" y="159"/>
                </a:cubicBezTo>
                <a:cubicBezTo>
                  <a:pt x="1070" y="159"/>
                  <a:pt x="1067" y="158"/>
                  <a:pt x="1068" y="157"/>
                </a:cubicBezTo>
                <a:cubicBezTo>
                  <a:pt x="1070" y="156"/>
                  <a:pt x="1073" y="156"/>
                  <a:pt x="1075" y="156"/>
                </a:cubicBezTo>
                <a:cubicBezTo>
                  <a:pt x="1077" y="157"/>
                  <a:pt x="1078" y="157"/>
                  <a:pt x="1079" y="157"/>
                </a:cubicBezTo>
                <a:cubicBezTo>
                  <a:pt x="1081" y="157"/>
                  <a:pt x="1083" y="157"/>
                  <a:pt x="1084" y="157"/>
                </a:cubicBezTo>
                <a:cubicBezTo>
                  <a:pt x="1087" y="156"/>
                  <a:pt x="1089" y="156"/>
                  <a:pt x="1092" y="157"/>
                </a:cubicBezTo>
                <a:cubicBezTo>
                  <a:pt x="1093" y="157"/>
                  <a:pt x="1099" y="158"/>
                  <a:pt x="1100" y="156"/>
                </a:cubicBezTo>
                <a:cubicBezTo>
                  <a:pt x="1100" y="154"/>
                  <a:pt x="1096" y="153"/>
                  <a:pt x="1095" y="153"/>
                </a:cubicBezTo>
                <a:cubicBezTo>
                  <a:pt x="1092" y="153"/>
                  <a:pt x="1089" y="154"/>
                  <a:pt x="1086" y="154"/>
                </a:cubicBezTo>
                <a:cubicBezTo>
                  <a:pt x="1084" y="155"/>
                  <a:pt x="1080" y="155"/>
                  <a:pt x="1078" y="154"/>
                </a:cubicBezTo>
                <a:cubicBezTo>
                  <a:pt x="1077" y="153"/>
                  <a:pt x="1077" y="152"/>
                  <a:pt x="1075" y="152"/>
                </a:cubicBezTo>
                <a:cubicBezTo>
                  <a:pt x="1074" y="152"/>
                  <a:pt x="1073" y="153"/>
                  <a:pt x="1072" y="153"/>
                </a:cubicBezTo>
                <a:cubicBezTo>
                  <a:pt x="1071" y="153"/>
                  <a:pt x="1070" y="152"/>
                  <a:pt x="1070" y="151"/>
                </a:cubicBezTo>
                <a:cubicBezTo>
                  <a:pt x="1070" y="150"/>
                  <a:pt x="1072" y="150"/>
                  <a:pt x="1073" y="151"/>
                </a:cubicBezTo>
                <a:cubicBezTo>
                  <a:pt x="1074" y="151"/>
                  <a:pt x="1075" y="151"/>
                  <a:pt x="1077" y="151"/>
                </a:cubicBezTo>
                <a:cubicBezTo>
                  <a:pt x="1078" y="152"/>
                  <a:pt x="1080" y="151"/>
                  <a:pt x="1081" y="152"/>
                </a:cubicBezTo>
                <a:cubicBezTo>
                  <a:pt x="1082" y="152"/>
                  <a:pt x="1084" y="152"/>
                  <a:pt x="1083" y="151"/>
                </a:cubicBezTo>
                <a:cubicBezTo>
                  <a:pt x="1083" y="150"/>
                  <a:pt x="1082" y="150"/>
                  <a:pt x="1082" y="149"/>
                </a:cubicBezTo>
                <a:cubicBezTo>
                  <a:pt x="1081" y="147"/>
                  <a:pt x="1084" y="148"/>
                  <a:pt x="1085" y="148"/>
                </a:cubicBezTo>
                <a:cubicBezTo>
                  <a:pt x="1088" y="149"/>
                  <a:pt x="1090" y="151"/>
                  <a:pt x="1093" y="151"/>
                </a:cubicBezTo>
                <a:cubicBezTo>
                  <a:pt x="1096" y="151"/>
                  <a:pt x="1099" y="151"/>
                  <a:pt x="1101" y="151"/>
                </a:cubicBezTo>
                <a:cubicBezTo>
                  <a:pt x="1104" y="151"/>
                  <a:pt x="1102" y="150"/>
                  <a:pt x="1101" y="149"/>
                </a:cubicBezTo>
                <a:cubicBezTo>
                  <a:pt x="1099" y="147"/>
                  <a:pt x="1097" y="147"/>
                  <a:pt x="1095" y="147"/>
                </a:cubicBezTo>
                <a:cubicBezTo>
                  <a:pt x="1094" y="146"/>
                  <a:pt x="1092" y="146"/>
                  <a:pt x="1091" y="146"/>
                </a:cubicBezTo>
                <a:cubicBezTo>
                  <a:pt x="1090" y="146"/>
                  <a:pt x="1089" y="146"/>
                  <a:pt x="1088" y="145"/>
                </a:cubicBezTo>
                <a:cubicBezTo>
                  <a:pt x="1087" y="145"/>
                  <a:pt x="1087" y="144"/>
                  <a:pt x="1086" y="144"/>
                </a:cubicBezTo>
                <a:cubicBezTo>
                  <a:pt x="1086" y="143"/>
                  <a:pt x="1087" y="143"/>
                  <a:pt x="1088" y="143"/>
                </a:cubicBezTo>
                <a:cubicBezTo>
                  <a:pt x="1091" y="143"/>
                  <a:pt x="1093" y="144"/>
                  <a:pt x="1096" y="144"/>
                </a:cubicBezTo>
                <a:cubicBezTo>
                  <a:pt x="1097" y="144"/>
                  <a:pt x="1099" y="145"/>
                  <a:pt x="1100" y="145"/>
                </a:cubicBezTo>
                <a:cubicBezTo>
                  <a:pt x="1101" y="146"/>
                  <a:pt x="1103" y="146"/>
                  <a:pt x="1104" y="147"/>
                </a:cubicBezTo>
                <a:cubicBezTo>
                  <a:pt x="1108" y="147"/>
                  <a:pt x="1110" y="147"/>
                  <a:pt x="1113" y="148"/>
                </a:cubicBezTo>
                <a:cubicBezTo>
                  <a:pt x="1115" y="148"/>
                  <a:pt x="1119" y="151"/>
                  <a:pt x="1121" y="149"/>
                </a:cubicBezTo>
                <a:cubicBezTo>
                  <a:pt x="1122" y="148"/>
                  <a:pt x="1121" y="145"/>
                  <a:pt x="1123" y="146"/>
                </a:cubicBezTo>
                <a:cubicBezTo>
                  <a:pt x="1126" y="146"/>
                  <a:pt x="1128" y="148"/>
                  <a:pt x="1131" y="148"/>
                </a:cubicBezTo>
                <a:cubicBezTo>
                  <a:pt x="1134" y="148"/>
                  <a:pt x="1137" y="148"/>
                  <a:pt x="1140" y="148"/>
                </a:cubicBezTo>
                <a:cubicBezTo>
                  <a:pt x="1142" y="147"/>
                  <a:pt x="1145" y="146"/>
                  <a:pt x="1148" y="145"/>
                </a:cubicBezTo>
                <a:cubicBezTo>
                  <a:pt x="1149" y="144"/>
                  <a:pt x="1151" y="144"/>
                  <a:pt x="1152" y="142"/>
                </a:cubicBezTo>
                <a:cubicBezTo>
                  <a:pt x="1153" y="140"/>
                  <a:pt x="1152" y="137"/>
                  <a:pt x="1150" y="136"/>
                </a:cubicBezTo>
                <a:cubicBezTo>
                  <a:pt x="1148" y="134"/>
                  <a:pt x="1144" y="135"/>
                  <a:pt x="1142" y="135"/>
                </a:cubicBezTo>
                <a:cubicBezTo>
                  <a:pt x="1141" y="135"/>
                  <a:pt x="1139" y="135"/>
                  <a:pt x="1138" y="134"/>
                </a:cubicBezTo>
                <a:cubicBezTo>
                  <a:pt x="1136" y="134"/>
                  <a:pt x="1135" y="135"/>
                  <a:pt x="1133" y="135"/>
                </a:cubicBezTo>
                <a:cubicBezTo>
                  <a:pt x="1131" y="135"/>
                  <a:pt x="1128" y="136"/>
                  <a:pt x="1126" y="134"/>
                </a:cubicBezTo>
                <a:cubicBezTo>
                  <a:pt x="1125" y="133"/>
                  <a:pt x="1125" y="131"/>
                  <a:pt x="1127" y="131"/>
                </a:cubicBezTo>
                <a:cubicBezTo>
                  <a:pt x="1128" y="131"/>
                  <a:pt x="1129" y="131"/>
                  <a:pt x="1131" y="131"/>
                </a:cubicBezTo>
                <a:cubicBezTo>
                  <a:pt x="1134" y="131"/>
                  <a:pt x="1137" y="130"/>
                  <a:pt x="1140" y="130"/>
                </a:cubicBezTo>
                <a:cubicBezTo>
                  <a:pt x="1142" y="130"/>
                  <a:pt x="1144" y="132"/>
                  <a:pt x="1147" y="132"/>
                </a:cubicBezTo>
                <a:cubicBezTo>
                  <a:pt x="1149" y="132"/>
                  <a:pt x="1152" y="131"/>
                  <a:pt x="1155" y="132"/>
                </a:cubicBezTo>
                <a:cubicBezTo>
                  <a:pt x="1156" y="132"/>
                  <a:pt x="1157" y="133"/>
                  <a:pt x="1156" y="134"/>
                </a:cubicBezTo>
                <a:cubicBezTo>
                  <a:pt x="1156" y="135"/>
                  <a:pt x="1155" y="136"/>
                  <a:pt x="1156" y="137"/>
                </a:cubicBezTo>
                <a:cubicBezTo>
                  <a:pt x="1158" y="138"/>
                  <a:pt x="1162" y="138"/>
                  <a:pt x="1164" y="139"/>
                </a:cubicBezTo>
                <a:cubicBezTo>
                  <a:pt x="1170" y="141"/>
                  <a:pt x="1175" y="138"/>
                  <a:pt x="1180" y="137"/>
                </a:cubicBezTo>
                <a:cubicBezTo>
                  <a:pt x="1182" y="136"/>
                  <a:pt x="1185" y="136"/>
                  <a:pt x="1186" y="135"/>
                </a:cubicBezTo>
                <a:cubicBezTo>
                  <a:pt x="1188" y="134"/>
                  <a:pt x="1187" y="131"/>
                  <a:pt x="1185" y="131"/>
                </a:cubicBezTo>
                <a:cubicBezTo>
                  <a:pt x="1185" y="131"/>
                  <a:pt x="1184" y="132"/>
                  <a:pt x="1183" y="131"/>
                </a:cubicBezTo>
                <a:cubicBezTo>
                  <a:pt x="1183" y="130"/>
                  <a:pt x="1183" y="129"/>
                  <a:pt x="1184" y="129"/>
                </a:cubicBezTo>
                <a:cubicBezTo>
                  <a:pt x="1185" y="129"/>
                  <a:pt x="1185" y="129"/>
                  <a:pt x="1186" y="128"/>
                </a:cubicBezTo>
                <a:cubicBezTo>
                  <a:pt x="1188" y="128"/>
                  <a:pt x="1189" y="127"/>
                  <a:pt x="1191" y="127"/>
                </a:cubicBezTo>
                <a:cubicBezTo>
                  <a:pt x="1193" y="127"/>
                  <a:pt x="1195" y="126"/>
                  <a:pt x="1195" y="124"/>
                </a:cubicBezTo>
                <a:cubicBezTo>
                  <a:pt x="1196" y="122"/>
                  <a:pt x="1193" y="121"/>
                  <a:pt x="1191" y="121"/>
                </a:cubicBezTo>
                <a:cubicBezTo>
                  <a:pt x="1190" y="121"/>
                  <a:pt x="1189" y="122"/>
                  <a:pt x="1187" y="122"/>
                </a:cubicBezTo>
                <a:cubicBezTo>
                  <a:pt x="1186" y="122"/>
                  <a:pt x="1184" y="122"/>
                  <a:pt x="1183" y="122"/>
                </a:cubicBezTo>
                <a:cubicBezTo>
                  <a:pt x="1181" y="123"/>
                  <a:pt x="1180" y="123"/>
                  <a:pt x="1179" y="123"/>
                </a:cubicBezTo>
                <a:cubicBezTo>
                  <a:pt x="1177" y="124"/>
                  <a:pt x="1175" y="123"/>
                  <a:pt x="1174" y="123"/>
                </a:cubicBezTo>
                <a:cubicBezTo>
                  <a:pt x="1172" y="123"/>
                  <a:pt x="1171" y="123"/>
                  <a:pt x="1170" y="124"/>
                </a:cubicBezTo>
                <a:cubicBezTo>
                  <a:pt x="1169" y="125"/>
                  <a:pt x="1168" y="125"/>
                  <a:pt x="1167" y="125"/>
                </a:cubicBezTo>
                <a:cubicBezTo>
                  <a:pt x="1166" y="124"/>
                  <a:pt x="1166" y="123"/>
                  <a:pt x="1166" y="123"/>
                </a:cubicBezTo>
                <a:cubicBezTo>
                  <a:pt x="1166" y="121"/>
                  <a:pt x="1167" y="121"/>
                  <a:pt x="1167" y="120"/>
                </a:cubicBezTo>
                <a:cubicBezTo>
                  <a:pt x="1167" y="119"/>
                  <a:pt x="1163" y="117"/>
                  <a:pt x="1165" y="117"/>
                </a:cubicBezTo>
                <a:cubicBezTo>
                  <a:pt x="1167" y="116"/>
                  <a:pt x="1170" y="118"/>
                  <a:pt x="1172" y="119"/>
                </a:cubicBezTo>
                <a:cubicBezTo>
                  <a:pt x="1177" y="122"/>
                  <a:pt x="1184" y="120"/>
                  <a:pt x="1189" y="118"/>
                </a:cubicBezTo>
                <a:cubicBezTo>
                  <a:pt x="1192" y="118"/>
                  <a:pt x="1195" y="118"/>
                  <a:pt x="1198" y="117"/>
                </a:cubicBezTo>
                <a:cubicBezTo>
                  <a:pt x="1199" y="117"/>
                  <a:pt x="1203" y="118"/>
                  <a:pt x="1203" y="116"/>
                </a:cubicBezTo>
                <a:cubicBezTo>
                  <a:pt x="1202" y="115"/>
                  <a:pt x="1200" y="114"/>
                  <a:pt x="1199" y="114"/>
                </a:cubicBezTo>
                <a:cubicBezTo>
                  <a:pt x="1197" y="113"/>
                  <a:pt x="1198" y="112"/>
                  <a:pt x="1198" y="110"/>
                </a:cubicBezTo>
                <a:cubicBezTo>
                  <a:pt x="1197" y="108"/>
                  <a:pt x="1194" y="107"/>
                  <a:pt x="1193" y="106"/>
                </a:cubicBezTo>
                <a:cubicBezTo>
                  <a:pt x="1192" y="106"/>
                  <a:pt x="1191" y="105"/>
                  <a:pt x="1191" y="104"/>
                </a:cubicBezTo>
                <a:cubicBezTo>
                  <a:pt x="1191" y="104"/>
                  <a:pt x="1192" y="104"/>
                  <a:pt x="1193" y="104"/>
                </a:cubicBezTo>
                <a:cubicBezTo>
                  <a:pt x="1195" y="104"/>
                  <a:pt x="1197" y="105"/>
                  <a:pt x="1199" y="106"/>
                </a:cubicBezTo>
                <a:cubicBezTo>
                  <a:pt x="1201" y="107"/>
                  <a:pt x="1202" y="110"/>
                  <a:pt x="1204" y="110"/>
                </a:cubicBezTo>
                <a:cubicBezTo>
                  <a:pt x="1210" y="112"/>
                  <a:pt x="1215" y="110"/>
                  <a:pt x="1220" y="107"/>
                </a:cubicBezTo>
                <a:cubicBezTo>
                  <a:pt x="1225" y="104"/>
                  <a:pt x="1230" y="100"/>
                  <a:pt x="1236" y="96"/>
                </a:cubicBezTo>
                <a:cubicBezTo>
                  <a:pt x="1241" y="93"/>
                  <a:pt x="1246" y="89"/>
                  <a:pt x="1251" y="87"/>
                </a:cubicBezTo>
                <a:cubicBezTo>
                  <a:pt x="1257" y="84"/>
                  <a:pt x="1264" y="82"/>
                  <a:pt x="1270" y="80"/>
                </a:cubicBezTo>
                <a:cubicBezTo>
                  <a:pt x="1276" y="78"/>
                  <a:pt x="1282" y="77"/>
                  <a:pt x="1288" y="74"/>
                </a:cubicBezTo>
                <a:cubicBezTo>
                  <a:pt x="1291" y="74"/>
                  <a:pt x="1293" y="73"/>
                  <a:pt x="1295" y="71"/>
                </a:cubicBezTo>
                <a:cubicBezTo>
                  <a:pt x="1297" y="69"/>
                  <a:pt x="1299" y="66"/>
                  <a:pt x="1295" y="66"/>
                </a:cubicBezTo>
                <a:cubicBezTo>
                  <a:pt x="1289" y="67"/>
                  <a:pt x="1283" y="68"/>
                  <a:pt x="1277" y="69"/>
                </a:cubicBezTo>
                <a:cubicBezTo>
                  <a:pt x="1271" y="70"/>
                  <a:pt x="1265" y="70"/>
                  <a:pt x="1258" y="71"/>
                </a:cubicBezTo>
                <a:cubicBezTo>
                  <a:pt x="1252" y="72"/>
                  <a:pt x="1246" y="74"/>
                  <a:pt x="1240" y="75"/>
                </a:cubicBezTo>
                <a:cubicBezTo>
                  <a:pt x="1234" y="77"/>
                  <a:pt x="1228" y="76"/>
                  <a:pt x="1223" y="79"/>
                </a:cubicBezTo>
                <a:cubicBezTo>
                  <a:pt x="1218" y="81"/>
                  <a:pt x="1211" y="84"/>
                  <a:pt x="1207" y="81"/>
                </a:cubicBezTo>
                <a:cubicBezTo>
                  <a:pt x="1205" y="80"/>
                  <a:pt x="1203" y="81"/>
                  <a:pt x="1202" y="79"/>
                </a:cubicBezTo>
                <a:cubicBezTo>
                  <a:pt x="1200" y="78"/>
                  <a:pt x="1206" y="77"/>
                  <a:pt x="1207" y="77"/>
                </a:cubicBezTo>
                <a:cubicBezTo>
                  <a:pt x="1213" y="76"/>
                  <a:pt x="1219" y="75"/>
                  <a:pt x="1225" y="73"/>
                </a:cubicBezTo>
                <a:cubicBezTo>
                  <a:pt x="1228" y="73"/>
                  <a:pt x="1230" y="71"/>
                  <a:pt x="1233" y="70"/>
                </a:cubicBezTo>
                <a:cubicBezTo>
                  <a:pt x="1236" y="69"/>
                  <a:pt x="1240" y="69"/>
                  <a:pt x="1243" y="69"/>
                </a:cubicBezTo>
                <a:cubicBezTo>
                  <a:pt x="1248" y="69"/>
                  <a:pt x="1255" y="70"/>
                  <a:pt x="1260" y="68"/>
                </a:cubicBezTo>
                <a:cubicBezTo>
                  <a:pt x="1262" y="67"/>
                  <a:pt x="1261" y="66"/>
                  <a:pt x="1259" y="65"/>
                </a:cubicBezTo>
                <a:cubicBezTo>
                  <a:pt x="1257" y="64"/>
                  <a:pt x="1255" y="63"/>
                  <a:pt x="1253" y="64"/>
                </a:cubicBezTo>
                <a:cubicBezTo>
                  <a:pt x="1247" y="65"/>
                  <a:pt x="1241" y="65"/>
                  <a:pt x="1235" y="66"/>
                </a:cubicBezTo>
                <a:cubicBezTo>
                  <a:pt x="1234" y="66"/>
                  <a:pt x="1232" y="66"/>
                  <a:pt x="1231" y="67"/>
                </a:cubicBezTo>
                <a:cubicBezTo>
                  <a:pt x="1230" y="67"/>
                  <a:pt x="1228" y="67"/>
                  <a:pt x="1227" y="66"/>
                </a:cubicBezTo>
                <a:cubicBezTo>
                  <a:pt x="1227" y="66"/>
                  <a:pt x="1227" y="64"/>
                  <a:pt x="1227" y="63"/>
                </a:cubicBezTo>
                <a:cubicBezTo>
                  <a:pt x="1227" y="62"/>
                  <a:pt x="1227" y="61"/>
                  <a:pt x="1226" y="61"/>
                </a:cubicBezTo>
                <a:cubicBezTo>
                  <a:pt x="1224" y="60"/>
                  <a:pt x="1222" y="60"/>
                  <a:pt x="1220" y="59"/>
                </a:cubicBezTo>
                <a:cubicBezTo>
                  <a:pt x="1220" y="59"/>
                  <a:pt x="1217" y="56"/>
                  <a:pt x="1218" y="56"/>
                </a:cubicBezTo>
                <a:cubicBezTo>
                  <a:pt x="1220" y="56"/>
                  <a:pt x="1222" y="57"/>
                  <a:pt x="1224" y="57"/>
                </a:cubicBezTo>
                <a:cubicBezTo>
                  <a:pt x="1226" y="58"/>
                  <a:pt x="1228" y="60"/>
                  <a:pt x="1231" y="61"/>
                </a:cubicBezTo>
                <a:cubicBezTo>
                  <a:pt x="1234" y="62"/>
                  <a:pt x="1237" y="62"/>
                  <a:pt x="1240" y="62"/>
                </a:cubicBezTo>
                <a:cubicBezTo>
                  <a:pt x="1253" y="62"/>
                  <a:pt x="1265" y="63"/>
                  <a:pt x="1278" y="61"/>
                </a:cubicBezTo>
                <a:cubicBezTo>
                  <a:pt x="1284" y="61"/>
                  <a:pt x="1290" y="59"/>
                  <a:pt x="1297" y="59"/>
                </a:cubicBezTo>
                <a:cubicBezTo>
                  <a:pt x="1299" y="58"/>
                  <a:pt x="1302" y="59"/>
                  <a:pt x="1305" y="58"/>
                </a:cubicBezTo>
                <a:cubicBezTo>
                  <a:pt x="1308" y="57"/>
                  <a:pt x="1310" y="56"/>
                  <a:pt x="1312" y="54"/>
                </a:cubicBezTo>
                <a:cubicBezTo>
                  <a:pt x="1317" y="51"/>
                  <a:pt x="1322" y="48"/>
                  <a:pt x="1327" y="47"/>
                </a:cubicBezTo>
                <a:cubicBezTo>
                  <a:pt x="1333" y="45"/>
                  <a:pt x="1338" y="43"/>
                  <a:pt x="1343" y="39"/>
                </a:cubicBezTo>
                <a:cubicBezTo>
                  <a:pt x="1345" y="38"/>
                  <a:pt x="1348" y="36"/>
                  <a:pt x="1350" y="36"/>
                </a:cubicBezTo>
                <a:cubicBezTo>
                  <a:pt x="1352" y="35"/>
                  <a:pt x="1353" y="35"/>
                  <a:pt x="1354" y="34"/>
                </a:cubicBezTo>
                <a:cubicBezTo>
                  <a:pt x="1355" y="34"/>
                  <a:pt x="1357" y="34"/>
                  <a:pt x="1358" y="33"/>
                </a:cubicBezTo>
                <a:cubicBezTo>
                  <a:pt x="1359" y="32"/>
                  <a:pt x="1356" y="30"/>
                  <a:pt x="1355" y="29"/>
                </a:cubicBezTo>
                <a:cubicBezTo>
                  <a:pt x="1353" y="27"/>
                  <a:pt x="1350" y="27"/>
                  <a:pt x="1347" y="26"/>
                </a:cubicBezTo>
                <a:cubicBezTo>
                  <a:pt x="1344" y="26"/>
                  <a:pt x="1341" y="26"/>
                  <a:pt x="1338" y="26"/>
                </a:cubicBezTo>
                <a:cubicBezTo>
                  <a:pt x="1335" y="26"/>
                  <a:pt x="1331" y="26"/>
                  <a:pt x="1328" y="26"/>
                </a:cubicBezTo>
                <a:cubicBezTo>
                  <a:pt x="1327" y="27"/>
                  <a:pt x="1321" y="28"/>
                  <a:pt x="1321" y="27"/>
                </a:cubicBezTo>
                <a:cubicBezTo>
                  <a:pt x="1322" y="26"/>
                  <a:pt x="1323" y="25"/>
                  <a:pt x="1324" y="25"/>
                </a:cubicBezTo>
                <a:cubicBezTo>
                  <a:pt x="1324" y="24"/>
                  <a:pt x="1325" y="23"/>
                  <a:pt x="1326" y="22"/>
                </a:cubicBezTo>
                <a:cubicBezTo>
                  <a:pt x="1327" y="20"/>
                  <a:pt x="1320" y="19"/>
                  <a:pt x="1318" y="18"/>
                </a:cubicBezTo>
                <a:cubicBezTo>
                  <a:pt x="1317" y="18"/>
                  <a:pt x="1316" y="17"/>
                  <a:pt x="1316" y="16"/>
                </a:cubicBezTo>
                <a:cubicBezTo>
                  <a:pt x="1316" y="15"/>
                  <a:pt x="1317" y="14"/>
                  <a:pt x="1318" y="14"/>
                </a:cubicBezTo>
                <a:cubicBezTo>
                  <a:pt x="1318" y="13"/>
                  <a:pt x="1318" y="12"/>
                  <a:pt x="1317" y="12"/>
                </a:cubicBezTo>
                <a:cubicBezTo>
                  <a:pt x="1316" y="11"/>
                  <a:pt x="1314" y="12"/>
                  <a:pt x="1313" y="12"/>
                </a:cubicBezTo>
                <a:cubicBezTo>
                  <a:pt x="1312" y="12"/>
                  <a:pt x="1310" y="12"/>
                  <a:pt x="1309" y="12"/>
                </a:cubicBezTo>
                <a:cubicBezTo>
                  <a:pt x="1306" y="12"/>
                  <a:pt x="1303" y="13"/>
                  <a:pt x="1300" y="14"/>
                </a:cubicBezTo>
                <a:cubicBezTo>
                  <a:pt x="1297" y="14"/>
                  <a:pt x="1294" y="14"/>
                  <a:pt x="1291" y="15"/>
                </a:cubicBezTo>
                <a:cubicBezTo>
                  <a:pt x="1288" y="15"/>
                  <a:pt x="1285" y="16"/>
                  <a:pt x="1282" y="15"/>
                </a:cubicBezTo>
                <a:cubicBezTo>
                  <a:pt x="1279" y="14"/>
                  <a:pt x="1277" y="14"/>
                  <a:pt x="1274" y="14"/>
                </a:cubicBezTo>
                <a:cubicBezTo>
                  <a:pt x="1271" y="14"/>
                  <a:pt x="1267" y="13"/>
                  <a:pt x="1265" y="15"/>
                </a:cubicBezTo>
                <a:cubicBezTo>
                  <a:pt x="1263" y="15"/>
                  <a:pt x="1263" y="17"/>
                  <a:pt x="1262" y="17"/>
                </a:cubicBezTo>
                <a:cubicBezTo>
                  <a:pt x="1261" y="18"/>
                  <a:pt x="1259" y="18"/>
                  <a:pt x="1258" y="18"/>
                </a:cubicBezTo>
                <a:cubicBezTo>
                  <a:pt x="1255" y="18"/>
                  <a:pt x="1252" y="18"/>
                  <a:pt x="1249" y="18"/>
                </a:cubicBezTo>
                <a:cubicBezTo>
                  <a:pt x="1243" y="19"/>
                  <a:pt x="1237" y="20"/>
                  <a:pt x="1232" y="20"/>
                </a:cubicBezTo>
                <a:cubicBezTo>
                  <a:pt x="1232" y="20"/>
                  <a:pt x="1230" y="20"/>
                  <a:pt x="1230" y="19"/>
                </a:cubicBezTo>
                <a:cubicBezTo>
                  <a:pt x="1231" y="19"/>
                  <a:pt x="1231" y="19"/>
                  <a:pt x="1232" y="18"/>
                </a:cubicBezTo>
                <a:cubicBezTo>
                  <a:pt x="1235" y="17"/>
                  <a:pt x="1237" y="16"/>
                  <a:pt x="1240" y="16"/>
                </a:cubicBezTo>
                <a:cubicBezTo>
                  <a:pt x="1243" y="15"/>
                  <a:pt x="1245" y="14"/>
                  <a:pt x="1248" y="13"/>
                </a:cubicBezTo>
                <a:cubicBezTo>
                  <a:pt x="1251" y="12"/>
                  <a:pt x="1254" y="12"/>
                  <a:pt x="1257" y="11"/>
                </a:cubicBezTo>
                <a:cubicBezTo>
                  <a:pt x="1258" y="10"/>
                  <a:pt x="1260" y="10"/>
                  <a:pt x="1261" y="10"/>
                </a:cubicBezTo>
                <a:cubicBezTo>
                  <a:pt x="1263" y="10"/>
                  <a:pt x="1264" y="10"/>
                  <a:pt x="1265" y="9"/>
                </a:cubicBezTo>
                <a:cubicBezTo>
                  <a:pt x="1267" y="8"/>
                  <a:pt x="1259" y="7"/>
                  <a:pt x="1259" y="7"/>
                </a:cubicBezTo>
                <a:cubicBezTo>
                  <a:pt x="1253" y="7"/>
                  <a:pt x="1246" y="5"/>
                  <a:pt x="1240" y="5"/>
                </a:cubicBezTo>
                <a:cubicBezTo>
                  <a:pt x="1233" y="5"/>
                  <a:pt x="1227" y="6"/>
                  <a:pt x="1220" y="6"/>
                </a:cubicBezTo>
                <a:cubicBezTo>
                  <a:pt x="1218" y="6"/>
                  <a:pt x="1215" y="6"/>
                  <a:pt x="1214" y="4"/>
                </a:cubicBezTo>
                <a:cubicBezTo>
                  <a:pt x="1213" y="3"/>
                  <a:pt x="1214" y="3"/>
                  <a:pt x="1215" y="2"/>
                </a:cubicBezTo>
                <a:cubicBezTo>
                  <a:pt x="1215" y="1"/>
                  <a:pt x="1214" y="0"/>
                  <a:pt x="1213" y="0"/>
                </a:cubicBezTo>
                <a:cubicBezTo>
                  <a:pt x="1211" y="0"/>
                  <a:pt x="1208" y="1"/>
                  <a:pt x="1205" y="1"/>
                </a:cubicBezTo>
                <a:cubicBezTo>
                  <a:pt x="1202" y="2"/>
                  <a:pt x="1199" y="2"/>
                  <a:pt x="1196" y="2"/>
                </a:cubicBezTo>
                <a:cubicBezTo>
                  <a:pt x="1194" y="3"/>
                  <a:pt x="1192" y="3"/>
                  <a:pt x="1189" y="3"/>
                </a:cubicBezTo>
                <a:cubicBezTo>
                  <a:pt x="1189" y="3"/>
                  <a:pt x="1186" y="2"/>
                  <a:pt x="1186" y="4"/>
                </a:cubicBezTo>
                <a:cubicBezTo>
                  <a:pt x="1186" y="6"/>
                  <a:pt x="1188" y="6"/>
                  <a:pt x="1189" y="7"/>
                </a:cubicBezTo>
                <a:cubicBezTo>
                  <a:pt x="1191" y="7"/>
                  <a:pt x="1192" y="9"/>
                  <a:pt x="1189" y="9"/>
                </a:cubicBezTo>
                <a:cubicBezTo>
                  <a:pt x="1187" y="9"/>
                  <a:pt x="1185" y="8"/>
                  <a:pt x="1183" y="7"/>
                </a:cubicBezTo>
                <a:cubicBezTo>
                  <a:pt x="1181" y="7"/>
                  <a:pt x="1177" y="7"/>
                  <a:pt x="1176" y="5"/>
                </a:cubicBezTo>
                <a:cubicBezTo>
                  <a:pt x="1176" y="3"/>
                  <a:pt x="1176" y="2"/>
                  <a:pt x="1177" y="1"/>
                </a:cubicBezTo>
                <a:cubicBezTo>
                  <a:pt x="1177" y="0"/>
                  <a:pt x="1177" y="0"/>
                  <a:pt x="1176" y="0"/>
                </a:cubicBezTo>
                <a:cubicBezTo>
                  <a:pt x="1173" y="0"/>
                  <a:pt x="1171" y="2"/>
                  <a:pt x="1168" y="3"/>
                </a:cubicBezTo>
                <a:cubicBezTo>
                  <a:pt x="1165" y="4"/>
                  <a:pt x="1162" y="5"/>
                  <a:pt x="1159" y="6"/>
                </a:cubicBezTo>
                <a:cubicBezTo>
                  <a:pt x="1157" y="6"/>
                  <a:pt x="1153" y="6"/>
                  <a:pt x="1150" y="7"/>
                </a:cubicBezTo>
                <a:cubicBezTo>
                  <a:pt x="1148" y="8"/>
                  <a:pt x="1150" y="11"/>
                  <a:pt x="1152" y="12"/>
                </a:cubicBezTo>
                <a:cubicBezTo>
                  <a:pt x="1154" y="13"/>
                  <a:pt x="1156" y="13"/>
                  <a:pt x="1158" y="14"/>
                </a:cubicBezTo>
                <a:cubicBezTo>
                  <a:pt x="1160" y="14"/>
                  <a:pt x="1164" y="15"/>
                  <a:pt x="1163" y="17"/>
                </a:cubicBezTo>
                <a:cubicBezTo>
                  <a:pt x="1162" y="19"/>
                  <a:pt x="1158" y="17"/>
                  <a:pt x="1156" y="16"/>
                </a:cubicBezTo>
                <a:cubicBezTo>
                  <a:pt x="1154" y="15"/>
                  <a:pt x="1151" y="14"/>
                  <a:pt x="1148" y="14"/>
                </a:cubicBezTo>
                <a:cubicBezTo>
                  <a:pt x="1146" y="13"/>
                  <a:pt x="1143" y="13"/>
                  <a:pt x="1141" y="11"/>
                </a:cubicBezTo>
                <a:cubicBezTo>
                  <a:pt x="1139" y="9"/>
                  <a:pt x="1138" y="7"/>
                  <a:pt x="1136" y="6"/>
                </a:cubicBezTo>
                <a:cubicBezTo>
                  <a:pt x="1135" y="5"/>
                  <a:pt x="1134" y="5"/>
                  <a:pt x="1133" y="5"/>
                </a:cubicBezTo>
                <a:cubicBezTo>
                  <a:pt x="1131" y="4"/>
                  <a:pt x="1130" y="4"/>
                  <a:pt x="1128" y="3"/>
                </a:cubicBezTo>
                <a:cubicBezTo>
                  <a:pt x="1126" y="3"/>
                  <a:pt x="1123" y="3"/>
                  <a:pt x="1120" y="3"/>
                </a:cubicBezTo>
                <a:cubicBezTo>
                  <a:pt x="1116" y="3"/>
                  <a:pt x="1113" y="3"/>
                  <a:pt x="1110" y="4"/>
                </a:cubicBezTo>
                <a:cubicBezTo>
                  <a:pt x="1103" y="4"/>
                  <a:pt x="1097" y="5"/>
                  <a:pt x="1091" y="4"/>
                </a:cubicBezTo>
                <a:cubicBezTo>
                  <a:pt x="1088" y="3"/>
                  <a:pt x="1085" y="2"/>
                  <a:pt x="1082" y="3"/>
                </a:cubicBezTo>
                <a:cubicBezTo>
                  <a:pt x="1081" y="5"/>
                  <a:pt x="1084" y="7"/>
                  <a:pt x="1085" y="8"/>
                </a:cubicBezTo>
                <a:cubicBezTo>
                  <a:pt x="1086" y="8"/>
                  <a:pt x="1087" y="8"/>
                  <a:pt x="1089" y="9"/>
                </a:cubicBezTo>
                <a:cubicBezTo>
                  <a:pt x="1090" y="10"/>
                  <a:pt x="1091" y="10"/>
                  <a:pt x="1092" y="11"/>
                </a:cubicBezTo>
                <a:cubicBezTo>
                  <a:pt x="1094" y="12"/>
                  <a:pt x="1097" y="13"/>
                  <a:pt x="1100" y="13"/>
                </a:cubicBezTo>
                <a:cubicBezTo>
                  <a:pt x="1101" y="13"/>
                  <a:pt x="1104" y="14"/>
                  <a:pt x="1102" y="15"/>
                </a:cubicBezTo>
                <a:cubicBezTo>
                  <a:pt x="1101" y="15"/>
                  <a:pt x="1100" y="16"/>
                  <a:pt x="1100" y="16"/>
                </a:cubicBezTo>
                <a:cubicBezTo>
                  <a:pt x="1100" y="17"/>
                  <a:pt x="1101" y="17"/>
                  <a:pt x="1102" y="18"/>
                </a:cubicBezTo>
                <a:cubicBezTo>
                  <a:pt x="1104" y="18"/>
                  <a:pt x="1106" y="19"/>
                  <a:pt x="1108" y="20"/>
                </a:cubicBezTo>
                <a:cubicBezTo>
                  <a:pt x="1110" y="20"/>
                  <a:pt x="1111" y="20"/>
                  <a:pt x="1113" y="20"/>
                </a:cubicBezTo>
                <a:cubicBezTo>
                  <a:pt x="1113" y="20"/>
                  <a:pt x="1112" y="21"/>
                  <a:pt x="1112" y="21"/>
                </a:cubicBezTo>
                <a:cubicBezTo>
                  <a:pt x="1111" y="22"/>
                  <a:pt x="1110" y="23"/>
                  <a:pt x="1109" y="23"/>
                </a:cubicBezTo>
                <a:cubicBezTo>
                  <a:pt x="1107" y="23"/>
                  <a:pt x="1106" y="24"/>
                  <a:pt x="1105" y="24"/>
                </a:cubicBezTo>
                <a:cubicBezTo>
                  <a:pt x="1104" y="25"/>
                  <a:pt x="1103" y="26"/>
                  <a:pt x="1102" y="27"/>
                </a:cubicBezTo>
                <a:cubicBezTo>
                  <a:pt x="1101" y="28"/>
                  <a:pt x="1099" y="28"/>
                  <a:pt x="1098" y="28"/>
                </a:cubicBezTo>
                <a:cubicBezTo>
                  <a:pt x="1096" y="28"/>
                  <a:pt x="1099" y="25"/>
                  <a:pt x="1099" y="24"/>
                </a:cubicBezTo>
                <a:cubicBezTo>
                  <a:pt x="1100" y="24"/>
                  <a:pt x="1101" y="24"/>
                  <a:pt x="1101" y="23"/>
                </a:cubicBezTo>
                <a:cubicBezTo>
                  <a:pt x="1102" y="22"/>
                  <a:pt x="1100" y="21"/>
                  <a:pt x="1100" y="21"/>
                </a:cubicBezTo>
                <a:cubicBezTo>
                  <a:pt x="1097" y="20"/>
                  <a:pt x="1094" y="20"/>
                  <a:pt x="1092" y="18"/>
                </a:cubicBezTo>
                <a:cubicBezTo>
                  <a:pt x="1091" y="18"/>
                  <a:pt x="1090" y="17"/>
                  <a:pt x="1088" y="17"/>
                </a:cubicBezTo>
                <a:cubicBezTo>
                  <a:pt x="1087" y="16"/>
                  <a:pt x="1087" y="15"/>
                  <a:pt x="1086" y="15"/>
                </a:cubicBezTo>
                <a:cubicBezTo>
                  <a:pt x="1084" y="13"/>
                  <a:pt x="1082" y="11"/>
                  <a:pt x="1079" y="10"/>
                </a:cubicBezTo>
                <a:cubicBezTo>
                  <a:pt x="1076" y="10"/>
                  <a:pt x="1074" y="11"/>
                  <a:pt x="1071" y="10"/>
                </a:cubicBezTo>
                <a:cubicBezTo>
                  <a:pt x="1068" y="9"/>
                  <a:pt x="1065" y="9"/>
                  <a:pt x="1062" y="9"/>
                </a:cubicBezTo>
                <a:cubicBezTo>
                  <a:pt x="1060" y="8"/>
                  <a:pt x="1057" y="8"/>
                  <a:pt x="1054" y="7"/>
                </a:cubicBezTo>
                <a:cubicBezTo>
                  <a:pt x="1051" y="6"/>
                  <a:pt x="1049" y="6"/>
                  <a:pt x="1047" y="8"/>
                </a:cubicBezTo>
                <a:cubicBezTo>
                  <a:pt x="1046" y="9"/>
                  <a:pt x="1045" y="10"/>
                  <a:pt x="1044" y="11"/>
                </a:cubicBezTo>
                <a:cubicBezTo>
                  <a:pt x="1043" y="11"/>
                  <a:pt x="1042" y="12"/>
                  <a:pt x="1042" y="13"/>
                </a:cubicBezTo>
                <a:cubicBezTo>
                  <a:pt x="1041" y="15"/>
                  <a:pt x="1046" y="16"/>
                  <a:pt x="1047" y="16"/>
                </a:cubicBezTo>
                <a:cubicBezTo>
                  <a:pt x="1050" y="16"/>
                  <a:pt x="1053" y="16"/>
                  <a:pt x="1056" y="17"/>
                </a:cubicBezTo>
                <a:cubicBezTo>
                  <a:pt x="1058" y="17"/>
                  <a:pt x="1062" y="16"/>
                  <a:pt x="1063" y="18"/>
                </a:cubicBezTo>
                <a:cubicBezTo>
                  <a:pt x="1064" y="19"/>
                  <a:pt x="1060" y="19"/>
                  <a:pt x="1060" y="19"/>
                </a:cubicBezTo>
                <a:cubicBezTo>
                  <a:pt x="1056" y="19"/>
                  <a:pt x="1054" y="18"/>
                  <a:pt x="1050" y="18"/>
                </a:cubicBezTo>
                <a:cubicBezTo>
                  <a:pt x="1048" y="18"/>
                  <a:pt x="1045" y="18"/>
                  <a:pt x="1042" y="18"/>
                </a:cubicBezTo>
                <a:cubicBezTo>
                  <a:pt x="1040" y="18"/>
                  <a:pt x="1035" y="19"/>
                  <a:pt x="1034" y="18"/>
                </a:cubicBezTo>
                <a:cubicBezTo>
                  <a:pt x="1033" y="17"/>
                  <a:pt x="1032" y="16"/>
                  <a:pt x="1032" y="15"/>
                </a:cubicBezTo>
                <a:cubicBezTo>
                  <a:pt x="1031" y="14"/>
                  <a:pt x="1030" y="14"/>
                  <a:pt x="1029" y="13"/>
                </a:cubicBezTo>
                <a:cubicBezTo>
                  <a:pt x="1028" y="13"/>
                  <a:pt x="1026" y="13"/>
                  <a:pt x="1025" y="13"/>
                </a:cubicBezTo>
                <a:cubicBezTo>
                  <a:pt x="1023" y="13"/>
                  <a:pt x="1022" y="12"/>
                  <a:pt x="1020" y="12"/>
                </a:cubicBezTo>
                <a:cubicBezTo>
                  <a:pt x="1019" y="12"/>
                  <a:pt x="1014" y="12"/>
                  <a:pt x="1015" y="14"/>
                </a:cubicBezTo>
                <a:cubicBezTo>
                  <a:pt x="1015" y="15"/>
                  <a:pt x="1016" y="16"/>
                  <a:pt x="1017" y="16"/>
                </a:cubicBezTo>
                <a:cubicBezTo>
                  <a:pt x="1019" y="17"/>
                  <a:pt x="1020" y="18"/>
                  <a:pt x="1021" y="19"/>
                </a:cubicBezTo>
                <a:cubicBezTo>
                  <a:pt x="1022" y="20"/>
                  <a:pt x="1026" y="21"/>
                  <a:pt x="1026" y="23"/>
                </a:cubicBezTo>
                <a:cubicBezTo>
                  <a:pt x="1026" y="24"/>
                  <a:pt x="1023" y="23"/>
                  <a:pt x="1022" y="23"/>
                </a:cubicBezTo>
                <a:cubicBezTo>
                  <a:pt x="1020" y="23"/>
                  <a:pt x="1017" y="22"/>
                  <a:pt x="1015" y="20"/>
                </a:cubicBezTo>
                <a:cubicBezTo>
                  <a:pt x="1013" y="20"/>
                  <a:pt x="1012" y="19"/>
                  <a:pt x="1011" y="19"/>
                </a:cubicBezTo>
                <a:cubicBezTo>
                  <a:pt x="1009" y="19"/>
                  <a:pt x="1008" y="19"/>
                  <a:pt x="1006" y="19"/>
                </a:cubicBezTo>
                <a:cubicBezTo>
                  <a:pt x="1004" y="19"/>
                  <a:pt x="1001" y="17"/>
                  <a:pt x="1001" y="21"/>
                </a:cubicBezTo>
                <a:cubicBezTo>
                  <a:pt x="1001" y="23"/>
                  <a:pt x="1005" y="24"/>
                  <a:pt x="1006" y="24"/>
                </a:cubicBezTo>
                <a:cubicBezTo>
                  <a:pt x="1008" y="24"/>
                  <a:pt x="1009" y="24"/>
                  <a:pt x="1010" y="24"/>
                </a:cubicBezTo>
                <a:cubicBezTo>
                  <a:pt x="1011" y="24"/>
                  <a:pt x="1012" y="25"/>
                  <a:pt x="1010" y="26"/>
                </a:cubicBezTo>
                <a:cubicBezTo>
                  <a:pt x="1009" y="26"/>
                  <a:pt x="1007" y="26"/>
                  <a:pt x="1006" y="26"/>
                </a:cubicBezTo>
                <a:cubicBezTo>
                  <a:pt x="1004" y="26"/>
                  <a:pt x="1003" y="26"/>
                  <a:pt x="1001" y="25"/>
                </a:cubicBezTo>
                <a:cubicBezTo>
                  <a:pt x="998" y="25"/>
                  <a:pt x="996" y="25"/>
                  <a:pt x="994" y="27"/>
                </a:cubicBezTo>
                <a:cubicBezTo>
                  <a:pt x="991" y="28"/>
                  <a:pt x="991" y="31"/>
                  <a:pt x="994" y="32"/>
                </a:cubicBezTo>
                <a:cubicBezTo>
                  <a:pt x="996" y="33"/>
                  <a:pt x="999" y="34"/>
                  <a:pt x="1001" y="35"/>
                </a:cubicBezTo>
                <a:cubicBezTo>
                  <a:pt x="1002" y="35"/>
                  <a:pt x="1003" y="36"/>
                  <a:pt x="1005" y="36"/>
                </a:cubicBezTo>
                <a:cubicBezTo>
                  <a:pt x="1006" y="37"/>
                  <a:pt x="1008" y="37"/>
                  <a:pt x="1009" y="37"/>
                </a:cubicBezTo>
                <a:cubicBezTo>
                  <a:pt x="1010" y="38"/>
                  <a:pt x="1012" y="38"/>
                  <a:pt x="1013" y="38"/>
                </a:cubicBezTo>
                <a:cubicBezTo>
                  <a:pt x="1014" y="39"/>
                  <a:pt x="1016" y="38"/>
                  <a:pt x="1017" y="39"/>
                </a:cubicBezTo>
                <a:cubicBezTo>
                  <a:pt x="1018" y="39"/>
                  <a:pt x="1019" y="39"/>
                  <a:pt x="1020" y="40"/>
                </a:cubicBezTo>
                <a:cubicBezTo>
                  <a:pt x="1021" y="41"/>
                  <a:pt x="1022" y="42"/>
                  <a:pt x="1023" y="42"/>
                </a:cubicBezTo>
                <a:cubicBezTo>
                  <a:pt x="1024" y="43"/>
                  <a:pt x="1025" y="43"/>
                  <a:pt x="1026" y="43"/>
                </a:cubicBezTo>
                <a:cubicBezTo>
                  <a:pt x="1027" y="43"/>
                  <a:pt x="1029" y="44"/>
                  <a:pt x="1030" y="44"/>
                </a:cubicBezTo>
                <a:cubicBezTo>
                  <a:pt x="1031" y="44"/>
                  <a:pt x="1033" y="44"/>
                  <a:pt x="1034" y="44"/>
                </a:cubicBezTo>
                <a:cubicBezTo>
                  <a:pt x="1035" y="44"/>
                  <a:pt x="1037" y="43"/>
                  <a:pt x="1038" y="44"/>
                </a:cubicBezTo>
                <a:cubicBezTo>
                  <a:pt x="1039" y="44"/>
                  <a:pt x="1039" y="45"/>
                  <a:pt x="1039" y="46"/>
                </a:cubicBezTo>
                <a:cubicBezTo>
                  <a:pt x="1038" y="47"/>
                  <a:pt x="1039" y="48"/>
                  <a:pt x="1040" y="48"/>
                </a:cubicBezTo>
                <a:cubicBezTo>
                  <a:pt x="1042" y="50"/>
                  <a:pt x="1045" y="52"/>
                  <a:pt x="1048" y="53"/>
                </a:cubicBezTo>
                <a:cubicBezTo>
                  <a:pt x="1051" y="54"/>
                  <a:pt x="1045" y="54"/>
                  <a:pt x="1045" y="53"/>
                </a:cubicBezTo>
                <a:cubicBezTo>
                  <a:pt x="1041" y="53"/>
                  <a:pt x="1038" y="52"/>
                  <a:pt x="1035" y="51"/>
                </a:cubicBezTo>
                <a:cubicBezTo>
                  <a:pt x="1032" y="50"/>
                  <a:pt x="1029" y="50"/>
                  <a:pt x="1026" y="49"/>
                </a:cubicBezTo>
                <a:cubicBezTo>
                  <a:pt x="1023" y="48"/>
                  <a:pt x="1020" y="48"/>
                  <a:pt x="1017" y="47"/>
                </a:cubicBezTo>
                <a:cubicBezTo>
                  <a:pt x="1015" y="47"/>
                  <a:pt x="1012" y="47"/>
                  <a:pt x="1009" y="46"/>
                </a:cubicBezTo>
                <a:cubicBezTo>
                  <a:pt x="1006" y="45"/>
                  <a:pt x="1003" y="44"/>
                  <a:pt x="1000" y="43"/>
                </a:cubicBezTo>
                <a:cubicBezTo>
                  <a:pt x="998" y="43"/>
                  <a:pt x="995" y="42"/>
                  <a:pt x="993" y="43"/>
                </a:cubicBezTo>
                <a:cubicBezTo>
                  <a:pt x="991" y="43"/>
                  <a:pt x="989" y="45"/>
                  <a:pt x="987" y="44"/>
                </a:cubicBezTo>
                <a:cubicBezTo>
                  <a:pt x="985" y="43"/>
                  <a:pt x="985" y="40"/>
                  <a:pt x="983" y="39"/>
                </a:cubicBezTo>
                <a:cubicBezTo>
                  <a:pt x="982" y="37"/>
                  <a:pt x="980" y="35"/>
                  <a:pt x="978" y="34"/>
                </a:cubicBezTo>
                <a:cubicBezTo>
                  <a:pt x="976" y="33"/>
                  <a:pt x="973" y="33"/>
                  <a:pt x="971" y="32"/>
                </a:cubicBezTo>
                <a:cubicBezTo>
                  <a:pt x="968" y="31"/>
                  <a:pt x="965" y="30"/>
                  <a:pt x="963" y="29"/>
                </a:cubicBezTo>
                <a:cubicBezTo>
                  <a:pt x="957" y="26"/>
                  <a:pt x="951" y="25"/>
                  <a:pt x="945" y="26"/>
                </a:cubicBezTo>
                <a:cubicBezTo>
                  <a:pt x="943" y="27"/>
                  <a:pt x="940" y="27"/>
                  <a:pt x="942" y="30"/>
                </a:cubicBezTo>
                <a:cubicBezTo>
                  <a:pt x="944" y="31"/>
                  <a:pt x="946" y="32"/>
                  <a:pt x="945" y="34"/>
                </a:cubicBezTo>
                <a:cubicBezTo>
                  <a:pt x="944" y="35"/>
                  <a:pt x="942" y="36"/>
                  <a:pt x="941" y="36"/>
                </a:cubicBezTo>
                <a:cubicBezTo>
                  <a:pt x="939" y="36"/>
                  <a:pt x="937" y="37"/>
                  <a:pt x="935" y="37"/>
                </a:cubicBezTo>
                <a:cubicBezTo>
                  <a:pt x="932" y="38"/>
                  <a:pt x="929" y="37"/>
                  <a:pt x="926" y="37"/>
                </a:cubicBezTo>
                <a:cubicBezTo>
                  <a:pt x="925" y="37"/>
                  <a:pt x="921" y="37"/>
                  <a:pt x="922" y="39"/>
                </a:cubicBezTo>
                <a:cubicBezTo>
                  <a:pt x="923" y="40"/>
                  <a:pt x="926" y="41"/>
                  <a:pt x="927" y="41"/>
                </a:cubicBezTo>
                <a:cubicBezTo>
                  <a:pt x="930" y="42"/>
                  <a:pt x="933" y="42"/>
                  <a:pt x="936" y="42"/>
                </a:cubicBezTo>
                <a:cubicBezTo>
                  <a:pt x="939" y="42"/>
                  <a:pt x="941" y="44"/>
                  <a:pt x="944" y="44"/>
                </a:cubicBezTo>
                <a:cubicBezTo>
                  <a:pt x="947" y="44"/>
                  <a:pt x="949" y="44"/>
                  <a:pt x="952" y="44"/>
                </a:cubicBezTo>
                <a:cubicBezTo>
                  <a:pt x="954" y="44"/>
                  <a:pt x="954" y="46"/>
                  <a:pt x="956" y="48"/>
                </a:cubicBezTo>
                <a:cubicBezTo>
                  <a:pt x="957" y="49"/>
                  <a:pt x="954" y="51"/>
                  <a:pt x="952" y="51"/>
                </a:cubicBezTo>
                <a:cubicBezTo>
                  <a:pt x="951" y="50"/>
                  <a:pt x="950" y="48"/>
                  <a:pt x="948" y="48"/>
                </a:cubicBezTo>
                <a:cubicBezTo>
                  <a:pt x="947" y="47"/>
                  <a:pt x="944" y="47"/>
                  <a:pt x="944" y="49"/>
                </a:cubicBezTo>
                <a:cubicBezTo>
                  <a:pt x="945" y="51"/>
                  <a:pt x="945" y="51"/>
                  <a:pt x="944" y="52"/>
                </a:cubicBezTo>
                <a:cubicBezTo>
                  <a:pt x="944" y="53"/>
                  <a:pt x="942" y="52"/>
                  <a:pt x="942" y="51"/>
                </a:cubicBezTo>
                <a:cubicBezTo>
                  <a:pt x="939" y="50"/>
                  <a:pt x="938" y="48"/>
                  <a:pt x="935" y="47"/>
                </a:cubicBezTo>
                <a:cubicBezTo>
                  <a:pt x="933" y="45"/>
                  <a:pt x="930" y="45"/>
                  <a:pt x="927" y="44"/>
                </a:cubicBezTo>
                <a:cubicBezTo>
                  <a:pt x="925" y="44"/>
                  <a:pt x="922" y="44"/>
                  <a:pt x="921" y="45"/>
                </a:cubicBezTo>
                <a:cubicBezTo>
                  <a:pt x="920" y="46"/>
                  <a:pt x="920" y="48"/>
                  <a:pt x="920" y="49"/>
                </a:cubicBezTo>
                <a:cubicBezTo>
                  <a:pt x="921" y="49"/>
                  <a:pt x="921" y="50"/>
                  <a:pt x="920" y="50"/>
                </a:cubicBezTo>
                <a:cubicBezTo>
                  <a:pt x="918" y="51"/>
                  <a:pt x="917" y="49"/>
                  <a:pt x="915" y="49"/>
                </a:cubicBezTo>
                <a:cubicBezTo>
                  <a:pt x="912" y="48"/>
                  <a:pt x="913" y="46"/>
                  <a:pt x="912" y="44"/>
                </a:cubicBezTo>
                <a:cubicBezTo>
                  <a:pt x="911" y="43"/>
                  <a:pt x="910" y="43"/>
                  <a:pt x="909" y="42"/>
                </a:cubicBezTo>
                <a:cubicBezTo>
                  <a:pt x="908" y="42"/>
                  <a:pt x="906" y="42"/>
                  <a:pt x="905" y="42"/>
                </a:cubicBezTo>
                <a:cubicBezTo>
                  <a:pt x="902" y="41"/>
                  <a:pt x="899" y="42"/>
                  <a:pt x="897" y="42"/>
                </a:cubicBezTo>
                <a:cubicBezTo>
                  <a:pt x="894" y="43"/>
                  <a:pt x="891" y="44"/>
                  <a:pt x="888" y="45"/>
                </a:cubicBezTo>
                <a:cubicBezTo>
                  <a:pt x="887" y="45"/>
                  <a:pt x="886" y="46"/>
                  <a:pt x="885" y="46"/>
                </a:cubicBezTo>
                <a:cubicBezTo>
                  <a:pt x="884" y="47"/>
                  <a:pt x="883" y="48"/>
                  <a:pt x="882" y="48"/>
                </a:cubicBezTo>
                <a:cubicBezTo>
                  <a:pt x="881" y="49"/>
                  <a:pt x="877" y="49"/>
                  <a:pt x="878" y="50"/>
                </a:cubicBezTo>
                <a:cubicBezTo>
                  <a:pt x="878" y="51"/>
                  <a:pt x="881" y="52"/>
                  <a:pt x="878" y="53"/>
                </a:cubicBezTo>
                <a:cubicBezTo>
                  <a:pt x="876" y="53"/>
                  <a:pt x="873" y="51"/>
                  <a:pt x="871" y="50"/>
                </a:cubicBezTo>
                <a:cubicBezTo>
                  <a:pt x="868" y="49"/>
                  <a:pt x="866" y="50"/>
                  <a:pt x="863" y="50"/>
                </a:cubicBezTo>
                <a:cubicBezTo>
                  <a:pt x="860" y="50"/>
                  <a:pt x="857" y="50"/>
                  <a:pt x="854" y="51"/>
                </a:cubicBezTo>
                <a:cubicBezTo>
                  <a:pt x="852" y="52"/>
                  <a:pt x="850" y="53"/>
                  <a:pt x="848" y="54"/>
                </a:cubicBezTo>
                <a:cubicBezTo>
                  <a:pt x="845" y="56"/>
                  <a:pt x="843" y="55"/>
                  <a:pt x="840" y="56"/>
                </a:cubicBezTo>
                <a:cubicBezTo>
                  <a:pt x="838" y="56"/>
                  <a:pt x="835" y="58"/>
                  <a:pt x="835" y="60"/>
                </a:cubicBezTo>
                <a:cubicBezTo>
                  <a:pt x="835" y="62"/>
                  <a:pt x="840" y="62"/>
                  <a:pt x="841" y="63"/>
                </a:cubicBezTo>
                <a:cubicBezTo>
                  <a:pt x="843" y="64"/>
                  <a:pt x="846" y="65"/>
                  <a:pt x="848" y="64"/>
                </a:cubicBezTo>
                <a:cubicBezTo>
                  <a:pt x="850" y="63"/>
                  <a:pt x="850" y="60"/>
                  <a:pt x="852" y="60"/>
                </a:cubicBezTo>
                <a:cubicBezTo>
                  <a:pt x="855" y="59"/>
                  <a:pt x="856" y="62"/>
                  <a:pt x="859" y="61"/>
                </a:cubicBezTo>
                <a:cubicBezTo>
                  <a:pt x="860" y="60"/>
                  <a:pt x="860" y="60"/>
                  <a:pt x="861" y="59"/>
                </a:cubicBezTo>
                <a:cubicBezTo>
                  <a:pt x="863" y="58"/>
                  <a:pt x="864" y="59"/>
                  <a:pt x="865" y="59"/>
                </a:cubicBezTo>
                <a:cubicBezTo>
                  <a:pt x="867" y="60"/>
                  <a:pt x="869" y="60"/>
                  <a:pt x="871" y="60"/>
                </a:cubicBezTo>
                <a:cubicBezTo>
                  <a:pt x="872" y="60"/>
                  <a:pt x="874" y="61"/>
                  <a:pt x="872" y="62"/>
                </a:cubicBezTo>
                <a:cubicBezTo>
                  <a:pt x="868" y="65"/>
                  <a:pt x="862" y="64"/>
                  <a:pt x="858" y="66"/>
                </a:cubicBezTo>
                <a:cubicBezTo>
                  <a:pt x="857" y="66"/>
                  <a:pt x="852" y="67"/>
                  <a:pt x="853" y="69"/>
                </a:cubicBezTo>
                <a:cubicBezTo>
                  <a:pt x="854" y="71"/>
                  <a:pt x="857" y="71"/>
                  <a:pt x="859" y="71"/>
                </a:cubicBezTo>
                <a:cubicBezTo>
                  <a:pt x="861" y="71"/>
                  <a:pt x="864" y="70"/>
                  <a:pt x="866" y="69"/>
                </a:cubicBezTo>
                <a:cubicBezTo>
                  <a:pt x="869" y="68"/>
                  <a:pt x="872" y="68"/>
                  <a:pt x="875" y="68"/>
                </a:cubicBezTo>
                <a:cubicBezTo>
                  <a:pt x="880" y="67"/>
                  <a:pt x="885" y="65"/>
                  <a:pt x="889" y="64"/>
                </a:cubicBezTo>
                <a:cubicBezTo>
                  <a:pt x="891" y="63"/>
                  <a:pt x="893" y="62"/>
                  <a:pt x="896" y="62"/>
                </a:cubicBezTo>
                <a:cubicBezTo>
                  <a:pt x="898" y="62"/>
                  <a:pt x="900" y="64"/>
                  <a:pt x="902" y="64"/>
                </a:cubicBezTo>
                <a:cubicBezTo>
                  <a:pt x="904" y="65"/>
                  <a:pt x="907" y="66"/>
                  <a:pt x="909" y="66"/>
                </a:cubicBezTo>
                <a:cubicBezTo>
                  <a:pt x="911" y="66"/>
                  <a:pt x="913" y="65"/>
                  <a:pt x="914" y="66"/>
                </a:cubicBezTo>
                <a:cubicBezTo>
                  <a:pt x="916" y="67"/>
                  <a:pt x="912" y="68"/>
                  <a:pt x="912" y="68"/>
                </a:cubicBezTo>
                <a:cubicBezTo>
                  <a:pt x="909" y="68"/>
                  <a:pt x="906" y="68"/>
                  <a:pt x="903" y="68"/>
                </a:cubicBezTo>
                <a:cubicBezTo>
                  <a:pt x="899" y="67"/>
                  <a:pt x="893" y="65"/>
                  <a:pt x="889" y="67"/>
                </a:cubicBezTo>
                <a:cubicBezTo>
                  <a:pt x="886" y="67"/>
                  <a:pt x="884" y="68"/>
                  <a:pt x="882" y="69"/>
                </a:cubicBezTo>
                <a:cubicBezTo>
                  <a:pt x="879" y="69"/>
                  <a:pt x="877" y="70"/>
                  <a:pt x="874" y="71"/>
                </a:cubicBezTo>
                <a:cubicBezTo>
                  <a:pt x="873" y="71"/>
                  <a:pt x="871" y="72"/>
                  <a:pt x="869" y="73"/>
                </a:cubicBezTo>
                <a:cubicBezTo>
                  <a:pt x="867" y="74"/>
                  <a:pt x="870" y="75"/>
                  <a:pt x="871" y="75"/>
                </a:cubicBezTo>
                <a:cubicBezTo>
                  <a:pt x="873" y="76"/>
                  <a:pt x="875" y="76"/>
                  <a:pt x="877" y="77"/>
                </a:cubicBezTo>
                <a:cubicBezTo>
                  <a:pt x="879" y="77"/>
                  <a:pt x="884" y="76"/>
                  <a:pt x="885" y="77"/>
                </a:cubicBezTo>
                <a:cubicBezTo>
                  <a:pt x="885" y="77"/>
                  <a:pt x="881" y="78"/>
                  <a:pt x="881" y="78"/>
                </a:cubicBezTo>
                <a:cubicBezTo>
                  <a:pt x="880" y="78"/>
                  <a:pt x="878" y="79"/>
                  <a:pt x="877" y="79"/>
                </a:cubicBezTo>
                <a:cubicBezTo>
                  <a:pt x="874" y="80"/>
                  <a:pt x="872" y="79"/>
                  <a:pt x="869" y="78"/>
                </a:cubicBezTo>
                <a:cubicBezTo>
                  <a:pt x="868" y="78"/>
                  <a:pt x="862" y="76"/>
                  <a:pt x="862" y="79"/>
                </a:cubicBezTo>
                <a:cubicBezTo>
                  <a:pt x="861" y="83"/>
                  <a:pt x="869" y="86"/>
                  <a:pt x="872" y="86"/>
                </a:cubicBezTo>
                <a:cubicBezTo>
                  <a:pt x="875" y="86"/>
                  <a:pt x="878" y="86"/>
                  <a:pt x="881" y="85"/>
                </a:cubicBezTo>
                <a:cubicBezTo>
                  <a:pt x="885" y="85"/>
                  <a:pt x="888" y="85"/>
                  <a:pt x="891" y="85"/>
                </a:cubicBezTo>
                <a:cubicBezTo>
                  <a:pt x="894" y="85"/>
                  <a:pt x="897" y="84"/>
                  <a:pt x="900" y="84"/>
                </a:cubicBezTo>
                <a:cubicBezTo>
                  <a:pt x="904" y="84"/>
                  <a:pt x="907" y="84"/>
                  <a:pt x="910" y="84"/>
                </a:cubicBezTo>
                <a:cubicBezTo>
                  <a:pt x="916" y="84"/>
                  <a:pt x="922" y="84"/>
                  <a:pt x="928" y="82"/>
                </a:cubicBezTo>
                <a:cubicBezTo>
                  <a:pt x="931" y="81"/>
                  <a:pt x="933" y="79"/>
                  <a:pt x="935" y="78"/>
                </a:cubicBezTo>
                <a:cubicBezTo>
                  <a:pt x="938" y="77"/>
                  <a:pt x="941" y="76"/>
                  <a:pt x="944" y="76"/>
                </a:cubicBezTo>
                <a:cubicBezTo>
                  <a:pt x="947" y="76"/>
                  <a:pt x="950" y="74"/>
                  <a:pt x="953" y="75"/>
                </a:cubicBezTo>
                <a:cubicBezTo>
                  <a:pt x="954" y="75"/>
                  <a:pt x="955" y="75"/>
                  <a:pt x="955" y="75"/>
                </a:cubicBezTo>
                <a:cubicBezTo>
                  <a:pt x="957" y="76"/>
                  <a:pt x="954" y="76"/>
                  <a:pt x="954" y="76"/>
                </a:cubicBezTo>
                <a:cubicBezTo>
                  <a:pt x="948" y="78"/>
                  <a:pt x="942" y="79"/>
                  <a:pt x="936" y="81"/>
                </a:cubicBezTo>
                <a:cubicBezTo>
                  <a:pt x="930" y="83"/>
                  <a:pt x="926" y="86"/>
                  <a:pt x="920" y="87"/>
                </a:cubicBezTo>
                <a:cubicBezTo>
                  <a:pt x="913" y="87"/>
                  <a:pt x="907" y="87"/>
                  <a:pt x="901" y="87"/>
                </a:cubicBezTo>
                <a:cubicBezTo>
                  <a:pt x="894" y="88"/>
                  <a:pt x="888" y="87"/>
                  <a:pt x="882" y="89"/>
                </a:cubicBezTo>
                <a:cubicBezTo>
                  <a:pt x="881" y="89"/>
                  <a:pt x="879" y="89"/>
                  <a:pt x="878" y="90"/>
                </a:cubicBezTo>
                <a:cubicBezTo>
                  <a:pt x="877" y="91"/>
                  <a:pt x="879" y="92"/>
                  <a:pt x="880" y="92"/>
                </a:cubicBezTo>
                <a:cubicBezTo>
                  <a:pt x="883" y="94"/>
                  <a:pt x="885" y="95"/>
                  <a:pt x="888" y="96"/>
                </a:cubicBezTo>
                <a:cubicBezTo>
                  <a:pt x="894" y="98"/>
                  <a:pt x="900" y="99"/>
                  <a:pt x="906" y="101"/>
                </a:cubicBezTo>
                <a:cubicBezTo>
                  <a:pt x="908" y="101"/>
                  <a:pt x="911" y="101"/>
                  <a:pt x="913" y="100"/>
                </a:cubicBezTo>
                <a:cubicBezTo>
                  <a:pt x="916" y="99"/>
                  <a:pt x="917" y="97"/>
                  <a:pt x="919" y="95"/>
                </a:cubicBezTo>
                <a:cubicBezTo>
                  <a:pt x="924" y="91"/>
                  <a:pt x="929" y="89"/>
                  <a:pt x="935" y="87"/>
                </a:cubicBezTo>
                <a:cubicBezTo>
                  <a:pt x="937" y="86"/>
                  <a:pt x="940" y="84"/>
                  <a:pt x="943" y="84"/>
                </a:cubicBezTo>
                <a:cubicBezTo>
                  <a:pt x="946" y="84"/>
                  <a:pt x="949" y="83"/>
                  <a:pt x="952" y="83"/>
                </a:cubicBezTo>
                <a:cubicBezTo>
                  <a:pt x="959" y="82"/>
                  <a:pt x="965" y="82"/>
                  <a:pt x="972" y="82"/>
                </a:cubicBezTo>
                <a:cubicBezTo>
                  <a:pt x="975" y="82"/>
                  <a:pt x="978" y="81"/>
                  <a:pt x="981" y="81"/>
                </a:cubicBezTo>
                <a:cubicBezTo>
                  <a:pt x="984" y="81"/>
                  <a:pt x="987" y="81"/>
                  <a:pt x="990" y="80"/>
                </a:cubicBezTo>
                <a:cubicBezTo>
                  <a:pt x="991" y="80"/>
                  <a:pt x="993" y="78"/>
                  <a:pt x="994" y="79"/>
                </a:cubicBezTo>
                <a:cubicBezTo>
                  <a:pt x="995" y="79"/>
                  <a:pt x="995" y="80"/>
                  <a:pt x="994" y="80"/>
                </a:cubicBezTo>
                <a:cubicBezTo>
                  <a:pt x="994" y="80"/>
                  <a:pt x="993" y="81"/>
                  <a:pt x="992" y="81"/>
                </a:cubicBezTo>
                <a:cubicBezTo>
                  <a:pt x="989" y="82"/>
                  <a:pt x="987" y="82"/>
                  <a:pt x="984" y="82"/>
                </a:cubicBezTo>
                <a:cubicBezTo>
                  <a:pt x="981" y="83"/>
                  <a:pt x="978" y="83"/>
                  <a:pt x="974" y="84"/>
                </a:cubicBezTo>
                <a:cubicBezTo>
                  <a:pt x="968" y="85"/>
                  <a:pt x="961" y="85"/>
                  <a:pt x="955" y="85"/>
                </a:cubicBezTo>
                <a:cubicBezTo>
                  <a:pt x="952" y="85"/>
                  <a:pt x="949" y="85"/>
                  <a:pt x="946" y="86"/>
                </a:cubicBezTo>
                <a:cubicBezTo>
                  <a:pt x="943" y="87"/>
                  <a:pt x="940" y="88"/>
                  <a:pt x="938" y="90"/>
                </a:cubicBezTo>
                <a:cubicBezTo>
                  <a:pt x="933" y="92"/>
                  <a:pt x="929" y="95"/>
                  <a:pt x="925" y="99"/>
                </a:cubicBezTo>
                <a:cubicBezTo>
                  <a:pt x="924" y="100"/>
                  <a:pt x="924" y="100"/>
                  <a:pt x="923" y="101"/>
                </a:cubicBezTo>
                <a:cubicBezTo>
                  <a:pt x="923" y="102"/>
                  <a:pt x="925" y="102"/>
                  <a:pt x="925" y="103"/>
                </a:cubicBezTo>
                <a:cubicBezTo>
                  <a:pt x="928" y="104"/>
                  <a:pt x="931" y="104"/>
                  <a:pt x="934" y="104"/>
                </a:cubicBezTo>
                <a:cubicBezTo>
                  <a:pt x="935" y="103"/>
                  <a:pt x="938" y="101"/>
                  <a:pt x="940" y="102"/>
                </a:cubicBezTo>
                <a:cubicBezTo>
                  <a:pt x="940" y="103"/>
                  <a:pt x="940" y="104"/>
                  <a:pt x="940" y="104"/>
                </a:cubicBezTo>
                <a:cubicBezTo>
                  <a:pt x="940" y="105"/>
                  <a:pt x="942" y="105"/>
                  <a:pt x="943" y="105"/>
                </a:cubicBezTo>
                <a:cubicBezTo>
                  <a:pt x="949" y="107"/>
                  <a:pt x="956" y="105"/>
                  <a:pt x="962" y="105"/>
                </a:cubicBezTo>
                <a:cubicBezTo>
                  <a:pt x="964" y="105"/>
                  <a:pt x="967" y="105"/>
                  <a:pt x="970" y="104"/>
                </a:cubicBezTo>
                <a:cubicBezTo>
                  <a:pt x="973" y="103"/>
                  <a:pt x="974" y="101"/>
                  <a:pt x="974" y="98"/>
                </a:cubicBezTo>
                <a:cubicBezTo>
                  <a:pt x="974" y="97"/>
                  <a:pt x="974" y="96"/>
                  <a:pt x="974" y="95"/>
                </a:cubicBezTo>
                <a:cubicBezTo>
                  <a:pt x="975" y="94"/>
                  <a:pt x="976" y="95"/>
                  <a:pt x="977" y="94"/>
                </a:cubicBezTo>
                <a:cubicBezTo>
                  <a:pt x="978" y="94"/>
                  <a:pt x="982" y="92"/>
                  <a:pt x="983" y="93"/>
                </a:cubicBezTo>
                <a:cubicBezTo>
                  <a:pt x="984" y="95"/>
                  <a:pt x="981" y="95"/>
                  <a:pt x="980" y="96"/>
                </a:cubicBezTo>
                <a:cubicBezTo>
                  <a:pt x="979" y="96"/>
                  <a:pt x="979" y="97"/>
                  <a:pt x="979" y="98"/>
                </a:cubicBezTo>
                <a:cubicBezTo>
                  <a:pt x="979" y="98"/>
                  <a:pt x="981" y="98"/>
                  <a:pt x="982" y="98"/>
                </a:cubicBezTo>
                <a:cubicBezTo>
                  <a:pt x="987" y="98"/>
                  <a:pt x="993" y="97"/>
                  <a:pt x="998" y="96"/>
                </a:cubicBezTo>
                <a:cubicBezTo>
                  <a:pt x="1000" y="95"/>
                  <a:pt x="1002" y="94"/>
                  <a:pt x="1004" y="93"/>
                </a:cubicBezTo>
                <a:cubicBezTo>
                  <a:pt x="1005" y="93"/>
                  <a:pt x="1005" y="94"/>
                  <a:pt x="1005" y="95"/>
                </a:cubicBezTo>
                <a:cubicBezTo>
                  <a:pt x="1004" y="96"/>
                  <a:pt x="1003" y="96"/>
                  <a:pt x="1002" y="97"/>
                </a:cubicBezTo>
                <a:cubicBezTo>
                  <a:pt x="997" y="99"/>
                  <a:pt x="991" y="100"/>
                  <a:pt x="986" y="101"/>
                </a:cubicBezTo>
                <a:cubicBezTo>
                  <a:pt x="984" y="101"/>
                  <a:pt x="983" y="102"/>
                  <a:pt x="985" y="104"/>
                </a:cubicBezTo>
                <a:cubicBezTo>
                  <a:pt x="987" y="106"/>
                  <a:pt x="990" y="105"/>
                  <a:pt x="992" y="104"/>
                </a:cubicBezTo>
                <a:cubicBezTo>
                  <a:pt x="995" y="104"/>
                  <a:pt x="998" y="103"/>
                  <a:pt x="1000" y="103"/>
                </a:cubicBezTo>
                <a:cubicBezTo>
                  <a:pt x="1004" y="102"/>
                  <a:pt x="1007" y="102"/>
                  <a:pt x="1010" y="102"/>
                </a:cubicBezTo>
                <a:cubicBezTo>
                  <a:pt x="1013" y="101"/>
                  <a:pt x="1016" y="100"/>
                  <a:pt x="1019" y="100"/>
                </a:cubicBezTo>
                <a:cubicBezTo>
                  <a:pt x="1022" y="100"/>
                  <a:pt x="1025" y="98"/>
                  <a:pt x="1028" y="98"/>
                </a:cubicBezTo>
                <a:cubicBezTo>
                  <a:pt x="1033" y="96"/>
                  <a:pt x="1039" y="96"/>
                  <a:pt x="1044" y="93"/>
                </a:cubicBezTo>
                <a:cubicBezTo>
                  <a:pt x="1045" y="92"/>
                  <a:pt x="1046" y="91"/>
                  <a:pt x="1047" y="91"/>
                </a:cubicBezTo>
                <a:cubicBezTo>
                  <a:pt x="1047" y="90"/>
                  <a:pt x="1049" y="90"/>
                  <a:pt x="1050" y="89"/>
                </a:cubicBezTo>
                <a:cubicBezTo>
                  <a:pt x="1050" y="87"/>
                  <a:pt x="1046" y="86"/>
                  <a:pt x="1049" y="84"/>
                </a:cubicBezTo>
                <a:cubicBezTo>
                  <a:pt x="1051" y="84"/>
                  <a:pt x="1049" y="82"/>
                  <a:pt x="1048" y="82"/>
                </a:cubicBezTo>
                <a:cubicBezTo>
                  <a:pt x="1047" y="81"/>
                  <a:pt x="1044" y="78"/>
                  <a:pt x="1046" y="78"/>
                </a:cubicBezTo>
                <a:cubicBezTo>
                  <a:pt x="1049" y="79"/>
                  <a:pt x="1052" y="81"/>
                  <a:pt x="1055" y="82"/>
                </a:cubicBezTo>
                <a:cubicBezTo>
                  <a:pt x="1055" y="82"/>
                  <a:pt x="1057" y="83"/>
                  <a:pt x="1058" y="82"/>
                </a:cubicBezTo>
                <a:cubicBezTo>
                  <a:pt x="1058" y="81"/>
                  <a:pt x="1058" y="80"/>
                  <a:pt x="1058" y="80"/>
                </a:cubicBezTo>
                <a:cubicBezTo>
                  <a:pt x="1060" y="78"/>
                  <a:pt x="1062" y="76"/>
                  <a:pt x="1065" y="75"/>
                </a:cubicBezTo>
                <a:cubicBezTo>
                  <a:pt x="1067" y="74"/>
                  <a:pt x="1070" y="73"/>
                  <a:pt x="1073" y="72"/>
                </a:cubicBezTo>
                <a:cubicBezTo>
                  <a:pt x="1076" y="72"/>
                  <a:pt x="1079" y="71"/>
                  <a:pt x="1082" y="70"/>
                </a:cubicBezTo>
                <a:cubicBezTo>
                  <a:pt x="1083" y="70"/>
                  <a:pt x="1084" y="69"/>
                  <a:pt x="1086" y="69"/>
                </a:cubicBezTo>
                <a:cubicBezTo>
                  <a:pt x="1086" y="69"/>
                  <a:pt x="1088" y="69"/>
                  <a:pt x="1088" y="69"/>
                </a:cubicBezTo>
                <a:cubicBezTo>
                  <a:pt x="1086" y="70"/>
                  <a:pt x="1084" y="71"/>
                  <a:pt x="1083" y="72"/>
                </a:cubicBezTo>
                <a:cubicBezTo>
                  <a:pt x="1080" y="73"/>
                  <a:pt x="1077" y="74"/>
                  <a:pt x="1075" y="75"/>
                </a:cubicBezTo>
                <a:cubicBezTo>
                  <a:pt x="1073" y="75"/>
                  <a:pt x="1072" y="76"/>
                  <a:pt x="1071" y="76"/>
                </a:cubicBezTo>
                <a:cubicBezTo>
                  <a:pt x="1070" y="77"/>
                  <a:pt x="1069" y="78"/>
                  <a:pt x="1068" y="79"/>
                </a:cubicBezTo>
                <a:cubicBezTo>
                  <a:pt x="1066" y="79"/>
                  <a:pt x="1065" y="79"/>
                  <a:pt x="1064" y="80"/>
                </a:cubicBezTo>
                <a:cubicBezTo>
                  <a:pt x="1063" y="81"/>
                  <a:pt x="1062" y="82"/>
                  <a:pt x="1061" y="82"/>
                </a:cubicBezTo>
                <a:cubicBezTo>
                  <a:pt x="1060" y="83"/>
                  <a:pt x="1059" y="84"/>
                  <a:pt x="1058" y="85"/>
                </a:cubicBezTo>
                <a:cubicBezTo>
                  <a:pt x="1057" y="86"/>
                  <a:pt x="1057" y="87"/>
                  <a:pt x="1056" y="88"/>
                </a:cubicBezTo>
                <a:cubicBezTo>
                  <a:pt x="1055" y="90"/>
                  <a:pt x="1056" y="92"/>
                  <a:pt x="1058" y="93"/>
                </a:cubicBezTo>
                <a:cubicBezTo>
                  <a:pt x="1060" y="93"/>
                  <a:pt x="1061" y="93"/>
                  <a:pt x="1063" y="92"/>
                </a:cubicBezTo>
                <a:cubicBezTo>
                  <a:pt x="1069" y="91"/>
                  <a:pt x="1076" y="91"/>
                  <a:pt x="1082" y="91"/>
                </a:cubicBezTo>
                <a:cubicBezTo>
                  <a:pt x="1085" y="91"/>
                  <a:pt x="1088" y="91"/>
                  <a:pt x="1092" y="91"/>
                </a:cubicBezTo>
                <a:cubicBezTo>
                  <a:pt x="1092" y="91"/>
                  <a:pt x="1093" y="91"/>
                  <a:pt x="1094" y="91"/>
                </a:cubicBezTo>
                <a:cubicBezTo>
                  <a:pt x="1095" y="91"/>
                  <a:pt x="1094" y="92"/>
                  <a:pt x="1093" y="92"/>
                </a:cubicBezTo>
                <a:cubicBezTo>
                  <a:pt x="1087" y="93"/>
                  <a:pt x="1081" y="93"/>
                  <a:pt x="1076" y="94"/>
                </a:cubicBezTo>
                <a:cubicBezTo>
                  <a:pt x="1073" y="94"/>
                  <a:pt x="1070" y="94"/>
                  <a:pt x="1067" y="95"/>
                </a:cubicBezTo>
                <a:cubicBezTo>
                  <a:pt x="1064" y="95"/>
                  <a:pt x="1060" y="95"/>
                  <a:pt x="1058" y="97"/>
                </a:cubicBezTo>
                <a:cubicBezTo>
                  <a:pt x="1055" y="98"/>
                  <a:pt x="1052" y="99"/>
                  <a:pt x="1050" y="99"/>
                </a:cubicBezTo>
                <a:cubicBezTo>
                  <a:pt x="1047" y="100"/>
                  <a:pt x="1043" y="99"/>
                  <a:pt x="1041" y="101"/>
                </a:cubicBezTo>
                <a:cubicBezTo>
                  <a:pt x="1038" y="103"/>
                  <a:pt x="1044" y="102"/>
                  <a:pt x="1045" y="102"/>
                </a:cubicBezTo>
                <a:cubicBezTo>
                  <a:pt x="1048" y="102"/>
                  <a:pt x="1052" y="103"/>
                  <a:pt x="1055" y="103"/>
                </a:cubicBezTo>
                <a:cubicBezTo>
                  <a:pt x="1058" y="103"/>
                  <a:pt x="1061" y="102"/>
                  <a:pt x="1064" y="102"/>
                </a:cubicBezTo>
                <a:cubicBezTo>
                  <a:pt x="1065" y="102"/>
                  <a:pt x="1067" y="102"/>
                  <a:pt x="1068" y="103"/>
                </a:cubicBezTo>
                <a:cubicBezTo>
                  <a:pt x="1069" y="104"/>
                  <a:pt x="1066" y="104"/>
                  <a:pt x="1065" y="104"/>
                </a:cubicBezTo>
                <a:cubicBezTo>
                  <a:pt x="1059" y="104"/>
                  <a:pt x="1053" y="106"/>
                  <a:pt x="1047" y="105"/>
                </a:cubicBezTo>
                <a:cubicBezTo>
                  <a:pt x="1044" y="105"/>
                  <a:pt x="1042" y="105"/>
                  <a:pt x="1039" y="105"/>
                </a:cubicBezTo>
                <a:cubicBezTo>
                  <a:pt x="1037" y="105"/>
                  <a:pt x="1036" y="105"/>
                  <a:pt x="1035" y="106"/>
                </a:cubicBezTo>
                <a:cubicBezTo>
                  <a:pt x="1033" y="106"/>
                  <a:pt x="1032" y="107"/>
                  <a:pt x="1030" y="107"/>
                </a:cubicBezTo>
                <a:cubicBezTo>
                  <a:pt x="1028" y="108"/>
                  <a:pt x="1025" y="108"/>
                  <a:pt x="1022" y="109"/>
                </a:cubicBezTo>
                <a:cubicBezTo>
                  <a:pt x="1019" y="109"/>
                  <a:pt x="1016" y="109"/>
                  <a:pt x="1013" y="110"/>
                </a:cubicBezTo>
                <a:cubicBezTo>
                  <a:pt x="1010" y="110"/>
                  <a:pt x="1007" y="111"/>
                  <a:pt x="1004" y="111"/>
                </a:cubicBezTo>
                <a:cubicBezTo>
                  <a:pt x="1001" y="112"/>
                  <a:pt x="998" y="112"/>
                  <a:pt x="995" y="112"/>
                </a:cubicBezTo>
                <a:cubicBezTo>
                  <a:pt x="992" y="113"/>
                  <a:pt x="989" y="113"/>
                  <a:pt x="986" y="113"/>
                </a:cubicBezTo>
                <a:cubicBezTo>
                  <a:pt x="982" y="113"/>
                  <a:pt x="985" y="116"/>
                  <a:pt x="987" y="117"/>
                </a:cubicBezTo>
                <a:cubicBezTo>
                  <a:pt x="989" y="118"/>
                  <a:pt x="992" y="119"/>
                  <a:pt x="994" y="121"/>
                </a:cubicBezTo>
                <a:cubicBezTo>
                  <a:pt x="995" y="122"/>
                  <a:pt x="996" y="123"/>
                  <a:pt x="997" y="124"/>
                </a:cubicBezTo>
                <a:cubicBezTo>
                  <a:pt x="998" y="124"/>
                  <a:pt x="999" y="125"/>
                  <a:pt x="1001" y="125"/>
                </a:cubicBezTo>
                <a:cubicBezTo>
                  <a:pt x="1002" y="125"/>
                  <a:pt x="1003" y="126"/>
                  <a:pt x="1004" y="127"/>
                </a:cubicBezTo>
                <a:cubicBezTo>
                  <a:pt x="1005" y="127"/>
                  <a:pt x="1007" y="127"/>
                  <a:pt x="1008" y="127"/>
                </a:cubicBezTo>
                <a:cubicBezTo>
                  <a:pt x="1008" y="127"/>
                  <a:pt x="1013" y="128"/>
                  <a:pt x="1012" y="129"/>
                </a:cubicBezTo>
                <a:cubicBezTo>
                  <a:pt x="1011" y="130"/>
                  <a:pt x="1008" y="129"/>
                  <a:pt x="1009" y="131"/>
                </a:cubicBezTo>
                <a:cubicBezTo>
                  <a:pt x="1010" y="133"/>
                  <a:pt x="1010" y="134"/>
                  <a:pt x="1010" y="135"/>
                </a:cubicBezTo>
                <a:cubicBezTo>
                  <a:pt x="1011" y="136"/>
                  <a:pt x="1011" y="137"/>
                  <a:pt x="1012" y="138"/>
                </a:cubicBezTo>
                <a:cubicBezTo>
                  <a:pt x="1015" y="138"/>
                  <a:pt x="1017" y="138"/>
                  <a:pt x="1020" y="138"/>
                </a:cubicBezTo>
                <a:cubicBezTo>
                  <a:pt x="1021" y="139"/>
                  <a:pt x="1022" y="139"/>
                  <a:pt x="1024" y="139"/>
                </a:cubicBezTo>
                <a:cubicBezTo>
                  <a:pt x="1025" y="140"/>
                  <a:pt x="1027" y="139"/>
                  <a:pt x="1028" y="139"/>
                </a:cubicBezTo>
                <a:cubicBezTo>
                  <a:pt x="1031" y="139"/>
                  <a:pt x="1034" y="139"/>
                  <a:pt x="1036" y="138"/>
                </a:cubicBezTo>
                <a:cubicBezTo>
                  <a:pt x="1038" y="138"/>
                  <a:pt x="1038" y="138"/>
                  <a:pt x="1039" y="137"/>
                </a:cubicBezTo>
                <a:cubicBezTo>
                  <a:pt x="1040" y="136"/>
                  <a:pt x="1038" y="138"/>
                  <a:pt x="1038" y="139"/>
                </a:cubicBezTo>
                <a:cubicBezTo>
                  <a:pt x="1035" y="140"/>
                  <a:pt x="1033" y="140"/>
                  <a:pt x="1030" y="141"/>
                </a:cubicBezTo>
                <a:cubicBezTo>
                  <a:pt x="1027" y="141"/>
                  <a:pt x="1025" y="143"/>
                  <a:pt x="1022" y="143"/>
                </a:cubicBezTo>
                <a:cubicBezTo>
                  <a:pt x="1020" y="142"/>
                  <a:pt x="1017" y="140"/>
                  <a:pt x="1015" y="140"/>
                </a:cubicBezTo>
                <a:cubicBezTo>
                  <a:pt x="1014" y="140"/>
                  <a:pt x="1013" y="140"/>
                  <a:pt x="1011" y="141"/>
                </a:cubicBezTo>
                <a:cubicBezTo>
                  <a:pt x="1010" y="141"/>
                  <a:pt x="1010" y="142"/>
                  <a:pt x="1009" y="142"/>
                </a:cubicBezTo>
                <a:cubicBezTo>
                  <a:pt x="1006" y="144"/>
                  <a:pt x="1008" y="141"/>
                  <a:pt x="1008" y="140"/>
                </a:cubicBezTo>
                <a:cubicBezTo>
                  <a:pt x="1008" y="138"/>
                  <a:pt x="1004" y="138"/>
                  <a:pt x="1003" y="137"/>
                </a:cubicBezTo>
                <a:cubicBezTo>
                  <a:pt x="1002" y="136"/>
                  <a:pt x="1002" y="134"/>
                  <a:pt x="1001" y="133"/>
                </a:cubicBezTo>
                <a:cubicBezTo>
                  <a:pt x="1000" y="132"/>
                  <a:pt x="999" y="131"/>
                  <a:pt x="998" y="130"/>
                </a:cubicBezTo>
                <a:cubicBezTo>
                  <a:pt x="996" y="129"/>
                  <a:pt x="993" y="128"/>
                  <a:pt x="991" y="126"/>
                </a:cubicBezTo>
                <a:cubicBezTo>
                  <a:pt x="985" y="124"/>
                  <a:pt x="980" y="121"/>
                  <a:pt x="975" y="118"/>
                </a:cubicBezTo>
                <a:cubicBezTo>
                  <a:pt x="969" y="115"/>
                  <a:pt x="963" y="116"/>
                  <a:pt x="957" y="116"/>
                </a:cubicBezTo>
                <a:cubicBezTo>
                  <a:pt x="951" y="116"/>
                  <a:pt x="944" y="116"/>
                  <a:pt x="938" y="114"/>
                </a:cubicBezTo>
                <a:cubicBezTo>
                  <a:pt x="937" y="113"/>
                  <a:pt x="936" y="113"/>
                  <a:pt x="934" y="113"/>
                </a:cubicBezTo>
                <a:cubicBezTo>
                  <a:pt x="933" y="113"/>
                  <a:pt x="932" y="114"/>
                  <a:pt x="930" y="114"/>
                </a:cubicBezTo>
                <a:cubicBezTo>
                  <a:pt x="929" y="114"/>
                  <a:pt x="928" y="114"/>
                  <a:pt x="927" y="115"/>
                </a:cubicBezTo>
                <a:cubicBezTo>
                  <a:pt x="926" y="115"/>
                  <a:pt x="926" y="117"/>
                  <a:pt x="925" y="118"/>
                </a:cubicBezTo>
                <a:cubicBezTo>
                  <a:pt x="925" y="120"/>
                  <a:pt x="923" y="121"/>
                  <a:pt x="926" y="123"/>
                </a:cubicBezTo>
                <a:cubicBezTo>
                  <a:pt x="928" y="124"/>
                  <a:pt x="931" y="125"/>
                  <a:pt x="933" y="126"/>
                </a:cubicBezTo>
                <a:cubicBezTo>
                  <a:pt x="936" y="126"/>
                  <a:pt x="938" y="127"/>
                  <a:pt x="941" y="127"/>
                </a:cubicBezTo>
                <a:cubicBezTo>
                  <a:pt x="944" y="129"/>
                  <a:pt x="940" y="129"/>
                  <a:pt x="938" y="129"/>
                </a:cubicBezTo>
                <a:cubicBezTo>
                  <a:pt x="936" y="128"/>
                  <a:pt x="933" y="127"/>
                  <a:pt x="931" y="128"/>
                </a:cubicBezTo>
                <a:cubicBezTo>
                  <a:pt x="929" y="128"/>
                  <a:pt x="929" y="128"/>
                  <a:pt x="929" y="129"/>
                </a:cubicBezTo>
                <a:cubicBezTo>
                  <a:pt x="929" y="130"/>
                  <a:pt x="928" y="131"/>
                  <a:pt x="928" y="132"/>
                </a:cubicBezTo>
                <a:cubicBezTo>
                  <a:pt x="927" y="134"/>
                  <a:pt x="929" y="135"/>
                  <a:pt x="931" y="135"/>
                </a:cubicBezTo>
                <a:cubicBezTo>
                  <a:pt x="934" y="136"/>
                  <a:pt x="936" y="137"/>
                  <a:pt x="939" y="138"/>
                </a:cubicBezTo>
                <a:cubicBezTo>
                  <a:pt x="942" y="138"/>
                  <a:pt x="945" y="139"/>
                  <a:pt x="947" y="139"/>
                </a:cubicBezTo>
                <a:cubicBezTo>
                  <a:pt x="948" y="140"/>
                  <a:pt x="949" y="140"/>
                  <a:pt x="951" y="141"/>
                </a:cubicBezTo>
                <a:cubicBezTo>
                  <a:pt x="952" y="142"/>
                  <a:pt x="952" y="142"/>
                  <a:pt x="952" y="143"/>
                </a:cubicBezTo>
                <a:cubicBezTo>
                  <a:pt x="953" y="146"/>
                  <a:pt x="955" y="146"/>
                  <a:pt x="957" y="147"/>
                </a:cubicBezTo>
                <a:cubicBezTo>
                  <a:pt x="959" y="149"/>
                  <a:pt x="961" y="150"/>
                  <a:pt x="962" y="152"/>
                </a:cubicBezTo>
                <a:cubicBezTo>
                  <a:pt x="963" y="154"/>
                  <a:pt x="964" y="158"/>
                  <a:pt x="965" y="157"/>
                </a:cubicBezTo>
                <a:cubicBezTo>
                  <a:pt x="967" y="157"/>
                  <a:pt x="969" y="155"/>
                  <a:pt x="970" y="157"/>
                </a:cubicBezTo>
                <a:cubicBezTo>
                  <a:pt x="971" y="159"/>
                  <a:pt x="973" y="160"/>
                  <a:pt x="975" y="161"/>
                </a:cubicBezTo>
                <a:cubicBezTo>
                  <a:pt x="976" y="161"/>
                  <a:pt x="977" y="161"/>
                  <a:pt x="978" y="161"/>
                </a:cubicBezTo>
                <a:cubicBezTo>
                  <a:pt x="979" y="162"/>
                  <a:pt x="979" y="162"/>
                  <a:pt x="978" y="163"/>
                </a:cubicBezTo>
                <a:cubicBezTo>
                  <a:pt x="977" y="163"/>
                  <a:pt x="975" y="163"/>
                  <a:pt x="974" y="163"/>
                </a:cubicBezTo>
                <a:cubicBezTo>
                  <a:pt x="973" y="163"/>
                  <a:pt x="972" y="163"/>
                  <a:pt x="971" y="163"/>
                </a:cubicBezTo>
                <a:cubicBezTo>
                  <a:pt x="968" y="163"/>
                  <a:pt x="967" y="160"/>
                  <a:pt x="965" y="159"/>
                </a:cubicBezTo>
                <a:cubicBezTo>
                  <a:pt x="963" y="158"/>
                  <a:pt x="953" y="160"/>
                  <a:pt x="957" y="163"/>
                </a:cubicBezTo>
                <a:cubicBezTo>
                  <a:pt x="960" y="165"/>
                  <a:pt x="964" y="166"/>
                  <a:pt x="968" y="166"/>
                </a:cubicBezTo>
                <a:cubicBezTo>
                  <a:pt x="969" y="166"/>
                  <a:pt x="971" y="166"/>
                  <a:pt x="972" y="166"/>
                </a:cubicBezTo>
                <a:cubicBezTo>
                  <a:pt x="974" y="166"/>
                  <a:pt x="975" y="166"/>
                  <a:pt x="977" y="166"/>
                </a:cubicBezTo>
                <a:cubicBezTo>
                  <a:pt x="980" y="166"/>
                  <a:pt x="983" y="166"/>
                  <a:pt x="986" y="166"/>
                </a:cubicBezTo>
                <a:cubicBezTo>
                  <a:pt x="988" y="166"/>
                  <a:pt x="989" y="167"/>
                  <a:pt x="990" y="167"/>
                </a:cubicBezTo>
                <a:cubicBezTo>
                  <a:pt x="991" y="168"/>
                  <a:pt x="993" y="168"/>
                  <a:pt x="994" y="168"/>
                </a:cubicBezTo>
                <a:cubicBezTo>
                  <a:pt x="996" y="169"/>
                  <a:pt x="997" y="169"/>
                  <a:pt x="998" y="168"/>
                </a:cubicBezTo>
                <a:cubicBezTo>
                  <a:pt x="999" y="168"/>
                  <a:pt x="1001" y="168"/>
                  <a:pt x="1002" y="166"/>
                </a:cubicBezTo>
                <a:cubicBezTo>
                  <a:pt x="1002" y="166"/>
                  <a:pt x="1003" y="165"/>
                  <a:pt x="1004" y="164"/>
                </a:cubicBezTo>
                <a:cubicBezTo>
                  <a:pt x="1005" y="163"/>
                  <a:pt x="1006" y="163"/>
                  <a:pt x="1007" y="163"/>
                </a:cubicBezTo>
                <a:cubicBezTo>
                  <a:pt x="1008" y="163"/>
                  <a:pt x="1009" y="162"/>
                  <a:pt x="1010" y="162"/>
                </a:cubicBezTo>
                <a:cubicBezTo>
                  <a:pt x="1011" y="162"/>
                  <a:pt x="1010" y="164"/>
                  <a:pt x="1010" y="164"/>
                </a:cubicBezTo>
                <a:cubicBezTo>
                  <a:pt x="1008" y="166"/>
                  <a:pt x="1008" y="168"/>
                  <a:pt x="1006" y="170"/>
                </a:cubicBezTo>
                <a:cubicBezTo>
                  <a:pt x="1005" y="171"/>
                  <a:pt x="1000" y="171"/>
                  <a:pt x="998" y="171"/>
                </a:cubicBezTo>
                <a:cubicBezTo>
                  <a:pt x="995" y="171"/>
                  <a:pt x="991" y="170"/>
                  <a:pt x="988" y="171"/>
                </a:cubicBezTo>
                <a:cubicBezTo>
                  <a:pt x="987" y="171"/>
                  <a:pt x="985" y="171"/>
                  <a:pt x="985" y="172"/>
                </a:cubicBezTo>
                <a:cubicBezTo>
                  <a:pt x="986" y="173"/>
                  <a:pt x="990" y="174"/>
                  <a:pt x="992" y="174"/>
                </a:cubicBezTo>
                <a:cubicBezTo>
                  <a:pt x="993" y="174"/>
                  <a:pt x="995" y="174"/>
                  <a:pt x="997" y="174"/>
                </a:cubicBezTo>
                <a:cubicBezTo>
                  <a:pt x="997" y="174"/>
                  <a:pt x="998" y="174"/>
                  <a:pt x="998" y="174"/>
                </a:cubicBezTo>
                <a:cubicBezTo>
                  <a:pt x="999" y="175"/>
                  <a:pt x="998" y="175"/>
                  <a:pt x="997" y="175"/>
                </a:cubicBezTo>
                <a:cubicBezTo>
                  <a:pt x="992" y="176"/>
                  <a:pt x="1001" y="179"/>
                  <a:pt x="998" y="181"/>
                </a:cubicBezTo>
                <a:cubicBezTo>
                  <a:pt x="996" y="182"/>
                  <a:pt x="994" y="180"/>
                  <a:pt x="992" y="179"/>
                </a:cubicBezTo>
                <a:cubicBezTo>
                  <a:pt x="989" y="178"/>
                  <a:pt x="986" y="177"/>
                  <a:pt x="984" y="175"/>
                </a:cubicBezTo>
                <a:cubicBezTo>
                  <a:pt x="981" y="174"/>
                  <a:pt x="979" y="172"/>
                  <a:pt x="977" y="172"/>
                </a:cubicBezTo>
                <a:cubicBezTo>
                  <a:pt x="974" y="171"/>
                  <a:pt x="971" y="170"/>
                  <a:pt x="969" y="170"/>
                </a:cubicBezTo>
                <a:cubicBezTo>
                  <a:pt x="966" y="171"/>
                  <a:pt x="963" y="170"/>
                  <a:pt x="960" y="170"/>
                </a:cubicBezTo>
                <a:cubicBezTo>
                  <a:pt x="957" y="169"/>
                  <a:pt x="954" y="168"/>
                  <a:pt x="951" y="168"/>
                </a:cubicBezTo>
                <a:cubicBezTo>
                  <a:pt x="948" y="168"/>
                  <a:pt x="945" y="168"/>
                  <a:pt x="942" y="169"/>
                </a:cubicBezTo>
                <a:cubicBezTo>
                  <a:pt x="939" y="169"/>
                  <a:pt x="936" y="170"/>
                  <a:pt x="933" y="171"/>
                </a:cubicBezTo>
                <a:cubicBezTo>
                  <a:pt x="930" y="171"/>
                  <a:pt x="927" y="171"/>
                  <a:pt x="924" y="172"/>
                </a:cubicBezTo>
                <a:cubicBezTo>
                  <a:pt x="922" y="173"/>
                  <a:pt x="920" y="175"/>
                  <a:pt x="918" y="177"/>
                </a:cubicBezTo>
                <a:cubicBezTo>
                  <a:pt x="916" y="179"/>
                  <a:pt x="914" y="181"/>
                  <a:pt x="912" y="183"/>
                </a:cubicBezTo>
                <a:cubicBezTo>
                  <a:pt x="910" y="185"/>
                  <a:pt x="909" y="187"/>
                  <a:pt x="909" y="190"/>
                </a:cubicBezTo>
                <a:cubicBezTo>
                  <a:pt x="909" y="192"/>
                  <a:pt x="910" y="193"/>
                  <a:pt x="913" y="193"/>
                </a:cubicBezTo>
                <a:cubicBezTo>
                  <a:pt x="914" y="193"/>
                  <a:pt x="916" y="193"/>
                  <a:pt x="914" y="195"/>
                </a:cubicBezTo>
                <a:cubicBezTo>
                  <a:pt x="914" y="195"/>
                  <a:pt x="910" y="196"/>
                  <a:pt x="912" y="197"/>
                </a:cubicBezTo>
                <a:cubicBezTo>
                  <a:pt x="913" y="197"/>
                  <a:pt x="915" y="196"/>
                  <a:pt x="916" y="197"/>
                </a:cubicBezTo>
                <a:cubicBezTo>
                  <a:pt x="919" y="197"/>
                  <a:pt x="921" y="198"/>
                  <a:pt x="923" y="196"/>
                </a:cubicBezTo>
                <a:cubicBezTo>
                  <a:pt x="924" y="195"/>
                  <a:pt x="925" y="194"/>
                  <a:pt x="926" y="194"/>
                </a:cubicBezTo>
                <a:cubicBezTo>
                  <a:pt x="928" y="193"/>
                  <a:pt x="929" y="194"/>
                  <a:pt x="930" y="193"/>
                </a:cubicBezTo>
                <a:cubicBezTo>
                  <a:pt x="933" y="193"/>
                  <a:pt x="935" y="191"/>
                  <a:pt x="936" y="188"/>
                </a:cubicBezTo>
                <a:cubicBezTo>
                  <a:pt x="937" y="186"/>
                  <a:pt x="937" y="188"/>
                  <a:pt x="937" y="190"/>
                </a:cubicBezTo>
                <a:cubicBezTo>
                  <a:pt x="937" y="191"/>
                  <a:pt x="936" y="194"/>
                  <a:pt x="935" y="194"/>
                </a:cubicBezTo>
                <a:cubicBezTo>
                  <a:pt x="933" y="195"/>
                  <a:pt x="932" y="196"/>
                  <a:pt x="930" y="196"/>
                </a:cubicBezTo>
                <a:cubicBezTo>
                  <a:pt x="929" y="197"/>
                  <a:pt x="930" y="198"/>
                  <a:pt x="931" y="198"/>
                </a:cubicBezTo>
                <a:cubicBezTo>
                  <a:pt x="932" y="198"/>
                  <a:pt x="933" y="198"/>
                  <a:pt x="934" y="198"/>
                </a:cubicBezTo>
                <a:cubicBezTo>
                  <a:pt x="936" y="198"/>
                  <a:pt x="938" y="198"/>
                  <a:pt x="939" y="198"/>
                </a:cubicBezTo>
                <a:cubicBezTo>
                  <a:pt x="942" y="198"/>
                  <a:pt x="944" y="197"/>
                  <a:pt x="946" y="195"/>
                </a:cubicBezTo>
                <a:cubicBezTo>
                  <a:pt x="948" y="194"/>
                  <a:pt x="951" y="192"/>
                  <a:pt x="952" y="190"/>
                </a:cubicBezTo>
                <a:cubicBezTo>
                  <a:pt x="953" y="188"/>
                  <a:pt x="953" y="185"/>
                  <a:pt x="954" y="183"/>
                </a:cubicBezTo>
                <a:cubicBezTo>
                  <a:pt x="954" y="182"/>
                  <a:pt x="955" y="181"/>
                  <a:pt x="955" y="180"/>
                </a:cubicBezTo>
                <a:cubicBezTo>
                  <a:pt x="956" y="180"/>
                  <a:pt x="957" y="178"/>
                  <a:pt x="958" y="179"/>
                </a:cubicBezTo>
                <a:cubicBezTo>
                  <a:pt x="959" y="181"/>
                  <a:pt x="957" y="183"/>
                  <a:pt x="956" y="184"/>
                </a:cubicBezTo>
                <a:cubicBezTo>
                  <a:pt x="954" y="187"/>
                  <a:pt x="957" y="187"/>
                  <a:pt x="958" y="188"/>
                </a:cubicBezTo>
                <a:cubicBezTo>
                  <a:pt x="960" y="189"/>
                  <a:pt x="954" y="191"/>
                  <a:pt x="954" y="192"/>
                </a:cubicBezTo>
                <a:cubicBezTo>
                  <a:pt x="953" y="195"/>
                  <a:pt x="965" y="193"/>
                  <a:pt x="966" y="194"/>
                </a:cubicBezTo>
                <a:cubicBezTo>
                  <a:pt x="966" y="195"/>
                  <a:pt x="961" y="196"/>
                  <a:pt x="961" y="196"/>
                </a:cubicBezTo>
                <a:cubicBezTo>
                  <a:pt x="958" y="196"/>
                  <a:pt x="955" y="195"/>
                  <a:pt x="953" y="196"/>
                </a:cubicBezTo>
                <a:cubicBezTo>
                  <a:pt x="950" y="196"/>
                  <a:pt x="951" y="198"/>
                  <a:pt x="953" y="198"/>
                </a:cubicBezTo>
                <a:cubicBezTo>
                  <a:pt x="955" y="199"/>
                  <a:pt x="958" y="198"/>
                  <a:pt x="960" y="198"/>
                </a:cubicBezTo>
                <a:cubicBezTo>
                  <a:pt x="961" y="198"/>
                  <a:pt x="963" y="200"/>
                  <a:pt x="960" y="200"/>
                </a:cubicBezTo>
                <a:cubicBezTo>
                  <a:pt x="958" y="201"/>
                  <a:pt x="956" y="200"/>
                  <a:pt x="954" y="200"/>
                </a:cubicBezTo>
                <a:cubicBezTo>
                  <a:pt x="952" y="200"/>
                  <a:pt x="949" y="201"/>
                  <a:pt x="946" y="202"/>
                </a:cubicBezTo>
                <a:cubicBezTo>
                  <a:pt x="945" y="202"/>
                  <a:pt x="944" y="202"/>
                  <a:pt x="944" y="203"/>
                </a:cubicBezTo>
                <a:cubicBezTo>
                  <a:pt x="943" y="204"/>
                  <a:pt x="943" y="205"/>
                  <a:pt x="944" y="205"/>
                </a:cubicBezTo>
                <a:cubicBezTo>
                  <a:pt x="945" y="205"/>
                  <a:pt x="947" y="205"/>
                  <a:pt x="948" y="205"/>
                </a:cubicBezTo>
                <a:cubicBezTo>
                  <a:pt x="950" y="204"/>
                  <a:pt x="951" y="204"/>
                  <a:pt x="952" y="204"/>
                </a:cubicBezTo>
                <a:cubicBezTo>
                  <a:pt x="955" y="204"/>
                  <a:pt x="957" y="203"/>
                  <a:pt x="960" y="204"/>
                </a:cubicBezTo>
                <a:cubicBezTo>
                  <a:pt x="961" y="204"/>
                  <a:pt x="964" y="205"/>
                  <a:pt x="962" y="206"/>
                </a:cubicBezTo>
                <a:cubicBezTo>
                  <a:pt x="959" y="207"/>
                  <a:pt x="957" y="206"/>
                  <a:pt x="955" y="207"/>
                </a:cubicBezTo>
                <a:cubicBezTo>
                  <a:pt x="953" y="208"/>
                  <a:pt x="952" y="210"/>
                  <a:pt x="950" y="211"/>
                </a:cubicBezTo>
                <a:cubicBezTo>
                  <a:pt x="948" y="211"/>
                  <a:pt x="945" y="212"/>
                  <a:pt x="947" y="214"/>
                </a:cubicBezTo>
                <a:cubicBezTo>
                  <a:pt x="947" y="214"/>
                  <a:pt x="948" y="215"/>
                  <a:pt x="949" y="216"/>
                </a:cubicBezTo>
                <a:cubicBezTo>
                  <a:pt x="951" y="216"/>
                  <a:pt x="952" y="216"/>
                  <a:pt x="953" y="216"/>
                </a:cubicBezTo>
                <a:cubicBezTo>
                  <a:pt x="956" y="215"/>
                  <a:pt x="957" y="214"/>
                  <a:pt x="959" y="212"/>
                </a:cubicBezTo>
                <a:cubicBezTo>
                  <a:pt x="959" y="212"/>
                  <a:pt x="960" y="211"/>
                  <a:pt x="960" y="211"/>
                </a:cubicBezTo>
                <a:cubicBezTo>
                  <a:pt x="961" y="211"/>
                  <a:pt x="961" y="213"/>
                  <a:pt x="961" y="213"/>
                </a:cubicBezTo>
                <a:cubicBezTo>
                  <a:pt x="959" y="215"/>
                  <a:pt x="957" y="215"/>
                  <a:pt x="956" y="217"/>
                </a:cubicBezTo>
                <a:cubicBezTo>
                  <a:pt x="954" y="219"/>
                  <a:pt x="958" y="219"/>
                  <a:pt x="959" y="219"/>
                </a:cubicBezTo>
                <a:cubicBezTo>
                  <a:pt x="963" y="219"/>
                  <a:pt x="966" y="218"/>
                  <a:pt x="969" y="219"/>
                </a:cubicBezTo>
                <a:cubicBezTo>
                  <a:pt x="972" y="219"/>
                  <a:pt x="973" y="219"/>
                  <a:pt x="976" y="217"/>
                </a:cubicBezTo>
                <a:cubicBezTo>
                  <a:pt x="978" y="215"/>
                  <a:pt x="980" y="213"/>
                  <a:pt x="982" y="211"/>
                </a:cubicBezTo>
                <a:cubicBezTo>
                  <a:pt x="983" y="210"/>
                  <a:pt x="984" y="209"/>
                  <a:pt x="985" y="208"/>
                </a:cubicBezTo>
                <a:cubicBezTo>
                  <a:pt x="986" y="207"/>
                  <a:pt x="987" y="207"/>
                  <a:pt x="988" y="206"/>
                </a:cubicBezTo>
                <a:cubicBezTo>
                  <a:pt x="989" y="205"/>
                  <a:pt x="990" y="205"/>
                  <a:pt x="990" y="204"/>
                </a:cubicBezTo>
                <a:cubicBezTo>
                  <a:pt x="991" y="203"/>
                  <a:pt x="991" y="202"/>
                  <a:pt x="991" y="201"/>
                </a:cubicBezTo>
                <a:cubicBezTo>
                  <a:pt x="992" y="199"/>
                  <a:pt x="995" y="197"/>
                  <a:pt x="996" y="198"/>
                </a:cubicBezTo>
                <a:cubicBezTo>
                  <a:pt x="997" y="199"/>
                  <a:pt x="995" y="201"/>
                  <a:pt x="994" y="201"/>
                </a:cubicBezTo>
                <a:cubicBezTo>
                  <a:pt x="994" y="202"/>
                  <a:pt x="993" y="203"/>
                  <a:pt x="993" y="204"/>
                </a:cubicBezTo>
                <a:cubicBezTo>
                  <a:pt x="992" y="206"/>
                  <a:pt x="991" y="206"/>
                  <a:pt x="991" y="207"/>
                </a:cubicBezTo>
                <a:cubicBezTo>
                  <a:pt x="989" y="209"/>
                  <a:pt x="988" y="212"/>
                  <a:pt x="986" y="213"/>
                </a:cubicBezTo>
                <a:cubicBezTo>
                  <a:pt x="985" y="214"/>
                  <a:pt x="984" y="215"/>
                  <a:pt x="983" y="215"/>
                </a:cubicBezTo>
                <a:cubicBezTo>
                  <a:pt x="983" y="216"/>
                  <a:pt x="982" y="217"/>
                  <a:pt x="982" y="218"/>
                </a:cubicBezTo>
                <a:cubicBezTo>
                  <a:pt x="981" y="219"/>
                  <a:pt x="980" y="220"/>
                  <a:pt x="979" y="220"/>
                </a:cubicBezTo>
                <a:cubicBezTo>
                  <a:pt x="978" y="220"/>
                  <a:pt x="976" y="220"/>
                  <a:pt x="976" y="222"/>
                </a:cubicBezTo>
                <a:cubicBezTo>
                  <a:pt x="976" y="223"/>
                  <a:pt x="979" y="226"/>
                  <a:pt x="976" y="226"/>
                </a:cubicBezTo>
                <a:cubicBezTo>
                  <a:pt x="973" y="225"/>
                  <a:pt x="970" y="224"/>
                  <a:pt x="967" y="224"/>
                </a:cubicBezTo>
                <a:cubicBezTo>
                  <a:pt x="965" y="224"/>
                  <a:pt x="962" y="224"/>
                  <a:pt x="959" y="224"/>
                </a:cubicBezTo>
                <a:cubicBezTo>
                  <a:pt x="958" y="225"/>
                  <a:pt x="957" y="225"/>
                  <a:pt x="956" y="226"/>
                </a:cubicBezTo>
                <a:cubicBezTo>
                  <a:pt x="955" y="227"/>
                  <a:pt x="954" y="226"/>
                  <a:pt x="952" y="226"/>
                </a:cubicBezTo>
                <a:cubicBezTo>
                  <a:pt x="951" y="225"/>
                  <a:pt x="950" y="225"/>
                  <a:pt x="949" y="225"/>
                </a:cubicBezTo>
                <a:cubicBezTo>
                  <a:pt x="947" y="224"/>
                  <a:pt x="946" y="223"/>
                  <a:pt x="945" y="223"/>
                </a:cubicBezTo>
                <a:cubicBezTo>
                  <a:pt x="943" y="221"/>
                  <a:pt x="940" y="223"/>
                  <a:pt x="938" y="221"/>
                </a:cubicBezTo>
                <a:cubicBezTo>
                  <a:pt x="936" y="219"/>
                  <a:pt x="936" y="216"/>
                  <a:pt x="935" y="214"/>
                </a:cubicBezTo>
                <a:cubicBezTo>
                  <a:pt x="934" y="212"/>
                  <a:pt x="932" y="210"/>
                  <a:pt x="930" y="209"/>
                </a:cubicBezTo>
                <a:cubicBezTo>
                  <a:pt x="927" y="207"/>
                  <a:pt x="924" y="208"/>
                  <a:pt x="922" y="208"/>
                </a:cubicBezTo>
                <a:cubicBezTo>
                  <a:pt x="919" y="207"/>
                  <a:pt x="916" y="206"/>
                  <a:pt x="913" y="206"/>
                </a:cubicBezTo>
                <a:cubicBezTo>
                  <a:pt x="910" y="206"/>
                  <a:pt x="908" y="207"/>
                  <a:pt x="905" y="208"/>
                </a:cubicBezTo>
                <a:cubicBezTo>
                  <a:pt x="904" y="208"/>
                  <a:pt x="903" y="208"/>
                  <a:pt x="902" y="208"/>
                </a:cubicBezTo>
                <a:cubicBezTo>
                  <a:pt x="901" y="208"/>
                  <a:pt x="899" y="207"/>
                  <a:pt x="898" y="207"/>
                </a:cubicBezTo>
                <a:cubicBezTo>
                  <a:pt x="896" y="208"/>
                  <a:pt x="897" y="212"/>
                  <a:pt x="898" y="213"/>
                </a:cubicBezTo>
                <a:cubicBezTo>
                  <a:pt x="900" y="216"/>
                  <a:pt x="901" y="218"/>
                  <a:pt x="903" y="221"/>
                </a:cubicBezTo>
                <a:cubicBezTo>
                  <a:pt x="905" y="226"/>
                  <a:pt x="910" y="227"/>
                  <a:pt x="914" y="225"/>
                </a:cubicBezTo>
                <a:cubicBezTo>
                  <a:pt x="916" y="224"/>
                  <a:pt x="918" y="223"/>
                  <a:pt x="919" y="224"/>
                </a:cubicBezTo>
                <a:cubicBezTo>
                  <a:pt x="920" y="226"/>
                  <a:pt x="919" y="226"/>
                  <a:pt x="918" y="227"/>
                </a:cubicBezTo>
                <a:cubicBezTo>
                  <a:pt x="917" y="227"/>
                  <a:pt x="916" y="227"/>
                  <a:pt x="916" y="228"/>
                </a:cubicBezTo>
                <a:cubicBezTo>
                  <a:pt x="915" y="229"/>
                  <a:pt x="917" y="231"/>
                  <a:pt x="918" y="231"/>
                </a:cubicBezTo>
                <a:cubicBezTo>
                  <a:pt x="919" y="234"/>
                  <a:pt x="916" y="233"/>
                  <a:pt x="915" y="232"/>
                </a:cubicBezTo>
                <a:cubicBezTo>
                  <a:pt x="914" y="232"/>
                  <a:pt x="913" y="231"/>
                  <a:pt x="912" y="232"/>
                </a:cubicBezTo>
                <a:cubicBezTo>
                  <a:pt x="911" y="232"/>
                  <a:pt x="910" y="233"/>
                  <a:pt x="909" y="234"/>
                </a:cubicBezTo>
                <a:cubicBezTo>
                  <a:pt x="908" y="234"/>
                  <a:pt x="907" y="233"/>
                  <a:pt x="906" y="234"/>
                </a:cubicBezTo>
                <a:cubicBezTo>
                  <a:pt x="904" y="234"/>
                  <a:pt x="903" y="234"/>
                  <a:pt x="901" y="234"/>
                </a:cubicBezTo>
                <a:cubicBezTo>
                  <a:pt x="898" y="234"/>
                  <a:pt x="896" y="233"/>
                  <a:pt x="893" y="234"/>
                </a:cubicBezTo>
                <a:cubicBezTo>
                  <a:pt x="890" y="235"/>
                  <a:pt x="889" y="237"/>
                  <a:pt x="887" y="238"/>
                </a:cubicBezTo>
                <a:cubicBezTo>
                  <a:pt x="884" y="240"/>
                  <a:pt x="881" y="241"/>
                  <a:pt x="879" y="242"/>
                </a:cubicBezTo>
                <a:cubicBezTo>
                  <a:pt x="876" y="243"/>
                  <a:pt x="875" y="244"/>
                  <a:pt x="876" y="247"/>
                </a:cubicBezTo>
                <a:cubicBezTo>
                  <a:pt x="876" y="248"/>
                  <a:pt x="877" y="249"/>
                  <a:pt x="876" y="250"/>
                </a:cubicBezTo>
                <a:cubicBezTo>
                  <a:pt x="876" y="251"/>
                  <a:pt x="875" y="252"/>
                  <a:pt x="875" y="253"/>
                </a:cubicBezTo>
                <a:cubicBezTo>
                  <a:pt x="876" y="255"/>
                  <a:pt x="879" y="255"/>
                  <a:pt x="881" y="256"/>
                </a:cubicBezTo>
                <a:cubicBezTo>
                  <a:pt x="881" y="256"/>
                  <a:pt x="882" y="257"/>
                  <a:pt x="883" y="258"/>
                </a:cubicBezTo>
                <a:cubicBezTo>
                  <a:pt x="884" y="259"/>
                  <a:pt x="884" y="258"/>
                  <a:pt x="885" y="257"/>
                </a:cubicBezTo>
                <a:cubicBezTo>
                  <a:pt x="886" y="256"/>
                  <a:pt x="886" y="255"/>
                  <a:pt x="887" y="254"/>
                </a:cubicBezTo>
                <a:cubicBezTo>
                  <a:pt x="888" y="253"/>
                  <a:pt x="889" y="252"/>
                  <a:pt x="889" y="251"/>
                </a:cubicBezTo>
                <a:cubicBezTo>
                  <a:pt x="890" y="250"/>
                  <a:pt x="889" y="249"/>
                  <a:pt x="889" y="248"/>
                </a:cubicBezTo>
                <a:cubicBezTo>
                  <a:pt x="888" y="247"/>
                  <a:pt x="889" y="246"/>
                  <a:pt x="890" y="245"/>
                </a:cubicBezTo>
                <a:cubicBezTo>
                  <a:pt x="891" y="244"/>
                  <a:pt x="893" y="244"/>
                  <a:pt x="893" y="246"/>
                </a:cubicBezTo>
                <a:cubicBezTo>
                  <a:pt x="893" y="247"/>
                  <a:pt x="892" y="249"/>
                  <a:pt x="892" y="250"/>
                </a:cubicBezTo>
                <a:cubicBezTo>
                  <a:pt x="892" y="251"/>
                  <a:pt x="893" y="252"/>
                  <a:pt x="894" y="253"/>
                </a:cubicBezTo>
                <a:cubicBezTo>
                  <a:pt x="894" y="254"/>
                  <a:pt x="895" y="255"/>
                  <a:pt x="895" y="256"/>
                </a:cubicBezTo>
                <a:cubicBezTo>
                  <a:pt x="895" y="259"/>
                  <a:pt x="897" y="259"/>
                  <a:pt x="899" y="259"/>
                </a:cubicBezTo>
                <a:cubicBezTo>
                  <a:pt x="901" y="260"/>
                  <a:pt x="903" y="260"/>
                  <a:pt x="906" y="260"/>
                </a:cubicBezTo>
                <a:cubicBezTo>
                  <a:pt x="909" y="258"/>
                  <a:pt x="907" y="255"/>
                  <a:pt x="907" y="253"/>
                </a:cubicBezTo>
                <a:cubicBezTo>
                  <a:pt x="907" y="252"/>
                  <a:pt x="908" y="251"/>
                  <a:pt x="909" y="252"/>
                </a:cubicBezTo>
                <a:cubicBezTo>
                  <a:pt x="909" y="253"/>
                  <a:pt x="909" y="254"/>
                  <a:pt x="910" y="254"/>
                </a:cubicBezTo>
                <a:cubicBezTo>
                  <a:pt x="910" y="257"/>
                  <a:pt x="912" y="258"/>
                  <a:pt x="914" y="258"/>
                </a:cubicBezTo>
                <a:cubicBezTo>
                  <a:pt x="915" y="258"/>
                  <a:pt x="916" y="258"/>
                  <a:pt x="917" y="259"/>
                </a:cubicBezTo>
                <a:cubicBezTo>
                  <a:pt x="918" y="259"/>
                  <a:pt x="918" y="260"/>
                  <a:pt x="919" y="261"/>
                </a:cubicBezTo>
                <a:cubicBezTo>
                  <a:pt x="922" y="263"/>
                  <a:pt x="923" y="259"/>
                  <a:pt x="923" y="258"/>
                </a:cubicBezTo>
                <a:cubicBezTo>
                  <a:pt x="924" y="256"/>
                  <a:pt x="927" y="256"/>
                  <a:pt x="925" y="254"/>
                </a:cubicBezTo>
                <a:cubicBezTo>
                  <a:pt x="925" y="253"/>
                  <a:pt x="924" y="252"/>
                  <a:pt x="924" y="252"/>
                </a:cubicBezTo>
                <a:cubicBezTo>
                  <a:pt x="925" y="251"/>
                  <a:pt x="927" y="251"/>
                  <a:pt x="927" y="252"/>
                </a:cubicBezTo>
                <a:cubicBezTo>
                  <a:pt x="928" y="252"/>
                  <a:pt x="932" y="255"/>
                  <a:pt x="930" y="256"/>
                </a:cubicBezTo>
                <a:cubicBezTo>
                  <a:pt x="930" y="256"/>
                  <a:pt x="928" y="256"/>
                  <a:pt x="928" y="257"/>
                </a:cubicBezTo>
                <a:cubicBezTo>
                  <a:pt x="928" y="259"/>
                  <a:pt x="929" y="260"/>
                  <a:pt x="930" y="260"/>
                </a:cubicBezTo>
                <a:cubicBezTo>
                  <a:pt x="933" y="261"/>
                  <a:pt x="936" y="261"/>
                  <a:pt x="939" y="261"/>
                </a:cubicBezTo>
                <a:cubicBezTo>
                  <a:pt x="942" y="261"/>
                  <a:pt x="945" y="262"/>
                  <a:pt x="948" y="262"/>
                </a:cubicBezTo>
                <a:cubicBezTo>
                  <a:pt x="950" y="262"/>
                  <a:pt x="952" y="262"/>
                  <a:pt x="953" y="263"/>
                </a:cubicBezTo>
                <a:cubicBezTo>
                  <a:pt x="955" y="263"/>
                  <a:pt x="957" y="263"/>
                  <a:pt x="958" y="263"/>
                </a:cubicBezTo>
                <a:cubicBezTo>
                  <a:pt x="960" y="262"/>
                  <a:pt x="957" y="259"/>
                  <a:pt x="956" y="259"/>
                </a:cubicBezTo>
                <a:cubicBezTo>
                  <a:pt x="955" y="258"/>
                  <a:pt x="954" y="258"/>
                  <a:pt x="953" y="258"/>
                </a:cubicBezTo>
                <a:cubicBezTo>
                  <a:pt x="952" y="257"/>
                  <a:pt x="951" y="256"/>
                  <a:pt x="951" y="255"/>
                </a:cubicBezTo>
                <a:cubicBezTo>
                  <a:pt x="950" y="253"/>
                  <a:pt x="951" y="253"/>
                  <a:pt x="953" y="253"/>
                </a:cubicBezTo>
                <a:cubicBezTo>
                  <a:pt x="955" y="253"/>
                  <a:pt x="956" y="256"/>
                  <a:pt x="958" y="257"/>
                </a:cubicBezTo>
                <a:cubicBezTo>
                  <a:pt x="960" y="258"/>
                  <a:pt x="962" y="256"/>
                  <a:pt x="964" y="254"/>
                </a:cubicBezTo>
                <a:cubicBezTo>
                  <a:pt x="965" y="253"/>
                  <a:pt x="965" y="253"/>
                  <a:pt x="964" y="252"/>
                </a:cubicBezTo>
                <a:cubicBezTo>
                  <a:pt x="963" y="252"/>
                  <a:pt x="962" y="249"/>
                  <a:pt x="963" y="249"/>
                </a:cubicBezTo>
                <a:cubicBezTo>
                  <a:pt x="966" y="249"/>
                  <a:pt x="967" y="253"/>
                  <a:pt x="968" y="254"/>
                </a:cubicBezTo>
                <a:cubicBezTo>
                  <a:pt x="970" y="256"/>
                  <a:pt x="973" y="258"/>
                  <a:pt x="976" y="258"/>
                </a:cubicBezTo>
                <a:cubicBezTo>
                  <a:pt x="978" y="259"/>
                  <a:pt x="980" y="258"/>
                  <a:pt x="980" y="255"/>
                </a:cubicBezTo>
                <a:cubicBezTo>
                  <a:pt x="979" y="254"/>
                  <a:pt x="979" y="254"/>
                  <a:pt x="979" y="253"/>
                </a:cubicBezTo>
                <a:cubicBezTo>
                  <a:pt x="979" y="252"/>
                  <a:pt x="978" y="251"/>
                  <a:pt x="977" y="250"/>
                </a:cubicBezTo>
                <a:cubicBezTo>
                  <a:pt x="977" y="250"/>
                  <a:pt x="976" y="248"/>
                  <a:pt x="978" y="248"/>
                </a:cubicBezTo>
                <a:cubicBezTo>
                  <a:pt x="979" y="249"/>
                  <a:pt x="980" y="250"/>
                  <a:pt x="981" y="251"/>
                </a:cubicBezTo>
                <a:cubicBezTo>
                  <a:pt x="983" y="253"/>
                  <a:pt x="984" y="254"/>
                  <a:pt x="985" y="256"/>
                </a:cubicBezTo>
                <a:cubicBezTo>
                  <a:pt x="987" y="259"/>
                  <a:pt x="989" y="259"/>
                  <a:pt x="992" y="259"/>
                </a:cubicBezTo>
                <a:cubicBezTo>
                  <a:pt x="994" y="259"/>
                  <a:pt x="997" y="260"/>
                  <a:pt x="999" y="258"/>
                </a:cubicBezTo>
                <a:cubicBezTo>
                  <a:pt x="1000" y="257"/>
                  <a:pt x="999" y="254"/>
                  <a:pt x="998" y="252"/>
                </a:cubicBezTo>
                <a:cubicBezTo>
                  <a:pt x="997" y="250"/>
                  <a:pt x="995" y="250"/>
                  <a:pt x="993" y="249"/>
                </a:cubicBezTo>
                <a:cubicBezTo>
                  <a:pt x="992" y="248"/>
                  <a:pt x="991" y="247"/>
                  <a:pt x="990" y="246"/>
                </a:cubicBezTo>
                <a:cubicBezTo>
                  <a:pt x="990" y="245"/>
                  <a:pt x="992" y="244"/>
                  <a:pt x="993" y="244"/>
                </a:cubicBezTo>
                <a:cubicBezTo>
                  <a:pt x="995" y="245"/>
                  <a:pt x="997" y="246"/>
                  <a:pt x="1000" y="248"/>
                </a:cubicBezTo>
                <a:cubicBezTo>
                  <a:pt x="1001" y="248"/>
                  <a:pt x="1002" y="249"/>
                  <a:pt x="1003" y="249"/>
                </a:cubicBezTo>
                <a:cubicBezTo>
                  <a:pt x="1004" y="250"/>
                  <a:pt x="1004" y="249"/>
                  <a:pt x="1006" y="249"/>
                </a:cubicBezTo>
                <a:cubicBezTo>
                  <a:pt x="1008" y="249"/>
                  <a:pt x="1005" y="250"/>
                  <a:pt x="1004" y="251"/>
                </a:cubicBezTo>
                <a:cubicBezTo>
                  <a:pt x="1002" y="254"/>
                  <a:pt x="1005" y="256"/>
                  <a:pt x="1007" y="256"/>
                </a:cubicBezTo>
                <a:cubicBezTo>
                  <a:pt x="1009" y="257"/>
                  <a:pt x="1011" y="257"/>
                  <a:pt x="1013" y="256"/>
                </a:cubicBezTo>
                <a:cubicBezTo>
                  <a:pt x="1014" y="255"/>
                  <a:pt x="1015" y="254"/>
                  <a:pt x="1016" y="254"/>
                </a:cubicBezTo>
                <a:cubicBezTo>
                  <a:pt x="1017" y="255"/>
                  <a:pt x="1018" y="256"/>
                  <a:pt x="1019" y="256"/>
                </a:cubicBezTo>
                <a:cubicBezTo>
                  <a:pt x="1020" y="257"/>
                  <a:pt x="1023" y="256"/>
                  <a:pt x="1023" y="258"/>
                </a:cubicBezTo>
                <a:cubicBezTo>
                  <a:pt x="1023" y="260"/>
                  <a:pt x="1022" y="261"/>
                  <a:pt x="1021" y="262"/>
                </a:cubicBezTo>
                <a:cubicBezTo>
                  <a:pt x="1020" y="263"/>
                  <a:pt x="1019" y="264"/>
                  <a:pt x="1019" y="265"/>
                </a:cubicBezTo>
                <a:cubicBezTo>
                  <a:pt x="1019" y="267"/>
                  <a:pt x="1020" y="269"/>
                  <a:pt x="1022" y="269"/>
                </a:cubicBezTo>
                <a:cubicBezTo>
                  <a:pt x="1023" y="269"/>
                  <a:pt x="1025" y="267"/>
                  <a:pt x="1026" y="267"/>
                </a:cubicBezTo>
                <a:cubicBezTo>
                  <a:pt x="1028" y="266"/>
                  <a:pt x="1030" y="266"/>
                  <a:pt x="1032" y="265"/>
                </a:cubicBezTo>
                <a:cubicBezTo>
                  <a:pt x="1034" y="265"/>
                  <a:pt x="1036" y="264"/>
                  <a:pt x="1037" y="264"/>
                </a:cubicBezTo>
                <a:cubicBezTo>
                  <a:pt x="1039" y="263"/>
                  <a:pt x="1041" y="263"/>
                  <a:pt x="1043" y="263"/>
                </a:cubicBezTo>
                <a:cubicBezTo>
                  <a:pt x="1047" y="263"/>
                  <a:pt x="1049" y="261"/>
                  <a:pt x="1051" y="258"/>
                </a:cubicBezTo>
                <a:cubicBezTo>
                  <a:pt x="1050" y="259"/>
                  <a:pt x="1050" y="259"/>
                  <a:pt x="1050" y="259"/>
                </a:cubicBezTo>
                <a:cubicBezTo>
                  <a:pt x="1051" y="257"/>
                  <a:pt x="1050" y="259"/>
                  <a:pt x="1050" y="259"/>
                </a:cubicBezTo>
                <a:close/>
                <a:moveTo>
                  <a:pt x="1111" y="156"/>
                </a:moveTo>
                <a:cubicBezTo>
                  <a:pt x="1114" y="156"/>
                  <a:pt x="1117" y="156"/>
                  <a:pt x="1120" y="155"/>
                </a:cubicBezTo>
                <a:cubicBezTo>
                  <a:pt x="1122" y="155"/>
                  <a:pt x="1123" y="155"/>
                  <a:pt x="1124" y="156"/>
                </a:cubicBezTo>
                <a:cubicBezTo>
                  <a:pt x="1126" y="156"/>
                  <a:pt x="1125" y="157"/>
                  <a:pt x="1126" y="158"/>
                </a:cubicBezTo>
                <a:cubicBezTo>
                  <a:pt x="1126" y="160"/>
                  <a:pt x="1131" y="160"/>
                  <a:pt x="1129" y="163"/>
                </a:cubicBezTo>
                <a:cubicBezTo>
                  <a:pt x="1127" y="164"/>
                  <a:pt x="1124" y="162"/>
                  <a:pt x="1121" y="162"/>
                </a:cubicBezTo>
                <a:cubicBezTo>
                  <a:pt x="1120" y="162"/>
                  <a:pt x="1119" y="162"/>
                  <a:pt x="1117" y="162"/>
                </a:cubicBezTo>
                <a:cubicBezTo>
                  <a:pt x="1116" y="162"/>
                  <a:pt x="1114" y="162"/>
                  <a:pt x="1112" y="162"/>
                </a:cubicBezTo>
                <a:cubicBezTo>
                  <a:pt x="1111" y="162"/>
                  <a:pt x="1110" y="162"/>
                  <a:pt x="1108" y="161"/>
                </a:cubicBezTo>
                <a:cubicBezTo>
                  <a:pt x="1107" y="160"/>
                  <a:pt x="1107" y="159"/>
                  <a:pt x="1106" y="159"/>
                </a:cubicBezTo>
                <a:cubicBezTo>
                  <a:pt x="1105" y="158"/>
                  <a:pt x="1103" y="157"/>
                  <a:pt x="1104" y="156"/>
                </a:cubicBezTo>
                <a:cubicBezTo>
                  <a:pt x="1104" y="156"/>
                  <a:pt x="1105" y="156"/>
                  <a:pt x="1106" y="155"/>
                </a:cubicBezTo>
                <a:cubicBezTo>
                  <a:pt x="1108" y="155"/>
                  <a:pt x="1111" y="156"/>
                  <a:pt x="1113" y="156"/>
                </a:cubicBezTo>
                <a:cubicBezTo>
                  <a:pt x="1112" y="156"/>
                  <a:pt x="1112" y="156"/>
                  <a:pt x="1111" y="156"/>
                </a:cubicBezTo>
                <a:cubicBezTo>
                  <a:pt x="1114" y="156"/>
                  <a:pt x="1111" y="156"/>
                  <a:pt x="1111" y="156"/>
                </a:cubicBezTo>
                <a:close/>
                <a:moveTo>
                  <a:pt x="844" y="92"/>
                </a:moveTo>
                <a:cubicBezTo>
                  <a:pt x="842" y="87"/>
                  <a:pt x="836" y="85"/>
                  <a:pt x="832" y="81"/>
                </a:cubicBezTo>
                <a:cubicBezTo>
                  <a:pt x="831" y="79"/>
                  <a:pt x="829" y="77"/>
                  <a:pt x="827" y="76"/>
                </a:cubicBezTo>
                <a:cubicBezTo>
                  <a:pt x="824" y="75"/>
                  <a:pt x="821" y="75"/>
                  <a:pt x="818" y="75"/>
                </a:cubicBezTo>
                <a:cubicBezTo>
                  <a:pt x="815" y="74"/>
                  <a:pt x="813" y="73"/>
                  <a:pt x="810" y="73"/>
                </a:cubicBezTo>
                <a:cubicBezTo>
                  <a:pt x="809" y="73"/>
                  <a:pt x="807" y="73"/>
                  <a:pt x="806" y="73"/>
                </a:cubicBezTo>
                <a:cubicBezTo>
                  <a:pt x="804" y="74"/>
                  <a:pt x="803" y="74"/>
                  <a:pt x="801" y="74"/>
                </a:cubicBezTo>
                <a:cubicBezTo>
                  <a:pt x="799" y="74"/>
                  <a:pt x="795" y="73"/>
                  <a:pt x="793" y="75"/>
                </a:cubicBezTo>
                <a:cubicBezTo>
                  <a:pt x="792" y="77"/>
                  <a:pt x="796" y="77"/>
                  <a:pt x="797" y="77"/>
                </a:cubicBezTo>
                <a:cubicBezTo>
                  <a:pt x="800" y="77"/>
                  <a:pt x="803" y="77"/>
                  <a:pt x="806" y="77"/>
                </a:cubicBezTo>
                <a:cubicBezTo>
                  <a:pt x="807" y="77"/>
                  <a:pt x="814" y="78"/>
                  <a:pt x="814" y="79"/>
                </a:cubicBezTo>
                <a:cubicBezTo>
                  <a:pt x="813" y="82"/>
                  <a:pt x="813" y="83"/>
                  <a:pt x="810" y="84"/>
                </a:cubicBezTo>
                <a:cubicBezTo>
                  <a:pt x="807" y="85"/>
                  <a:pt x="804" y="84"/>
                  <a:pt x="801" y="84"/>
                </a:cubicBezTo>
                <a:cubicBezTo>
                  <a:pt x="798" y="84"/>
                  <a:pt x="795" y="82"/>
                  <a:pt x="793" y="82"/>
                </a:cubicBezTo>
                <a:cubicBezTo>
                  <a:pt x="790" y="82"/>
                  <a:pt x="787" y="84"/>
                  <a:pt x="784" y="85"/>
                </a:cubicBezTo>
                <a:cubicBezTo>
                  <a:pt x="782" y="85"/>
                  <a:pt x="779" y="85"/>
                  <a:pt x="777" y="87"/>
                </a:cubicBezTo>
                <a:cubicBezTo>
                  <a:pt x="776" y="88"/>
                  <a:pt x="777" y="89"/>
                  <a:pt x="777" y="90"/>
                </a:cubicBezTo>
                <a:cubicBezTo>
                  <a:pt x="778" y="91"/>
                  <a:pt x="778" y="92"/>
                  <a:pt x="779" y="92"/>
                </a:cubicBezTo>
                <a:cubicBezTo>
                  <a:pt x="779" y="93"/>
                  <a:pt x="781" y="93"/>
                  <a:pt x="782" y="93"/>
                </a:cubicBezTo>
                <a:cubicBezTo>
                  <a:pt x="783" y="93"/>
                  <a:pt x="784" y="94"/>
                  <a:pt x="785" y="95"/>
                </a:cubicBezTo>
                <a:cubicBezTo>
                  <a:pt x="787" y="96"/>
                  <a:pt x="788" y="96"/>
                  <a:pt x="790" y="96"/>
                </a:cubicBezTo>
                <a:cubicBezTo>
                  <a:pt x="791" y="96"/>
                  <a:pt x="793" y="97"/>
                  <a:pt x="792" y="99"/>
                </a:cubicBezTo>
                <a:cubicBezTo>
                  <a:pt x="792" y="100"/>
                  <a:pt x="788" y="100"/>
                  <a:pt x="787" y="100"/>
                </a:cubicBezTo>
                <a:cubicBezTo>
                  <a:pt x="784" y="100"/>
                  <a:pt x="781" y="102"/>
                  <a:pt x="778" y="102"/>
                </a:cubicBezTo>
                <a:cubicBezTo>
                  <a:pt x="775" y="102"/>
                  <a:pt x="772" y="102"/>
                  <a:pt x="770" y="103"/>
                </a:cubicBezTo>
                <a:cubicBezTo>
                  <a:pt x="768" y="104"/>
                  <a:pt x="766" y="106"/>
                  <a:pt x="767" y="108"/>
                </a:cubicBezTo>
                <a:cubicBezTo>
                  <a:pt x="767" y="108"/>
                  <a:pt x="768" y="108"/>
                  <a:pt x="769" y="109"/>
                </a:cubicBezTo>
                <a:cubicBezTo>
                  <a:pt x="770" y="110"/>
                  <a:pt x="768" y="110"/>
                  <a:pt x="767" y="111"/>
                </a:cubicBezTo>
                <a:cubicBezTo>
                  <a:pt x="765" y="111"/>
                  <a:pt x="762" y="112"/>
                  <a:pt x="760" y="112"/>
                </a:cubicBezTo>
                <a:cubicBezTo>
                  <a:pt x="758" y="112"/>
                  <a:pt x="756" y="113"/>
                  <a:pt x="758" y="115"/>
                </a:cubicBezTo>
                <a:cubicBezTo>
                  <a:pt x="759" y="116"/>
                  <a:pt x="761" y="116"/>
                  <a:pt x="762" y="116"/>
                </a:cubicBezTo>
                <a:cubicBezTo>
                  <a:pt x="763" y="117"/>
                  <a:pt x="764" y="117"/>
                  <a:pt x="766" y="117"/>
                </a:cubicBezTo>
                <a:cubicBezTo>
                  <a:pt x="767" y="117"/>
                  <a:pt x="768" y="117"/>
                  <a:pt x="770" y="117"/>
                </a:cubicBezTo>
                <a:cubicBezTo>
                  <a:pt x="771" y="116"/>
                  <a:pt x="773" y="116"/>
                  <a:pt x="774" y="115"/>
                </a:cubicBezTo>
                <a:cubicBezTo>
                  <a:pt x="775" y="115"/>
                  <a:pt x="777" y="116"/>
                  <a:pt x="777" y="117"/>
                </a:cubicBezTo>
                <a:cubicBezTo>
                  <a:pt x="777" y="117"/>
                  <a:pt x="775" y="117"/>
                  <a:pt x="775" y="118"/>
                </a:cubicBezTo>
                <a:cubicBezTo>
                  <a:pt x="774" y="118"/>
                  <a:pt x="774" y="119"/>
                  <a:pt x="775" y="119"/>
                </a:cubicBezTo>
                <a:cubicBezTo>
                  <a:pt x="777" y="120"/>
                  <a:pt x="779" y="119"/>
                  <a:pt x="780" y="119"/>
                </a:cubicBezTo>
                <a:cubicBezTo>
                  <a:pt x="783" y="119"/>
                  <a:pt x="785" y="118"/>
                  <a:pt x="787" y="117"/>
                </a:cubicBezTo>
                <a:cubicBezTo>
                  <a:pt x="789" y="116"/>
                  <a:pt x="793" y="117"/>
                  <a:pt x="791" y="120"/>
                </a:cubicBezTo>
                <a:cubicBezTo>
                  <a:pt x="790" y="121"/>
                  <a:pt x="787" y="121"/>
                  <a:pt x="788" y="123"/>
                </a:cubicBezTo>
                <a:cubicBezTo>
                  <a:pt x="788" y="124"/>
                  <a:pt x="789" y="124"/>
                  <a:pt x="790" y="125"/>
                </a:cubicBezTo>
                <a:cubicBezTo>
                  <a:pt x="790" y="126"/>
                  <a:pt x="787" y="126"/>
                  <a:pt x="787" y="126"/>
                </a:cubicBezTo>
                <a:cubicBezTo>
                  <a:pt x="784" y="125"/>
                  <a:pt x="781" y="126"/>
                  <a:pt x="778" y="125"/>
                </a:cubicBezTo>
                <a:cubicBezTo>
                  <a:pt x="775" y="124"/>
                  <a:pt x="772" y="124"/>
                  <a:pt x="769" y="125"/>
                </a:cubicBezTo>
                <a:cubicBezTo>
                  <a:pt x="767" y="125"/>
                  <a:pt x="764" y="127"/>
                  <a:pt x="762" y="126"/>
                </a:cubicBezTo>
                <a:cubicBezTo>
                  <a:pt x="760" y="126"/>
                  <a:pt x="758" y="124"/>
                  <a:pt x="756" y="123"/>
                </a:cubicBezTo>
                <a:cubicBezTo>
                  <a:pt x="754" y="122"/>
                  <a:pt x="753" y="125"/>
                  <a:pt x="754" y="127"/>
                </a:cubicBezTo>
                <a:cubicBezTo>
                  <a:pt x="754" y="128"/>
                  <a:pt x="755" y="129"/>
                  <a:pt x="756" y="130"/>
                </a:cubicBezTo>
                <a:cubicBezTo>
                  <a:pt x="756" y="131"/>
                  <a:pt x="757" y="133"/>
                  <a:pt x="758" y="133"/>
                </a:cubicBezTo>
                <a:cubicBezTo>
                  <a:pt x="760" y="135"/>
                  <a:pt x="762" y="135"/>
                  <a:pt x="764" y="136"/>
                </a:cubicBezTo>
                <a:cubicBezTo>
                  <a:pt x="765" y="137"/>
                  <a:pt x="766" y="138"/>
                  <a:pt x="766" y="139"/>
                </a:cubicBezTo>
                <a:cubicBezTo>
                  <a:pt x="767" y="140"/>
                  <a:pt x="769" y="140"/>
                  <a:pt x="770" y="140"/>
                </a:cubicBezTo>
                <a:cubicBezTo>
                  <a:pt x="776" y="139"/>
                  <a:pt x="781" y="140"/>
                  <a:pt x="786" y="137"/>
                </a:cubicBezTo>
                <a:cubicBezTo>
                  <a:pt x="787" y="136"/>
                  <a:pt x="788" y="136"/>
                  <a:pt x="790" y="136"/>
                </a:cubicBezTo>
                <a:cubicBezTo>
                  <a:pt x="792" y="135"/>
                  <a:pt x="790" y="138"/>
                  <a:pt x="789" y="139"/>
                </a:cubicBezTo>
                <a:cubicBezTo>
                  <a:pt x="787" y="140"/>
                  <a:pt x="785" y="141"/>
                  <a:pt x="783" y="141"/>
                </a:cubicBezTo>
                <a:cubicBezTo>
                  <a:pt x="780" y="141"/>
                  <a:pt x="778" y="143"/>
                  <a:pt x="775" y="144"/>
                </a:cubicBezTo>
                <a:cubicBezTo>
                  <a:pt x="773" y="144"/>
                  <a:pt x="771" y="144"/>
                  <a:pt x="770" y="145"/>
                </a:cubicBezTo>
                <a:cubicBezTo>
                  <a:pt x="768" y="145"/>
                  <a:pt x="770" y="147"/>
                  <a:pt x="770" y="148"/>
                </a:cubicBezTo>
                <a:cubicBezTo>
                  <a:pt x="772" y="150"/>
                  <a:pt x="775" y="148"/>
                  <a:pt x="776" y="149"/>
                </a:cubicBezTo>
                <a:cubicBezTo>
                  <a:pt x="779" y="150"/>
                  <a:pt x="778" y="153"/>
                  <a:pt x="782" y="152"/>
                </a:cubicBezTo>
                <a:cubicBezTo>
                  <a:pt x="784" y="152"/>
                  <a:pt x="787" y="151"/>
                  <a:pt x="789" y="149"/>
                </a:cubicBezTo>
                <a:cubicBezTo>
                  <a:pt x="790" y="148"/>
                  <a:pt x="793" y="147"/>
                  <a:pt x="795" y="149"/>
                </a:cubicBezTo>
                <a:cubicBezTo>
                  <a:pt x="796" y="150"/>
                  <a:pt x="796" y="152"/>
                  <a:pt x="796" y="153"/>
                </a:cubicBezTo>
                <a:cubicBezTo>
                  <a:pt x="797" y="154"/>
                  <a:pt x="797" y="154"/>
                  <a:pt x="798" y="153"/>
                </a:cubicBezTo>
                <a:cubicBezTo>
                  <a:pt x="799" y="153"/>
                  <a:pt x="801" y="153"/>
                  <a:pt x="802" y="153"/>
                </a:cubicBezTo>
                <a:cubicBezTo>
                  <a:pt x="804" y="152"/>
                  <a:pt x="804" y="149"/>
                  <a:pt x="806" y="148"/>
                </a:cubicBezTo>
                <a:cubicBezTo>
                  <a:pt x="807" y="148"/>
                  <a:pt x="811" y="147"/>
                  <a:pt x="810" y="149"/>
                </a:cubicBezTo>
                <a:cubicBezTo>
                  <a:pt x="810" y="151"/>
                  <a:pt x="813" y="149"/>
                  <a:pt x="814" y="148"/>
                </a:cubicBezTo>
                <a:cubicBezTo>
                  <a:pt x="815" y="147"/>
                  <a:pt x="814" y="146"/>
                  <a:pt x="814" y="146"/>
                </a:cubicBezTo>
                <a:cubicBezTo>
                  <a:pt x="815" y="145"/>
                  <a:pt x="816" y="147"/>
                  <a:pt x="817" y="147"/>
                </a:cubicBezTo>
                <a:cubicBezTo>
                  <a:pt x="819" y="149"/>
                  <a:pt x="821" y="147"/>
                  <a:pt x="823" y="147"/>
                </a:cubicBezTo>
                <a:cubicBezTo>
                  <a:pt x="825" y="147"/>
                  <a:pt x="823" y="149"/>
                  <a:pt x="823" y="150"/>
                </a:cubicBezTo>
                <a:cubicBezTo>
                  <a:pt x="823" y="152"/>
                  <a:pt x="828" y="150"/>
                  <a:pt x="829" y="150"/>
                </a:cubicBezTo>
                <a:cubicBezTo>
                  <a:pt x="832" y="150"/>
                  <a:pt x="835" y="151"/>
                  <a:pt x="838" y="150"/>
                </a:cubicBezTo>
                <a:cubicBezTo>
                  <a:pt x="840" y="150"/>
                  <a:pt x="843" y="149"/>
                  <a:pt x="845" y="150"/>
                </a:cubicBezTo>
                <a:cubicBezTo>
                  <a:pt x="846" y="152"/>
                  <a:pt x="839" y="152"/>
                  <a:pt x="839" y="152"/>
                </a:cubicBezTo>
                <a:cubicBezTo>
                  <a:pt x="836" y="152"/>
                  <a:pt x="833" y="152"/>
                  <a:pt x="830" y="153"/>
                </a:cubicBezTo>
                <a:cubicBezTo>
                  <a:pt x="829" y="153"/>
                  <a:pt x="828" y="154"/>
                  <a:pt x="826" y="154"/>
                </a:cubicBezTo>
                <a:cubicBezTo>
                  <a:pt x="825" y="154"/>
                  <a:pt x="824" y="154"/>
                  <a:pt x="823" y="155"/>
                </a:cubicBezTo>
                <a:cubicBezTo>
                  <a:pt x="821" y="156"/>
                  <a:pt x="827" y="156"/>
                  <a:pt x="828" y="156"/>
                </a:cubicBezTo>
                <a:cubicBezTo>
                  <a:pt x="831" y="156"/>
                  <a:pt x="834" y="156"/>
                  <a:pt x="838" y="156"/>
                </a:cubicBezTo>
                <a:cubicBezTo>
                  <a:pt x="838" y="156"/>
                  <a:pt x="845" y="155"/>
                  <a:pt x="845" y="156"/>
                </a:cubicBezTo>
                <a:cubicBezTo>
                  <a:pt x="846" y="157"/>
                  <a:pt x="841" y="158"/>
                  <a:pt x="840" y="158"/>
                </a:cubicBezTo>
                <a:cubicBezTo>
                  <a:pt x="837" y="159"/>
                  <a:pt x="835" y="159"/>
                  <a:pt x="832" y="159"/>
                </a:cubicBezTo>
                <a:cubicBezTo>
                  <a:pt x="829" y="160"/>
                  <a:pt x="826" y="160"/>
                  <a:pt x="823" y="159"/>
                </a:cubicBezTo>
                <a:cubicBezTo>
                  <a:pt x="820" y="159"/>
                  <a:pt x="818" y="158"/>
                  <a:pt x="815" y="158"/>
                </a:cubicBezTo>
                <a:cubicBezTo>
                  <a:pt x="812" y="157"/>
                  <a:pt x="810" y="158"/>
                  <a:pt x="807" y="159"/>
                </a:cubicBezTo>
                <a:cubicBezTo>
                  <a:pt x="805" y="161"/>
                  <a:pt x="802" y="162"/>
                  <a:pt x="800" y="163"/>
                </a:cubicBezTo>
                <a:cubicBezTo>
                  <a:pt x="798" y="163"/>
                  <a:pt x="797" y="164"/>
                  <a:pt x="796" y="164"/>
                </a:cubicBezTo>
                <a:cubicBezTo>
                  <a:pt x="794" y="166"/>
                  <a:pt x="796" y="167"/>
                  <a:pt x="797" y="167"/>
                </a:cubicBezTo>
                <a:cubicBezTo>
                  <a:pt x="799" y="169"/>
                  <a:pt x="801" y="170"/>
                  <a:pt x="803" y="171"/>
                </a:cubicBezTo>
                <a:cubicBezTo>
                  <a:pt x="805" y="171"/>
                  <a:pt x="808" y="170"/>
                  <a:pt x="810" y="172"/>
                </a:cubicBezTo>
                <a:cubicBezTo>
                  <a:pt x="811" y="172"/>
                  <a:pt x="814" y="173"/>
                  <a:pt x="814" y="173"/>
                </a:cubicBezTo>
                <a:cubicBezTo>
                  <a:pt x="813" y="175"/>
                  <a:pt x="808" y="174"/>
                  <a:pt x="807" y="174"/>
                </a:cubicBezTo>
                <a:cubicBezTo>
                  <a:pt x="807" y="174"/>
                  <a:pt x="804" y="174"/>
                  <a:pt x="804" y="175"/>
                </a:cubicBezTo>
                <a:cubicBezTo>
                  <a:pt x="804" y="175"/>
                  <a:pt x="806" y="176"/>
                  <a:pt x="806" y="176"/>
                </a:cubicBezTo>
                <a:cubicBezTo>
                  <a:pt x="807" y="177"/>
                  <a:pt x="809" y="178"/>
                  <a:pt x="810" y="179"/>
                </a:cubicBezTo>
                <a:cubicBezTo>
                  <a:pt x="813" y="180"/>
                  <a:pt x="815" y="179"/>
                  <a:pt x="817" y="178"/>
                </a:cubicBezTo>
                <a:cubicBezTo>
                  <a:pt x="820" y="176"/>
                  <a:pt x="822" y="177"/>
                  <a:pt x="824" y="178"/>
                </a:cubicBezTo>
                <a:cubicBezTo>
                  <a:pt x="825" y="179"/>
                  <a:pt x="826" y="180"/>
                  <a:pt x="827" y="180"/>
                </a:cubicBezTo>
                <a:cubicBezTo>
                  <a:pt x="828" y="181"/>
                  <a:pt x="830" y="181"/>
                  <a:pt x="831" y="181"/>
                </a:cubicBezTo>
                <a:cubicBezTo>
                  <a:pt x="832" y="181"/>
                  <a:pt x="837" y="182"/>
                  <a:pt x="836" y="183"/>
                </a:cubicBezTo>
                <a:cubicBezTo>
                  <a:pt x="835" y="183"/>
                  <a:pt x="834" y="183"/>
                  <a:pt x="833" y="183"/>
                </a:cubicBezTo>
                <a:cubicBezTo>
                  <a:pt x="831" y="183"/>
                  <a:pt x="830" y="183"/>
                  <a:pt x="829" y="183"/>
                </a:cubicBezTo>
                <a:cubicBezTo>
                  <a:pt x="826" y="184"/>
                  <a:pt x="823" y="184"/>
                  <a:pt x="821" y="184"/>
                </a:cubicBezTo>
                <a:cubicBezTo>
                  <a:pt x="820" y="184"/>
                  <a:pt x="818" y="184"/>
                  <a:pt x="817" y="184"/>
                </a:cubicBezTo>
                <a:cubicBezTo>
                  <a:pt x="815" y="185"/>
                  <a:pt x="819" y="187"/>
                  <a:pt x="820" y="187"/>
                </a:cubicBezTo>
                <a:cubicBezTo>
                  <a:pt x="822" y="188"/>
                  <a:pt x="824" y="189"/>
                  <a:pt x="826" y="190"/>
                </a:cubicBezTo>
                <a:cubicBezTo>
                  <a:pt x="828" y="191"/>
                  <a:pt x="830" y="194"/>
                  <a:pt x="833" y="193"/>
                </a:cubicBezTo>
                <a:cubicBezTo>
                  <a:pt x="834" y="193"/>
                  <a:pt x="835" y="193"/>
                  <a:pt x="836" y="193"/>
                </a:cubicBezTo>
                <a:cubicBezTo>
                  <a:pt x="837" y="193"/>
                  <a:pt x="838" y="193"/>
                  <a:pt x="840" y="194"/>
                </a:cubicBezTo>
                <a:cubicBezTo>
                  <a:pt x="843" y="195"/>
                  <a:pt x="846" y="195"/>
                  <a:pt x="849" y="195"/>
                </a:cubicBezTo>
                <a:cubicBezTo>
                  <a:pt x="852" y="195"/>
                  <a:pt x="855" y="195"/>
                  <a:pt x="858" y="195"/>
                </a:cubicBezTo>
                <a:cubicBezTo>
                  <a:pt x="859" y="195"/>
                  <a:pt x="861" y="196"/>
                  <a:pt x="861" y="195"/>
                </a:cubicBezTo>
                <a:cubicBezTo>
                  <a:pt x="862" y="194"/>
                  <a:pt x="861" y="192"/>
                  <a:pt x="861" y="192"/>
                </a:cubicBezTo>
                <a:cubicBezTo>
                  <a:pt x="859" y="191"/>
                  <a:pt x="858" y="191"/>
                  <a:pt x="856" y="190"/>
                </a:cubicBezTo>
                <a:cubicBezTo>
                  <a:pt x="854" y="189"/>
                  <a:pt x="857" y="189"/>
                  <a:pt x="859" y="189"/>
                </a:cubicBezTo>
                <a:cubicBezTo>
                  <a:pt x="861" y="189"/>
                  <a:pt x="863" y="190"/>
                  <a:pt x="865" y="191"/>
                </a:cubicBezTo>
                <a:cubicBezTo>
                  <a:pt x="867" y="193"/>
                  <a:pt x="870" y="193"/>
                  <a:pt x="872" y="195"/>
                </a:cubicBezTo>
                <a:cubicBezTo>
                  <a:pt x="873" y="195"/>
                  <a:pt x="875" y="196"/>
                  <a:pt x="875" y="196"/>
                </a:cubicBezTo>
                <a:cubicBezTo>
                  <a:pt x="876" y="194"/>
                  <a:pt x="872" y="192"/>
                  <a:pt x="872" y="190"/>
                </a:cubicBezTo>
                <a:cubicBezTo>
                  <a:pt x="871" y="189"/>
                  <a:pt x="871" y="188"/>
                  <a:pt x="871" y="187"/>
                </a:cubicBezTo>
                <a:cubicBezTo>
                  <a:pt x="870" y="187"/>
                  <a:pt x="869" y="186"/>
                  <a:pt x="868" y="186"/>
                </a:cubicBezTo>
                <a:cubicBezTo>
                  <a:pt x="867" y="185"/>
                  <a:pt x="866" y="184"/>
                  <a:pt x="866" y="183"/>
                </a:cubicBezTo>
                <a:cubicBezTo>
                  <a:pt x="865" y="182"/>
                  <a:pt x="866" y="181"/>
                  <a:pt x="867" y="181"/>
                </a:cubicBezTo>
                <a:cubicBezTo>
                  <a:pt x="869" y="182"/>
                  <a:pt x="871" y="184"/>
                  <a:pt x="872" y="186"/>
                </a:cubicBezTo>
                <a:cubicBezTo>
                  <a:pt x="874" y="188"/>
                  <a:pt x="876" y="190"/>
                  <a:pt x="878" y="191"/>
                </a:cubicBezTo>
                <a:cubicBezTo>
                  <a:pt x="880" y="192"/>
                  <a:pt x="882" y="194"/>
                  <a:pt x="884" y="195"/>
                </a:cubicBezTo>
                <a:cubicBezTo>
                  <a:pt x="885" y="195"/>
                  <a:pt x="886" y="196"/>
                  <a:pt x="886" y="195"/>
                </a:cubicBezTo>
                <a:cubicBezTo>
                  <a:pt x="887" y="194"/>
                  <a:pt x="887" y="192"/>
                  <a:pt x="888" y="191"/>
                </a:cubicBezTo>
                <a:cubicBezTo>
                  <a:pt x="888" y="188"/>
                  <a:pt x="890" y="188"/>
                  <a:pt x="892" y="187"/>
                </a:cubicBezTo>
                <a:cubicBezTo>
                  <a:pt x="893" y="186"/>
                  <a:pt x="889" y="183"/>
                  <a:pt x="889" y="182"/>
                </a:cubicBezTo>
                <a:cubicBezTo>
                  <a:pt x="888" y="181"/>
                  <a:pt x="889" y="179"/>
                  <a:pt x="890" y="179"/>
                </a:cubicBezTo>
                <a:cubicBezTo>
                  <a:pt x="891" y="179"/>
                  <a:pt x="892" y="180"/>
                  <a:pt x="893" y="181"/>
                </a:cubicBezTo>
                <a:cubicBezTo>
                  <a:pt x="894" y="182"/>
                  <a:pt x="894" y="183"/>
                  <a:pt x="895" y="183"/>
                </a:cubicBezTo>
                <a:cubicBezTo>
                  <a:pt x="896" y="184"/>
                  <a:pt x="898" y="183"/>
                  <a:pt x="899" y="182"/>
                </a:cubicBezTo>
                <a:cubicBezTo>
                  <a:pt x="901" y="182"/>
                  <a:pt x="902" y="180"/>
                  <a:pt x="900" y="178"/>
                </a:cubicBezTo>
                <a:cubicBezTo>
                  <a:pt x="899" y="177"/>
                  <a:pt x="896" y="178"/>
                  <a:pt x="895" y="176"/>
                </a:cubicBezTo>
                <a:cubicBezTo>
                  <a:pt x="895" y="174"/>
                  <a:pt x="898" y="176"/>
                  <a:pt x="898" y="174"/>
                </a:cubicBezTo>
                <a:cubicBezTo>
                  <a:pt x="898" y="174"/>
                  <a:pt x="898" y="173"/>
                  <a:pt x="898" y="172"/>
                </a:cubicBezTo>
                <a:cubicBezTo>
                  <a:pt x="897" y="171"/>
                  <a:pt x="897" y="169"/>
                  <a:pt x="897" y="168"/>
                </a:cubicBezTo>
                <a:cubicBezTo>
                  <a:pt x="898" y="166"/>
                  <a:pt x="898" y="164"/>
                  <a:pt x="901" y="163"/>
                </a:cubicBezTo>
                <a:cubicBezTo>
                  <a:pt x="902" y="163"/>
                  <a:pt x="903" y="163"/>
                  <a:pt x="904" y="163"/>
                </a:cubicBezTo>
                <a:cubicBezTo>
                  <a:pt x="905" y="163"/>
                  <a:pt x="904" y="164"/>
                  <a:pt x="904" y="165"/>
                </a:cubicBezTo>
                <a:cubicBezTo>
                  <a:pt x="902" y="167"/>
                  <a:pt x="904" y="170"/>
                  <a:pt x="905" y="172"/>
                </a:cubicBezTo>
                <a:cubicBezTo>
                  <a:pt x="906" y="174"/>
                  <a:pt x="906" y="175"/>
                  <a:pt x="907" y="176"/>
                </a:cubicBezTo>
                <a:cubicBezTo>
                  <a:pt x="908" y="177"/>
                  <a:pt x="909" y="175"/>
                  <a:pt x="909" y="174"/>
                </a:cubicBezTo>
                <a:cubicBezTo>
                  <a:pt x="910" y="173"/>
                  <a:pt x="911" y="173"/>
                  <a:pt x="913" y="173"/>
                </a:cubicBezTo>
                <a:cubicBezTo>
                  <a:pt x="914" y="172"/>
                  <a:pt x="914" y="171"/>
                  <a:pt x="915" y="171"/>
                </a:cubicBezTo>
                <a:cubicBezTo>
                  <a:pt x="916" y="170"/>
                  <a:pt x="917" y="169"/>
                  <a:pt x="917" y="169"/>
                </a:cubicBezTo>
                <a:cubicBezTo>
                  <a:pt x="917" y="168"/>
                  <a:pt x="917" y="166"/>
                  <a:pt x="917" y="165"/>
                </a:cubicBezTo>
                <a:cubicBezTo>
                  <a:pt x="919" y="162"/>
                  <a:pt x="925" y="169"/>
                  <a:pt x="925" y="164"/>
                </a:cubicBezTo>
                <a:cubicBezTo>
                  <a:pt x="925" y="161"/>
                  <a:pt x="927" y="161"/>
                  <a:pt x="929" y="160"/>
                </a:cubicBezTo>
                <a:cubicBezTo>
                  <a:pt x="932" y="160"/>
                  <a:pt x="935" y="159"/>
                  <a:pt x="938" y="159"/>
                </a:cubicBezTo>
                <a:cubicBezTo>
                  <a:pt x="941" y="159"/>
                  <a:pt x="944" y="158"/>
                  <a:pt x="946" y="157"/>
                </a:cubicBezTo>
                <a:cubicBezTo>
                  <a:pt x="948" y="156"/>
                  <a:pt x="952" y="156"/>
                  <a:pt x="953" y="153"/>
                </a:cubicBezTo>
                <a:cubicBezTo>
                  <a:pt x="953" y="152"/>
                  <a:pt x="950" y="150"/>
                  <a:pt x="949" y="149"/>
                </a:cubicBezTo>
                <a:cubicBezTo>
                  <a:pt x="947" y="147"/>
                  <a:pt x="944" y="147"/>
                  <a:pt x="943" y="145"/>
                </a:cubicBezTo>
                <a:cubicBezTo>
                  <a:pt x="942" y="143"/>
                  <a:pt x="940" y="141"/>
                  <a:pt x="938" y="142"/>
                </a:cubicBezTo>
                <a:cubicBezTo>
                  <a:pt x="937" y="143"/>
                  <a:pt x="937" y="146"/>
                  <a:pt x="935" y="147"/>
                </a:cubicBezTo>
                <a:cubicBezTo>
                  <a:pt x="933" y="147"/>
                  <a:pt x="933" y="144"/>
                  <a:pt x="933" y="143"/>
                </a:cubicBezTo>
                <a:cubicBezTo>
                  <a:pt x="932" y="141"/>
                  <a:pt x="929" y="140"/>
                  <a:pt x="927" y="140"/>
                </a:cubicBezTo>
                <a:cubicBezTo>
                  <a:pt x="926" y="140"/>
                  <a:pt x="925" y="140"/>
                  <a:pt x="924" y="141"/>
                </a:cubicBezTo>
                <a:cubicBezTo>
                  <a:pt x="922" y="141"/>
                  <a:pt x="922" y="142"/>
                  <a:pt x="922" y="143"/>
                </a:cubicBezTo>
                <a:cubicBezTo>
                  <a:pt x="921" y="144"/>
                  <a:pt x="917" y="141"/>
                  <a:pt x="915" y="142"/>
                </a:cubicBezTo>
                <a:cubicBezTo>
                  <a:pt x="914" y="143"/>
                  <a:pt x="912" y="146"/>
                  <a:pt x="911" y="144"/>
                </a:cubicBezTo>
                <a:cubicBezTo>
                  <a:pt x="909" y="142"/>
                  <a:pt x="912" y="141"/>
                  <a:pt x="914" y="140"/>
                </a:cubicBezTo>
                <a:cubicBezTo>
                  <a:pt x="916" y="138"/>
                  <a:pt x="915" y="136"/>
                  <a:pt x="917" y="134"/>
                </a:cubicBezTo>
                <a:cubicBezTo>
                  <a:pt x="919" y="133"/>
                  <a:pt x="918" y="132"/>
                  <a:pt x="916" y="131"/>
                </a:cubicBezTo>
                <a:cubicBezTo>
                  <a:pt x="914" y="131"/>
                  <a:pt x="912" y="133"/>
                  <a:pt x="910" y="132"/>
                </a:cubicBezTo>
                <a:cubicBezTo>
                  <a:pt x="909" y="132"/>
                  <a:pt x="910" y="131"/>
                  <a:pt x="910" y="130"/>
                </a:cubicBezTo>
                <a:cubicBezTo>
                  <a:pt x="911" y="129"/>
                  <a:pt x="912" y="129"/>
                  <a:pt x="913" y="129"/>
                </a:cubicBezTo>
                <a:cubicBezTo>
                  <a:pt x="915" y="128"/>
                  <a:pt x="917" y="126"/>
                  <a:pt x="915" y="124"/>
                </a:cubicBezTo>
                <a:cubicBezTo>
                  <a:pt x="914" y="122"/>
                  <a:pt x="911" y="122"/>
                  <a:pt x="909" y="123"/>
                </a:cubicBezTo>
                <a:cubicBezTo>
                  <a:pt x="906" y="123"/>
                  <a:pt x="904" y="124"/>
                  <a:pt x="902" y="124"/>
                </a:cubicBezTo>
                <a:cubicBezTo>
                  <a:pt x="900" y="124"/>
                  <a:pt x="899" y="121"/>
                  <a:pt x="900" y="120"/>
                </a:cubicBezTo>
                <a:cubicBezTo>
                  <a:pt x="901" y="118"/>
                  <a:pt x="904" y="119"/>
                  <a:pt x="906" y="118"/>
                </a:cubicBezTo>
                <a:cubicBezTo>
                  <a:pt x="908" y="117"/>
                  <a:pt x="908" y="113"/>
                  <a:pt x="907" y="111"/>
                </a:cubicBezTo>
                <a:cubicBezTo>
                  <a:pt x="905" y="109"/>
                  <a:pt x="902" y="110"/>
                  <a:pt x="900" y="110"/>
                </a:cubicBezTo>
                <a:cubicBezTo>
                  <a:pt x="897" y="110"/>
                  <a:pt x="895" y="109"/>
                  <a:pt x="892" y="109"/>
                </a:cubicBezTo>
                <a:cubicBezTo>
                  <a:pt x="887" y="110"/>
                  <a:pt x="892" y="116"/>
                  <a:pt x="894" y="118"/>
                </a:cubicBezTo>
                <a:cubicBezTo>
                  <a:pt x="894" y="118"/>
                  <a:pt x="898" y="121"/>
                  <a:pt x="895" y="121"/>
                </a:cubicBezTo>
                <a:cubicBezTo>
                  <a:pt x="895" y="121"/>
                  <a:pt x="894" y="121"/>
                  <a:pt x="893" y="121"/>
                </a:cubicBezTo>
                <a:cubicBezTo>
                  <a:pt x="892" y="120"/>
                  <a:pt x="892" y="121"/>
                  <a:pt x="891" y="122"/>
                </a:cubicBezTo>
                <a:cubicBezTo>
                  <a:pt x="889" y="123"/>
                  <a:pt x="888" y="121"/>
                  <a:pt x="886" y="120"/>
                </a:cubicBezTo>
                <a:cubicBezTo>
                  <a:pt x="885" y="120"/>
                  <a:pt x="883" y="119"/>
                  <a:pt x="882" y="119"/>
                </a:cubicBezTo>
                <a:cubicBezTo>
                  <a:pt x="881" y="118"/>
                  <a:pt x="879" y="117"/>
                  <a:pt x="879" y="116"/>
                </a:cubicBezTo>
                <a:cubicBezTo>
                  <a:pt x="879" y="115"/>
                  <a:pt x="879" y="115"/>
                  <a:pt x="880" y="114"/>
                </a:cubicBezTo>
                <a:cubicBezTo>
                  <a:pt x="881" y="113"/>
                  <a:pt x="881" y="113"/>
                  <a:pt x="881" y="111"/>
                </a:cubicBezTo>
                <a:cubicBezTo>
                  <a:pt x="882" y="110"/>
                  <a:pt x="882" y="108"/>
                  <a:pt x="880" y="107"/>
                </a:cubicBezTo>
                <a:cubicBezTo>
                  <a:pt x="878" y="106"/>
                  <a:pt x="876" y="105"/>
                  <a:pt x="874" y="106"/>
                </a:cubicBezTo>
                <a:cubicBezTo>
                  <a:pt x="872" y="107"/>
                  <a:pt x="872" y="108"/>
                  <a:pt x="870" y="108"/>
                </a:cubicBezTo>
                <a:cubicBezTo>
                  <a:pt x="868" y="107"/>
                  <a:pt x="866" y="105"/>
                  <a:pt x="863" y="105"/>
                </a:cubicBezTo>
                <a:cubicBezTo>
                  <a:pt x="861" y="104"/>
                  <a:pt x="859" y="104"/>
                  <a:pt x="856" y="104"/>
                </a:cubicBezTo>
                <a:cubicBezTo>
                  <a:pt x="854" y="104"/>
                  <a:pt x="853" y="103"/>
                  <a:pt x="852" y="101"/>
                </a:cubicBezTo>
                <a:cubicBezTo>
                  <a:pt x="849" y="97"/>
                  <a:pt x="846" y="94"/>
                  <a:pt x="843" y="90"/>
                </a:cubicBezTo>
                <a:cubicBezTo>
                  <a:pt x="844" y="91"/>
                  <a:pt x="844" y="91"/>
                  <a:pt x="844" y="92"/>
                </a:cubicBezTo>
                <a:cubicBezTo>
                  <a:pt x="843" y="89"/>
                  <a:pt x="844" y="92"/>
                  <a:pt x="844" y="92"/>
                </a:cubicBezTo>
                <a:close/>
                <a:moveTo>
                  <a:pt x="860" y="215"/>
                </a:moveTo>
                <a:cubicBezTo>
                  <a:pt x="862" y="217"/>
                  <a:pt x="865" y="219"/>
                  <a:pt x="868" y="219"/>
                </a:cubicBezTo>
                <a:cubicBezTo>
                  <a:pt x="869" y="220"/>
                  <a:pt x="870" y="220"/>
                  <a:pt x="871" y="221"/>
                </a:cubicBezTo>
                <a:cubicBezTo>
                  <a:pt x="871" y="222"/>
                  <a:pt x="871" y="224"/>
                  <a:pt x="871" y="225"/>
                </a:cubicBezTo>
                <a:cubicBezTo>
                  <a:pt x="871" y="227"/>
                  <a:pt x="866" y="228"/>
                  <a:pt x="864" y="228"/>
                </a:cubicBezTo>
                <a:cubicBezTo>
                  <a:pt x="863" y="229"/>
                  <a:pt x="862" y="229"/>
                  <a:pt x="860" y="229"/>
                </a:cubicBezTo>
                <a:cubicBezTo>
                  <a:pt x="859" y="228"/>
                  <a:pt x="857" y="228"/>
                  <a:pt x="855" y="227"/>
                </a:cubicBezTo>
                <a:cubicBezTo>
                  <a:pt x="853" y="226"/>
                  <a:pt x="849" y="226"/>
                  <a:pt x="847" y="224"/>
                </a:cubicBezTo>
                <a:cubicBezTo>
                  <a:pt x="846" y="223"/>
                  <a:pt x="845" y="219"/>
                  <a:pt x="847" y="217"/>
                </a:cubicBezTo>
                <a:cubicBezTo>
                  <a:pt x="848" y="216"/>
                  <a:pt x="849" y="216"/>
                  <a:pt x="850" y="215"/>
                </a:cubicBezTo>
                <a:cubicBezTo>
                  <a:pt x="852" y="215"/>
                  <a:pt x="853" y="215"/>
                  <a:pt x="855" y="215"/>
                </a:cubicBezTo>
                <a:cubicBezTo>
                  <a:pt x="856" y="215"/>
                  <a:pt x="858" y="214"/>
                  <a:pt x="859" y="215"/>
                </a:cubicBezTo>
                <a:cubicBezTo>
                  <a:pt x="860" y="215"/>
                  <a:pt x="861" y="216"/>
                  <a:pt x="861" y="216"/>
                </a:cubicBezTo>
                <a:cubicBezTo>
                  <a:pt x="861" y="216"/>
                  <a:pt x="860" y="216"/>
                  <a:pt x="860" y="215"/>
                </a:cubicBezTo>
                <a:cubicBezTo>
                  <a:pt x="863" y="217"/>
                  <a:pt x="860" y="215"/>
                  <a:pt x="860" y="215"/>
                </a:cubicBezTo>
                <a:close/>
                <a:moveTo>
                  <a:pt x="859" y="248"/>
                </a:moveTo>
                <a:cubicBezTo>
                  <a:pt x="861" y="250"/>
                  <a:pt x="863" y="252"/>
                  <a:pt x="864" y="254"/>
                </a:cubicBezTo>
                <a:cubicBezTo>
                  <a:pt x="866" y="255"/>
                  <a:pt x="867" y="256"/>
                  <a:pt x="869" y="256"/>
                </a:cubicBezTo>
                <a:cubicBezTo>
                  <a:pt x="870" y="256"/>
                  <a:pt x="873" y="255"/>
                  <a:pt x="871" y="254"/>
                </a:cubicBezTo>
                <a:cubicBezTo>
                  <a:pt x="870" y="253"/>
                  <a:pt x="869" y="253"/>
                  <a:pt x="869" y="252"/>
                </a:cubicBezTo>
                <a:cubicBezTo>
                  <a:pt x="870" y="251"/>
                  <a:pt x="871" y="251"/>
                  <a:pt x="871" y="249"/>
                </a:cubicBezTo>
                <a:cubicBezTo>
                  <a:pt x="871" y="245"/>
                  <a:pt x="865" y="244"/>
                  <a:pt x="862" y="244"/>
                </a:cubicBezTo>
                <a:cubicBezTo>
                  <a:pt x="861" y="244"/>
                  <a:pt x="859" y="245"/>
                  <a:pt x="858" y="246"/>
                </a:cubicBezTo>
                <a:cubicBezTo>
                  <a:pt x="857" y="247"/>
                  <a:pt x="859" y="248"/>
                  <a:pt x="860" y="249"/>
                </a:cubicBezTo>
                <a:cubicBezTo>
                  <a:pt x="860" y="249"/>
                  <a:pt x="859" y="248"/>
                  <a:pt x="859" y="248"/>
                </a:cubicBezTo>
                <a:cubicBezTo>
                  <a:pt x="860" y="249"/>
                  <a:pt x="859" y="248"/>
                  <a:pt x="859" y="248"/>
                </a:cubicBezTo>
                <a:close/>
                <a:moveTo>
                  <a:pt x="790" y="210"/>
                </a:moveTo>
                <a:cubicBezTo>
                  <a:pt x="787" y="209"/>
                  <a:pt x="785" y="210"/>
                  <a:pt x="782" y="210"/>
                </a:cubicBezTo>
                <a:cubicBezTo>
                  <a:pt x="780" y="211"/>
                  <a:pt x="777" y="211"/>
                  <a:pt x="774" y="210"/>
                </a:cubicBezTo>
                <a:cubicBezTo>
                  <a:pt x="772" y="210"/>
                  <a:pt x="770" y="210"/>
                  <a:pt x="768" y="211"/>
                </a:cubicBezTo>
                <a:cubicBezTo>
                  <a:pt x="765" y="212"/>
                  <a:pt x="762" y="212"/>
                  <a:pt x="761" y="214"/>
                </a:cubicBezTo>
                <a:cubicBezTo>
                  <a:pt x="759" y="215"/>
                  <a:pt x="761" y="218"/>
                  <a:pt x="762" y="219"/>
                </a:cubicBezTo>
                <a:cubicBezTo>
                  <a:pt x="764" y="220"/>
                  <a:pt x="766" y="221"/>
                  <a:pt x="769" y="221"/>
                </a:cubicBezTo>
                <a:cubicBezTo>
                  <a:pt x="772" y="221"/>
                  <a:pt x="774" y="221"/>
                  <a:pt x="777" y="221"/>
                </a:cubicBezTo>
                <a:cubicBezTo>
                  <a:pt x="780" y="221"/>
                  <a:pt x="783" y="221"/>
                  <a:pt x="786" y="221"/>
                </a:cubicBezTo>
                <a:cubicBezTo>
                  <a:pt x="789" y="221"/>
                  <a:pt x="792" y="221"/>
                  <a:pt x="795" y="221"/>
                </a:cubicBezTo>
                <a:cubicBezTo>
                  <a:pt x="797" y="221"/>
                  <a:pt x="800" y="222"/>
                  <a:pt x="803" y="221"/>
                </a:cubicBezTo>
                <a:cubicBezTo>
                  <a:pt x="805" y="221"/>
                  <a:pt x="806" y="219"/>
                  <a:pt x="807" y="217"/>
                </a:cubicBezTo>
                <a:cubicBezTo>
                  <a:pt x="809" y="216"/>
                  <a:pt x="811" y="215"/>
                  <a:pt x="812" y="213"/>
                </a:cubicBezTo>
                <a:cubicBezTo>
                  <a:pt x="812" y="212"/>
                  <a:pt x="809" y="212"/>
                  <a:pt x="808" y="211"/>
                </a:cubicBezTo>
                <a:cubicBezTo>
                  <a:pt x="805" y="210"/>
                  <a:pt x="803" y="210"/>
                  <a:pt x="801" y="211"/>
                </a:cubicBezTo>
                <a:cubicBezTo>
                  <a:pt x="798" y="212"/>
                  <a:pt x="797" y="212"/>
                  <a:pt x="794" y="211"/>
                </a:cubicBezTo>
                <a:cubicBezTo>
                  <a:pt x="792" y="211"/>
                  <a:pt x="790" y="210"/>
                  <a:pt x="789" y="209"/>
                </a:cubicBezTo>
                <a:cubicBezTo>
                  <a:pt x="789" y="210"/>
                  <a:pt x="789" y="210"/>
                  <a:pt x="790" y="210"/>
                </a:cubicBezTo>
                <a:cubicBezTo>
                  <a:pt x="786" y="209"/>
                  <a:pt x="790" y="210"/>
                  <a:pt x="790" y="210"/>
                </a:cubicBezTo>
                <a:close/>
                <a:moveTo>
                  <a:pt x="743" y="174"/>
                </a:moveTo>
                <a:cubicBezTo>
                  <a:pt x="746" y="174"/>
                  <a:pt x="749" y="173"/>
                  <a:pt x="751" y="174"/>
                </a:cubicBezTo>
                <a:cubicBezTo>
                  <a:pt x="753" y="174"/>
                  <a:pt x="754" y="174"/>
                  <a:pt x="755" y="175"/>
                </a:cubicBezTo>
                <a:cubicBezTo>
                  <a:pt x="756" y="176"/>
                  <a:pt x="758" y="176"/>
                  <a:pt x="759" y="177"/>
                </a:cubicBezTo>
                <a:cubicBezTo>
                  <a:pt x="761" y="177"/>
                  <a:pt x="762" y="179"/>
                  <a:pt x="762" y="181"/>
                </a:cubicBezTo>
                <a:cubicBezTo>
                  <a:pt x="763" y="183"/>
                  <a:pt x="765" y="184"/>
                  <a:pt x="767" y="183"/>
                </a:cubicBezTo>
                <a:cubicBezTo>
                  <a:pt x="770" y="183"/>
                  <a:pt x="773" y="183"/>
                  <a:pt x="775" y="185"/>
                </a:cubicBezTo>
                <a:cubicBezTo>
                  <a:pt x="776" y="185"/>
                  <a:pt x="778" y="186"/>
                  <a:pt x="779" y="186"/>
                </a:cubicBezTo>
                <a:cubicBezTo>
                  <a:pt x="780" y="186"/>
                  <a:pt x="782" y="186"/>
                  <a:pt x="783" y="187"/>
                </a:cubicBezTo>
                <a:cubicBezTo>
                  <a:pt x="784" y="188"/>
                  <a:pt x="782" y="190"/>
                  <a:pt x="782" y="191"/>
                </a:cubicBezTo>
                <a:cubicBezTo>
                  <a:pt x="781" y="192"/>
                  <a:pt x="781" y="192"/>
                  <a:pt x="780" y="193"/>
                </a:cubicBezTo>
                <a:cubicBezTo>
                  <a:pt x="780" y="194"/>
                  <a:pt x="781" y="195"/>
                  <a:pt x="782" y="196"/>
                </a:cubicBezTo>
                <a:cubicBezTo>
                  <a:pt x="783" y="198"/>
                  <a:pt x="783" y="200"/>
                  <a:pt x="782" y="202"/>
                </a:cubicBezTo>
                <a:cubicBezTo>
                  <a:pt x="781" y="203"/>
                  <a:pt x="776" y="203"/>
                  <a:pt x="774" y="203"/>
                </a:cubicBezTo>
                <a:cubicBezTo>
                  <a:pt x="771" y="203"/>
                  <a:pt x="769" y="204"/>
                  <a:pt x="766" y="204"/>
                </a:cubicBezTo>
                <a:cubicBezTo>
                  <a:pt x="763" y="205"/>
                  <a:pt x="760" y="206"/>
                  <a:pt x="757" y="207"/>
                </a:cubicBezTo>
                <a:cubicBezTo>
                  <a:pt x="754" y="207"/>
                  <a:pt x="752" y="209"/>
                  <a:pt x="749" y="209"/>
                </a:cubicBezTo>
                <a:cubicBezTo>
                  <a:pt x="746" y="210"/>
                  <a:pt x="746" y="207"/>
                  <a:pt x="746" y="205"/>
                </a:cubicBezTo>
                <a:cubicBezTo>
                  <a:pt x="745" y="203"/>
                  <a:pt x="741" y="203"/>
                  <a:pt x="739" y="203"/>
                </a:cubicBezTo>
                <a:cubicBezTo>
                  <a:pt x="738" y="202"/>
                  <a:pt x="735" y="199"/>
                  <a:pt x="738" y="198"/>
                </a:cubicBezTo>
                <a:cubicBezTo>
                  <a:pt x="740" y="198"/>
                  <a:pt x="742" y="198"/>
                  <a:pt x="744" y="198"/>
                </a:cubicBezTo>
                <a:cubicBezTo>
                  <a:pt x="746" y="198"/>
                  <a:pt x="748" y="199"/>
                  <a:pt x="750" y="198"/>
                </a:cubicBezTo>
                <a:cubicBezTo>
                  <a:pt x="751" y="198"/>
                  <a:pt x="749" y="196"/>
                  <a:pt x="748" y="195"/>
                </a:cubicBezTo>
                <a:cubicBezTo>
                  <a:pt x="747" y="194"/>
                  <a:pt x="744" y="194"/>
                  <a:pt x="742" y="194"/>
                </a:cubicBezTo>
                <a:cubicBezTo>
                  <a:pt x="740" y="194"/>
                  <a:pt x="737" y="194"/>
                  <a:pt x="735" y="194"/>
                </a:cubicBezTo>
                <a:cubicBezTo>
                  <a:pt x="734" y="193"/>
                  <a:pt x="731" y="193"/>
                  <a:pt x="730" y="192"/>
                </a:cubicBezTo>
                <a:cubicBezTo>
                  <a:pt x="729" y="190"/>
                  <a:pt x="729" y="189"/>
                  <a:pt x="728" y="187"/>
                </a:cubicBezTo>
                <a:cubicBezTo>
                  <a:pt x="727" y="186"/>
                  <a:pt x="724" y="186"/>
                  <a:pt x="724" y="184"/>
                </a:cubicBezTo>
                <a:cubicBezTo>
                  <a:pt x="724" y="182"/>
                  <a:pt x="727" y="183"/>
                  <a:pt x="728" y="182"/>
                </a:cubicBezTo>
                <a:cubicBezTo>
                  <a:pt x="731" y="182"/>
                  <a:pt x="730" y="180"/>
                  <a:pt x="728" y="179"/>
                </a:cubicBezTo>
                <a:cubicBezTo>
                  <a:pt x="726" y="178"/>
                  <a:pt x="725" y="177"/>
                  <a:pt x="725" y="176"/>
                </a:cubicBezTo>
                <a:cubicBezTo>
                  <a:pt x="725" y="174"/>
                  <a:pt x="725" y="173"/>
                  <a:pt x="727" y="172"/>
                </a:cubicBezTo>
                <a:cubicBezTo>
                  <a:pt x="728" y="172"/>
                  <a:pt x="730" y="172"/>
                  <a:pt x="731" y="172"/>
                </a:cubicBezTo>
                <a:cubicBezTo>
                  <a:pt x="733" y="172"/>
                  <a:pt x="735" y="172"/>
                  <a:pt x="737" y="172"/>
                </a:cubicBezTo>
                <a:cubicBezTo>
                  <a:pt x="739" y="173"/>
                  <a:pt x="740" y="174"/>
                  <a:pt x="742" y="174"/>
                </a:cubicBezTo>
                <a:cubicBezTo>
                  <a:pt x="744" y="174"/>
                  <a:pt x="745" y="174"/>
                  <a:pt x="746" y="174"/>
                </a:cubicBezTo>
                <a:cubicBezTo>
                  <a:pt x="745" y="174"/>
                  <a:pt x="744" y="174"/>
                  <a:pt x="743" y="174"/>
                </a:cubicBezTo>
                <a:cubicBezTo>
                  <a:pt x="746" y="174"/>
                  <a:pt x="743" y="174"/>
                  <a:pt x="743" y="174"/>
                </a:cubicBezTo>
                <a:close/>
                <a:moveTo>
                  <a:pt x="685" y="172"/>
                </a:moveTo>
                <a:cubicBezTo>
                  <a:pt x="684" y="172"/>
                  <a:pt x="682" y="173"/>
                  <a:pt x="681" y="173"/>
                </a:cubicBezTo>
                <a:cubicBezTo>
                  <a:pt x="680" y="172"/>
                  <a:pt x="679" y="171"/>
                  <a:pt x="678" y="171"/>
                </a:cubicBezTo>
                <a:cubicBezTo>
                  <a:pt x="677" y="171"/>
                  <a:pt x="676" y="171"/>
                  <a:pt x="676" y="170"/>
                </a:cubicBezTo>
                <a:cubicBezTo>
                  <a:pt x="677" y="169"/>
                  <a:pt x="677" y="167"/>
                  <a:pt x="677" y="166"/>
                </a:cubicBezTo>
                <a:cubicBezTo>
                  <a:pt x="676" y="163"/>
                  <a:pt x="673" y="163"/>
                  <a:pt x="671" y="162"/>
                </a:cubicBezTo>
                <a:cubicBezTo>
                  <a:pt x="668" y="162"/>
                  <a:pt x="665" y="160"/>
                  <a:pt x="663" y="162"/>
                </a:cubicBezTo>
                <a:cubicBezTo>
                  <a:pt x="661" y="163"/>
                  <a:pt x="657" y="163"/>
                  <a:pt x="656" y="165"/>
                </a:cubicBezTo>
                <a:cubicBezTo>
                  <a:pt x="656" y="166"/>
                  <a:pt x="656" y="167"/>
                  <a:pt x="655" y="168"/>
                </a:cubicBezTo>
                <a:cubicBezTo>
                  <a:pt x="655" y="168"/>
                  <a:pt x="653" y="168"/>
                  <a:pt x="652" y="167"/>
                </a:cubicBezTo>
                <a:cubicBezTo>
                  <a:pt x="651" y="167"/>
                  <a:pt x="650" y="166"/>
                  <a:pt x="649" y="166"/>
                </a:cubicBezTo>
                <a:cubicBezTo>
                  <a:pt x="649" y="165"/>
                  <a:pt x="650" y="164"/>
                  <a:pt x="650" y="163"/>
                </a:cubicBezTo>
                <a:cubicBezTo>
                  <a:pt x="650" y="161"/>
                  <a:pt x="647" y="159"/>
                  <a:pt x="646" y="157"/>
                </a:cubicBezTo>
                <a:cubicBezTo>
                  <a:pt x="643" y="152"/>
                  <a:pt x="636" y="151"/>
                  <a:pt x="631" y="151"/>
                </a:cubicBezTo>
                <a:cubicBezTo>
                  <a:pt x="628" y="151"/>
                  <a:pt x="625" y="151"/>
                  <a:pt x="622" y="151"/>
                </a:cubicBezTo>
                <a:cubicBezTo>
                  <a:pt x="619" y="152"/>
                  <a:pt x="616" y="152"/>
                  <a:pt x="612" y="152"/>
                </a:cubicBezTo>
                <a:cubicBezTo>
                  <a:pt x="611" y="152"/>
                  <a:pt x="610" y="152"/>
                  <a:pt x="608" y="152"/>
                </a:cubicBezTo>
                <a:cubicBezTo>
                  <a:pt x="607" y="152"/>
                  <a:pt x="606" y="153"/>
                  <a:pt x="605" y="154"/>
                </a:cubicBezTo>
                <a:cubicBezTo>
                  <a:pt x="605" y="155"/>
                  <a:pt x="604" y="155"/>
                  <a:pt x="603" y="156"/>
                </a:cubicBezTo>
                <a:cubicBezTo>
                  <a:pt x="602" y="157"/>
                  <a:pt x="601" y="158"/>
                  <a:pt x="601" y="159"/>
                </a:cubicBezTo>
                <a:cubicBezTo>
                  <a:pt x="601" y="161"/>
                  <a:pt x="602" y="163"/>
                  <a:pt x="604" y="164"/>
                </a:cubicBezTo>
                <a:cubicBezTo>
                  <a:pt x="605" y="164"/>
                  <a:pt x="607" y="164"/>
                  <a:pt x="608" y="164"/>
                </a:cubicBezTo>
                <a:cubicBezTo>
                  <a:pt x="610" y="164"/>
                  <a:pt x="612" y="164"/>
                  <a:pt x="614" y="164"/>
                </a:cubicBezTo>
                <a:cubicBezTo>
                  <a:pt x="616" y="164"/>
                  <a:pt x="618" y="165"/>
                  <a:pt x="615" y="167"/>
                </a:cubicBezTo>
                <a:cubicBezTo>
                  <a:pt x="615" y="167"/>
                  <a:pt x="614" y="168"/>
                  <a:pt x="613" y="169"/>
                </a:cubicBezTo>
                <a:cubicBezTo>
                  <a:pt x="613" y="170"/>
                  <a:pt x="613" y="171"/>
                  <a:pt x="614" y="171"/>
                </a:cubicBezTo>
                <a:cubicBezTo>
                  <a:pt x="617" y="170"/>
                  <a:pt x="619" y="168"/>
                  <a:pt x="621" y="167"/>
                </a:cubicBezTo>
                <a:cubicBezTo>
                  <a:pt x="624" y="165"/>
                  <a:pt x="625" y="165"/>
                  <a:pt x="628" y="166"/>
                </a:cubicBezTo>
                <a:cubicBezTo>
                  <a:pt x="630" y="167"/>
                  <a:pt x="631" y="168"/>
                  <a:pt x="629" y="169"/>
                </a:cubicBezTo>
                <a:cubicBezTo>
                  <a:pt x="629" y="170"/>
                  <a:pt x="626" y="172"/>
                  <a:pt x="627" y="173"/>
                </a:cubicBezTo>
                <a:cubicBezTo>
                  <a:pt x="629" y="175"/>
                  <a:pt x="632" y="174"/>
                  <a:pt x="633" y="174"/>
                </a:cubicBezTo>
                <a:cubicBezTo>
                  <a:pt x="634" y="174"/>
                  <a:pt x="636" y="174"/>
                  <a:pt x="637" y="174"/>
                </a:cubicBezTo>
                <a:cubicBezTo>
                  <a:pt x="638" y="174"/>
                  <a:pt x="640" y="174"/>
                  <a:pt x="639" y="175"/>
                </a:cubicBezTo>
                <a:cubicBezTo>
                  <a:pt x="638" y="176"/>
                  <a:pt x="638" y="177"/>
                  <a:pt x="637" y="177"/>
                </a:cubicBezTo>
                <a:cubicBezTo>
                  <a:pt x="636" y="177"/>
                  <a:pt x="635" y="177"/>
                  <a:pt x="634" y="178"/>
                </a:cubicBezTo>
                <a:cubicBezTo>
                  <a:pt x="632" y="179"/>
                  <a:pt x="635" y="179"/>
                  <a:pt x="636" y="179"/>
                </a:cubicBezTo>
                <a:cubicBezTo>
                  <a:pt x="636" y="180"/>
                  <a:pt x="639" y="180"/>
                  <a:pt x="639" y="180"/>
                </a:cubicBezTo>
                <a:cubicBezTo>
                  <a:pt x="639" y="181"/>
                  <a:pt x="637" y="182"/>
                  <a:pt x="637" y="182"/>
                </a:cubicBezTo>
                <a:cubicBezTo>
                  <a:pt x="636" y="183"/>
                  <a:pt x="635" y="183"/>
                  <a:pt x="634" y="183"/>
                </a:cubicBezTo>
                <a:cubicBezTo>
                  <a:pt x="631" y="183"/>
                  <a:pt x="628" y="182"/>
                  <a:pt x="626" y="182"/>
                </a:cubicBezTo>
                <a:cubicBezTo>
                  <a:pt x="622" y="182"/>
                  <a:pt x="619" y="182"/>
                  <a:pt x="616" y="182"/>
                </a:cubicBezTo>
                <a:cubicBezTo>
                  <a:pt x="615" y="182"/>
                  <a:pt x="611" y="182"/>
                  <a:pt x="611" y="183"/>
                </a:cubicBezTo>
                <a:cubicBezTo>
                  <a:pt x="610" y="186"/>
                  <a:pt x="614" y="187"/>
                  <a:pt x="615" y="188"/>
                </a:cubicBezTo>
                <a:cubicBezTo>
                  <a:pt x="617" y="189"/>
                  <a:pt x="619" y="191"/>
                  <a:pt x="621" y="192"/>
                </a:cubicBezTo>
                <a:cubicBezTo>
                  <a:pt x="623" y="193"/>
                  <a:pt x="627" y="194"/>
                  <a:pt x="629" y="193"/>
                </a:cubicBezTo>
                <a:cubicBezTo>
                  <a:pt x="631" y="192"/>
                  <a:pt x="632" y="189"/>
                  <a:pt x="634" y="189"/>
                </a:cubicBezTo>
                <a:cubicBezTo>
                  <a:pt x="636" y="189"/>
                  <a:pt x="637" y="189"/>
                  <a:pt x="639" y="189"/>
                </a:cubicBezTo>
                <a:cubicBezTo>
                  <a:pt x="640" y="189"/>
                  <a:pt x="641" y="189"/>
                  <a:pt x="643" y="188"/>
                </a:cubicBezTo>
                <a:cubicBezTo>
                  <a:pt x="644" y="187"/>
                  <a:pt x="647" y="187"/>
                  <a:pt x="649" y="188"/>
                </a:cubicBezTo>
                <a:cubicBezTo>
                  <a:pt x="651" y="189"/>
                  <a:pt x="650" y="191"/>
                  <a:pt x="651" y="193"/>
                </a:cubicBezTo>
                <a:cubicBezTo>
                  <a:pt x="652" y="194"/>
                  <a:pt x="655" y="192"/>
                  <a:pt x="657" y="192"/>
                </a:cubicBezTo>
                <a:cubicBezTo>
                  <a:pt x="659" y="191"/>
                  <a:pt x="662" y="190"/>
                  <a:pt x="665" y="192"/>
                </a:cubicBezTo>
                <a:cubicBezTo>
                  <a:pt x="669" y="195"/>
                  <a:pt x="676" y="191"/>
                  <a:pt x="679" y="196"/>
                </a:cubicBezTo>
                <a:cubicBezTo>
                  <a:pt x="681" y="199"/>
                  <a:pt x="682" y="201"/>
                  <a:pt x="684" y="203"/>
                </a:cubicBezTo>
                <a:cubicBezTo>
                  <a:pt x="685" y="205"/>
                  <a:pt x="686" y="208"/>
                  <a:pt x="689" y="208"/>
                </a:cubicBezTo>
                <a:cubicBezTo>
                  <a:pt x="690" y="207"/>
                  <a:pt x="691" y="207"/>
                  <a:pt x="692" y="207"/>
                </a:cubicBezTo>
                <a:cubicBezTo>
                  <a:pt x="694" y="208"/>
                  <a:pt x="695" y="208"/>
                  <a:pt x="696" y="209"/>
                </a:cubicBezTo>
                <a:cubicBezTo>
                  <a:pt x="699" y="210"/>
                  <a:pt x="701" y="209"/>
                  <a:pt x="704" y="207"/>
                </a:cubicBezTo>
                <a:cubicBezTo>
                  <a:pt x="706" y="206"/>
                  <a:pt x="709" y="207"/>
                  <a:pt x="711" y="206"/>
                </a:cubicBezTo>
                <a:cubicBezTo>
                  <a:pt x="713" y="205"/>
                  <a:pt x="714" y="202"/>
                  <a:pt x="713" y="199"/>
                </a:cubicBezTo>
                <a:cubicBezTo>
                  <a:pt x="712" y="198"/>
                  <a:pt x="712" y="198"/>
                  <a:pt x="711" y="197"/>
                </a:cubicBezTo>
                <a:cubicBezTo>
                  <a:pt x="709" y="196"/>
                  <a:pt x="709" y="195"/>
                  <a:pt x="707" y="194"/>
                </a:cubicBezTo>
                <a:cubicBezTo>
                  <a:pt x="705" y="192"/>
                  <a:pt x="702" y="191"/>
                  <a:pt x="700" y="189"/>
                </a:cubicBezTo>
                <a:cubicBezTo>
                  <a:pt x="699" y="187"/>
                  <a:pt x="699" y="183"/>
                  <a:pt x="701" y="182"/>
                </a:cubicBezTo>
                <a:cubicBezTo>
                  <a:pt x="701" y="182"/>
                  <a:pt x="705" y="180"/>
                  <a:pt x="703" y="179"/>
                </a:cubicBezTo>
                <a:cubicBezTo>
                  <a:pt x="702" y="179"/>
                  <a:pt x="700" y="179"/>
                  <a:pt x="699" y="178"/>
                </a:cubicBezTo>
                <a:cubicBezTo>
                  <a:pt x="698" y="178"/>
                  <a:pt x="697" y="178"/>
                  <a:pt x="697" y="177"/>
                </a:cubicBezTo>
                <a:cubicBezTo>
                  <a:pt x="696" y="176"/>
                  <a:pt x="698" y="175"/>
                  <a:pt x="697" y="174"/>
                </a:cubicBezTo>
                <a:cubicBezTo>
                  <a:pt x="697" y="173"/>
                  <a:pt x="695" y="173"/>
                  <a:pt x="695" y="172"/>
                </a:cubicBezTo>
                <a:cubicBezTo>
                  <a:pt x="694" y="171"/>
                  <a:pt x="692" y="171"/>
                  <a:pt x="691" y="171"/>
                </a:cubicBezTo>
                <a:cubicBezTo>
                  <a:pt x="688" y="171"/>
                  <a:pt x="685" y="171"/>
                  <a:pt x="683" y="173"/>
                </a:cubicBezTo>
                <a:cubicBezTo>
                  <a:pt x="684" y="172"/>
                  <a:pt x="684" y="172"/>
                  <a:pt x="685" y="172"/>
                </a:cubicBezTo>
                <a:cubicBezTo>
                  <a:pt x="684" y="172"/>
                  <a:pt x="685" y="172"/>
                  <a:pt x="685" y="172"/>
                </a:cubicBezTo>
                <a:close/>
                <a:moveTo>
                  <a:pt x="707" y="122"/>
                </a:moveTo>
                <a:cubicBezTo>
                  <a:pt x="709" y="122"/>
                  <a:pt x="710" y="121"/>
                  <a:pt x="711" y="121"/>
                </a:cubicBezTo>
                <a:cubicBezTo>
                  <a:pt x="713" y="121"/>
                  <a:pt x="714" y="122"/>
                  <a:pt x="716" y="123"/>
                </a:cubicBezTo>
                <a:cubicBezTo>
                  <a:pt x="717" y="124"/>
                  <a:pt x="718" y="126"/>
                  <a:pt x="718" y="127"/>
                </a:cubicBezTo>
                <a:cubicBezTo>
                  <a:pt x="718" y="129"/>
                  <a:pt x="718" y="131"/>
                  <a:pt x="719" y="132"/>
                </a:cubicBezTo>
                <a:cubicBezTo>
                  <a:pt x="719" y="133"/>
                  <a:pt x="720" y="134"/>
                  <a:pt x="719" y="136"/>
                </a:cubicBezTo>
                <a:cubicBezTo>
                  <a:pt x="718" y="137"/>
                  <a:pt x="717" y="138"/>
                  <a:pt x="715" y="138"/>
                </a:cubicBezTo>
                <a:cubicBezTo>
                  <a:pt x="711" y="138"/>
                  <a:pt x="709" y="135"/>
                  <a:pt x="706" y="133"/>
                </a:cubicBezTo>
                <a:cubicBezTo>
                  <a:pt x="703" y="132"/>
                  <a:pt x="699" y="132"/>
                  <a:pt x="696" y="131"/>
                </a:cubicBezTo>
                <a:cubicBezTo>
                  <a:pt x="693" y="130"/>
                  <a:pt x="693" y="127"/>
                  <a:pt x="695" y="125"/>
                </a:cubicBezTo>
                <a:cubicBezTo>
                  <a:pt x="696" y="122"/>
                  <a:pt x="700" y="120"/>
                  <a:pt x="703" y="120"/>
                </a:cubicBezTo>
                <a:cubicBezTo>
                  <a:pt x="704" y="120"/>
                  <a:pt x="705" y="122"/>
                  <a:pt x="706" y="122"/>
                </a:cubicBezTo>
                <a:cubicBezTo>
                  <a:pt x="707" y="123"/>
                  <a:pt x="708" y="122"/>
                  <a:pt x="709" y="122"/>
                </a:cubicBezTo>
                <a:cubicBezTo>
                  <a:pt x="708" y="122"/>
                  <a:pt x="708" y="122"/>
                  <a:pt x="707" y="122"/>
                </a:cubicBezTo>
                <a:cubicBezTo>
                  <a:pt x="709" y="122"/>
                  <a:pt x="707" y="122"/>
                  <a:pt x="707" y="122"/>
                </a:cubicBezTo>
                <a:close/>
                <a:moveTo>
                  <a:pt x="661" y="208"/>
                </a:moveTo>
                <a:cubicBezTo>
                  <a:pt x="662" y="207"/>
                  <a:pt x="663" y="207"/>
                  <a:pt x="664" y="206"/>
                </a:cubicBezTo>
                <a:cubicBezTo>
                  <a:pt x="666" y="205"/>
                  <a:pt x="666" y="204"/>
                  <a:pt x="668" y="205"/>
                </a:cubicBezTo>
                <a:cubicBezTo>
                  <a:pt x="669" y="205"/>
                  <a:pt x="671" y="206"/>
                  <a:pt x="672" y="207"/>
                </a:cubicBezTo>
                <a:cubicBezTo>
                  <a:pt x="673" y="208"/>
                  <a:pt x="675" y="209"/>
                  <a:pt x="676" y="209"/>
                </a:cubicBezTo>
                <a:cubicBezTo>
                  <a:pt x="677" y="209"/>
                  <a:pt x="679" y="209"/>
                  <a:pt x="679" y="210"/>
                </a:cubicBezTo>
                <a:cubicBezTo>
                  <a:pt x="680" y="211"/>
                  <a:pt x="679" y="212"/>
                  <a:pt x="678" y="212"/>
                </a:cubicBezTo>
                <a:cubicBezTo>
                  <a:pt x="677" y="213"/>
                  <a:pt x="676" y="213"/>
                  <a:pt x="675" y="212"/>
                </a:cubicBezTo>
                <a:cubicBezTo>
                  <a:pt x="673" y="212"/>
                  <a:pt x="671" y="212"/>
                  <a:pt x="669" y="212"/>
                </a:cubicBezTo>
                <a:cubicBezTo>
                  <a:pt x="666" y="212"/>
                  <a:pt x="663" y="215"/>
                  <a:pt x="660" y="214"/>
                </a:cubicBezTo>
                <a:cubicBezTo>
                  <a:pt x="659" y="214"/>
                  <a:pt x="658" y="213"/>
                  <a:pt x="657" y="213"/>
                </a:cubicBezTo>
                <a:cubicBezTo>
                  <a:pt x="656" y="213"/>
                  <a:pt x="655" y="212"/>
                  <a:pt x="654" y="211"/>
                </a:cubicBezTo>
                <a:cubicBezTo>
                  <a:pt x="651" y="208"/>
                  <a:pt x="662" y="207"/>
                  <a:pt x="663" y="207"/>
                </a:cubicBezTo>
                <a:cubicBezTo>
                  <a:pt x="662" y="207"/>
                  <a:pt x="661" y="207"/>
                  <a:pt x="661" y="208"/>
                </a:cubicBezTo>
                <a:cubicBezTo>
                  <a:pt x="662" y="207"/>
                  <a:pt x="661" y="208"/>
                  <a:pt x="661" y="208"/>
                </a:cubicBezTo>
                <a:close/>
                <a:moveTo>
                  <a:pt x="602" y="213"/>
                </a:moveTo>
                <a:cubicBezTo>
                  <a:pt x="604" y="214"/>
                  <a:pt x="609" y="214"/>
                  <a:pt x="609" y="218"/>
                </a:cubicBezTo>
                <a:cubicBezTo>
                  <a:pt x="609" y="219"/>
                  <a:pt x="608" y="220"/>
                  <a:pt x="610" y="221"/>
                </a:cubicBezTo>
                <a:cubicBezTo>
                  <a:pt x="612" y="222"/>
                  <a:pt x="614" y="222"/>
                  <a:pt x="616" y="223"/>
                </a:cubicBezTo>
                <a:cubicBezTo>
                  <a:pt x="619" y="223"/>
                  <a:pt x="621" y="227"/>
                  <a:pt x="621" y="230"/>
                </a:cubicBezTo>
                <a:cubicBezTo>
                  <a:pt x="620" y="234"/>
                  <a:pt x="613" y="233"/>
                  <a:pt x="611" y="233"/>
                </a:cubicBezTo>
                <a:cubicBezTo>
                  <a:pt x="607" y="232"/>
                  <a:pt x="604" y="229"/>
                  <a:pt x="602" y="226"/>
                </a:cubicBezTo>
                <a:cubicBezTo>
                  <a:pt x="601" y="225"/>
                  <a:pt x="599" y="224"/>
                  <a:pt x="599" y="222"/>
                </a:cubicBezTo>
                <a:cubicBezTo>
                  <a:pt x="598" y="220"/>
                  <a:pt x="598" y="218"/>
                  <a:pt x="596" y="217"/>
                </a:cubicBezTo>
                <a:cubicBezTo>
                  <a:pt x="595" y="216"/>
                  <a:pt x="593" y="214"/>
                  <a:pt x="594" y="212"/>
                </a:cubicBezTo>
                <a:cubicBezTo>
                  <a:pt x="595" y="211"/>
                  <a:pt x="596" y="211"/>
                  <a:pt x="598" y="211"/>
                </a:cubicBezTo>
                <a:cubicBezTo>
                  <a:pt x="600" y="212"/>
                  <a:pt x="602" y="213"/>
                  <a:pt x="604" y="214"/>
                </a:cubicBezTo>
                <a:cubicBezTo>
                  <a:pt x="603" y="213"/>
                  <a:pt x="603" y="213"/>
                  <a:pt x="602" y="213"/>
                </a:cubicBezTo>
                <a:cubicBezTo>
                  <a:pt x="604" y="214"/>
                  <a:pt x="602" y="213"/>
                  <a:pt x="602" y="213"/>
                </a:cubicBezTo>
                <a:close/>
                <a:moveTo>
                  <a:pt x="633" y="253"/>
                </a:moveTo>
                <a:cubicBezTo>
                  <a:pt x="636" y="254"/>
                  <a:pt x="638" y="255"/>
                  <a:pt x="641" y="255"/>
                </a:cubicBezTo>
                <a:cubicBezTo>
                  <a:pt x="644" y="256"/>
                  <a:pt x="643" y="258"/>
                  <a:pt x="641" y="259"/>
                </a:cubicBezTo>
                <a:cubicBezTo>
                  <a:pt x="638" y="260"/>
                  <a:pt x="635" y="260"/>
                  <a:pt x="632" y="261"/>
                </a:cubicBezTo>
                <a:cubicBezTo>
                  <a:pt x="629" y="261"/>
                  <a:pt x="625" y="262"/>
                  <a:pt x="623" y="258"/>
                </a:cubicBezTo>
                <a:cubicBezTo>
                  <a:pt x="623" y="256"/>
                  <a:pt x="621" y="256"/>
                  <a:pt x="619" y="255"/>
                </a:cubicBezTo>
                <a:cubicBezTo>
                  <a:pt x="617" y="253"/>
                  <a:pt x="617" y="251"/>
                  <a:pt x="620" y="251"/>
                </a:cubicBezTo>
                <a:cubicBezTo>
                  <a:pt x="621" y="251"/>
                  <a:pt x="623" y="251"/>
                  <a:pt x="624" y="251"/>
                </a:cubicBezTo>
                <a:cubicBezTo>
                  <a:pt x="625" y="251"/>
                  <a:pt x="627" y="250"/>
                  <a:pt x="628" y="250"/>
                </a:cubicBezTo>
                <a:cubicBezTo>
                  <a:pt x="630" y="250"/>
                  <a:pt x="632" y="253"/>
                  <a:pt x="634" y="253"/>
                </a:cubicBezTo>
                <a:cubicBezTo>
                  <a:pt x="634" y="253"/>
                  <a:pt x="633" y="253"/>
                  <a:pt x="633" y="253"/>
                </a:cubicBezTo>
                <a:cubicBezTo>
                  <a:pt x="635" y="254"/>
                  <a:pt x="633" y="253"/>
                  <a:pt x="633" y="253"/>
                </a:cubicBezTo>
                <a:close/>
                <a:moveTo>
                  <a:pt x="632" y="264"/>
                </a:moveTo>
                <a:cubicBezTo>
                  <a:pt x="635" y="263"/>
                  <a:pt x="638" y="264"/>
                  <a:pt x="642" y="264"/>
                </a:cubicBezTo>
                <a:cubicBezTo>
                  <a:pt x="643" y="263"/>
                  <a:pt x="645" y="263"/>
                  <a:pt x="647" y="263"/>
                </a:cubicBezTo>
                <a:cubicBezTo>
                  <a:pt x="648" y="263"/>
                  <a:pt x="649" y="263"/>
                  <a:pt x="650" y="263"/>
                </a:cubicBezTo>
                <a:cubicBezTo>
                  <a:pt x="653" y="264"/>
                  <a:pt x="651" y="267"/>
                  <a:pt x="650" y="268"/>
                </a:cubicBezTo>
                <a:cubicBezTo>
                  <a:pt x="649" y="269"/>
                  <a:pt x="648" y="269"/>
                  <a:pt x="647" y="269"/>
                </a:cubicBezTo>
                <a:cubicBezTo>
                  <a:pt x="645" y="269"/>
                  <a:pt x="644" y="270"/>
                  <a:pt x="643" y="271"/>
                </a:cubicBezTo>
                <a:cubicBezTo>
                  <a:pt x="641" y="271"/>
                  <a:pt x="640" y="271"/>
                  <a:pt x="638" y="271"/>
                </a:cubicBezTo>
                <a:cubicBezTo>
                  <a:pt x="636" y="272"/>
                  <a:pt x="635" y="272"/>
                  <a:pt x="633" y="272"/>
                </a:cubicBezTo>
                <a:cubicBezTo>
                  <a:pt x="631" y="272"/>
                  <a:pt x="630" y="272"/>
                  <a:pt x="628" y="272"/>
                </a:cubicBezTo>
                <a:cubicBezTo>
                  <a:pt x="627" y="271"/>
                  <a:pt x="625" y="271"/>
                  <a:pt x="623" y="270"/>
                </a:cubicBezTo>
                <a:cubicBezTo>
                  <a:pt x="623" y="270"/>
                  <a:pt x="621" y="268"/>
                  <a:pt x="622" y="267"/>
                </a:cubicBezTo>
                <a:cubicBezTo>
                  <a:pt x="623" y="267"/>
                  <a:pt x="625" y="267"/>
                  <a:pt x="627" y="266"/>
                </a:cubicBezTo>
                <a:cubicBezTo>
                  <a:pt x="629" y="266"/>
                  <a:pt x="631" y="264"/>
                  <a:pt x="633" y="264"/>
                </a:cubicBezTo>
                <a:cubicBezTo>
                  <a:pt x="633" y="264"/>
                  <a:pt x="632" y="264"/>
                  <a:pt x="632" y="264"/>
                </a:cubicBezTo>
                <a:cubicBezTo>
                  <a:pt x="635" y="263"/>
                  <a:pt x="632" y="264"/>
                  <a:pt x="632" y="264"/>
                </a:cubicBezTo>
                <a:close/>
                <a:moveTo>
                  <a:pt x="669" y="258"/>
                </a:moveTo>
                <a:cubicBezTo>
                  <a:pt x="667" y="258"/>
                  <a:pt x="664" y="258"/>
                  <a:pt x="663" y="261"/>
                </a:cubicBezTo>
                <a:cubicBezTo>
                  <a:pt x="662" y="264"/>
                  <a:pt x="664" y="265"/>
                  <a:pt x="667" y="265"/>
                </a:cubicBezTo>
                <a:cubicBezTo>
                  <a:pt x="668" y="264"/>
                  <a:pt x="673" y="263"/>
                  <a:pt x="672" y="266"/>
                </a:cubicBezTo>
                <a:cubicBezTo>
                  <a:pt x="672" y="268"/>
                  <a:pt x="669" y="268"/>
                  <a:pt x="668" y="269"/>
                </a:cubicBezTo>
                <a:cubicBezTo>
                  <a:pt x="667" y="270"/>
                  <a:pt x="667" y="270"/>
                  <a:pt x="667" y="271"/>
                </a:cubicBezTo>
                <a:cubicBezTo>
                  <a:pt x="667" y="272"/>
                  <a:pt x="668" y="273"/>
                  <a:pt x="669" y="273"/>
                </a:cubicBezTo>
                <a:cubicBezTo>
                  <a:pt x="670" y="273"/>
                  <a:pt x="671" y="272"/>
                  <a:pt x="673" y="272"/>
                </a:cubicBezTo>
                <a:cubicBezTo>
                  <a:pt x="674" y="272"/>
                  <a:pt x="675" y="273"/>
                  <a:pt x="674" y="274"/>
                </a:cubicBezTo>
                <a:cubicBezTo>
                  <a:pt x="673" y="275"/>
                  <a:pt x="672" y="275"/>
                  <a:pt x="672" y="276"/>
                </a:cubicBezTo>
                <a:cubicBezTo>
                  <a:pt x="672" y="277"/>
                  <a:pt x="673" y="278"/>
                  <a:pt x="674" y="278"/>
                </a:cubicBezTo>
                <a:cubicBezTo>
                  <a:pt x="676" y="279"/>
                  <a:pt x="679" y="279"/>
                  <a:pt x="681" y="280"/>
                </a:cubicBezTo>
                <a:cubicBezTo>
                  <a:pt x="682" y="281"/>
                  <a:pt x="681" y="281"/>
                  <a:pt x="680" y="282"/>
                </a:cubicBezTo>
                <a:cubicBezTo>
                  <a:pt x="679" y="282"/>
                  <a:pt x="678" y="282"/>
                  <a:pt x="677" y="282"/>
                </a:cubicBezTo>
                <a:cubicBezTo>
                  <a:pt x="674" y="281"/>
                  <a:pt x="671" y="280"/>
                  <a:pt x="668" y="279"/>
                </a:cubicBezTo>
                <a:cubicBezTo>
                  <a:pt x="667" y="279"/>
                  <a:pt x="666" y="279"/>
                  <a:pt x="664" y="278"/>
                </a:cubicBezTo>
                <a:cubicBezTo>
                  <a:pt x="663" y="278"/>
                  <a:pt x="662" y="278"/>
                  <a:pt x="661" y="279"/>
                </a:cubicBezTo>
                <a:cubicBezTo>
                  <a:pt x="659" y="279"/>
                  <a:pt x="658" y="281"/>
                  <a:pt x="660" y="282"/>
                </a:cubicBezTo>
                <a:cubicBezTo>
                  <a:pt x="660" y="282"/>
                  <a:pt x="663" y="283"/>
                  <a:pt x="663" y="284"/>
                </a:cubicBezTo>
                <a:cubicBezTo>
                  <a:pt x="663" y="284"/>
                  <a:pt x="661" y="284"/>
                  <a:pt x="661" y="284"/>
                </a:cubicBezTo>
                <a:cubicBezTo>
                  <a:pt x="659" y="284"/>
                  <a:pt x="658" y="284"/>
                  <a:pt x="656" y="284"/>
                </a:cubicBezTo>
                <a:cubicBezTo>
                  <a:pt x="654" y="284"/>
                  <a:pt x="651" y="284"/>
                  <a:pt x="649" y="285"/>
                </a:cubicBezTo>
                <a:cubicBezTo>
                  <a:pt x="647" y="287"/>
                  <a:pt x="649" y="289"/>
                  <a:pt x="651" y="290"/>
                </a:cubicBezTo>
                <a:cubicBezTo>
                  <a:pt x="654" y="291"/>
                  <a:pt x="656" y="290"/>
                  <a:pt x="659" y="290"/>
                </a:cubicBezTo>
                <a:cubicBezTo>
                  <a:pt x="662" y="289"/>
                  <a:pt x="664" y="289"/>
                  <a:pt x="667" y="288"/>
                </a:cubicBezTo>
                <a:cubicBezTo>
                  <a:pt x="670" y="287"/>
                  <a:pt x="672" y="287"/>
                  <a:pt x="675" y="287"/>
                </a:cubicBezTo>
                <a:cubicBezTo>
                  <a:pt x="678" y="287"/>
                  <a:pt x="682" y="287"/>
                  <a:pt x="685" y="287"/>
                </a:cubicBezTo>
                <a:cubicBezTo>
                  <a:pt x="691" y="287"/>
                  <a:pt x="698" y="285"/>
                  <a:pt x="704" y="284"/>
                </a:cubicBezTo>
                <a:cubicBezTo>
                  <a:pt x="707" y="284"/>
                  <a:pt x="710" y="283"/>
                  <a:pt x="713" y="283"/>
                </a:cubicBezTo>
                <a:cubicBezTo>
                  <a:pt x="714" y="283"/>
                  <a:pt x="716" y="283"/>
                  <a:pt x="716" y="284"/>
                </a:cubicBezTo>
                <a:cubicBezTo>
                  <a:pt x="716" y="284"/>
                  <a:pt x="714" y="285"/>
                  <a:pt x="714" y="285"/>
                </a:cubicBezTo>
                <a:cubicBezTo>
                  <a:pt x="713" y="285"/>
                  <a:pt x="711" y="285"/>
                  <a:pt x="710" y="285"/>
                </a:cubicBezTo>
                <a:cubicBezTo>
                  <a:pt x="709" y="286"/>
                  <a:pt x="708" y="286"/>
                  <a:pt x="706" y="287"/>
                </a:cubicBezTo>
                <a:cubicBezTo>
                  <a:pt x="703" y="287"/>
                  <a:pt x="701" y="286"/>
                  <a:pt x="699" y="289"/>
                </a:cubicBezTo>
                <a:cubicBezTo>
                  <a:pt x="698" y="291"/>
                  <a:pt x="697" y="293"/>
                  <a:pt x="694" y="294"/>
                </a:cubicBezTo>
                <a:cubicBezTo>
                  <a:pt x="692" y="294"/>
                  <a:pt x="690" y="293"/>
                  <a:pt x="689" y="296"/>
                </a:cubicBezTo>
                <a:cubicBezTo>
                  <a:pt x="689" y="299"/>
                  <a:pt x="693" y="298"/>
                  <a:pt x="695" y="299"/>
                </a:cubicBezTo>
                <a:cubicBezTo>
                  <a:pt x="695" y="299"/>
                  <a:pt x="698" y="299"/>
                  <a:pt x="697" y="300"/>
                </a:cubicBezTo>
                <a:cubicBezTo>
                  <a:pt x="697" y="301"/>
                  <a:pt x="694" y="301"/>
                  <a:pt x="693" y="301"/>
                </a:cubicBezTo>
                <a:cubicBezTo>
                  <a:pt x="692" y="301"/>
                  <a:pt x="688" y="301"/>
                  <a:pt x="689" y="303"/>
                </a:cubicBezTo>
                <a:cubicBezTo>
                  <a:pt x="689" y="305"/>
                  <a:pt x="692" y="307"/>
                  <a:pt x="695" y="307"/>
                </a:cubicBezTo>
                <a:cubicBezTo>
                  <a:pt x="697" y="308"/>
                  <a:pt x="700" y="308"/>
                  <a:pt x="702" y="308"/>
                </a:cubicBezTo>
                <a:cubicBezTo>
                  <a:pt x="703" y="308"/>
                  <a:pt x="704" y="308"/>
                  <a:pt x="705" y="307"/>
                </a:cubicBezTo>
                <a:cubicBezTo>
                  <a:pt x="706" y="307"/>
                  <a:pt x="706" y="307"/>
                  <a:pt x="706" y="306"/>
                </a:cubicBezTo>
                <a:cubicBezTo>
                  <a:pt x="707" y="306"/>
                  <a:pt x="707" y="305"/>
                  <a:pt x="707" y="305"/>
                </a:cubicBezTo>
                <a:cubicBezTo>
                  <a:pt x="708" y="305"/>
                  <a:pt x="708" y="305"/>
                  <a:pt x="709" y="305"/>
                </a:cubicBezTo>
                <a:cubicBezTo>
                  <a:pt x="709" y="305"/>
                  <a:pt x="710" y="305"/>
                  <a:pt x="711" y="305"/>
                </a:cubicBezTo>
                <a:cubicBezTo>
                  <a:pt x="712" y="306"/>
                  <a:pt x="713" y="306"/>
                  <a:pt x="715" y="306"/>
                </a:cubicBezTo>
                <a:cubicBezTo>
                  <a:pt x="718" y="306"/>
                  <a:pt x="721" y="307"/>
                  <a:pt x="724" y="307"/>
                </a:cubicBezTo>
                <a:cubicBezTo>
                  <a:pt x="726" y="307"/>
                  <a:pt x="728" y="307"/>
                  <a:pt x="729" y="305"/>
                </a:cubicBezTo>
                <a:cubicBezTo>
                  <a:pt x="730" y="304"/>
                  <a:pt x="731" y="303"/>
                  <a:pt x="731" y="302"/>
                </a:cubicBezTo>
                <a:cubicBezTo>
                  <a:pt x="732" y="301"/>
                  <a:pt x="734" y="301"/>
                  <a:pt x="733" y="300"/>
                </a:cubicBezTo>
                <a:cubicBezTo>
                  <a:pt x="732" y="298"/>
                  <a:pt x="729" y="298"/>
                  <a:pt x="732" y="296"/>
                </a:cubicBezTo>
                <a:cubicBezTo>
                  <a:pt x="732" y="295"/>
                  <a:pt x="733" y="295"/>
                  <a:pt x="734" y="294"/>
                </a:cubicBezTo>
                <a:cubicBezTo>
                  <a:pt x="734" y="292"/>
                  <a:pt x="734" y="291"/>
                  <a:pt x="734" y="289"/>
                </a:cubicBezTo>
                <a:cubicBezTo>
                  <a:pt x="734" y="285"/>
                  <a:pt x="738" y="290"/>
                  <a:pt x="739" y="291"/>
                </a:cubicBezTo>
                <a:cubicBezTo>
                  <a:pt x="740" y="292"/>
                  <a:pt x="741" y="294"/>
                  <a:pt x="742" y="293"/>
                </a:cubicBezTo>
                <a:cubicBezTo>
                  <a:pt x="743" y="291"/>
                  <a:pt x="742" y="288"/>
                  <a:pt x="741" y="287"/>
                </a:cubicBezTo>
                <a:cubicBezTo>
                  <a:pt x="741" y="284"/>
                  <a:pt x="738" y="284"/>
                  <a:pt x="737" y="282"/>
                </a:cubicBezTo>
                <a:cubicBezTo>
                  <a:pt x="736" y="281"/>
                  <a:pt x="735" y="277"/>
                  <a:pt x="736" y="275"/>
                </a:cubicBezTo>
                <a:cubicBezTo>
                  <a:pt x="737" y="273"/>
                  <a:pt x="738" y="271"/>
                  <a:pt x="738" y="268"/>
                </a:cubicBezTo>
                <a:cubicBezTo>
                  <a:pt x="737" y="266"/>
                  <a:pt x="734" y="265"/>
                  <a:pt x="733" y="262"/>
                </a:cubicBezTo>
                <a:cubicBezTo>
                  <a:pt x="733" y="260"/>
                  <a:pt x="735" y="259"/>
                  <a:pt x="735" y="256"/>
                </a:cubicBezTo>
                <a:cubicBezTo>
                  <a:pt x="734" y="254"/>
                  <a:pt x="730" y="255"/>
                  <a:pt x="728" y="255"/>
                </a:cubicBezTo>
                <a:cubicBezTo>
                  <a:pt x="726" y="255"/>
                  <a:pt x="724" y="254"/>
                  <a:pt x="722" y="252"/>
                </a:cubicBezTo>
                <a:cubicBezTo>
                  <a:pt x="720" y="250"/>
                  <a:pt x="718" y="251"/>
                  <a:pt x="716" y="252"/>
                </a:cubicBezTo>
                <a:cubicBezTo>
                  <a:pt x="715" y="253"/>
                  <a:pt x="714" y="253"/>
                  <a:pt x="714" y="254"/>
                </a:cubicBezTo>
                <a:cubicBezTo>
                  <a:pt x="714" y="255"/>
                  <a:pt x="714" y="256"/>
                  <a:pt x="714" y="257"/>
                </a:cubicBezTo>
                <a:cubicBezTo>
                  <a:pt x="714" y="259"/>
                  <a:pt x="709" y="260"/>
                  <a:pt x="709" y="258"/>
                </a:cubicBezTo>
                <a:cubicBezTo>
                  <a:pt x="708" y="257"/>
                  <a:pt x="708" y="257"/>
                  <a:pt x="708" y="256"/>
                </a:cubicBezTo>
                <a:cubicBezTo>
                  <a:pt x="708" y="255"/>
                  <a:pt x="708" y="254"/>
                  <a:pt x="707" y="253"/>
                </a:cubicBezTo>
                <a:cubicBezTo>
                  <a:pt x="706" y="252"/>
                  <a:pt x="703" y="250"/>
                  <a:pt x="701" y="250"/>
                </a:cubicBezTo>
                <a:cubicBezTo>
                  <a:pt x="699" y="250"/>
                  <a:pt x="696" y="250"/>
                  <a:pt x="694" y="251"/>
                </a:cubicBezTo>
                <a:cubicBezTo>
                  <a:pt x="691" y="252"/>
                  <a:pt x="689" y="254"/>
                  <a:pt x="686" y="254"/>
                </a:cubicBezTo>
                <a:cubicBezTo>
                  <a:pt x="685" y="255"/>
                  <a:pt x="681" y="255"/>
                  <a:pt x="681" y="257"/>
                </a:cubicBezTo>
                <a:cubicBezTo>
                  <a:pt x="681" y="258"/>
                  <a:pt x="685" y="259"/>
                  <a:pt x="685" y="259"/>
                </a:cubicBezTo>
                <a:cubicBezTo>
                  <a:pt x="688" y="260"/>
                  <a:pt x="690" y="260"/>
                  <a:pt x="693" y="259"/>
                </a:cubicBezTo>
                <a:cubicBezTo>
                  <a:pt x="694" y="259"/>
                  <a:pt x="697" y="260"/>
                  <a:pt x="696" y="262"/>
                </a:cubicBezTo>
                <a:cubicBezTo>
                  <a:pt x="696" y="263"/>
                  <a:pt x="692" y="266"/>
                  <a:pt x="694" y="267"/>
                </a:cubicBezTo>
                <a:cubicBezTo>
                  <a:pt x="697" y="268"/>
                  <a:pt x="700" y="267"/>
                  <a:pt x="702" y="267"/>
                </a:cubicBezTo>
                <a:cubicBezTo>
                  <a:pt x="703" y="267"/>
                  <a:pt x="705" y="267"/>
                  <a:pt x="705" y="268"/>
                </a:cubicBezTo>
                <a:cubicBezTo>
                  <a:pt x="706" y="269"/>
                  <a:pt x="705" y="269"/>
                  <a:pt x="704" y="269"/>
                </a:cubicBezTo>
                <a:cubicBezTo>
                  <a:pt x="702" y="270"/>
                  <a:pt x="700" y="269"/>
                  <a:pt x="699" y="269"/>
                </a:cubicBezTo>
                <a:cubicBezTo>
                  <a:pt x="696" y="268"/>
                  <a:pt x="695" y="269"/>
                  <a:pt x="697" y="272"/>
                </a:cubicBezTo>
                <a:cubicBezTo>
                  <a:pt x="698" y="273"/>
                  <a:pt x="699" y="274"/>
                  <a:pt x="701" y="274"/>
                </a:cubicBezTo>
                <a:cubicBezTo>
                  <a:pt x="702" y="274"/>
                  <a:pt x="705" y="274"/>
                  <a:pt x="703" y="276"/>
                </a:cubicBezTo>
                <a:cubicBezTo>
                  <a:pt x="702" y="277"/>
                  <a:pt x="696" y="277"/>
                  <a:pt x="695" y="276"/>
                </a:cubicBezTo>
                <a:cubicBezTo>
                  <a:pt x="693" y="274"/>
                  <a:pt x="692" y="273"/>
                  <a:pt x="691" y="271"/>
                </a:cubicBezTo>
                <a:cubicBezTo>
                  <a:pt x="690" y="270"/>
                  <a:pt x="688" y="270"/>
                  <a:pt x="686" y="270"/>
                </a:cubicBezTo>
                <a:cubicBezTo>
                  <a:pt x="683" y="269"/>
                  <a:pt x="680" y="265"/>
                  <a:pt x="677" y="263"/>
                </a:cubicBezTo>
                <a:cubicBezTo>
                  <a:pt x="675" y="260"/>
                  <a:pt x="672" y="258"/>
                  <a:pt x="669" y="258"/>
                </a:cubicBezTo>
                <a:cubicBezTo>
                  <a:pt x="669" y="258"/>
                  <a:pt x="669" y="258"/>
                  <a:pt x="669" y="258"/>
                </a:cubicBezTo>
                <a:cubicBezTo>
                  <a:pt x="668" y="258"/>
                  <a:pt x="669" y="258"/>
                  <a:pt x="669" y="258"/>
                </a:cubicBezTo>
                <a:close/>
                <a:moveTo>
                  <a:pt x="650" y="274"/>
                </a:moveTo>
                <a:cubicBezTo>
                  <a:pt x="648" y="276"/>
                  <a:pt x="646" y="276"/>
                  <a:pt x="644" y="277"/>
                </a:cubicBezTo>
                <a:cubicBezTo>
                  <a:pt x="643" y="277"/>
                  <a:pt x="642" y="278"/>
                  <a:pt x="641" y="279"/>
                </a:cubicBezTo>
                <a:cubicBezTo>
                  <a:pt x="641" y="279"/>
                  <a:pt x="640" y="281"/>
                  <a:pt x="641" y="281"/>
                </a:cubicBezTo>
                <a:cubicBezTo>
                  <a:pt x="642" y="281"/>
                  <a:pt x="643" y="280"/>
                  <a:pt x="644" y="280"/>
                </a:cubicBezTo>
                <a:cubicBezTo>
                  <a:pt x="645" y="279"/>
                  <a:pt x="646" y="279"/>
                  <a:pt x="648" y="279"/>
                </a:cubicBezTo>
                <a:cubicBezTo>
                  <a:pt x="650" y="278"/>
                  <a:pt x="653" y="278"/>
                  <a:pt x="655" y="277"/>
                </a:cubicBezTo>
                <a:cubicBezTo>
                  <a:pt x="656" y="276"/>
                  <a:pt x="658" y="276"/>
                  <a:pt x="659" y="276"/>
                </a:cubicBezTo>
                <a:cubicBezTo>
                  <a:pt x="660" y="275"/>
                  <a:pt x="661" y="274"/>
                  <a:pt x="659" y="274"/>
                </a:cubicBezTo>
                <a:cubicBezTo>
                  <a:pt x="658" y="274"/>
                  <a:pt x="656" y="274"/>
                  <a:pt x="655" y="274"/>
                </a:cubicBezTo>
                <a:cubicBezTo>
                  <a:pt x="653" y="274"/>
                  <a:pt x="652" y="273"/>
                  <a:pt x="651" y="273"/>
                </a:cubicBezTo>
                <a:cubicBezTo>
                  <a:pt x="650" y="274"/>
                  <a:pt x="650" y="274"/>
                  <a:pt x="649" y="275"/>
                </a:cubicBezTo>
                <a:cubicBezTo>
                  <a:pt x="649" y="275"/>
                  <a:pt x="649" y="274"/>
                  <a:pt x="650" y="274"/>
                </a:cubicBezTo>
                <a:cubicBezTo>
                  <a:pt x="648" y="276"/>
                  <a:pt x="650" y="274"/>
                  <a:pt x="650" y="274"/>
                </a:cubicBezTo>
                <a:close/>
                <a:moveTo>
                  <a:pt x="627" y="294"/>
                </a:moveTo>
                <a:cubicBezTo>
                  <a:pt x="629" y="294"/>
                  <a:pt x="630" y="294"/>
                  <a:pt x="631" y="296"/>
                </a:cubicBezTo>
                <a:cubicBezTo>
                  <a:pt x="632" y="297"/>
                  <a:pt x="632" y="298"/>
                  <a:pt x="633" y="299"/>
                </a:cubicBezTo>
                <a:cubicBezTo>
                  <a:pt x="635" y="300"/>
                  <a:pt x="635" y="304"/>
                  <a:pt x="632" y="304"/>
                </a:cubicBezTo>
                <a:cubicBezTo>
                  <a:pt x="631" y="304"/>
                  <a:pt x="630" y="304"/>
                  <a:pt x="629" y="305"/>
                </a:cubicBezTo>
                <a:cubicBezTo>
                  <a:pt x="628" y="305"/>
                  <a:pt x="627" y="307"/>
                  <a:pt x="626" y="307"/>
                </a:cubicBezTo>
                <a:cubicBezTo>
                  <a:pt x="623" y="307"/>
                  <a:pt x="621" y="305"/>
                  <a:pt x="619" y="304"/>
                </a:cubicBezTo>
                <a:cubicBezTo>
                  <a:pt x="618" y="304"/>
                  <a:pt x="616" y="305"/>
                  <a:pt x="615" y="304"/>
                </a:cubicBezTo>
                <a:cubicBezTo>
                  <a:pt x="614" y="303"/>
                  <a:pt x="613" y="302"/>
                  <a:pt x="614" y="301"/>
                </a:cubicBezTo>
                <a:cubicBezTo>
                  <a:pt x="615" y="299"/>
                  <a:pt x="618" y="299"/>
                  <a:pt x="620" y="298"/>
                </a:cubicBezTo>
                <a:cubicBezTo>
                  <a:pt x="621" y="296"/>
                  <a:pt x="621" y="294"/>
                  <a:pt x="623" y="294"/>
                </a:cubicBezTo>
                <a:cubicBezTo>
                  <a:pt x="625" y="293"/>
                  <a:pt x="627" y="293"/>
                  <a:pt x="629" y="294"/>
                </a:cubicBezTo>
                <a:cubicBezTo>
                  <a:pt x="628" y="294"/>
                  <a:pt x="628" y="294"/>
                  <a:pt x="627" y="294"/>
                </a:cubicBezTo>
                <a:cubicBezTo>
                  <a:pt x="628" y="294"/>
                  <a:pt x="627" y="294"/>
                  <a:pt x="627" y="294"/>
                </a:cubicBezTo>
                <a:close/>
                <a:moveTo>
                  <a:pt x="677" y="248"/>
                </a:moveTo>
                <a:cubicBezTo>
                  <a:pt x="679" y="248"/>
                  <a:pt x="681" y="248"/>
                  <a:pt x="683" y="247"/>
                </a:cubicBezTo>
                <a:cubicBezTo>
                  <a:pt x="685" y="246"/>
                  <a:pt x="686" y="246"/>
                  <a:pt x="688" y="247"/>
                </a:cubicBezTo>
                <a:cubicBezTo>
                  <a:pt x="691" y="248"/>
                  <a:pt x="688" y="249"/>
                  <a:pt x="686" y="249"/>
                </a:cubicBezTo>
                <a:cubicBezTo>
                  <a:pt x="684" y="250"/>
                  <a:pt x="682" y="250"/>
                  <a:pt x="680" y="250"/>
                </a:cubicBezTo>
                <a:cubicBezTo>
                  <a:pt x="679" y="250"/>
                  <a:pt x="669" y="254"/>
                  <a:pt x="669" y="252"/>
                </a:cubicBezTo>
                <a:cubicBezTo>
                  <a:pt x="669" y="252"/>
                  <a:pt x="673" y="251"/>
                  <a:pt x="673" y="251"/>
                </a:cubicBezTo>
                <a:cubicBezTo>
                  <a:pt x="675" y="249"/>
                  <a:pt x="676" y="249"/>
                  <a:pt x="678" y="248"/>
                </a:cubicBezTo>
                <a:cubicBezTo>
                  <a:pt x="678" y="248"/>
                  <a:pt x="678" y="248"/>
                  <a:pt x="677" y="248"/>
                </a:cubicBezTo>
                <a:cubicBezTo>
                  <a:pt x="678" y="248"/>
                  <a:pt x="677" y="248"/>
                  <a:pt x="677" y="248"/>
                </a:cubicBezTo>
                <a:close/>
                <a:moveTo>
                  <a:pt x="776" y="288"/>
                </a:moveTo>
                <a:cubicBezTo>
                  <a:pt x="774" y="290"/>
                  <a:pt x="772" y="291"/>
                  <a:pt x="769" y="292"/>
                </a:cubicBezTo>
                <a:cubicBezTo>
                  <a:pt x="768" y="293"/>
                  <a:pt x="762" y="294"/>
                  <a:pt x="763" y="295"/>
                </a:cubicBezTo>
                <a:cubicBezTo>
                  <a:pt x="763" y="297"/>
                  <a:pt x="761" y="298"/>
                  <a:pt x="760" y="299"/>
                </a:cubicBezTo>
                <a:cubicBezTo>
                  <a:pt x="757" y="301"/>
                  <a:pt x="756" y="303"/>
                  <a:pt x="756" y="306"/>
                </a:cubicBezTo>
                <a:cubicBezTo>
                  <a:pt x="756" y="307"/>
                  <a:pt x="756" y="308"/>
                  <a:pt x="756" y="308"/>
                </a:cubicBezTo>
                <a:cubicBezTo>
                  <a:pt x="757" y="309"/>
                  <a:pt x="758" y="310"/>
                  <a:pt x="758" y="310"/>
                </a:cubicBezTo>
                <a:cubicBezTo>
                  <a:pt x="759" y="311"/>
                  <a:pt x="760" y="311"/>
                  <a:pt x="761" y="310"/>
                </a:cubicBezTo>
                <a:cubicBezTo>
                  <a:pt x="761" y="310"/>
                  <a:pt x="763" y="309"/>
                  <a:pt x="763" y="310"/>
                </a:cubicBezTo>
                <a:cubicBezTo>
                  <a:pt x="764" y="311"/>
                  <a:pt x="764" y="312"/>
                  <a:pt x="765" y="313"/>
                </a:cubicBezTo>
                <a:cubicBezTo>
                  <a:pt x="766" y="314"/>
                  <a:pt x="767" y="313"/>
                  <a:pt x="768" y="313"/>
                </a:cubicBezTo>
                <a:cubicBezTo>
                  <a:pt x="769" y="313"/>
                  <a:pt x="769" y="315"/>
                  <a:pt x="770" y="315"/>
                </a:cubicBezTo>
                <a:cubicBezTo>
                  <a:pt x="771" y="316"/>
                  <a:pt x="773" y="316"/>
                  <a:pt x="774" y="315"/>
                </a:cubicBezTo>
                <a:cubicBezTo>
                  <a:pt x="776" y="314"/>
                  <a:pt x="777" y="314"/>
                  <a:pt x="779" y="316"/>
                </a:cubicBezTo>
                <a:cubicBezTo>
                  <a:pt x="780" y="317"/>
                  <a:pt x="780" y="317"/>
                  <a:pt x="781" y="318"/>
                </a:cubicBezTo>
                <a:cubicBezTo>
                  <a:pt x="782" y="319"/>
                  <a:pt x="783" y="319"/>
                  <a:pt x="784" y="319"/>
                </a:cubicBezTo>
                <a:cubicBezTo>
                  <a:pt x="787" y="319"/>
                  <a:pt x="790" y="318"/>
                  <a:pt x="793" y="319"/>
                </a:cubicBezTo>
                <a:cubicBezTo>
                  <a:pt x="796" y="319"/>
                  <a:pt x="798" y="320"/>
                  <a:pt x="801" y="319"/>
                </a:cubicBezTo>
                <a:cubicBezTo>
                  <a:pt x="802" y="319"/>
                  <a:pt x="803" y="318"/>
                  <a:pt x="804" y="319"/>
                </a:cubicBezTo>
                <a:cubicBezTo>
                  <a:pt x="805" y="319"/>
                  <a:pt x="806" y="319"/>
                  <a:pt x="807" y="318"/>
                </a:cubicBezTo>
                <a:cubicBezTo>
                  <a:pt x="808" y="317"/>
                  <a:pt x="807" y="316"/>
                  <a:pt x="808" y="315"/>
                </a:cubicBezTo>
                <a:cubicBezTo>
                  <a:pt x="808" y="313"/>
                  <a:pt x="808" y="312"/>
                  <a:pt x="808" y="310"/>
                </a:cubicBezTo>
                <a:cubicBezTo>
                  <a:pt x="808" y="309"/>
                  <a:pt x="806" y="308"/>
                  <a:pt x="805" y="307"/>
                </a:cubicBezTo>
                <a:cubicBezTo>
                  <a:pt x="805" y="307"/>
                  <a:pt x="804" y="306"/>
                  <a:pt x="804" y="305"/>
                </a:cubicBezTo>
                <a:cubicBezTo>
                  <a:pt x="804" y="304"/>
                  <a:pt x="805" y="304"/>
                  <a:pt x="806" y="303"/>
                </a:cubicBezTo>
                <a:cubicBezTo>
                  <a:pt x="807" y="302"/>
                  <a:pt x="808" y="300"/>
                  <a:pt x="808" y="298"/>
                </a:cubicBezTo>
                <a:cubicBezTo>
                  <a:pt x="807" y="297"/>
                  <a:pt x="806" y="296"/>
                  <a:pt x="805" y="296"/>
                </a:cubicBezTo>
                <a:cubicBezTo>
                  <a:pt x="802" y="295"/>
                  <a:pt x="798" y="296"/>
                  <a:pt x="796" y="293"/>
                </a:cubicBezTo>
                <a:cubicBezTo>
                  <a:pt x="794" y="291"/>
                  <a:pt x="793" y="289"/>
                  <a:pt x="792" y="287"/>
                </a:cubicBezTo>
                <a:cubicBezTo>
                  <a:pt x="790" y="286"/>
                  <a:pt x="788" y="286"/>
                  <a:pt x="786" y="286"/>
                </a:cubicBezTo>
                <a:cubicBezTo>
                  <a:pt x="782" y="286"/>
                  <a:pt x="778" y="287"/>
                  <a:pt x="774" y="289"/>
                </a:cubicBezTo>
                <a:cubicBezTo>
                  <a:pt x="775" y="289"/>
                  <a:pt x="775" y="289"/>
                  <a:pt x="776" y="288"/>
                </a:cubicBezTo>
                <a:cubicBezTo>
                  <a:pt x="774" y="290"/>
                  <a:pt x="776" y="288"/>
                  <a:pt x="776" y="288"/>
                </a:cubicBezTo>
                <a:close/>
                <a:moveTo>
                  <a:pt x="802" y="339"/>
                </a:moveTo>
                <a:cubicBezTo>
                  <a:pt x="805" y="339"/>
                  <a:pt x="808" y="338"/>
                  <a:pt x="811" y="338"/>
                </a:cubicBezTo>
                <a:cubicBezTo>
                  <a:pt x="814" y="338"/>
                  <a:pt x="817" y="338"/>
                  <a:pt x="821" y="338"/>
                </a:cubicBezTo>
                <a:cubicBezTo>
                  <a:pt x="823" y="338"/>
                  <a:pt x="825" y="339"/>
                  <a:pt x="826" y="341"/>
                </a:cubicBezTo>
                <a:cubicBezTo>
                  <a:pt x="827" y="343"/>
                  <a:pt x="831" y="344"/>
                  <a:pt x="833" y="343"/>
                </a:cubicBezTo>
                <a:cubicBezTo>
                  <a:pt x="835" y="343"/>
                  <a:pt x="837" y="341"/>
                  <a:pt x="840" y="341"/>
                </a:cubicBezTo>
                <a:cubicBezTo>
                  <a:pt x="843" y="341"/>
                  <a:pt x="846" y="341"/>
                  <a:pt x="849" y="342"/>
                </a:cubicBezTo>
                <a:cubicBezTo>
                  <a:pt x="851" y="343"/>
                  <a:pt x="854" y="344"/>
                  <a:pt x="856" y="344"/>
                </a:cubicBezTo>
                <a:cubicBezTo>
                  <a:pt x="858" y="344"/>
                  <a:pt x="864" y="342"/>
                  <a:pt x="862" y="346"/>
                </a:cubicBezTo>
                <a:cubicBezTo>
                  <a:pt x="861" y="347"/>
                  <a:pt x="860" y="347"/>
                  <a:pt x="859" y="348"/>
                </a:cubicBezTo>
                <a:cubicBezTo>
                  <a:pt x="858" y="349"/>
                  <a:pt x="858" y="350"/>
                  <a:pt x="857" y="351"/>
                </a:cubicBezTo>
                <a:cubicBezTo>
                  <a:pt x="856" y="353"/>
                  <a:pt x="855" y="356"/>
                  <a:pt x="852" y="356"/>
                </a:cubicBezTo>
                <a:cubicBezTo>
                  <a:pt x="849" y="356"/>
                  <a:pt x="849" y="356"/>
                  <a:pt x="850" y="359"/>
                </a:cubicBezTo>
                <a:cubicBezTo>
                  <a:pt x="850" y="361"/>
                  <a:pt x="847" y="364"/>
                  <a:pt x="845" y="365"/>
                </a:cubicBezTo>
                <a:cubicBezTo>
                  <a:pt x="844" y="366"/>
                  <a:pt x="843" y="366"/>
                  <a:pt x="842" y="366"/>
                </a:cubicBezTo>
                <a:cubicBezTo>
                  <a:pt x="840" y="366"/>
                  <a:pt x="839" y="366"/>
                  <a:pt x="840" y="367"/>
                </a:cubicBezTo>
                <a:cubicBezTo>
                  <a:pt x="840" y="368"/>
                  <a:pt x="841" y="369"/>
                  <a:pt x="841" y="370"/>
                </a:cubicBezTo>
                <a:cubicBezTo>
                  <a:pt x="841" y="371"/>
                  <a:pt x="839" y="372"/>
                  <a:pt x="838" y="373"/>
                </a:cubicBezTo>
                <a:cubicBezTo>
                  <a:pt x="837" y="375"/>
                  <a:pt x="835" y="376"/>
                  <a:pt x="833" y="378"/>
                </a:cubicBezTo>
                <a:cubicBezTo>
                  <a:pt x="833" y="379"/>
                  <a:pt x="833" y="380"/>
                  <a:pt x="832" y="380"/>
                </a:cubicBezTo>
                <a:cubicBezTo>
                  <a:pt x="830" y="381"/>
                  <a:pt x="829" y="382"/>
                  <a:pt x="827" y="382"/>
                </a:cubicBezTo>
                <a:cubicBezTo>
                  <a:pt x="821" y="385"/>
                  <a:pt x="816" y="382"/>
                  <a:pt x="810" y="380"/>
                </a:cubicBezTo>
                <a:cubicBezTo>
                  <a:pt x="807" y="380"/>
                  <a:pt x="804" y="380"/>
                  <a:pt x="801" y="380"/>
                </a:cubicBezTo>
                <a:cubicBezTo>
                  <a:pt x="800" y="380"/>
                  <a:pt x="799" y="381"/>
                  <a:pt x="797" y="381"/>
                </a:cubicBezTo>
                <a:cubicBezTo>
                  <a:pt x="796" y="381"/>
                  <a:pt x="794" y="381"/>
                  <a:pt x="793" y="382"/>
                </a:cubicBezTo>
                <a:cubicBezTo>
                  <a:pt x="792" y="382"/>
                  <a:pt x="793" y="383"/>
                  <a:pt x="794" y="384"/>
                </a:cubicBezTo>
                <a:cubicBezTo>
                  <a:pt x="794" y="384"/>
                  <a:pt x="796" y="385"/>
                  <a:pt x="796" y="384"/>
                </a:cubicBezTo>
                <a:cubicBezTo>
                  <a:pt x="799" y="384"/>
                  <a:pt x="801" y="382"/>
                  <a:pt x="802" y="385"/>
                </a:cubicBezTo>
                <a:cubicBezTo>
                  <a:pt x="802" y="388"/>
                  <a:pt x="805" y="387"/>
                  <a:pt x="806" y="389"/>
                </a:cubicBezTo>
                <a:cubicBezTo>
                  <a:pt x="807" y="392"/>
                  <a:pt x="806" y="393"/>
                  <a:pt x="804" y="394"/>
                </a:cubicBezTo>
                <a:cubicBezTo>
                  <a:pt x="802" y="396"/>
                  <a:pt x="799" y="396"/>
                  <a:pt x="798" y="399"/>
                </a:cubicBezTo>
                <a:cubicBezTo>
                  <a:pt x="798" y="402"/>
                  <a:pt x="798" y="404"/>
                  <a:pt x="796" y="405"/>
                </a:cubicBezTo>
                <a:cubicBezTo>
                  <a:pt x="795" y="406"/>
                  <a:pt x="793" y="406"/>
                  <a:pt x="793" y="407"/>
                </a:cubicBezTo>
                <a:cubicBezTo>
                  <a:pt x="792" y="407"/>
                  <a:pt x="792" y="409"/>
                  <a:pt x="791" y="409"/>
                </a:cubicBezTo>
                <a:cubicBezTo>
                  <a:pt x="789" y="410"/>
                  <a:pt x="787" y="409"/>
                  <a:pt x="785" y="409"/>
                </a:cubicBezTo>
                <a:cubicBezTo>
                  <a:pt x="783" y="409"/>
                  <a:pt x="778" y="407"/>
                  <a:pt x="782" y="405"/>
                </a:cubicBezTo>
                <a:cubicBezTo>
                  <a:pt x="783" y="404"/>
                  <a:pt x="784" y="403"/>
                  <a:pt x="785" y="402"/>
                </a:cubicBezTo>
                <a:cubicBezTo>
                  <a:pt x="786" y="400"/>
                  <a:pt x="783" y="401"/>
                  <a:pt x="782" y="400"/>
                </a:cubicBezTo>
                <a:cubicBezTo>
                  <a:pt x="781" y="400"/>
                  <a:pt x="781" y="398"/>
                  <a:pt x="781" y="397"/>
                </a:cubicBezTo>
                <a:cubicBezTo>
                  <a:pt x="780" y="396"/>
                  <a:pt x="780" y="395"/>
                  <a:pt x="780" y="393"/>
                </a:cubicBezTo>
                <a:cubicBezTo>
                  <a:pt x="779" y="391"/>
                  <a:pt x="778" y="390"/>
                  <a:pt x="775" y="388"/>
                </a:cubicBezTo>
                <a:cubicBezTo>
                  <a:pt x="773" y="386"/>
                  <a:pt x="773" y="384"/>
                  <a:pt x="771" y="382"/>
                </a:cubicBezTo>
                <a:cubicBezTo>
                  <a:pt x="770" y="380"/>
                  <a:pt x="768" y="379"/>
                  <a:pt x="769" y="375"/>
                </a:cubicBezTo>
                <a:cubicBezTo>
                  <a:pt x="769" y="373"/>
                  <a:pt x="771" y="371"/>
                  <a:pt x="771" y="368"/>
                </a:cubicBezTo>
                <a:cubicBezTo>
                  <a:pt x="772" y="366"/>
                  <a:pt x="770" y="363"/>
                  <a:pt x="770" y="361"/>
                </a:cubicBezTo>
                <a:cubicBezTo>
                  <a:pt x="769" y="359"/>
                  <a:pt x="768" y="356"/>
                  <a:pt x="769" y="354"/>
                </a:cubicBezTo>
                <a:cubicBezTo>
                  <a:pt x="770" y="351"/>
                  <a:pt x="773" y="352"/>
                  <a:pt x="776" y="352"/>
                </a:cubicBezTo>
                <a:cubicBezTo>
                  <a:pt x="778" y="353"/>
                  <a:pt x="781" y="353"/>
                  <a:pt x="784" y="353"/>
                </a:cubicBezTo>
                <a:cubicBezTo>
                  <a:pt x="784" y="353"/>
                  <a:pt x="785" y="352"/>
                  <a:pt x="785" y="351"/>
                </a:cubicBezTo>
                <a:cubicBezTo>
                  <a:pt x="785" y="350"/>
                  <a:pt x="784" y="350"/>
                  <a:pt x="783" y="350"/>
                </a:cubicBezTo>
                <a:cubicBezTo>
                  <a:pt x="782" y="349"/>
                  <a:pt x="782" y="349"/>
                  <a:pt x="782" y="348"/>
                </a:cubicBezTo>
                <a:cubicBezTo>
                  <a:pt x="782" y="347"/>
                  <a:pt x="781" y="347"/>
                  <a:pt x="781" y="346"/>
                </a:cubicBezTo>
                <a:cubicBezTo>
                  <a:pt x="780" y="345"/>
                  <a:pt x="777" y="344"/>
                  <a:pt x="777" y="342"/>
                </a:cubicBezTo>
                <a:cubicBezTo>
                  <a:pt x="778" y="341"/>
                  <a:pt x="782" y="340"/>
                  <a:pt x="783" y="339"/>
                </a:cubicBezTo>
                <a:cubicBezTo>
                  <a:pt x="785" y="339"/>
                  <a:pt x="789" y="338"/>
                  <a:pt x="791" y="338"/>
                </a:cubicBezTo>
                <a:cubicBezTo>
                  <a:pt x="794" y="338"/>
                  <a:pt x="796" y="340"/>
                  <a:pt x="799" y="339"/>
                </a:cubicBezTo>
                <a:cubicBezTo>
                  <a:pt x="801" y="339"/>
                  <a:pt x="803" y="339"/>
                  <a:pt x="805" y="339"/>
                </a:cubicBezTo>
                <a:cubicBezTo>
                  <a:pt x="804" y="339"/>
                  <a:pt x="803" y="339"/>
                  <a:pt x="802" y="339"/>
                </a:cubicBezTo>
                <a:cubicBezTo>
                  <a:pt x="804" y="339"/>
                  <a:pt x="802" y="339"/>
                  <a:pt x="802" y="339"/>
                </a:cubicBezTo>
                <a:close/>
                <a:moveTo>
                  <a:pt x="924" y="519"/>
                </a:moveTo>
                <a:cubicBezTo>
                  <a:pt x="925" y="521"/>
                  <a:pt x="926" y="522"/>
                  <a:pt x="927" y="523"/>
                </a:cubicBezTo>
                <a:cubicBezTo>
                  <a:pt x="928" y="524"/>
                  <a:pt x="928" y="525"/>
                  <a:pt x="928" y="526"/>
                </a:cubicBezTo>
                <a:cubicBezTo>
                  <a:pt x="927" y="527"/>
                  <a:pt x="927" y="528"/>
                  <a:pt x="927" y="530"/>
                </a:cubicBezTo>
                <a:cubicBezTo>
                  <a:pt x="927" y="531"/>
                  <a:pt x="926" y="532"/>
                  <a:pt x="926" y="533"/>
                </a:cubicBezTo>
                <a:cubicBezTo>
                  <a:pt x="926" y="534"/>
                  <a:pt x="925" y="534"/>
                  <a:pt x="924" y="534"/>
                </a:cubicBezTo>
                <a:cubicBezTo>
                  <a:pt x="923" y="534"/>
                  <a:pt x="919" y="535"/>
                  <a:pt x="919" y="533"/>
                </a:cubicBezTo>
                <a:cubicBezTo>
                  <a:pt x="919" y="532"/>
                  <a:pt x="921" y="531"/>
                  <a:pt x="921" y="529"/>
                </a:cubicBezTo>
                <a:cubicBezTo>
                  <a:pt x="921" y="527"/>
                  <a:pt x="918" y="526"/>
                  <a:pt x="918" y="524"/>
                </a:cubicBezTo>
                <a:cubicBezTo>
                  <a:pt x="918" y="523"/>
                  <a:pt x="920" y="523"/>
                  <a:pt x="920" y="522"/>
                </a:cubicBezTo>
                <a:cubicBezTo>
                  <a:pt x="921" y="521"/>
                  <a:pt x="922" y="520"/>
                  <a:pt x="922" y="519"/>
                </a:cubicBezTo>
                <a:cubicBezTo>
                  <a:pt x="923" y="517"/>
                  <a:pt x="924" y="519"/>
                  <a:pt x="924" y="520"/>
                </a:cubicBezTo>
                <a:cubicBezTo>
                  <a:pt x="924" y="520"/>
                  <a:pt x="924" y="519"/>
                  <a:pt x="924" y="519"/>
                </a:cubicBezTo>
                <a:cubicBezTo>
                  <a:pt x="925" y="521"/>
                  <a:pt x="924" y="519"/>
                  <a:pt x="924" y="519"/>
                </a:cubicBezTo>
                <a:close/>
                <a:moveTo>
                  <a:pt x="771" y="480"/>
                </a:moveTo>
                <a:cubicBezTo>
                  <a:pt x="770" y="480"/>
                  <a:pt x="768" y="480"/>
                  <a:pt x="767" y="481"/>
                </a:cubicBezTo>
                <a:cubicBezTo>
                  <a:pt x="766" y="482"/>
                  <a:pt x="764" y="483"/>
                  <a:pt x="765" y="484"/>
                </a:cubicBezTo>
                <a:cubicBezTo>
                  <a:pt x="767" y="485"/>
                  <a:pt x="768" y="483"/>
                  <a:pt x="769" y="484"/>
                </a:cubicBezTo>
                <a:cubicBezTo>
                  <a:pt x="770" y="485"/>
                  <a:pt x="769" y="487"/>
                  <a:pt x="770" y="488"/>
                </a:cubicBezTo>
                <a:cubicBezTo>
                  <a:pt x="771" y="491"/>
                  <a:pt x="775" y="486"/>
                  <a:pt x="775" y="485"/>
                </a:cubicBezTo>
                <a:cubicBezTo>
                  <a:pt x="775" y="482"/>
                  <a:pt x="773" y="480"/>
                  <a:pt x="770" y="480"/>
                </a:cubicBezTo>
                <a:cubicBezTo>
                  <a:pt x="771" y="480"/>
                  <a:pt x="771" y="480"/>
                  <a:pt x="771" y="480"/>
                </a:cubicBezTo>
                <a:cubicBezTo>
                  <a:pt x="769" y="480"/>
                  <a:pt x="771" y="480"/>
                  <a:pt x="771" y="480"/>
                </a:cubicBezTo>
                <a:close/>
                <a:moveTo>
                  <a:pt x="740" y="476"/>
                </a:moveTo>
                <a:cubicBezTo>
                  <a:pt x="739" y="474"/>
                  <a:pt x="738" y="473"/>
                  <a:pt x="736" y="473"/>
                </a:cubicBezTo>
                <a:cubicBezTo>
                  <a:pt x="734" y="472"/>
                  <a:pt x="733" y="471"/>
                  <a:pt x="731" y="471"/>
                </a:cubicBezTo>
                <a:cubicBezTo>
                  <a:pt x="729" y="471"/>
                  <a:pt x="729" y="473"/>
                  <a:pt x="728" y="475"/>
                </a:cubicBezTo>
                <a:cubicBezTo>
                  <a:pt x="727" y="475"/>
                  <a:pt x="726" y="476"/>
                  <a:pt x="725" y="477"/>
                </a:cubicBezTo>
                <a:cubicBezTo>
                  <a:pt x="725" y="478"/>
                  <a:pt x="725" y="480"/>
                  <a:pt x="724" y="481"/>
                </a:cubicBezTo>
                <a:cubicBezTo>
                  <a:pt x="723" y="482"/>
                  <a:pt x="722" y="482"/>
                  <a:pt x="722" y="483"/>
                </a:cubicBezTo>
                <a:cubicBezTo>
                  <a:pt x="722" y="484"/>
                  <a:pt x="722" y="485"/>
                  <a:pt x="723" y="486"/>
                </a:cubicBezTo>
                <a:cubicBezTo>
                  <a:pt x="723" y="487"/>
                  <a:pt x="727" y="489"/>
                  <a:pt x="724" y="490"/>
                </a:cubicBezTo>
                <a:cubicBezTo>
                  <a:pt x="723" y="490"/>
                  <a:pt x="720" y="489"/>
                  <a:pt x="719" y="491"/>
                </a:cubicBezTo>
                <a:cubicBezTo>
                  <a:pt x="717" y="493"/>
                  <a:pt x="715" y="494"/>
                  <a:pt x="712" y="495"/>
                </a:cubicBezTo>
                <a:cubicBezTo>
                  <a:pt x="710" y="495"/>
                  <a:pt x="707" y="494"/>
                  <a:pt x="705" y="496"/>
                </a:cubicBezTo>
                <a:cubicBezTo>
                  <a:pt x="703" y="498"/>
                  <a:pt x="704" y="500"/>
                  <a:pt x="706" y="502"/>
                </a:cubicBezTo>
                <a:cubicBezTo>
                  <a:pt x="707" y="502"/>
                  <a:pt x="710" y="504"/>
                  <a:pt x="712" y="503"/>
                </a:cubicBezTo>
                <a:cubicBezTo>
                  <a:pt x="712" y="502"/>
                  <a:pt x="712" y="501"/>
                  <a:pt x="713" y="500"/>
                </a:cubicBezTo>
                <a:cubicBezTo>
                  <a:pt x="714" y="500"/>
                  <a:pt x="715" y="501"/>
                  <a:pt x="716" y="502"/>
                </a:cubicBezTo>
                <a:cubicBezTo>
                  <a:pt x="717" y="503"/>
                  <a:pt x="718" y="505"/>
                  <a:pt x="720" y="506"/>
                </a:cubicBezTo>
                <a:cubicBezTo>
                  <a:pt x="722" y="506"/>
                  <a:pt x="722" y="503"/>
                  <a:pt x="724" y="503"/>
                </a:cubicBezTo>
                <a:cubicBezTo>
                  <a:pt x="726" y="504"/>
                  <a:pt x="728" y="506"/>
                  <a:pt x="729" y="507"/>
                </a:cubicBezTo>
                <a:cubicBezTo>
                  <a:pt x="731" y="510"/>
                  <a:pt x="734" y="508"/>
                  <a:pt x="737" y="508"/>
                </a:cubicBezTo>
                <a:cubicBezTo>
                  <a:pt x="739" y="509"/>
                  <a:pt x="739" y="511"/>
                  <a:pt x="740" y="512"/>
                </a:cubicBezTo>
                <a:cubicBezTo>
                  <a:pt x="741" y="514"/>
                  <a:pt x="744" y="513"/>
                  <a:pt x="745" y="512"/>
                </a:cubicBezTo>
                <a:cubicBezTo>
                  <a:pt x="746" y="511"/>
                  <a:pt x="747" y="510"/>
                  <a:pt x="748" y="511"/>
                </a:cubicBezTo>
                <a:cubicBezTo>
                  <a:pt x="749" y="511"/>
                  <a:pt x="750" y="512"/>
                  <a:pt x="751" y="513"/>
                </a:cubicBezTo>
                <a:cubicBezTo>
                  <a:pt x="753" y="514"/>
                  <a:pt x="756" y="515"/>
                  <a:pt x="759" y="514"/>
                </a:cubicBezTo>
                <a:cubicBezTo>
                  <a:pt x="760" y="514"/>
                  <a:pt x="761" y="513"/>
                  <a:pt x="762" y="512"/>
                </a:cubicBezTo>
                <a:cubicBezTo>
                  <a:pt x="763" y="512"/>
                  <a:pt x="765" y="511"/>
                  <a:pt x="766" y="510"/>
                </a:cubicBezTo>
                <a:cubicBezTo>
                  <a:pt x="768" y="509"/>
                  <a:pt x="769" y="507"/>
                  <a:pt x="771" y="506"/>
                </a:cubicBezTo>
                <a:cubicBezTo>
                  <a:pt x="773" y="505"/>
                  <a:pt x="775" y="506"/>
                  <a:pt x="777" y="505"/>
                </a:cubicBezTo>
                <a:cubicBezTo>
                  <a:pt x="779" y="505"/>
                  <a:pt x="778" y="503"/>
                  <a:pt x="776" y="502"/>
                </a:cubicBezTo>
                <a:cubicBezTo>
                  <a:pt x="775" y="501"/>
                  <a:pt x="772" y="504"/>
                  <a:pt x="770" y="503"/>
                </a:cubicBezTo>
                <a:cubicBezTo>
                  <a:pt x="768" y="502"/>
                  <a:pt x="766" y="500"/>
                  <a:pt x="766" y="498"/>
                </a:cubicBezTo>
                <a:cubicBezTo>
                  <a:pt x="766" y="497"/>
                  <a:pt x="766" y="496"/>
                  <a:pt x="765" y="495"/>
                </a:cubicBezTo>
                <a:cubicBezTo>
                  <a:pt x="765" y="494"/>
                  <a:pt x="764" y="495"/>
                  <a:pt x="763" y="495"/>
                </a:cubicBezTo>
                <a:cubicBezTo>
                  <a:pt x="763" y="496"/>
                  <a:pt x="762" y="497"/>
                  <a:pt x="762" y="497"/>
                </a:cubicBezTo>
                <a:cubicBezTo>
                  <a:pt x="761" y="496"/>
                  <a:pt x="761" y="495"/>
                  <a:pt x="760" y="494"/>
                </a:cubicBezTo>
                <a:cubicBezTo>
                  <a:pt x="759" y="492"/>
                  <a:pt x="760" y="489"/>
                  <a:pt x="758" y="487"/>
                </a:cubicBezTo>
                <a:cubicBezTo>
                  <a:pt x="756" y="485"/>
                  <a:pt x="754" y="483"/>
                  <a:pt x="751" y="483"/>
                </a:cubicBezTo>
                <a:cubicBezTo>
                  <a:pt x="747" y="481"/>
                  <a:pt x="741" y="480"/>
                  <a:pt x="740" y="475"/>
                </a:cubicBezTo>
                <a:cubicBezTo>
                  <a:pt x="740" y="475"/>
                  <a:pt x="740" y="475"/>
                  <a:pt x="740" y="476"/>
                </a:cubicBezTo>
                <a:cubicBezTo>
                  <a:pt x="739" y="473"/>
                  <a:pt x="740" y="476"/>
                  <a:pt x="740" y="476"/>
                </a:cubicBezTo>
                <a:close/>
                <a:moveTo>
                  <a:pt x="686" y="501"/>
                </a:moveTo>
                <a:cubicBezTo>
                  <a:pt x="686" y="502"/>
                  <a:pt x="686" y="503"/>
                  <a:pt x="687" y="504"/>
                </a:cubicBezTo>
                <a:cubicBezTo>
                  <a:pt x="687" y="505"/>
                  <a:pt x="688" y="507"/>
                  <a:pt x="689" y="507"/>
                </a:cubicBezTo>
                <a:cubicBezTo>
                  <a:pt x="690" y="508"/>
                  <a:pt x="693" y="505"/>
                  <a:pt x="693" y="504"/>
                </a:cubicBezTo>
                <a:cubicBezTo>
                  <a:pt x="693" y="502"/>
                  <a:pt x="692" y="500"/>
                  <a:pt x="690" y="499"/>
                </a:cubicBezTo>
                <a:cubicBezTo>
                  <a:pt x="688" y="498"/>
                  <a:pt x="687" y="500"/>
                  <a:pt x="686" y="501"/>
                </a:cubicBezTo>
                <a:cubicBezTo>
                  <a:pt x="686" y="501"/>
                  <a:pt x="686" y="501"/>
                  <a:pt x="686" y="501"/>
                </a:cubicBezTo>
                <a:cubicBezTo>
                  <a:pt x="686" y="502"/>
                  <a:pt x="686" y="501"/>
                  <a:pt x="686" y="501"/>
                </a:cubicBezTo>
                <a:close/>
                <a:moveTo>
                  <a:pt x="694" y="494"/>
                </a:moveTo>
                <a:cubicBezTo>
                  <a:pt x="693" y="496"/>
                  <a:pt x="693" y="496"/>
                  <a:pt x="694" y="498"/>
                </a:cubicBezTo>
                <a:cubicBezTo>
                  <a:pt x="694" y="498"/>
                  <a:pt x="695" y="501"/>
                  <a:pt x="696" y="500"/>
                </a:cubicBezTo>
                <a:cubicBezTo>
                  <a:pt x="697" y="500"/>
                  <a:pt x="697" y="497"/>
                  <a:pt x="697" y="496"/>
                </a:cubicBezTo>
                <a:cubicBezTo>
                  <a:pt x="697" y="494"/>
                  <a:pt x="695" y="493"/>
                  <a:pt x="694" y="494"/>
                </a:cubicBezTo>
                <a:cubicBezTo>
                  <a:pt x="694" y="494"/>
                  <a:pt x="694" y="494"/>
                  <a:pt x="694" y="494"/>
                </a:cubicBezTo>
                <a:cubicBezTo>
                  <a:pt x="693" y="496"/>
                  <a:pt x="694" y="494"/>
                  <a:pt x="694" y="494"/>
                </a:cubicBezTo>
                <a:close/>
                <a:moveTo>
                  <a:pt x="665" y="505"/>
                </a:moveTo>
                <a:cubicBezTo>
                  <a:pt x="663" y="504"/>
                  <a:pt x="662" y="504"/>
                  <a:pt x="661" y="505"/>
                </a:cubicBezTo>
                <a:cubicBezTo>
                  <a:pt x="660" y="506"/>
                  <a:pt x="658" y="506"/>
                  <a:pt x="657" y="507"/>
                </a:cubicBezTo>
                <a:cubicBezTo>
                  <a:pt x="657" y="508"/>
                  <a:pt x="659" y="509"/>
                  <a:pt x="660" y="509"/>
                </a:cubicBezTo>
                <a:cubicBezTo>
                  <a:pt x="661" y="510"/>
                  <a:pt x="663" y="511"/>
                  <a:pt x="664" y="510"/>
                </a:cubicBezTo>
                <a:cubicBezTo>
                  <a:pt x="665" y="510"/>
                  <a:pt x="666" y="508"/>
                  <a:pt x="667" y="508"/>
                </a:cubicBezTo>
                <a:cubicBezTo>
                  <a:pt x="667" y="507"/>
                  <a:pt x="668" y="507"/>
                  <a:pt x="668" y="506"/>
                </a:cubicBezTo>
                <a:cubicBezTo>
                  <a:pt x="669" y="505"/>
                  <a:pt x="665" y="504"/>
                  <a:pt x="664" y="504"/>
                </a:cubicBezTo>
                <a:cubicBezTo>
                  <a:pt x="664" y="504"/>
                  <a:pt x="665" y="505"/>
                  <a:pt x="665" y="505"/>
                </a:cubicBezTo>
                <a:cubicBezTo>
                  <a:pt x="664" y="504"/>
                  <a:pt x="665" y="505"/>
                  <a:pt x="665" y="505"/>
                </a:cubicBezTo>
                <a:close/>
                <a:moveTo>
                  <a:pt x="615" y="511"/>
                </a:moveTo>
                <a:cubicBezTo>
                  <a:pt x="613" y="511"/>
                  <a:pt x="609" y="512"/>
                  <a:pt x="612" y="513"/>
                </a:cubicBezTo>
                <a:cubicBezTo>
                  <a:pt x="614" y="513"/>
                  <a:pt x="615" y="516"/>
                  <a:pt x="617" y="516"/>
                </a:cubicBezTo>
                <a:cubicBezTo>
                  <a:pt x="618" y="516"/>
                  <a:pt x="619" y="516"/>
                  <a:pt x="620" y="516"/>
                </a:cubicBezTo>
                <a:cubicBezTo>
                  <a:pt x="621" y="515"/>
                  <a:pt x="621" y="514"/>
                  <a:pt x="620" y="514"/>
                </a:cubicBezTo>
                <a:cubicBezTo>
                  <a:pt x="619" y="513"/>
                  <a:pt x="618" y="512"/>
                  <a:pt x="617" y="511"/>
                </a:cubicBezTo>
                <a:cubicBezTo>
                  <a:pt x="616" y="511"/>
                  <a:pt x="615" y="511"/>
                  <a:pt x="614" y="511"/>
                </a:cubicBezTo>
                <a:cubicBezTo>
                  <a:pt x="614" y="511"/>
                  <a:pt x="614" y="511"/>
                  <a:pt x="615" y="511"/>
                </a:cubicBezTo>
                <a:cubicBezTo>
                  <a:pt x="614" y="511"/>
                  <a:pt x="615" y="511"/>
                  <a:pt x="615" y="511"/>
                </a:cubicBezTo>
                <a:close/>
                <a:moveTo>
                  <a:pt x="685" y="447"/>
                </a:moveTo>
                <a:cubicBezTo>
                  <a:pt x="683" y="447"/>
                  <a:pt x="684" y="450"/>
                  <a:pt x="684" y="451"/>
                </a:cubicBezTo>
                <a:cubicBezTo>
                  <a:pt x="685" y="453"/>
                  <a:pt x="688" y="453"/>
                  <a:pt x="690" y="454"/>
                </a:cubicBezTo>
                <a:cubicBezTo>
                  <a:pt x="691" y="454"/>
                  <a:pt x="692" y="455"/>
                  <a:pt x="692" y="454"/>
                </a:cubicBezTo>
                <a:cubicBezTo>
                  <a:pt x="692" y="453"/>
                  <a:pt x="692" y="451"/>
                  <a:pt x="691" y="450"/>
                </a:cubicBezTo>
                <a:cubicBezTo>
                  <a:pt x="689" y="448"/>
                  <a:pt x="686" y="448"/>
                  <a:pt x="684" y="447"/>
                </a:cubicBezTo>
                <a:cubicBezTo>
                  <a:pt x="684" y="447"/>
                  <a:pt x="685" y="447"/>
                  <a:pt x="685" y="447"/>
                </a:cubicBezTo>
                <a:cubicBezTo>
                  <a:pt x="683" y="447"/>
                  <a:pt x="685" y="447"/>
                  <a:pt x="685" y="447"/>
                </a:cubicBezTo>
                <a:close/>
                <a:moveTo>
                  <a:pt x="736" y="364"/>
                </a:moveTo>
                <a:cubicBezTo>
                  <a:pt x="737" y="364"/>
                  <a:pt x="738" y="364"/>
                  <a:pt x="739" y="363"/>
                </a:cubicBezTo>
                <a:cubicBezTo>
                  <a:pt x="740" y="363"/>
                  <a:pt x="741" y="362"/>
                  <a:pt x="742" y="362"/>
                </a:cubicBezTo>
                <a:cubicBezTo>
                  <a:pt x="744" y="362"/>
                  <a:pt x="746" y="358"/>
                  <a:pt x="743" y="358"/>
                </a:cubicBezTo>
                <a:cubicBezTo>
                  <a:pt x="742" y="358"/>
                  <a:pt x="741" y="359"/>
                  <a:pt x="739" y="358"/>
                </a:cubicBezTo>
                <a:cubicBezTo>
                  <a:pt x="738" y="358"/>
                  <a:pt x="738" y="356"/>
                  <a:pt x="737" y="356"/>
                </a:cubicBezTo>
                <a:cubicBezTo>
                  <a:pt x="737" y="354"/>
                  <a:pt x="741" y="355"/>
                  <a:pt x="741" y="354"/>
                </a:cubicBezTo>
                <a:cubicBezTo>
                  <a:pt x="744" y="354"/>
                  <a:pt x="746" y="353"/>
                  <a:pt x="747" y="351"/>
                </a:cubicBezTo>
                <a:cubicBezTo>
                  <a:pt x="748" y="350"/>
                  <a:pt x="749" y="347"/>
                  <a:pt x="746" y="347"/>
                </a:cubicBezTo>
                <a:cubicBezTo>
                  <a:pt x="745" y="347"/>
                  <a:pt x="744" y="347"/>
                  <a:pt x="743" y="346"/>
                </a:cubicBezTo>
                <a:cubicBezTo>
                  <a:pt x="742" y="346"/>
                  <a:pt x="741" y="345"/>
                  <a:pt x="740" y="345"/>
                </a:cubicBezTo>
                <a:cubicBezTo>
                  <a:pt x="737" y="344"/>
                  <a:pt x="733" y="345"/>
                  <a:pt x="731" y="347"/>
                </a:cubicBezTo>
                <a:cubicBezTo>
                  <a:pt x="728" y="348"/>
                  <a:pt x="726" y="350"/>
                  <a:pt x="723" y="350"/>
                </a:cubicBezTo>
                <a:cubicBezTo>
                  <a:pt x="720" y="350"/>
                  <a:pt x="717" y="350"/>
                  <a:pt x="714" y="350"/>
                </a:cubicBezTo>
                <a:cubicBezTo>
                  <a:pt x="708" y="351"/>
                  <a:pt x="704" y="344"/>
                  <a:pt x="699" y="348"/>
                </a:cubicBezTo>
                <a:cubicBezTo>
                  <a:pt x="696" y="349"/>
                  <a:pt x="695" y="350"/>
                  <a:pt x="693" y="349"/>
                </a:cubicBezTo>
                <a:cubicBezTo>
                  <a:pt x="690" y="349"/>
                  <a:pt x="689" y="347"/>
                  <a:pt x="687" y="346"/>
                </a:cubicBezTo>
                <a:cubicBezTo>
                  <a:pt x="684" y="345"/>
                  <a:pt x="682" y="346"/>
                  <a:pt x="680" y="346"/>
                </a:cubicBezTo>
                <a:cubicBezTo>
                  <a:pt x="677" y="347"/>
                  <a:pt x="680" y="350"/>
                  <a:pt x="681" y="351"/>
                </a:cubicBezTo>
                <a:cubicBezTo>
                  <a:pt x="682" y="353"/>
                  <a:pt x="684" y="353"/>
                  <a:pt x="686" y="353"/>
                </a:cubicBezTo>
                <a:cubicBezTo>
                  <a:pt x="689" y="353"/>
                  <a:pt x="690" y="357"/>
                  <a:pt x="690" y="359"/>
                </a:cubicBezTo>
                <a:cubicBezTo>
                  <a:pt x="691" y="361"/>
                  <a:pt x="692" y="363"/>
                  <a:pt x="694" y="364"/>
                </a:cubicBezTo>
                <a:cubicBezTo>
                  <a:pt x="696" y="365"/>
                  <a:pt x="698" y="365"/>
                  <a:pt x="699" y="367"/>
                </a:cubicBezTo>
                <a:cubicBezTo>
                  <a:pt x="701" y="368"/>
                  <a:pt x="698" y="368"/>
                  <a:pt x="697" y="368"/>
                </a:cubicBezTo>
                <a:cubicBezTo>
                  <a:pt x="695" y="368"/>
                  <a:pt x="693" y="366"/>
                  <a:pt x="691" y="367"/>
                </a:cubicBezTo>
                <a:cubicBezTo>
                  <a:pt x="690" y="367"/>
                  <a:pt x="687" y="369"/>
                  <a:pt x="687" y="370"/>
                </a:cubicBezTo>
                <a:cubicBezTo>
                  <a:pt x="688" y="371"/>
                  <a:pt x="691" y="371"/>
                  <a:pt x="692" y="371"/>
                </a:cubicBezTo>
                <a:cubicBezTo>
                  <a:pt x="693" y="372"/>
                  <a:pt x="695" y="373"/>
                  <a:pt x="696" y="375"/>
                </a:cubicBezTo>
                <a:cubicBezTo>
                  <a:pt x="697" y="377"/>
                  <a:pt x="692" y="377"/>
                  <a:pt x="691" y="377"/>
                </a:cubicBezTo>
                <a:cubicBezTo>
                  <a:pt x="689" y="378"/>
                  <a:pt x="691" y="381"/>
                  <a:pt x="689" y="382"/>
                </a:cubicBezTo>
                <a:cubicBezTo>
                  <a:pt x="688" y="382"/>
                  <a:pt x="687" y="382"/>
                  <a:pt x="686" y="382"/>
                </a:cubicBezTo>
                <a:cubicBezTo>
                  <a:pt x="684" y="383"/>
                  <a:pt x="683" y="384"/>
                  <a:pt x="682" y="384"/>
                </a:cubicBezTo>
                <a:cubicBezTo>
                  <a:pt x="679" y="385"/>
                  <a:pt x="677" y="382"/>
                  <a:pt x="676" y="381"/>
                </a:cubicBezTo>
                <a:cubicBezTo>
                  <a:pt x="674" y="379"/>
                  <a:pt x="671" y="378"/>
                  <a:pt x="669" y="376"/>
                </a:cubicBezTo>
                <a:cubicBezTo>
                  <a:pt x="666" y="372"/>
                  <a:pt x="660" y="369"/>
                  <a:pt x="656" y="373"/>
                </a:cubicBezTo>
                <a:cubicBezTo>
                  <a:pt x="654" y="374"/>
                  <a:pt x="653" y="377"/>
                  <a:pt x="652" y="379"/>
                </a:cubicBezTo>
                <a:cubicBezTo>
                  <a:pt x="651" y="380"/>
                  <a:pt x="649" y="383"/>
                  <a:pt x="651" y="384"/>
                </a:cubicBezTo>
                <a:cubicBezTo>
                  <a:pt x="653" y="386"/>
                  <a:pt x="655" y="387"/>
                  <a:pt x="658" y="388"/>
                </a:cubicBezTo>
                <a:cubicBezTo>
                  <a:pt x="660" y="389"/>
                  <a:pt x="663" y="390"/>
                  <a:pt x="664" y="392"/>
                </a:cubicBezTo>
                <a:cubicBezTo>
                  <a:pt x="665" y="394"/>
                  <a:pt x="666" y="396"/>
                  <a:pt x="668" y="397"/>
                </a:cubicBezTo>
                <a:cubicBezTo>
                  <a:pt x="670" y="398"/>
                  <a:pt x="672" y="398"/>
                  <a:pt x="674" y="397"/>
                </a:cubicBezTo>
                <a:cubicBezTo>
                  <a:pt x="676" y="395"/>
                  <a:pt x="677" y="397"/>
                  <a:pt x="679" y="399"/>
                </a:cubicBezTo>
                <a:cubicBezTo>
                  <a:pt x="680" y="401"/>
                  <a:pt x="683" y="400"/>
                  <a:pt x="686" y="401"/>
                </a:cubicBezTo>
                <a:cubicBezTo>
                  <a:pt x="688" y="402"/>
                  <a:pt x="689" y="405"/>
                  <a:pt x="691" y="406"/>
                </a:cubicBezTo>
                <a:cubicBezTo>
                  <a:pt x="693" y="408"/>
                  <a:pt x="696" y="410"/>
                  <a:pt x="698" y="412"/>
                </a:cubicBezTo>
                <a:cubicBezTo>
                  <a:pt x="699" y="414"/>
                  <a:pt x="702" y="415"/>
                  <a:pt x="704" y="417"/>
                </a:cubicBezTo>
                <a:cubicBezTo>
                  <a:pt x="705" y="418"/>
                  <a:pt x="707" y="420"/>
                  <a:pt x="708" y="423"/>
                </a:cubicBezTo>
                <a:cubicBezTo>
                  <a:pt x="708" y="425"/>
                  <a:pt x="709" y="427"/>
                  <a:pt x="712" y="426"/>
                </a:cubicBezTo>
                <a:cubicBezTo>
                  <a:pt x="713" y="426"/>
                  <a:pt x="714" y="425"/>
                  <a:pt x="715" y="425"/>
                </a:cubicBezTo>
                <a:cubicBezTo>
                  <a:pt x="716" y="426"/>
                  <a:pt x="716" y="427"/>
                  <a:pt x="717" y="427"/>
                </a:cubicBezTo>
                <a:cubicBezTo>
                  <a:pt x="718" y="428"/>
                  <a:pt x="719" y="427"/>
                  <a:pt x="720" y="426"/>
                </a:cubicBezTo>
                <a:cubicBezTo>
                  <a:pt x="722" y="425"/>
                  <a:pt x="723" y="425"/>
                  <a:pt x="724" y="424"/>
                </a:cubicBezTo>
                <a:cubicBezTo>
                  <a:pt x="726" y="423"/>
                  <a:pt x="728" y="422"/>
                  <a:pt x="726" y="420"/>
                </a:cubicBezTo>
                <a:cubicBezTo>
                  <a:pt x="725" y="417"/>
                  <a:pt x="724" y="415"/>
                  <a:pt x="724" y="412"/>
                </a:cubicBezTo>
                <a:cubicBezTo>
                  <a:pt x="724" y="411"/>
                  <a:pt x="725" y="410"/>
                  <a:pt x="725" y="410"/>
                </a:cubicBezTo>
                <a:cubicBezTo>
                  <a:pt x="726" y="409"/>
                  <a:pt x="727" y="410"/>
                  <a:pt x="727" y="411"/>
                </a:cubicBezTo>
                <a:cubicBezTo>
                  <a:pt x="727" y="412"/>
                  <a:pt x="726" y="414"/>
                  <a:pt x="727" y="415"/>
                </a:cubicBezTo>
                <a:cubicBezTo>
                  <a:pt x="729" y="417"/>
                  <a:pt x="731" y="417"/>
                  <a:pt x="733" y="417"/>
                </a:cubicBezTo>
                <a:cubicBezTo>
                  <a:pt x="736" y="417"/>
                  <a:pt x="737" y="415"/>
                  <a:pt x="740" y="415"/>
                </a:cubicBezTo>
                <a:cubicBezTo>
                  <a:pt x="741" y="414"/>
                  <a:pt x="742" y="415"/>
                  <a:pt x="743" y="414"/>
                </a:cubicBezTo>
                <a:cubicBezTo>
                  <a:pt x="745" y="413"/>
                  <a:pt x="746" y="412"/>
                  <a:pt x="747" y="412"/>
                </a:cubicBezTo>
                <a:cubicBezTo>
                  <a:pt x="749" y="411"/>
                  <a:pt x="751" y="411"/>
                  <a:pt x="753" y="410"/>
                </a:cubicBezTo>
                <a:cubicBezTo>
                  <a:pt x="754" y="410"/>
                  <a:pt x="756" y="410"/>
                  <a:pt x="757" y="408"/>
                </a:cubicBezTo>
                <a:cubicBezTo>
                  <a:pt x="757" y="407"/>
                  <a:pt x="754" y="406"/>
                  <a:pt x="753" y="405"/>
                </a:cubicBezTo>
                <a:cubicBezTo>
                  <a:pt x="752" y="403"/>
                  <a:pt x="756" y="403"/>
                  <a:pt x="756" y="401"/>
                </a:cubicBezTo>
                <a:cubicBezTo>
                  <a:pt x="756" y="399"/>
                  <a:pt x="755" y="397"/>
                  <a:pt x="753" y="397"/>
                </a:cubicBezTo>
                <a:cubicBezTo>
                  <a:pt x="752" y="396"/>
                  <a:pt x="750" y="397"/>
                  <a:pt x="751" y="395"/>
                </a:cubicBezTo>
                <a:cubicBezTo>
                  <a:pt x="752" y="394"/>
                  <a:pt x="754" y="393"/>
                  <a:pt x="756" y="393"/>
                </a:cubicBezTo>
                <a:cubicBezTo>
                  <a:pt x="758" y="393"/>
                  <a:pt x="760" y="393"/>
                  <a:pt x="759" y="391"/>
                </a:cubicBezTo>
                <a:cubicBezTo>
                  <a:pt x="758" y="389"/>
                  <a:pt x="757" y="387"/>
                  <a:pt x="757" y="385"/>
                </a:cubicBezTo>
                <a:cubicBezTo>
                  <a:pt x="757" y="384"/>
                  <a:pt x="757" y="381"/>
                  <a:pt x="754" y="382"/>
                </a:cubicBezTo>
                <a:cubicBezTo>
                  <a:pt x="752" y="383"/>
                  <a:pt x="750" y="386"/>
                  <a:pt x="747" y="385"/>
                </a:cubicBezTo>
                <a:cubicBezTo>
                  <a:pt x="744" y="385"/>
                  <a:pt x="745" y="383"/>
                  <a:pt x="745" y="381"/>
                </a:cubicBezTo>
                <a:cubicBezTo>
                  <a:pt x="745" y="379"/>
                  <a:pt x="743" y="374"/>
                  <a:pt x="741" y="374"/>
                </a:cubicBezTo>
                <a:cubicBezTo>
                  <a:pt x="739" y="374"/>
                  <a:pt x="738" y="375"/>
                  <a:pt x="737" y="374"/>
                </a:cubicBezTo>
                <a:cubicBezTo>
                  <a:pt x="735" y="374"/>
                  <a:pt x="733" y="373"/>
                  <a:pt x="732" y="373"/>
                </a:cubicBezTo>
                <a:cubicBezTo>
                  <a:pt x="728" y="372"/>
                  <a:pt x="727" y="375"/>
                  <a:pt x="725" y="377"/>
                </a:cubicBezTo>
                <a:cubicBezTo>
                  <a:pt x="725" y="378"/>
                  <a:pt x="724" y="380"/>
                  <a:pt x="723" y="379"/>
                </a:cubicBezTo>
                <a:cubicBezTo>
                  <a:pt x="722" y="378"/>
                  <a:pt x="722" y="376"/>
                  <a:pt x="722" y="375"/>
                </a:cubicBezTo>
                <a:cubicBezTo>
                  <a:pt x="722" y="373"/>
                  <a:pt x="726" y="370"/>
                  <a:pt x="728" y="369"/>
                </a:cubicBezTo>
                <a:cubicBezTo>
                  <a:pt x="730" y="367"/>
                  <a:pt x="733" y="364"/>
                  <a:pt x="736" y="364"/>
                </a:cubicBezTo>
                <a:cubicBezTo>
                  <a:pt x="736" y="364"/>
                  <a:pt x="736" y="364"/>
                  <a:pt x="736" y="364"/>
                </a:cubicBezTo>
                <a:cubicBezTo>
                  <a:pt x="737" y="364"/>
                  <a:pt x="736" y="364"/>
                  <a:pt x="736" y="364"/>
                </a:cubicBezTo>
                <a:close/>
                <a:moveTo>
                  <a:pt x="674" y="356"/>
                </a:moveTo>
                <a:cubicBezTo>
                  <a:pt x="676" y="356"/>
                  <a:pt x="678" y="355"/>
                  <a:pt x="681" y="356"/>
                </a:cubicBezTo>
                <a:cubicBezTo>
                  <a:pt x="683" y="356"/>
                  <a:pt x="685" y="358"/>
                  <a:pt x="687" y="359"/>
                </a:cubicBezTo>
                <a:cubicBezTo>
                  <a:pt x="687" y="360"/>
                  <a:pt x="690" y="362"/>
                  <a:pt x="688" y="363"/>
                </a:cubicBezTo>
                <a:cubicBezTo>
                  <a:pt x="687" y="364"/>
                  <a:pt x="685" y="364"/>
                  <a:pt x="684" y="364"/>
                </a:cubicBezTo>
                <a:cubicBezTo>
                  <a:pt x="681" y="364"/>
                  <a:pt x="679" y="364"/>
                  <a:pt x="677" y="363"/>
                </a:cubicBezTo>
                <a:cubicBezTo>
                  <a:pt x="675" y="362"/>
                  <a:pt x="673" y="361"/>
                  <a:pt x="671" y="361"/>
                </a:cubicBezTo>
                <a:cubicBezTo>
                  <a:pt x="669" y="360"/>
                  <a:pt x="670" y="358"/>
                  <a:pt x="671" y="357"/>
                </a:cubicBezTo>
                <a:cubicBezTo>
                  <a:pt x="673" y="357"/>
                  <a:pt x="674" y="356"/>
                  <a:pt x="676" y="356"/>
                </a:cubicBezTo>
                <a:cubicBezTo>
                  <a:pt x="675" y="356"/>
                  <a:pt x="674" y="356"/>
                  <a:pt x="674" y="356"/>
                </a:cubicBezTo>
                <a:cubicBezTo>
                  <a:pt x="676" y="356"/>
                  <a:pt x="674" y="356"/>
                  <a:pt x="674" y="356"/>
                </a:cubicBezTo>
                <a:close/>
                <a:moveTo>
                  <a:pt x="721" y="341"/>
                </a:moveTo>
                <a:cubicBezTo>
                  <a:pt x="724" y="341"/>
                  <a:pt x="727" y="340"/>
                  <a:pt x="730" y="339"/>
                </a:cubicBezTo>
                <a:cubicBezTo>
                  <a:pt x="731" y="339"/>
                  <a:pt x="737" y="336"/>
                  <a:pt x="737" y="338"/>
                </a:cubicBezTo>
                <a:cubicBezTo>
                  <a:pt x="737" y="340"/>
                  <a:pt x="735" y="341"/>
                  <a:pt x="734" y="342"/>
                </a:cubicBezTo>
                <a:cubicBezTo>
                  <a:pt x="733" y="343"/>
                  <a:pt x="731" y="343"/>
                  <a:pt x="730" y="343"/>
                </a:cubicBezTo>
                <a:cubicBezTo>
                  <a:pt x="728" y="344"/>
                  <a:pt x="727" y="345"/>
                  <a:pt x="725" y="345"/>
                </a:cubicBezTo>
                <a:cubicBezTo>
                  <a:pt x="720" y="347"/>
                  <a:pt x="713" y="348"/>
                  <a:pt x="709" y="344"/>
                </a:cubicBezTo>
                <a:cubicBezTo>
                  <a:pt x="708" y="343"/>
                  <a:pt x="709" y="343"/>
                  <a:pt x="710" y="343"/>
                </a:cubicBezTo>
                <a:cubicBezTo>
                  <a:pt x="711" y="343"/>
                  <a:pt x="713" y="342"/>
                  <a:pt x="715" y="342"/>
                </a:cubicBezTo>
                <a:cubicBezTo>
                  <a:pt x="717" y="342"/>
                  <a:pt x="720" y="342"/>
                  <a:pt x="723" y="341"/>
                </a:cubicBezTo>
                <a:cubicBezTo>
                  <a:pt x="722" y="341"/>
                  <a:pt x="722" y="341"/>
                  <a:pt x="721" y="341"/>
                </a:cubicBezTo>
                <a:cubicBezTo>
                  <a:pt x="724" y="341"/>
                  <a:pt x="721" y="341"/>
                  <a:pt x="721" y="341"/>
                </a:cubicBezTo>
                <a:close/>
                <a:moveTo>
                  <a:pt x="749" y="369"/>
                </a:moveTo>
                <a:cubicBezTo>
                  <a:pt x="748" y="370"/>
                  <a:pt x="745" y="369"/>
                  <a:pt x="745" y="371"/>
                </a:cubicBezTo>
                <a:cubicBezTo>
                  <a:pt x="746" y="372"/>
                  <a:pt x="746" y="373"/>
                  <a:pt x="746" y="374"/>
                </a:cubicBezTo>
                <a:cubicBezTo>
                  <a:pt x="747" y="377"/>
                  <a:pt x="748" y="377"/>
                  <a:pt x="751" y="377"/>
                </a:cubicBezTo>
                <a:cubicBezTo>
                  <a:pt x="753" y="376"/>
                  <a:pt x="755" y="375"/>
                  <a:pt x="754" y="372"/>
                </a:cubicBezTo>
                <a:cubicBezTo>
                  <a:pt x="754" y="371"/>
                  <a:pt x="753" y="369"/>
                  <a:pt x="751" y="369"/>
                </a:cubicBezTo>
                <a:cubicBezTo>
                  <a:pt x="750" y="369"/>
                  <a:pt x="749" y="369"/>
                  <a:pt x="748" y="370"/>
                </a:cubicBezTo>
                <a:cubicBezTo>
                  <a:pt x="748" y="370"/>
                  <a:pt x="748" y="370"/>
                  <a:pt x="749" y="369"/>
                </a:cubicBezTo>
                <a:cubicBezTo>
                  <a:pt x="748" y="370"/>
                  <a:pt x="749" y="369"/>
                  <a:pt x="749" y="369"/>
                </a:cubicBezTo>
                <a:close/>
                <a:moveTo>
                  <a:pt x="593" y="350"/>
                </a:moveTo>
                <a:cubicBezTo>
                  <a:pt x="595" y="350"/>
                  <a:pt x="598" y="350"/>
                  <a:pt x="601" y="350"/>
                </a:cubicBezTo>
                <a:cubicBezTo>
                  <a:pt x="603" y="349"/>
                  <a:pt x="606" y="348"/>
                  <a:pt x="608" y="349"/>
                </a:cubicBezTo>
                <a:cubicBezTo>
                  <a:pt x="610" y="349"/>
                  <a:pt x="612" y="351"/>
                  <a:pt x="614" y="352"/>
                </a:cubicBezTo>
                <a:cubicBezTo>
                  <a:pt x="615" y="353"/>
                  <a:pt x="618" y="354"/>
                  <a:pt x="619" y="356"/>
                </a:cubicBezTo>
                <a:cubicBezTo>
                  <a:pt x="619" y="358"/>
                  <a:pt x="618" y="360"/>
                  <a:pt x="617" y="361"/>
                </a:cubicBezTo>
                <a:cubicBezTo>
                  <a:pt x="617" y="362"/>
                  <a:pt x="617" y="363"/>
                  <a:pt x="616" y="364"/>
                </a:cubicBezTo>
                <a:cubicBezTo>
                  <a:pt x="616" y="366"/>
                  <a:pt x="616" y="367"/>
                  <a:pt x="615" y="368"/>
                </a:cubicBezTo>
                <a:cubicBezTo>
                  <a:pt x="613" y="369"/>
                  <a:pt x="612" y="371"/>
                  <a:pt x="610" y="373"/>
                </a:cubicBezTo>
                <a:cubicBezTo>
                  <a:pt x="609" y="375"/>
                  <a:pt x="606" y="375"/>
                  <a:pt x="604" y="375"/>
                </a:cubicBezTo>
                <a:cubicBezTo>
                  <a:pt x="601" y="374"/>
                  <a:pt x="601" y="372"/>
                  <a:pt x="599" y="370"/>
                </a:cubicBezTo>
                <a:cubicBezTo>
                  <a:pt x="598" y="369"/>
                  <a:pt x="595" y="368"/>
                  <a:pt x="594" y="366"/>
                </a:cubicBezTo>
                <a:cubicBezTo>
                  <a:pt x="590" y="363"/>
                  <a:pt x="585" y="358"/>
                  <a:pt x="580" y="360"/>
                </a:cubicBezTo>
                <a:cubicBezTo>
                  <a:pt x="578" y="360"/>
                  <a:pt x="577" y="358"/>
                  <a:pt x="578" y="356"/>
                </a:cubicBezTo>
                <a:cubicBezTo>
                  <a:pt x="579" y="355"/>
                  <a:pt x="582" y="353"/>
                  <a:pt x="584" y="352"/>
                </a:cubicBezTo>
                <a:cubicBezTo>
                  <a:pt x="587" y="350"/>
                  <a:pt x="591" y="350"/>
                  <a:pt x="595" y="350"/>
                </a:cubicBezTo>
                <a:cubicBezTo>
                  <a:pt x="595" y="350"/>
                  <a:pt x="594" y="350"/>
                  <a:pt x="593" y="350"/>
                </a:cubicBezTo>
                <a:cubicBezTo>
                  <a:pt x="595" y="350"/>
                  <a:pt x="593" y="350"/>
                  <a:pt x="593" y="350"/>
                </a:cubicBezTo>
                <a:close/>
                <a:moveTo>
                  <a:pt x="562" y="353"/>
                </a:moveTo>
                <a:cubicBezTo>
                  <a:pt x="564" y="353"/>
                  <a:pt x="566" y="353"/>
                  <a:pt x="566" y="355"/>
                </a:cubicBezTo>
                <a:cubicBezTo>
                  <a:pt x="567" y="358"/>
                  <a:pt x="563" y="356"/>
                  <a:pt x="562" y="356"/>
                </a:cubicBezTo>
                <a:cubicBezTo>
                  <a:pt x="561" y="356"/>
                  <a:pt x="557" y="357"/>
                  <a:pt x="559" y="355"/>
                </a:cubicBezTo>
                <a:cubicBezTo>
                  <a:pt x="560" y="353"/>
                  <a:pt x="562" y="353"/>
                  <a:pt x="563" y="353"/>
                </a:cubicBezTo>
                <a:cubicBezTo>
                  <a:pt x="563" y="353"/>
                  <a:pt x="562" y="353"/>
                  <a:pt x="562" y="353"/>
                </a:cubicBezTo>
                <a:cubicBezTo>
                  <a:pt x="563" y="353"/>
                  <a:pt x="562" y="353"/>
                  <a:pt x="562" y="353"/>
                </a:cubicBezTo>
                <a:close/>
                <a:moveTo>
                  <a:pt x="610" y="396"/>
                </a:moveTo>
                <a:cubicBezTo>
                  <a:pt x="610" y="395"/>
                  <a:pt x="610" y="394"/>
                  <a:pt x="609" y="392"/>
                </a:cubicBezTo>
                <a:cubicBezTo>
                  <a:pt x="609" y="391"/>
                  <a:pt x="608" y="390"/>
                  <a:pt x="607" y="389"/>
                </a:cubicBezTo>
                <a:cubicBezTo>
                  <a:pt x="605" y="387"/>
                  <a:pt x="604" y="384"/>
                  <a:pt x="602" y="381"/>
                </a:cubicBezTo>
                <a:cubicBezTo>
                  <a:pt x="601" y="379"/>
                  <a:pt x="600" y="377"/>
                  <a:pt x="599" y="376"/>
                </a:cubicBezTo>
                <a:cubicBezTo>
                  <a:pt x="597" y="373"/>
                  <a:pt x="594" y="373"/>
                  <a:pt x="592" y="373"/>
                </a:cubicBezTo>
                <a:cubicBezTo>
                  <a:pt x="589" y="372"/>
                  <a:pt x="587" y="371"/>
                  <a:pt x="586" y="368"/>
                </a:cubicBezTo>
                <a:cubicBezTo>
                  <a:pt x="585" y="366"/>
                  <a:pt x="584" y="365"/>
                  <a:pt x="581" y="365"/>
                </a:cubicBezTo>
                <a:cubicBezTo>
                  <a:pt x="580" y="365"/>
                  <a:pt x="579" y="366"/>
                  <a:pt x="578" y="367"/>
                </a:cubicBezTo>
                <a:cubicBezTo>
                  <a:pt x="577" y="368"/>
                  <a:pt x="575" y="368"/>
                  <a:pt x="574" y="368"/>
                </a:cubicBezTo>
                <a:cubicBezTo>
                  <a:pt x="573" y="368"/>
                  <a:pt x="571" y="368"/>
                  <a:pt x="570" y="367"/>
                </a:cubicBezTo>
                <a:cubicBezTo>
                  <a:pt x="569" y="366"/>
                  <a:pt x="568" y="365"/>
                  <a:pt x="567" y="365"/>
                </a:cubicBezTo>
                <a:cubicBezTo>
                  <a:pt x="566" y="364"/>
                  <a:pt x="563" y="364"/>
                  <a:pt x="562" y="365"/>
                </a:cubicBezTo>
                <a:cubicBezTo>
                  <a:pt x="560" y="366"/>
                  <a:pt x="564" y="368"/>
                  <a:pt x="562" y="369"/>
                </a:cubicBezTo>
                <a:cubicBezTo>
                  <a:pt x="560" y="369"/>
                  <a:pt x="558" y="368"/>
                  <a:pt x="557" y="369"/>
                </a:cubicBezTo>
                <a:cubicBezTo>
                  <a:pt x="555" y="370"/>
                  <a:pt x="556" y="372"/>
                  <a:pt x="556" y="374"/>
                </a:cubicBezTo>
                <a:cubicBezTo>
                  <a:pt x="557" y="376"/>
                  <a:pt x="558" y="378"/>
                  <a:pt x="560" y="380"/>
                </a:cubicBezTo>
                <a:cubicBezTo>
                  <a:pt x="561" y="382"/>
                  <a:pt x="562" y="384"/>
                  <a:pt x="562" y="387"/>
                </a:cubicBezTo>
                <a:cubicBezTo>
                  <a:pt x="562" y="388"/>
                  <a:pt x="562" y="389"/>
                  <a:pt x="562" y="390"/>
                </a:cubicBezTo>
                <a:cubicBezTo>
                  <a:pt x="563" y="391"/>
                  <a:pt x="564" y="391"/>
                  <a:pt x="564" y="392"/>
                </a:cubicBezTo>
                <a:cubicBezTo>
                  <a:pt x="565" y="393"/>
                  <a:pt x="566" y="395"/>
                  <a:pt x="566" y="396"/>
                </a:cubicBezTo>
                <a:cubicBezTo>
                  <a:pt x="566" y="397"/>
                  <a:pt x="564" y="397"/>
                  <a:pt x="564" y="399"/>
                </a:cubicBezTo>
                <a:cubicBezTo>
                  <a:pt x="564" y="401"/>
                  <a:pt x="565" y="403"/>
                  <a:pt x="568" y="404"/>
                </a:cubicBezTo>
                <a:cubicBezTo>
                  <a:pt x="569" y="405"/>
                  <a:pt x="572" y="406"/>
                  <a:pt x="573" y="408"/>
                </a:cubicBezTo>
                <a:cubicBezTo>
                  <a:pt x="574" y="409"/>
                  <a:pt x="573" y="410"/>
                  <a:pt x="573" y="411"/>
                </a:cubicBezTo>
                <a:cubicBezTo>
                  <a:pt x="573" y="412"/>
                  <a:pt x="573" y="413"/>
                  <a:pt x="572" y="413"/>
                </a:cubicBezTo>
                <a:cubicBezTo>
                  <a:pt x="571" y="415"/>
                  <a:pt x="567" y="413"/>
                  <a:pt x="566" y="415"/>
                </a:cubicBezTo>
                <a:cubicBezTo>
                  <a:pt x="565" y="417"/>
                  <a:pt x="566" y="419"/>
                  <a:pt x="563" y="419"/>
                </a:cubicBezTo>
                <a:cubicBezTo>
                  <a:pt x="561" y="419"/>
                  <a:pt x="559" y="416"/>
                  <a:pt x="558" y="415"/>
                </a:cubicBezTo>
                <a:cubicBezTo>
                  <a:pt x="557" y="414"/>
                  <a:pt x="556" y="413"/>
                  <a:pt x="556" y="412"/>
                </a:cubicBezTo>
                <a:cubicBezTo>
                  <a:pt x="556" y="411"/>
                  <a:pt x="556" y="409"/>
                  <a:pt x="556" y="408"/>
                </a:cubicBezTo>
                <a:cubicBezTo>
                  <a:pt x="555" y="407"/>
                  <a:pt x="554" y="407"/>
                  <a:pt x="554" y="405"/>
                </a:cubicBezTo>
                <a:cubicBezTo>
                  <a:pt x="554" y="404"/>
                  <a:pt x="554" y="403"/>
                  <a:pt x="553" y="401"/>
                </a:cubicBezTo>
                <a:cubicBezTo>
                  <a:pt x="552" y="399"/>
                  <a:pt x="550" y="399"/>
                  <a:pt x="549" y="396"/>
                </a:cubicBezTo>
                <a:cubicBezTo>
                  <a:pt x="549" y="395"/>
                  <a:pt x="550" y="393"/>
                  <a:pt x="549" y="391"/>
                </a:cubicBezTo>
                <a:cubicBezTo>
                  <a:pt x="549" y="390"/>
                  <a:pt x="549" y="388"/>
                  <a:pt x="547" y="388"/>
                </a:cubicBezTo>
                <a:cubicBezTo>
                  <a:pt x="546" y="388"/>
                  <a:pt x="545" y="388"/>
                  <a:pt x="543" y="388"/>
                </a:cubicBezTo>
                <a:cubicBezTo>
                  <a:pt x="542" y="387"/>
                  <a:pt x="543" y="387"/>
                  <a:pt x="543" y="385"/>
                </a:cubicBezTo>
                <a:cubicBezTo>
                  <a:pt x="543" y="384"/>
                  <a:pt x="542" y="383"/>
                  <a:pt x="541" y="382"/>
                </a:cubicBezTo>
                <a:cubicBezTo>
                  <a:pt x="540" y="381"/>
                  <a:pt x="540" y="382"/>
                  <a:pt x="538" y="382"/>
                </a:cubicBezTo>
                <a:cubicBezTo>
                  <a:pt x="536" y="381"/>
                  <a:pt x="532" y="380"/>
                  <a:pt x="531" y="378"/>
                </a:cubicBezTo>
                <a:cubicBezTo>
                  <a:pt x="531" y="378"/>
                  <a:pt x="531" y="376"/>
                  <a:pt x="531" y="376"/>
                </a:cubicBezTo>
                <a:cubicBezTo>
                  <a:pt x="530" y="375"/>
                  <a:pt x="528" y="376"/>
                  <a:pt x="527" y="376"/>
                </a:cubicBezTo>
                <a:cubicBezTo>
                  <a:pt x="524" y="376"/>
                  <a:pt x="520" y="374"/>
                  <a:pt x="517" y="375"/>
                </a:cubicBezTo>
                <a:cubicBezTo>
                  <a:pt x="517" y="375"/>
                  <a:pt x="515" y="375"/>
                  <a:pt x="514" y="376"/>
                </a:cubicBezTo>
                <a:cubicBezTo>
                  <a:pt x="514" y="376"/>
                  <a:pt x="515" y="377"/>
                  <a:pt x="516" y="378"/>
                </a:cubicBezTo>
                <a:cubicBezTo>
                  <a:pt x="517" y="378"/>
                  <a:pt x="517" y="379"/>
                  <a:pt x="518" y="380"/>
                </a:cubicBezTo>
                <a:cubicBezTo>
                  <a:pt x="519" y="380"/>
                  <a:pt x="521" y="378"/>
                  <a:pt x="522" y="379"/>
                </a:cubicBezTo>
                <a:cubicBezTo>
                  <a:pt x="522" y="380"/>
                  <a:pt x="522" y="381"/>
                  <a:pt x="523" y="381"/>
                </a:cubicBezTo>
                <a:cubicBezTo>
                  <a:pt x="523" y="381"/>
                  <a:pt x="524" y="381"/>
                  <a:pt x="524" y="381"/>
                </a:cubicBezTo>
                <a:cubicBezTo>
                  <a:pt x="526" y="382"/>
                  <a:pt x="527" y="382"/>
                  <a:pt x="529" y="382"/>
                </a:cubicBezTo>
                <a:cubicBezTo>
                  <a:pt x="530" y="382"/>
                  <a:pt x="531" y="383"/>
                  <a:pt x="531" y="384"/>
                </a:cubicBezTo>
                <a:cubicBezTo>
                  <a:pt x="530" y="386"/>
                  <a:pt x="526" y="385"/>
                  <a:pt x="526" y="386"/>
                </a:cubicBezTo>
                <a:cubicBezTo>
                  <a:pt x="526" y="388"/>
                  <a:pt x="530" y="389"/>
                  <a:pt x="529" y="390"/>
                </a:cubicBezTo>
                <a:cubicBezTo>
                  <a:pt x="529" y="391"/>
                  <a:pt x="528" y="392"/>
                  <a:pt x="527" y="393"/>
                </a:cubicBezTo>
                <a:cubicBezTo>
                  <a:pt x="526" y="394"/>
                  <a:pt x="525" y="392"/>
                  <a:pt x="524" y="392"/>
                </a:cubicBezTo>
                <a:cubicBezTo>
                  <a:pt x="522" y="391"/>
                  <a:pt x="512" y="386"/>
                  <a:pt x="512" y="390"/>
                </a:cubicBezTo>
                <a:cubicBezTo>
                  <a:pt x="512" y="392"/>
                  <a:pt x="509" y="392"/>
                  <a:pt x="509" y="394"/>
                </a:cubicBezTo>
                <a:cubicBezTo>
                  <a:pt x="509" y="395"/>
                  <a:pt x="509" y="396"/>
                  <a:pt x="508" y="397"/>
                </a:cubicBezTo>
                <a:cubicBezTo>
                  <a:pt x="507" y="398"/>
                  <a:pt x="506" y="397"/>
                  <a:pt x="505" y="397"/>
                </a:cubicBezTo>
                <a:cubicBezTo>
                  <a:pt x="504" y="396"/>
                  <a:pt x="501" y="392"/>
                  <a:pt x="500" y="394"/>
                </a:cubicBezTo>
                <a:cubicBezTo>
                  <a:pt x="499" y="396"/>
                  <a:pt x="501" y="398"/>
                  <a:pt x="499" y="400"/>
                </a:cubicBezTo>
                <a:cubicBezTo>
                  <a:pt x="498" y="401"/>
                  <a:pt x="496" y="400"/>
                  <a:pt x="496" y="399"/>
                </a:cubicBezTo>
                <a:cubicBezTo>
                  <a:pt x="496" y="398"/>
                  <a:pt x="496" y="397"/>
                  <a:pt x="495" y="396"/>
                </a:cubicBezTo>
                <a:cubicBezTo>
                  <a:pt x="495" y="395"/>
                  <a:pt x="494" y="394"/>
                  <a:pt x="494" y="393"/>
                </a:cubicBezTo>
                <a:cubicBezTo>
                  <a:pt x="496" y="389"/>
                  <a:pt x="501" y="391"/>
                  <a:pt x="503" y="388"/>
                </a:cubicBezTo>
                <a:cubicBezTo>
                  <a:pt x="504" y="387"/>
                  <a:pt x="502" y="387"/>
                  <a:pt x="502" y="386"/>
                </a:cubicBezTo>
                <a:cubicBezTo>
                  <a:pt x="500" y="386"/>
                  <a:pt x="499" y="385"/>
                  <a:pt x="498" y="385"/>
                </a:cubicBezTo>
                <a:cubicBezTo>
                  <a:pt x="497" y="384"/>
                  <a:pt x="495" y="384"/>
                  <a:pt x="494" y="384"/>
                </a:cubicBezTo>
                <a:cubicBezTo>
                  <a:pt x="493" y="383"/>
                  <a:pt x="491" y="382"/>
                  <a:pt x="490" y="381"/>
                </a:cubicBezTo>
                <a:cubicBezTo>
                  <a:pt x="489" y="381"/>
                  <a:pt x="488" y="380"/>
                  <a:pt x="486" y="380"/>
                </a:cubicBezTo>
                <a:cubicBezTo>
                  <a:pt x="485" y="380"/>
                  <a:pt x="485" y="379"/>
                  <a:pt x="484" y="378"/>
                </a:cubicBezTo>
                <a:cubicBezTo>
                  <a:pt x="482" y="376"/>
                  <a:pt x="479" y="375"/>
                  <a:pt x="476" y="375"/>
                </a:cubicBezTo>
                <a:cubicBezTo>
                  <a:pt x="475" y="374"/>
                  <a:pt x="474" y="374"/>
                  <a:pt x="473" y="375"/>
                </a:cubicBezTo>
                <a:cubicBezTo>
                  <a:pt x="472" y="375"/>
                  <a:pt x="471" y="376"/>
                  <a:pt x="470" y="377"/>
                </a:cubicBezTo>
                <a:cubicBezTo>
                  <a:pt x="469" y="377"/>
                  <a:pt x="467" y="378"/>
                  <a:pt x="466" y="379"/>
                </a:cubicBezTo>
                <a:cubicBezTo>
                  <a:pt x="466" y="380"/>
                  <a:pt x="464" y="382"/>
                  <a:pt x="466" y="382"/>
                </a:cubicBezTo>
                <a:cubicBezTo>
                  <a:pt x="467" y="382"/>
                  <a:pt x="469" y="382"/>
                  <a:pt x="470" y="382"/>
                </a:cubicBezTo>
                <a:cubicBezTo>
                  <a:pt x="471" y="383"/>
                  <a:pt x="467" y="385"/>
                  <a:pt x="466" y="386"/>
                </a:cubicBezTo>
                <a:cubicBezTo>
                  <a:pt x="466" y="386"/>
                  <a:pt x="465" y="387"/>
                  <a:pt x="464" y="387"/>
                </a:cubicBezTo>
                <a:cubicBezTo>
                  <a:pt x="463" y="386"/>
                  <a:pt x="464" y="385"/>
                  <a:pt x="463" y="384"/>
                </a:cubicBezTo>
                <a:cubicBezTo>
                  <a:pt x="461" y="384"/>
                  <a:pt x="457" y="384"/>
                  <a:pt x="455" y="385"/>
                </a:cubicBezTo>
                <a:cubicBezTo>
                  <a:pt x="454" y="386"/>
                  <a:pt x="452" y="388"/>
                  <a:pt x="450" y="388"/>
                </a:cubicBezTo>
                <a:cubicBezTo>
                  <a:pt x="448" y="387"/>
                  <a:pt x="447" y="386"/>
                  <a:pt x="449" y="385"/>
                </a:cubicBezTo>
                <a:cubicBezTo>
                  <a:pt x="450" y="385"/>
                  <a:pt x="451" y="385"/>
                  <a:pt x="452" y="385"/>
                </a:cubicBezTo>
                <a:cubicBezTo>
                  <a:pt x="453" y="385"/>
                  <a:pt x="452" y="383"/>
                  <a:pt x="452" y="382"/>
                </a:cubicBezTo>
                <a:cubicBezTo>
                  <a:pt x="453" y="380"/>
                  <a:pt x="455" y="380"/>
                  <a:pt x="457" y="380"/>
                </a:cubicBezTo>
                <a:cubicBezTo>
                  <a:pt x="460" y="378"/>
                  <a:pt x="457" y="376"/>
                  <a:pt x="457" y="374"/>
                </a:cubicBezTo>
                <a:cubicBezTo>
                  <a:pt x="457" y="371"/>
                  <a:pt x="458" y="370"/>
                  <a:pt x="456" y="368"/>
                </a:cubicBezTo>
                <a:cubicBezTo>
                  <a:pt x="454" y="366"/>
                  <a:pt x="452" y="364"/>
                  <a:pt x="449" y="363"/>
                </a:cubicBezTo>
                <a:cubicBezTo>
                  <a:pt x="447" y="362"/>
                  <a:pt x="444" y="363"/>
                  <a:pt x="442" y="364"/>
                </a:cubicBezTo>
                <a:cubicBezTo>
                  <a:pt x="439" y="365"/>
                  <a:pt x="436" y="367"/>
                  <a:pt x="432" y="368"/>
                </a:cubicBezTo>
                <a:cubicBezTo>
                  <a:pt x="430" y="369"/>
                  <a:pt x="427" y="369"/>
                  <a:pt x="424" y="370"/>
                </a:cubicBezTo>
                <a:cubicBezTo>
                  <a:pt x="421" y="371"/>
                  <a:pt x="418" y="372"/>
                  <a:pt x="414" y="373"/>
                </a:cubicBezTo>
                <a:cubicBezTo>
                  <a:pt x="409" y="375"/>
                  <a:pt x="403" y="375"/>
                  <a:pt x="398" y="379"/>
                </a:cubicBezTo>
                <a:cubicBezTo>
                  <a:pt x="396" y="381"/>
                  <a:pt x="394" y="382"/>
                  <a:pt x="391" y="384"/>
                </a:cubicBezTo>
                <a:cubicBezTo>
                  <a:pt x="389" y="385"/>
                  <a:pt x="386" y="387"/>
                  <a:pt x="384" y="389"/>
                </a:cubicBezTo>
                <a:cubicBezTo>
                  <a:pt x="382" y="391"/>
                  <a:pt x="381" y="393"/>
                  <a:pt x="383" y="395"/>
                </a:cubicBezTo>
                <a:cubicBezTo>
                  <a:pt x="384" y="396"/>
                  <a:pt x="388" y="396"/>
                  <a:pt x="386" y="398"/>
                </a:cubicBezTo>
                <a:cubicBezTo>
                  <a:pt x="386" y="399"/>
                  <a:pt x="385" y="398"/>
                  <a:pt x="384" y="398"/>
                </a:cubicBezTo>
                <a:cubicBezTo>
                  <a:pt x="383" y="398"/>
                  <a:pt x="382" y="399"/>
                  <a:pt x="381" y="400"/>
                </a:cubicBezTo>
                <a:cubicBezTo>
                  <a:pt x="380" y="401"/>
                  <a:pt x="379" y="402"/>
                  <a:pt x="378" y="402"/>
                </a:cubicBezTo>
                <a:cubicBezTo>
                  <a:pt x="377" y="403"/>
                  <a:pt x="376" y="403"/>
                  <a:pt x="375" y="405"/>
                </a:cubicBezTo>
                <a:cubicBezTo>
                  <a:pt x="374" y="407"/>
                  <a:pt x="372" y="409"/>
                  <a:pt x="372" y="412"/>
                </a:cubicBezTo>
                <a:cubicBezTo>
                  <a:pt x="372" y="413"/>
                  <a:pt x="372" y="414"/>
                  <a:pt x="372" y="415"/>
                </a:cubicBezTo>
                <a:cubicBezTo>
                  <a:pt x="372" y="417"/>
                  <a:pt x="372" y="417"/>
                  <a:pt x="373" y="417"/>
                </a:cubicBezTo>
                <a:cubicBezTo>
                  <a:pt x="376" y="417"/>
                  <a:pt x="378" y="417"/>
                  <a:pt x="381" y="418"/>
                </a:cubicBezTo>
                <a:cubicBezTo>
                  <a:pt x="382" y="418"/>
                  <a:pt x="383" y="419"/>
                  <a:pt x="384" y="419"/>
                </a:cubicBezTo>
                <a:cubicBezTo>
                  <a:pt x="385" y="420"/>
                  <a:pt x="387" y="419"/>
                  <a:pt x="388" y="419"/>
                </a:cubicBezTo>
                <a:cubicBezTo>
                  <a:pt x="389" y="418"/>
                  <a:pt x="391" y="416"/>
                  <a:pt x="392" y="417"/>
                </a:cubicBezTo>
                <a:cubicBezTo>
                  <a:pt x="393" y="418"/>
                  <a:pt x="390" y="420"/>
                  <a:pt x="389" y="420"/>
                </a:cubicBezTo>
                <a:cubicBezTo>
                  <a:pt x="388" y="421"/>
                  <a:pt x="386" y="423"/>
                  <a:pt x="387" y="424"/>
                </a:cubicBezTo>
                <a:cubicBezTo>
                  <a:pt x="387" y="426"/>
                  <a:pt x="389" y="425"/>
                  <a:pt x="390" y="425"/>
                </a:cubicBezTo>
                <a:cubicBezTo>
                  <a:pt x="392" y="425"/>
                  <a:pt x="394" y="426"/>
                  <a:pt x="395" y="425"/>
                </a:cubicBezTo>
                <a:cubicBezTo>
                  <a:pt x="396" y="425"/>
                  <a:pt x="398" y="425"/>
                  <a:pt x="398" y="424"/>
                </a:cubicBezTo>
                <a:cubicBezTo>
                  <a:pt x="398" y="424"/>
                  <a:pt x="398" y="423"/>
                  <a:pt x="398" y="422"/>
                </a:cubicBezTo>
                <a:cubicBezTo>
                  <a:pt x="399" y="421"/>
                  <a:pt x="401" y="424"/>
                  <a:pt x="401" y="424"/>
                </a:cubicBezTo>
                <a:cubicBezTo>
                  <a:pt x="402" y="425"/>
                  <a:pt x="404" y="425"/>
                  <a:pt x="405" y="424"/>
                </a:cubicBezTo>
                <a:cubicBezTo>
                  <a:pt x="407" y="424"/>
                  <a:pt x="408" y="424"/>
                  <a:pt x="410" y="424"/>
                </a:cubicBezTo>
                <a:cubicBezTo>
                  <a:pt x="413" y="423"/>
                  <a:pt x="416" y="422"/>
                  <a:pt x="418" y="422"/>
                </a:cubicBezTo>
                <a:cubicBezTo>
                  <a:pt x="419" y="422"/>
                  <a:pt x="423" y="421"/>
                  <a:pt x="423" y="422"/>
                </a:cubicBezTo>
                <a:cubicBezTo>
                  <a:pt x="422" y="423"/>
                  <a:pt x="420" y="424"/>
                  <a:pt x="419" y="424"/>
                </a:cubicBezTo>
                <a:cubicBezTo>
                  <a:pt x="417" y="425"/>
                  <a:pt x="415" y="425"/>
                  <a:pt x="413" y="426"/>
                </a:cubicBezTo>
                <a:cubicBezTo>
                  <a:pt x="410" y="427"/>
                  <a:pt x="407" y="428"/>
                  <a:pt x="405" y="430"/>
                </a:cubicBezTo>
                <a:cubicBezTo>
                  <a:pt x="402" y="431"/>
                  <a:pt x="399" y="432"/>
                  <a:pt x="396" y="433"/>
                </a:cubicBezTo>
                <a:cubicBezTo>
                  <a:pt x="393" y="433"/>
                  <a:pt x="391" y="434"/>
                  <a:pt x="389" y="436"/>
                </a:cubicBezTo>
                <a:cubicBezTo>
                  <a:pt x="387" y="437"/>
                  <a:pt x="383" y="437"/>
                  <a:pt x="384" y="440"/>
                </a:cubicBezTo>
                <a:cubicBezTo>
                  <a:pt x="386" y="444"/>
                  <a:pt x="393" y="446"/>
                  <a:pt x="396" y="448"/>
                </a:cubicBezTo>
                <a:cubicBezTo>
                  <a:pt x="399" y="450"/>
                  <a:pt x="402" y="449"/>
                  <a:pt x="405" y="449"/>
                </a:cubicBezTo>
                <a:cubicBezTo>
                  <a:pt x="408" y="449"/>
                  <a:pt x="411" y="448"/>
                  <a:pt x="415" y="448"/>
                </a:cubicBezTo>
                <a:cubicBezTo>
                  <a:pt x="416" y="448"/>
                  <a:pt x="417" y="448"/>
                  <a:pt x="419" y="449"/>
                </a:cubicBezTo>
                <a:cubicBezTo>
                  <a:pt x="420" y="449"/>
                  <a:pt x="421" y="450"/>
                  <a:pt x="422" y="451"/>
                </a:cubicBezTo>
                <a:cubicBezTo>
                  <a:pt x="425" y="452"/>
                  <a:pt x="429" y="451"/>
                  <a:pt x="431" y="450"/>
                </a:cubicBezTo>
                <a:cubicBezTo>
                  <a:pt x="434" y="450"/>
                  <a:pt x="437" y="450"/>
                  <a:pt x="440" y="449"/>
                </a:cubicBezTo>
                <a:cubicBezTo>
                  <a:pt x="443" y="449"/>
                  <a:pt x="446" y="447"/>
                  <a:pt x="449" y="447"/>
                </a:cubicBezTo>
                <a:cubicBezTo>
                  <a:pt x="452" y="446"/>
                  <a:pt x="455" y="446"/>
                  <a:pt x="457" y="446"/>
                </a:cubicBezTo>
                <a:cubicBezTo>
                  <a:pt x="460" y="447"/>
                  <a:pt x="464" y="447"/>
                  <a:pt x="467" y="447"/>
                </a:cubicBezTo>
                <a:cubicBezTo>
                  <a:pt x="469" y="447"/>
                  <a:pt x="472" y="448"/>
                  <a:pt x="474" y="450"/>
                </a:cubicBezTo>
                <a:cubicBezTo>
                  <a:pt x="475" y="451"/>
                  <a:pt x="476" y="451"/>
                  <a:pt x="477" y="452"/>
                </a:cubicBezTo>
                <a:cubicBezTo>
                  <a:pt x="478" y="452"/>
                  <a:pt x="480" y="453"/>
                  <a:pt x="481" y="453"/>
                </a:cubicBezTo>
                <a:cubicBezTo>
                  <a:pt x="484" y="453"/>
                  <a:pt x="486" y="453"/>
                  <a:pt x="489" y="453"/>
                </a:cubicBezTo>
                <a:cubicBezTo>
                  <a:pt x="492" y="453"/>
                  <a:pt x="491" y="457"/>
                  <a:pt x="494" y="457"/>
                </a:cubicBezTo>
                <a:cubicBezTo>
                  <a:pt x="496" y="457"/>
                  <a:pt x="498" y="457"/>
                  <a:pt x="500" y="458"/>
                </a:cubicBezTo>
                <a:cubicBezTo>
                  <a:pt x="500" y="458"/>
                  <a:pt x="500" y="459"/>
                  <a:pt x="500" y="460"/>
                </a:cubicBezTo>
                <a:cubicBezTo>
                  <a:pt x="499" y="461"/>
                  <a:pt x="497" y="460"/>
                  <a:pt x="496" y="460"/>
                </a:cubicBezTo>
                <a:cubicBezTo>
                  <a:pt x="494" y="459"/>
                  <a:pt x="490" y="459"/>
                  <a:pt x="488" y="460"/>
                </a:cubicBezTo>
                <a:cubicBezTo>
                  <a:pt x="486" y="462"/>
                  <a:pt x="484" y="462"/>
                  <a:pt x="481" y="462"/>
                </a:cubicBezTo>
                <a:cubicBezTo>
                  <a:pt x="478" y="462"/>
                  <a:pt x="475" y="462"/>
                  <a:pt x="472" y="461"/>
                </a:cubicBezTo>
                <a:cubicBezTo>
                  <a:pt x="469" y="461"/>
                  <a:pt x="466" y="459"/>
                  <a:pt x="463" y="459"/>
                </a:cubicBezTo>
                <a:cubicBezTo>
                  <a:pt x="460" y="460"/>
                  <a:pt x="457" y="460"/>
                  <a:pt x="454" y="459"/>
                </a:cubicBezTo>
                <a:cubicBezTo>
                  <a:pt x="451" y="459"/>
                  <a:pt x="448" y="459"/>
                  <a:pt x="445" y="460"/>
                </a:cubicBezTo>
                <a:cubicBezTo>
                  <a:pt x="442" y="460"/>
                  <a:pt x="438" y="461"/>
                  <a:pt x="435" y="461"/>
                </a:cubicBezTo>
                <a:cubicBezTo>
                  <a:pt x="432" y="461"/>
                  <a:pt x="429" y="461"/>
                  <a:pt x="426" y="461"/>
                </a:cubicBezTo>
                <a:cubicBezTo>
                  <a:pt x="423" y="462"/>
                  <a:pt x="420" y="463"/>
                  <a:pt x="417" y="464"/>
                </a:cubicBezTo>
                <a:cubicBezTo>
                  <a:pt x="414" y="465"/>
                  <a:pt x="411" y="466"/>
                  <a:pt x="408" y="466"/>
                </a:cubicBezTo>
                <a:cubicBezTo>
                  <a:pt x="406" y="467"/>
                  <a:pt x="403" y="466"/>
                  <a:pt x="401" y="468"/>
                </a:cubicBezTo>
                <a:cubicBezTo>
                  <a:pt x="400" y="470"/>
                  <a:pt x="402" y="472"/>
                  <a:pt x="403" y="473"/>
                </a:cubicBezTo>
                <a:cubicBezTo>
                  <a:pt x="404" y="475"/>
                  <a:pt x="406" y="476"/>
                  <a:pt x="408" y="477"/>
                </a:cubicBezTo>
                <a:cubicBezTo>
                  <a:pt x="408" y="478"/>
                  <a:pt x="409" y="478"/>
                  <a:pt x="410" y="479"/>
                </a:cubicBezTo>
                <a:cubicBezTo>
                  <a:pt x="410" y="480"/>
                  <a:pt x="411" y="480"/>
                  <a:pt x="412" y="481"/>
                </a:cubicBezTo>
                <a:cubicBezTo>
                  <a:pt x="413" y="482"/>
                  <a:pt x="415" y="483"/>
                  <a:pt x="417" y="484"/>
                </a:cubicBezTo>
                <a:cubicBezTo>
                  <a:pt x="419" y="485"/>
                  <a:pt x="421" y="488"/>
                  <a:pt x="424" y="489"/>
                </a:cubicBezTo>
                <a:cubicBezTo>
                  <a:pt x="425" y="490"/>
                  <a:pt x="426" y="489"/>
                  <a:pt x="427" y="489"/>
                </a:cubicBezTo>
                <a:cubicBezTo>
                  <a:pt x="429" y="490"/>
                  <a:pt x="430" y="490"/>
                  <a:pt x="432" y="490"/>
                </a:cubicBezTo>
                <a:cubicBezTo>
                  <a:pt x="435" y="490"/>
                  <a:pt x="438" y="490"/>
                  <a:pt x="441" y="490"/>
                </a:cubicBezTo>
                <a:cubicBezTo>
                  <a:pt x="447" y="490"/>
                  <a:pt x="452" y="494"/>
                  <a:pt x="458" y="493"/>
                </a:cubicBezTo>
                <a:cubicBezTo>
                  <a:pt x="460" y="493"/>
                  <a:pt x="464" y="491"/>
                  <a:pt x="465" y="493"/>
                </a:cubicBezTo>
                <a:cubicBezTo>
                  <a:pt x="466" y="494"/>
                  <a:pt x="465" y="495"/>
                  <a:pt x="465" y="496"/>
                </a:cubicBezTo>
                <a:cubicBezTo>
                  <a:pt x="465" y="498"/>
                  <a:pt x="466" y="499"/>
                  <a:pt x="465" y="500"/>
                </a:cubicBezTo>
                <a:cubicBezTo>
                  <a:pt x="465" y="501"/>
                  <a:pt x="465" y="503"/>
                  <a:pt x="465" y="504"/>
                </a:cubicBezTo>
                <a:cubicBezTo>
                  <a:pt x="465" y="505"/>
                  <a:pt x="466" y="506"/>
                  <a:pt x="467" y="507"/>
                </a:cubicBezTo>
                <a:cubicBezTo>
                  <a:pt x="469" y="509"/>
                  <a:pt x="470" y="511"/>
                  <a:pt x="473" y="512"/>
                </a:cubicBezTo>
                <a:cubicBezTo>
                  <a:pt x="477" y="514"/>
                  <a:pt x="482" y="514"/>
                  <a:pt x="486" y="513"/>
                </a:cubicBezTo>
                <a:cubicBezTo>
                  <a:pt x="492" y="512"/>
                  <a:pt x="497" y="511"/>
                  <a:pt x="503" y="510"/>
                </a:cubicBezTo>
                <a:cubicBezTo>
                  <a:pt x="504" y="510"/>
                  <a:pt x="509" y="510"/>
                  <a:pt x="509" y="511"/>
                </a:cubicBezTo>
                <a:cubicBezTo>
                  <a:pt x="509" y="512"/>
                  <a:pt x="508" y="512"/>
                  <a:pt x="508" y="513"/>
                </a:cubicBezTo>
                <a:cubicBezTo>
                  <a:pt x="508" y="514"/>
                  <a:pt x="509" y="514"/>
                  <a:pt x="510" y="514"/>
                </a:cubicBezTo>
                <a:cubicBezTo>
                  <a:pt x="511" y="514"/>
                  <a:pt x="513" y="515"/>
                  <a:pt x="514" y="514"/>
                </a:cubicBezTo>
                <a:cubicBezTo>
                  <a:pt x="515" y="513"/>
                  <a:pt x="511" y="511"/>
                  <a:pt x="513" y="510"/>
                </a:cubicBezTo>
                <a:cubicBezTo>
                  <a:pt x="515" y="509"/>
                  <a:pt x="518" y="509"/>
                  <a:pt x="521" y="509"/>
                </a:cubicBezTo>
                <a:cubicBezTo>
                  <a:pt x="524" y="509"/>
                  <a:pt x="527" y="509"/>
                  <a:pt x="530" y="508"/>
                </a:cubicBezTo>
                <a:cubicBezTo>
                  <a:pt x="533" y="508"/>
                  <a:pt x="536" y="507"/>
                  <a:pt x="539" y="507"/>
                </a:cubicBezTo>
                <a:cubicBezTo>
                  <a:pt x="542" y="506"/>
                  <a:pt x="545" y="506"/>
                  <a:pt x="547" y="504"/>
                </a:cubicBezTo>
                <a:cubicBezTo>
                  <a:pt x="549" y="503"/>
                  <a:pt x="550" y="501"/>
                  <a:pt x="552" y="499"/>
                </a:cubicBezTo>
                <a:cubicBezTo>
                  <a:pt x="554" y="498"/>
                  <a:pt x="557" y="498"/>
                  <a:pt x="560" y="498"/>
                </a:cubicBezTo>
                <a:cubicBezTo>
                  <a:pt x="563" y="499"/>
                  <a:pt x="566" y="499"/>
                  <a:pt x="568" y="498"/>
                </a:cubicBezTo>
                <a:cubicBezTo>
                  <a:pt x="571" y="498"/>
                  <a:pt x="574" y="496"/>
                  <a:pt x="576" y="494"/>
                </a:cubicBezTo>
                <a:cubicBezTo>
                  <a:pt x="577" y="494"/>
                  <a:pt x="578" y="493"/>
                  <a:pt x="578" y="492"/>
                </a:cubicBezTo>
                <a:cubicBezTo>
                  <a:pt x="579" y="491"/>
                  <a:pt x="579" y="491"/>
                  <a:pt x="579" y="490"/>
                </a:cubicBezTo>
                <a:cubicBezTo>
                  <a:pt x="579" y="487"/>
                  <a:pt x="581" y="487"/>
                  <a:pt x="583" y="485"/>
                </a:cubicBezTo>
                <a:cubicBezTo>
                  <a:pt x="584" y="484"/>
                  <a:pt x="585" y="482"/>
                  <a:pt x="586" y="484"/>
                </a:cubicBezTo>
                <a:cubicBezTo>
                  <a:pt x="587" y="485"/>
                  <a:pt x="588" y="485"/>
                  <a:pt x="589" y="486"/>
                </a:cubicBezTo>
                <a:cubicBezTo>
                  <a:pt x="590" y="486"/>
                  <a:pt x="590" y="488"/>
                  <a:pt x="590" y="489"/>
                </a:cubicBezTo>
                <a:cubicBezTo>
                  <a:pt x="590" y="491"/>
                  <a:pt x="589" y="491"/>
                  <a:pt x="588" y="492"/>
                </a:cubicBezTo>
                <a:cubicBezTo>
                  <a:pt x="585" y="494"/>
                  <a:pt x="589" y="494"/>
                  <a:pt x="590" y="494"/>
                </a:cubicBezTo>
                <a:cubicBezTo>
                  <a:pt x="593" y="494"/>
                  <a:pt x="596" y="495"/>
                  <a:pt x="599" y="495"/>
                </a:cubicBezTo>
                <a:cubicBezTo>
                  <a:pt x="601" y="495"/>
                  <a:pt x="604" y="496"/>
                  <a:pt x="607" y="496"/>
                </a:cubicBezTo>
                <a:cubicBezTo>
                  <a:pt x="608" y="496"/>
                  <a:pt x="610" y="495"/>
                  <a:pt x="611" y="496"/>
                </a:cubicBezTo>
                <a:cubicBezTo>
                  <a:pt x="613" y="496"/>
                  <a:pt x="614" y="498"/>
                  <a:pt x="612" y="499"/>
                </a:cubicBezTo>
                <a:cubicBezTo>
                  <a:pt x="611" y="500"/>
                  <a:pt x="610" y="501"/>
                  <a:pt x="612" y="501"/>
                </a:cubicBezTo>
                <a:cubicBezTo>
                  <a:pt x="613" y="501"/>
                  <a:pt x="615" y="501"/>
                  <a:pt x="616" y="500"/>
                </a:cubicBezTo>
                <a:cubicBezTo>
                  <a:pt x="619" y="500"/>
                  <a:pt x="622" y="500"/>
                  <a:pt x="625" y="501"/>
                </a:cubicBezTo>
                <a:cubicBezTo>
                  <a:pt x="626" y="501"/>
                  <a:pt x="627" y="502"/>
                  <a:pt x="629" y="502"/>
                </a:cubicBezTo>
                <a:cubicBezTo>
                  <a:pt x="630" y="502"/>
                  <a:pt x="631" y="502"/>
                  <a:pt x="633" y="502"/>
                </a:cubicBezTo>
                <a:cubicBezTo>
                  <a:pt x="636" y="502"/>
                  <a:pt x="639" y="503"/>
                  <a:pt x="642" y="504"/>
                </a:cubicBezTo>
                <a:cubicBezTo>
                  <a:pt x="643" y="504"/>
                  <a:pt x="645" y="505"/>
                  <a:pt x="646" y="504"/>
                </a:cubicBezTo>
                <a:cubicBezTo>
                  <a:pt x="646" y="503"/>
                  <a:pt x="648" y="503"/>
                  <a:pt x="649" y="502"/>
                </a:cubicBezTo>
                <a:cubicBezTo>
                  <a:pt x="652" y="501"/>
                  <a:pt x="655" y="500"/>
                  <a:pt x="659" y="500"/>
                </a:cubicBezTo>
                <a:cubicBezTo>
                  <a:pt x="660" y="499"/>
                  <a:pt x="665" y="499"/>
                  <a:pt x="665" y="497"/>
                </a:cubicBezTo>
                <a:cubicBezTo>
                  <a:pt x="666" y="494"/>
                  <a:pt x="664" y="493"/>
                  <a:pt x="662" y="492"/>
                </a:cubicBezTo>
                <a:cubicBezTo>
                  <a:pt x="661" y="492"/>
                  <a:pt x="660" y="490"/>
                  <a:pt x="660" y="488"/>
                </a:cubicBezTo>
                <a:cubicBezTo>
                  <a:pt x="659" y="486"/>
                  <a:pt x="663" y="486"/>
                  <a:pt x="664" y="486"/>
                </a:cubicBezTo>
                <a:cubicBezTo>
                  <a:pt x="665" y="486"/>
                  <a:pt x="662" y="485"/>
                  <a:pt x="662" y="485"/>
                </a:cubicBezTo>
                <a:cubicBezTo>
                  <a:pt x="659" y="484"/>
                  <a:pt x="656" y="484"/>
                  <a:pt x="653" y="485"/>
                </a:cubicBezTo>
                <a:cubicBezTo>
                  <a:pt x="651" y="486"/>
                  <a:pt x="648" y="487"/>
                  <a:pt x="647" y="489"/>
                </a:cubicBezTo>
                <a:cubicBezTo>
                  <a:pt x="646" y="491"/>
                  <a:pt x="646" y="493"/>
                  <a:pt x="644" y="494"/>
                </a:cubicBezTo>
                <a:cubicBezTo>
                  <a:pt x="643" y="495"/>
                  <a:pt x="641" y="496"/>
                  <a:pt x="641" y="494"/>
                </a:cubicBezTo>
                <a:cubicBezTo>
                  <a:pt x="641" y="493"/>
                  <a:pt x="642" y="491"/>
                  <a:pt x="642" y="490"/>
                </a:cubicBezTo>
                <a:cubicBezTo>
                  <a:pt x="643" y="489"/>
                  <a:pt x="644" y="487"/>
                  <a:pt x="644" y="486"/>
                </a:cubicBezTo>
                <a:cubicBezTo>
                  <a:pt x="644" y="483"/>
                  <a:pt x="642" y="483"/>
                  <a:pt x="640" y="483"/>
                </a:cubicBezTo>
                <a:cubicBezTo>
                  <a:pt x="639" y="482"/>
                  <a:pt x="638" y="480"/>
                  <a:pt x="638" y="478"/>
                </a:cubicBezTo>
                <a:cubicBezTo>
                  <a:pt x="637" y="476"/>
                  <a:pt x="641" y="479"/>
                  <a:pt x="642" y="479"/>
                </a:cubicBezTo>
                <a:cubicBezTo>
                  <a:pt x="643" y="480"/>
                  <a:pt x="654" y="483"/>
                  <a:pt x="654" y="481"/>
                </a:cubicBezTo>
                <a:cubicBezTo>
                  <a:pt x="654" y="480"/>
                  <a:pt x="653" y="479"/>
                  <a:pt x="652" y="477"/>
                </a:cubicBezTo>
                <a:cubicBezTo>
                  <a:pt x="652" y="475"/>
                  <a:pt x="656" y="476"/>
                  <a:pt x="657" y="476"/>
                </a:cubicBezTo>
                <a:cubicBezTo>
                  <a:pt x="658" y="475"/>
                  <a:pt x="657" y="472"/>
                  <a:pt x="658" y="471"/>
                </a:cubicBezTo>
                <a:cubicBezTo>
                  <a:pt x="659" y="470"/>
                  <a:pt x="662" y="473"/>
                  <a:pt x="662" y="473"/>
                </a:cubicBezTo>
                <a:cubicBezTo>
                  <a:pt x="664" y="474"/>
                  <a:pt x="665" y="476"/>
                  <a:pt x="666" y="478"/>
                </a:cubicBezTo>
                <a:cubicBezTo>
                  <a:pt x="668" y="479"/>
                  <a:pt x="671" y="476"/>
                  <a:pt x="671" y="474"/>
                </a:cubicBezTo>
                <a:cubicBezTo>
                  <a:pt x="671" y="474"/>
                  <a:pt x="671" y="471"/>
                  <a:pt x="672" y="471"/>
                </a:cubicBezTo>
                <a:cubicBezTo>
                  <a:pt x="674" y="471"/>
                  <a:pt x="673" y="474"/>
                  <a:pt x="674" y="475"/>
                </a:cubicBezTo>
                <a:cubicBezTo>
                  <a:pt x="675" y="476"/>
                  <a:pt x="676" y="476"/>
                  <a:pt x="677" y="477"/>
                </a:cubicBezTo>
                <a:cubicBezTo>
                  <a:pt x="678" y="477"/>
                  <a:pt x="678" y="477"/>
                  <a:pt x="679" y="478"/>
                </a:cubicBezTo>
                <a:cubicBezTo>
                  <a:pt x="682" y="479"/>
                  <a:pt x="681" y="474"/>
                  <a:pt x="681" y="473"/>
                </a:cubicBezTo>
                <a:cubicBezTo>
                  <a:pt x="681" y="470"/>
                  <a:pt x="681" y="467"/>
                  <a:pt x="680" y="465"/>
                </a:cubicBezTo>
                <a:cubicBezTo>
                  <a:pt x="679" y="464"/>
                  <a:pt x="679" y="463"/>
                  <a:pt x="678" y="463"/>
                </a:cubicBezTo>
                <a:cubicBezTo>
                  <a:pt x="678" y="462"/>
                  <a:pt x="677" y="462"/>
                  <a:pt x="676" y="463"/>
                </a:cubicBezTo>
                <a:cubicBezTo>
                  <a:pt x="676" y="464"/>
                  <a:pt x="674" y="463"/>
                  <a:pt x="673" y="464"/>
                </a:cubicBezTo>
                <a:cubicBezTo>
                  <a:pt x="672" y="464"/>
                  <a:pt x="671" y="465"/>
                  <a:pt x="670" y="464"/>
                </a:cubicBezTo>
                <a:cubicBezTo>
                  <a:pt x="668" y="464"/>
                  <a:pt x="669" y="461"/>
                  <a:pt x="669" y="460"/>
                </a:cubicBezTo>
                <a:cubicBezTo>
                  <a:pt x="669" y="457"/>
                  <a:pt x="667" y="457"/>
                  <a:pt x="665" y="459"/>
                </a:cubicBezTo>
                <a:cubicBezTo>
                  <a:pt x="665" y="459"/>
                  <a:pt x="663" y="460"/>
                  <a:pt x="662" y="460"/>
                </a:cubicBezTo>
                <a:cubicBezTo>
                  <a:pt x="661" y="459"/>
                  <a:pt x="659" y="458"/>
                  <a:pt x="658" y="458"/>
                </a:cubicBezTo>
                <a:cubicBezTo>
                  <a:pt x="656" y="456"/>
                  <a:pt x="654" y="455"/>
                  <a:pt x="651" y="454"/>
                </a:cubicBezTo>
                <a:cubicBezTo>
                  <a:pt x="650" y="454"/>
                  <a:pt x="649" y="453"/>
                  <a:pt x="649" y="453"/>
                </a:cubicBezTo>
                <a:cubicBezTo>
                  <a:pt x="648" y="452"/>
                  <a:pt x="649" y="450"/>
                  <a:pt x="648" y="449"/>
                </a:cubicBezTo>
                <a:cubicBezTo>
                  <a:pt x="648" y="448"/>
                  <a:pt x="646" y="447"/>
                  <a:pt x="645" y="447"/>
                </a:cubicBezTo>
                <a:cubicBezTo>
                  <a:pt x="643" y="448"/>
                  <a:pt x="646" y="450"/>
                  <a:pt x="646" y="452"/>
                </a:cubicBezTo>
                <a:cubicBezTo>
                  <a:pt x="644" y="455"/>
                  <a:pt x="639" y="451"/>
                  <a:pt x="637" y="450"/>
                </a:cubicBezTo>
                <a:cubicBezTo>
                  <a:pt x="635" y="449"/>
                  <a:pt x="629" y="448"/>
                  <a:pt x="628" y="445"/>
                </a:cubicBezTo>
                <a:cubicBezTo>
                  <a:pt x="627" y="441"/>
                  <a:pt x="625" y="440"/>
                  <a:pt x="622" y="438"/>
                </a:cubicBezTo>
                <a:cubicBezTo>
                  <a:pt x="621" y="437"/>
                  <a:pt x="619" y="436"/>
                  <a:pt x="619" y="434"/>
                </a:cubicBezTo>
                <a:cubicBezTo>
                  <a:pt x="620" y="432"/>
                  <a:pt x="620" y="431"/>
                  <a:pt x="622" y="430"/>
                </a:cubicBezTo>
                <a:cubicBezTo>
                  <a:pt x="623" y="427"/>
                  <a:pt x="624" y="424"/>
                  <a:pt x="623" y="421"/>
                </a:cubicBezTo>
                <a:cubicBezTo>
                  <a:pt x="622" y="417"/>
                  <a:pt x="619" y="417"/>
                  <a:pt x="617" y="414"/>
                </a:cubicBezTo>
                <a:cubicBezTo>
                  <a:pt x="616" y="413"/>
                  <a:pt x="615" y="411"/>
                  <a:pt x="615" y="409"/>
                </a:cubicBezTo>
                <a:cubicBezTo>
                  <a:pt x="614" y="407"/>
                  <a:pt x="613" y="406"/>
                  <a:pt x="612" y="404"/>
                </a:cubicBezTo>
                <a:cubicBezTo>
                  <a:pt x="611" y="403"/>
                  <a:pt x="611" y="401"/>
                  <a:pt x="611" y="399"/>
                </a:cubicBezTo>
                <a:cubicBezTo>
                  <a:pt x="610" y="397"/>
                  <a:pt x="610" y="396"/>
                  <a:pt x="610" y="394"/>
                </a:cubicBezTo>
                <a:cubicBezTo>
                  <a:pt x="610" y="395"/>
                  <a:pt x="610" y="395"/>
                  <a:pt x="610" y="396"/>
                </a:cubicBezTo>
                <a:cubicBezTo>
                  <a:pt x="610" y="395"/>
                  <a:pt x="610" y="396"/>
                  <a:pt x="610" y="396"/>
                </a:cubicBezTo>
                <a:close/>
                <a:moveTo>
                  <a:pt x="378" y="225"/>
                </a:moveTo>
                <a:cubicBezTo>
                  <a:pt x="376" y="225"/>
                  <a:pt x="373" y="225"/>
                  <a:pt x="371" y="226"/>
                </a:cubicBezTo>
                <a:cubicBezTo>
                  <a:pt x="369" y="227"/>
                  <a:pt x="367" y="230"/>
                  <a:pt x="366" y="232"/>
                </a:cubicBezTo>
                <a:cubicBezTo>
                  <a:pt x="361" y="235"/>
                  <a:pt x="356" y="237"/>
                  <a:pt x="352" y="241"/>
                </a:cubicBezTo>
                <a:cubicBezTo>
                  <a:pt x="350" y="242"/>
                  <a:pt x="350" y="245"/>
                  <a:pt x="348" y="246"/>
                </a:cubicBezTo>
                <a:cubicBezTo>
                  <a:pt x="346" y="247"/>
                  <a:pt x="343" y="247"/>
                  <a:pt x="340" y="248"/>
                </a:cubicBezTo>
                <a:cubicBezTo>
                  <a:pt x="335" y="250"/>
                  <a:pt x="334" y="256"/>
                  <a:pt x="329" y="259"/>
                </a:cubicBezTo>
                <a:cubicBezTo>
                  <a:pt x="325" y="262"/>
                  <a:pt x="319" y="258"/>
                  <a:pt x="315" y="260"/>
                </a:cubicBezTo>
                <a:cubicBezTo>
                  <a:pt x="314" y="260"/>
                  <a:pt x="313" y="261"/>
                  <a:pt x="313" y="262"/>
                </a:cubicBezTo>
                <a:cubicBezTo>
                  <a:pt x="312" y="263"/>
                  <a:pt x="311" y="264"/>
                  <a:pt x="311" y="265"/>
                </a:cubicBezTo>
                <a:cubicBezTo>
                  <a:pt x="310" y="266"/>
                  <a:pt x="310" y="267"/>
                  <a:pt x="309" y="268"/>
                </a:cubicBezTo>
                <a:cubicBezTo>
                  <a:pt x="308" y="268"/>
                  <a:pt x="307" y="268"/>
                  <a:pt x="306" y="268"/>
                </a:cubicBezTo>
                <a:cubicBezTo>
                  <a:pt x="306" y="268"/>
                  <a:pt x="305" y="269"/>
                  <a:pt x="305" y="269"/>
                </a:cubicBezTo>
                <a:cubicBezTo>
                  <a:pt x="306" y="270"/>
                  <a:pt x="307" y="270"/>
                  <a:pt x="308" y="270"/>
                </a:cubicBezTo>
                <a:cubicBezTo>
                  <a:pt x="310" y="270"/>
                  <a:pt x="312" y="268"/>
                  <a:pt x="314" y="269"/>
                </a:cubicBezTo>
                <a:cubicBezTo>
                  <a:pt x="316" y="270"/>
                  <a:pt x="315" y="272"/>
                  <a:pt x="316" y="274"/>
                </a:cubicBezTo>
                <a:cubicBezTo>
                  <a:pt x="318" y="276"/>
                  <a:pt x="322" y="275"/>
                  <a:pt x="324" y="275"/>
                </a:cubicBezTo>
                <a:cubicBezTo>
                  <a:pt x="327" y="275"/>
                  <a:pt x="330" y="274"/>
                  <a:pt x="333" y="274"/>
                </a:cubicBezTo>
                <a:cubicBezTo>
                  <a:pt x="334" y="274"/>
                  <a:pt x="339" y="275"/>
                  <a:pt x="340" y="273"/>
                </a:cubicBezTo>
                <a:cubicBezTo>
                  <a:pt x="340" y="271"/>
                  <a:pt x="338" y="269"/>
                  <a:pt x="340" y="267"/>
                </a:cubicBezTo>
                <a:cubicBezTo>
                  <a:pt x="341" y="266"/>
                  <a:pt x="344" y="267"/>
                  <a:pt x="345" y="268"/>
                </a:cubicBezTo>
                <a:cubicBezTo>
                  <a:pt x="345" y="269"/>
                  <a:pt x="345" y="270"/>
                  <a:pt x="346" y="271"/>
                </a:cubicBezTo>
                <a:cubicBezTo>
                  <a:pt x="346" y="272"/>
                  <a:pt x="347" y="272"/>
                  <a:pt x="348" y="273"/>
                </a:cubicBezTo>
                <a:cubicBezTo>
                  <a:pt x="349" y="274"/>
                  <a:pt x="348" y="275"/>
                  <a:pt x="348" y="276"/>
                </a:cubicBezTo>
                <a:cubicBezTo>
                  <a:pt x="349" y="277"/>
                  <a:pt x="350" y="277"/>
                  <a:pt x="351" y="277"/>
                </a:cubicBezTo>
                <a:cubicBezTo>
                  <a:pt x="354" y="278"/>
                  <a:pt x="355" y="275"/>
                  <a:pt x="357" y="274"/>
                </a:cubicBezTo>
                <a:cubicBezTo>
                  <a:pt x="359" y="273"/>
                  <a:pt x="361" y="274"/>
                  <a:pt x="364" y="273"/>
                </a:cubicBezTo>
                <a:cubicBezTo>
                  <a:pt x="369" y="271"/>
                  <a:pt x="360" y="265"/>
                  <a:pt x="361" y="262"/>
                </a:cubicBezTo>
                <a:cubicBezTo>
                  <a:pt x="362" y="261"/>
                  <a:pt x="364" y="259"/>
                  <a:pt x="366" y="261"/>
                </a:cubicBezTo>
                <a:cubicBezTo>
                  <a:pt x="367" y="263"/>
                  <a:pt x="366" y="265"/>
                  <a:pt x="368" y="266"/>
                </a:cubicBezTo>
                <a:cubicBezTo>
                  <a:pt x="371" y="266"/>
                  <a:pt x="374" y="265"/>
                  <a:pt x="376" y="264"/>
                </a:cubicBezTo>
                <a:cubicBezTo>
                  <a:pt x="378" y="263"/>
                  <a:pt x="381" y="263"/>
                  <a:pt x="381" y="260"/>
                </a:cubicBezTo>
                <a:cubicBezTo>
                  <a:pt x="381" y="258"/>
                  <a:pt x="380" y="258"/>
                  <a:pt x="379" y="258"/>
                </a:cubicBezTo>
                <a:cubicBezTo>
                  <a:pt x="378" y="257"/>
                  <a:pt x="375" y="257"/>
                  <a:pt x="375" y="256"/>
                </a:cubicBezTo>
                <a:cubicBezTo>
                  <a:pt x="375" y="255"/>
                  <a:pt x="376" y="254"/>
                  <a:pt x="376" y="254"/>
                </a:cubicBezTo>
                <a:cubicBezTo>
                  <a:pt x="377" y="253"/>
                  <a:pt x="377" y="253"/>
                  <a:pt x="378" y="253"/>
                </a:cubicBezTo>
                <a:cubicBezTo>
                  <a:pt x="380" y="253"/>
                  <a:pt x="384" y="255"/>
                  <a:pt x="385" y="253"/>
                </a:cubicBezTo>
                <a:cubicBezTo>
                  <a:pt x="386" y="252"/>
                  <a:pt x="386" y="250"/>
                  <a:pt x="386" y="249"/>
                </a:cubicBezTo>
                <a:cubicBezTo>
                  <a:pt x="386" y="248"/>
                  <a:pt x="385" y="245"/>
                  <a:pt x="386" y="244"/>
                </a:cubicBezTo>
                <a:cubicBezTo>
                  <a:pt x="387" y="244"/>
                  <a:pt x="388" y="245"/>
                  <a:pt x="389" y="245"/>
                </a:cubicBezTo>
                <a:cubicBezTo>
                  <a:pt x="390" y="245"/>
                  <a:pt x="391" y="244"/>
                  <a:pt x="392" y="244"/>
                </a:cubicBezTo>
                <a:cubicBezTo>
                  <a:pt x="395" y="244"/>
                  <a:pt x="393" y="248"/>
                  <a:pt x="392" y="249"/>
                </a:cubicBezTo>
                <a:cubicBezTo>
                  <a:pt x="392" y="252"/>
                  <a:pt x="393" y="254"/>
                  <a:pt x="391" y="256"/>
                </a:cubicBezTo>
                <a:cubicBezTo>
                  <a:pt x="390" y="258"/>
                  <a:pt x="390" y="259"/>
                  <a:pt x="393" y="260"/>
                </a:cubicBezTo>
                <a:cubicBezTo>
                  <a:pt x="395" y="260"/>
                  <a:pt x="398" y="261"/>
                  <a:pt x="400" y="261"/>
                </a:cubicBezTo>
                <a:cubicBezTo>
                  <a:pt x="403" y="262"/>
                  <a:pt x="405" y="262"/>
                  <a:pt x="407" y="260"/>
                </a:cubicBezTo>
                <a:cubicBezTo>
                  <a:pt x="409" y="259"/>
                  <a:pt x="411" y="257"/>
                  <a:pt x="412" y="255"/>
                </a:cubicBezTo>
                <a:cubicBezTo>
                  <a:pt x="414" y="252"/>
                  <a:pt x="416" y="252"/>
                  <a:pt x="419" y="251"/>
                </a:cubicBezTo>
                <a:cubicBezTo>
                  <a:pt x="422" y="250"/>
                  <a:pt x="428" y="250"/>
                  <a:pt x="425" y="245"/>
                </a:cubicBezTo>
                <a:cubicBezTo>
                  <a:pt x="424" y="244"/>
                  <a:pt x="422" y="244"/>
                  <a:pt x="420" y="243"/>
                </a:cubicBezTo>
                <a:cubicBezTo>
                  <a:pt x="419" y="241"/>
                  <a:pt x="422" y="239"/>
                  <a:pt x="423" y="239"/>
                </a:cubicBezTo>
                <a:cubicBezTo>
                  <a:pt x="424" y="239"/>
                  <a:pt x="428" y="240"/>
                  <a:pt x="429" y="239"/>
                </a:cubicBezTo>
                <a:cubicBezTo>
                  <a:pt x="429" y="238"/>
                  <a:pt x="428" y="237"/>
                  <a:pt x="427" y="236"/>
                </a:cubicBezTo>
                <a:cubicBezTo>
                  <a:pt x="426" y="236"/>
                  <a:pt x="425" y="236"/>
                  <a:pt x="424" y="237"/>
                </a:cubicBezTo>
                <a:cubicBezTo>
                  <a:pt x="423" y="237"/>
                  <a:pt x="421" y="237"/>
                  <a:pt x="420" y="236"/>
                </a:cubicBezTo>
                <a:cubicBezTo>
                  <a:pt x="420" y="235"/>
                  <a:pt x="420" y="234"/>
                  <a:pt x="419" y="233"/>
                </a:cubicBezTo>
                <a:cubicBezTo>
                  <a:pt x="417" y="231"/>
                  <a:pt x="421" y="230"/>
                  <a:pt x="423" y="230"/>
                </a:cubicBezTo>
                <a:cubicBezTo>
                  <a:pt x="425" y="229"/>
                  <a:pt x="427" y="228"/>
                  <a:pt x="430" y="228"/>
                </a:cubicBezTo>
                <a:cubicBezTo>
                  <a:pt x="431" y="228"/>
                  <a:pt x="433" y="228"/>
                  <a:pt x="434" y="227"/>
                </a:cubicBezTo>
                <a:cubicBezTo>
                  <a:pt x="434" y="226"/>
                  <a:pt x="433" y="225"/>
                  <a:pt x="433" y="224"/>
                </a:cubicBezTo>
                <a:cubicBezTo>
                  <a:pt x="432" y="222"/>
                  <a:pt x="429" y="223"/>
                  <a:pt x="427" y="222"/>
                </a:cubicBezTo>
                <a:cubicBezTo>
                  <a:pt x="424" y="221"/>
                  <a:pt x="422" y="219"/>
                  <a:pt x="420" y="218"/>
                </a:cubicBezTo>
                <a:cubicBezTo>
                  <a:pt x="419" y="217"/>
                  <a:pt x="418" y="217"/>
                  <a:pt x="417" y="217"/>
                </a:cubicBezTo>
                <a:cubicBezTo>
                  <a:pt x="416" y="218"/>
                  <a:pt x="415" y="218"/>
                  <a:pt x="414" y="219"/>
                </a:cubicBezTo>
                <a:cubicBezTo>
                  <a:pt x="411" y="219"/>
                  <a:pt x="408" y="219"/>
                  <a:pt x="406" y="221"/>
                </a:cubicBezTo>
                <a:cubicBezTo>
                  <a:pt x="405" y="222"/>
                  <a:pt x="410" y="223"/>
                  <a:pt x="411" y="223"/>
                </a:cubicBezTo>
                <a:cubicBezTo>
                  <a:pt x="411" y="223"/>
                  <a:pt x="413" y="223"/>
                  <a:pt x="413" y="224"/>
                </a:cubicBezTo>
                <a:cubicBezTo>
                  <a:pt x="413" y="225"/>
                  <a:pt x="411" y="225"/>
                  <a:pt x="411" y="226"/>
                </a:cubicBezTo>
                <a:cubicBezTo>
                  <a:pt x="408" y="226"/>
                  <a:pt x="406" y="227"/>
                  <a:pt x="403" y="227"/>
                </a:cubicBezTo>
                <a:cubicBezTo>
                  <a:pt x="400" y="226"/>
                  <a:pt x="398" y="224"/>
                  <a:pt x="395" y="224"/>
                </a:cubicBezTo>
                <a:cubicBezTo>
                  <a:pt x="392" y="223"/>
                  <a:pt x="389" y="224"/>
                  <a:pt x="386" y="225"/>
                </a:cubicBezTo>
                <a:cubicBezTo>
                  <a:pt x="383" y="225"/>
                  <a:pt x="380" y="226"/>
                  <a:pt x="377" y="225"/>
                </a:cubicBezTo>
                <a:cubicBezTo>
                  <a:pt x="377" y="225"/>
                  <a:pt x="377" y="225"/>
                  <a:pt x="376" y="225"/>
                </a:cubicBezTo>
                <a:cubicBezTo>
                  <a:pt x="377" y="225"/>
                  <a:pt x="377" y="225"/>
                  <a:pt x="378" y="225"/>
                </a:cubicBezTo>
                <a:cubicBezTo>
                  <a:pt x="374" y="225"/>
                  <a:pt x="378" y="225"/>
                  <a:pt x="378" y="225"/>
                </a:cubicBezTo>
                <a:close/>
                <a:moveTo>
                  <a:pt x="378" y="277"/>
                </a:moveTo>
                <a:cubicBezTo>
                  <a:pt x="377" y="278"/>
                  <a:pt x="376" y="279"/>
                  <a:pt x="374" y="280"/>
                </a:cubicBezTo>
                <a:cubicBezTo>
                  <a:pt x="373" y="281"/>
                  <a:pt x="372" y="283"/>
                  <a:pt x="370" y="283"/>
                </a:cubicBezTo>
                <a:cubicBezTo>
                  <a:pt x="369" y="284"/>
                  <a:pt x="368" y="284"/>
                  <a:pt x="368" y="286"/>
                </a:cubicBezTo>
                <a:cubicBezTo>
                  <a:pt x="369" y="287"/>
                  <a:pt x="370" y="288"/>
                  <a:pt x="371" y="288"/>
                </a:cubicBezTo>
                <a:cubicBezTo>
                  <a:pt x="373" y="289"/>
                  <a:pt x="377" y="290"/>
                  <a:pt x="380" y="289"/>
                </a:cubicBezTo>
                <a:cubicBezTo>
                  <a:pt x="383" y="288"/>
                  <a:pt x="386" y="286"/>
                  <a:pt x="388" y="284"/>
                </a:cubicBezTo>
                <a:cubicBezTo>
                  <a:pt x="389" y="283"/>
                  <a:pt x="390" y="281"/>
                  <a:pt x="392" y="280"/>
                </a:cubicBezTo>
                <a:cubicBezTo>
                  <a:pt x="393" y="279"/>
                  <a:pt x="394" y="278"/>
                  <a:pt x="395" y="277"/>
                </a:cubicBezTo>
                <a:cubicBezTo>
                  <a:pt x="396" y="276"/>
                  <a:pt x="398" y="274"/>
                  <a:pt x="398" y="273"/>
                </a:cubicBezTo>
                <a:cubicBezTo>
                  <a:pt x="398" y="272"/>
                  <a:pt x="396" y="270"/>
                  <a:pt x="395" y="270"/>
                </a:cubicBezTo>
                <a:cubicBezTo>
                  <a:pt x="393" y="270"/>
                  <a:pt x="392" y="271"/>
                  <a:pt x="391" y="272"/>
                </a:cubicBezTo>
                <a:cubicBezTo>
                  <a:pt x="389" y="273"/>
                  <a:pt x="388" y="274"/>
                  <a:pt x="387" y="275"/>
                </a:cubicBezTo>
                <a:cubicBezTo>
                  <a:pt x="383" y="276"/>
                  <a:pt x="380" y="276"/>
                  <a:pt x="377" y="278"/>
                </a:cubicBezTo>
                <a:cubicBezTo>
                  <a:pt x="377" y="278"/>
                  <a:pt x="378" y="278"/>
                  <a:pt x="378" y="277"/>
                </a:cubicBezTo>
                <a:cubicBezTo>
                  <a:pt x="377" y="278"/>
                  <a:pt x="378" y="277"/>
                  <a:pt x="378" y="277"/>
                </a:cubicBezTo>
                <a:close/>
                <a:moveTo>
                  <a:pt x="453" y="258"/>
                </a:moveTo>
                <a:cubicBezTo>
                  <a:pt x="454" y="259"/>
                  <a:pt x="455" y="260"/>
                  <a:pt x="455" y="261"/>
                </a:cubicBezTo>
                <a:cubicBezTo>
                  <a:pt x="456" y="262"/>
                  <a:pt x="456" y="263"/>
                  <a:pt x="457" y="264"/>
                </a:cubicBezTo>
                <a:cubicBezTo>
                  <a:pt x="459" y="266"/>
                  <a:pt x="461" y="266"/>
                  <a:pt x="464" y="266"/>
                </a:cubicBezTo>
                <a:cubicBezTo>
                  <a:pt x="469" y="265"/>
                  <a:pt x="475" y="263"/>
                  <a:pt x="481" y="266"/>
                </a:cubicBezTo>
                <a:cubicBezTo>
                  <a:pt x="483" y="267"/>
                  <a:pt x="485" y="269"/>
                  <a:pt x="486" y="271"/>
                </a:cubicBezTo>
                <a:cubicBezTo>
                  <a:pt x="488" y="272"/>
                  <a:pt x="489" y="275"/>
                  <a:pt x="492" y="275"/>
                </a:cubicBezTo>
                <a:cubicBezTo>
                  <a:pt x="492" y="276"/>
                  <a:pt x="494" y="275"/>
                  <a:pt x="493" y="277"/>
                </a:cubicBezTo>
                <a:cubicBezTo>
                  <a:pt x="493" y="277"/>
                  <a:pt x="492" y="277"/>
                  <a:pt x="491" y="278"/>
                </a:cubicBezTo>
                <a:cubicBezTo>
                  <a:pt x="491" y="278"/>
                  <a:pt x="491" y="279"/>
                  <a:pt x="492" y="279"/>
                </a:cubicBezTo>
                <a:cubicBezTo>
                  <a:pt x="493" y="280"/>
                  <a:pt x="494" y="280"/>
                  <a:pt x="495" y="280"/>
                </a:cubicBezTo>
                <a:cubicBezTo>
                  <a:pt x="496" y="280"/>
                  <a:pt x="499" y="278"/>
                  <a:pt x="500" y="279"/>
                </a:cubicBezTo>
                <a:cubicBezTo>
                  <a:pt x="500" y="280"/>
                  <a:pt x="501" y="281"/>
                  <a:pt x="501" y="283"/>
                </a:cubicBezTo>
                <a:cubicBezTo>
                  <a:pt x="501" y="284"/>
                  <a:pt x="502" y="285"/>
                  <a:pt x="502" y="287"/>
                </a:cubicBezTo>
                <a:cubicBezTo>
                  <a:pt x="502" y="289"/>
                  <a:pt x="504" y="289"/>
                  <a:pt x="506" y="290"/>
                </a:cubicBezTo>
                <a:cubicBezTo>
                  <a:pt x="509" y="290"/>
                  <a:pt x="513" y="290"/>
                  <a:pt x="516" y="289"/>
                </a:cubicBezTo>
                <a:cubicBezTo>
                  <a:pt x="522" y="288"/>
                  <a:pt x="528" y="290"/>
                  <a:pt x="534" y="290"/>
                </a:cubicBezTo>
                <a:cubicBezTo>
                  <a:pt x="536" y="290"/>
                  <a:pt x="537" y="291"/>
                  <a:pt x="538" y="291"/>
                </a:cubicBezTo>
                <a:cubicBezTo>
                  <a:pt x="540" y="291"/>
                  <a:pt x="541" y="292"/>
                  <a:pt x="543" y="291"/>
                </a:cubicBezTo>
                <a:cubicBezTo>
                  <a:pt x="544" y="291"/>
                  <a:pt x="547" y="289"/>
                  <a:pt x="547" y="287"/>
                </a:cubicBezTo>
                <a:cubicBezTo>
                  <a:pt x="546" y="285"/>
                  <a:pt x="546" y="283"/>
                  <a:pt x="543" y="283"/>
                </a:cubicBezTo>
                <a:cubicBezTo>
                  <a:pt x="540" y="283"/>
                  <a:pt x="538" y="282"/>
                  <a:pt x="535" y="281"/>
                </a:cubicBezTo>
                <a:cubicBezTo>
                  <a:pt x="534" y="280"/>
                  <a:pt x="532" y="280"/>
                  <a:pt x="531" y="279"/>
                </a:cubicBezTo>
                <a:cubicBezTo>
                  <a:pt x="530" y="279"/>
                  <a:pt x="529" y="278"/>
                  <a:pt x="529" y="278"/>
                </a:cubicBezTo>
                <a:cubicBezTo>
                  <a:pt x="527" y="276"/>
                  <a:pt x="533" y="275"/>
                  <a:pt x="534" y="274"/>
                </a:cubicBezTo>
                <a:cubicBezTo>
                  <a:pt x="535" y="274"/>
                  <a:pt x="540" y="274"/>
                  <a:pt x="538" y="272"/>
                </a:cubicBezTo>
                <a:cubicBezTo>
                  <a:pt x="536" y="270"/>
                  <a:pt x="534" y="269"/>
                  <a:pt x="532" y="268"/>
                </a:cubicBezTo>
                <a:cubicBezTo>
                  <a:pt x="530" y="267"/>
                  <a:pt x="518" y="264"/>
                  <a:pt x="520" y="261"/>
                </a:cubicBezTo>
                <a:cubicBezTo>
                  <a:pt x="522" y="259"/>
                  <a:pt x="524" y="257"/>
                  <a:pt x="526" y="257"/>
                </a:cubicBezTo>
                <a:cubicBezTo>
                  <a:pt x="529" y="257"/>
                  <a:pt x="531" y="255"/>
                  <a:pt x="532" y="253"/>
                </a:cubicBezTo>
                <a:cubicBezTo>
                  <a:pt x="534" y="251"/>
                  <a:pt x="535" y="248"/>
                  <a:pt x="537" y="247"/>
                </a:cubicBezTo>
                <a:cubicBezTo>
                  <a:pt x="539" y="245"/>
                  <a:pt x="541" y="243"/>
                  <a:pt x="544" y="243"/>
                </a:cubicBezTo>
                <a:cubicBezTo>
                  <a:pt x="545" y="243"/>
                  <a:pt x="547" y="243"/>
                  <a:pt x="548" y="243"/>
                </a:cubicBezTo>
                <a:cubicBezTo>
                  <a:pt x="549" y="243"/>
                  <a:pt x="550" y="244"/>
                  <a:pt x="550" y="245"/>
                </a:cubicBezTo>
                <a:cubicBezTo>
                  <a:pt x="551" y="246"/>
                  <a:pt x="554" y="248"/>
                  <a:pt x="551" y="249"/>
                </a:cubicBezTo>
                <a:cubicBezTo>
                  <a:pt x="550" y="249"/>
                  <a:pt x="548" y="249"/>
                  <a:pt x="548" y="250"/>
                </a:cubicBezTo>
                <a:cubicBezTo>
                  <a:pt x="549" y="251"/>
                  <a:pt x="549" y="252"/>
                  <a:pt x="550" y="252"/>
                </a:cubicBezTo>
                <a:cubicBezTo>
                  <a:pt x="552" y="254"/>
                  <a:pt x="550" y="257"/>
                  <a:pt x="551" y="259"/>
                </a:cubicBezTo>
                <a:cubicBezTo>
                  <a:pt x="552" y="260"/>
                  <a:pt x="555" y="261"/>
                  <a:pt x="556" y="261"/>
                </a:cubicBezTo>
                <a:cubicBezTo>
                  <a:pt x="557" y="262"/>
                  <a:pt x="558" y="262"/>
                  <a:pt x="559" y="263"/>
                </a:cubicBezTo>
                <a:cubicBezTo>
                  <a:pt x="559" y="264"/>
                  <a:pt x="558" y="266"/>
                  <a:pt x="558" y="267"/>
                </a:cubicBezTo>
                <a:cubicBezTo>
                  <a:pt x="557" y="270"/>
                  <a:pt x="557" y="271"/>
                  <a:pt x="560" y="272"/>
                </a:cubicBezTo>
                <a:cubicBezTo>
                  <a:pt x="562" y="272"/>
                  <a:pt x="564" y="271"/>
                  <a:pt x="565" y="274"/>
                </a:cubicBezTo>
                <a:cubicBezTo>
                  <a:pt x="565" y="275"/>
                  <a:pt x="565" y="276"/>
                  <a:pt x="566" y="277"/>
                </a:cubicBezTo>
                <a:cubicBezTo>
                  <a:pt x="568" y="277"/>
                  <a:pt x="569" y="277"/>
                  <a:pt x="570" y="277"/>
                </a:cubicBezTo>
                <a:cubicBezTo>
                  <a:pt x="572" y="277"/>
                  <a:pt x="576" y="278"/>
                  <a:pt x="577" y="279"/>
                </a:cubicBezTo>
                <a:cubicBezTo>
                  <a:pt x="578" y="280"/>
                  <a:pt x="578" y="282"/>
                  <a:pt x="578" y="283"/>
                </a:cubicBezTo>
                <a:cubicBezTo>
                  <a:pt x="578" y="283"/>
                  <a:pt x="578" y="287"/>
                  <a:pt x="579" y="286"/>
                </a:cubicBezTo>
                <a:cubicBezTo>
                  <a:pt x="580" y="285"/>
                  <a:pt x="579" y="282"/>
                  <a:pt x="581" y="281"/>
                </a:cubicBezTo>
                <a:cubicBezTo>
                  <a:pt x="582" y="281"/>
                  <a:pt x="583" y="281"/>
                  <a:pt x="584" y="281"/>
                </a:cubicBezTo>
                <a:cubicBezTo>
                  <a:pt x="585" y="281"/>
                  <a:pt x="585" y="280"/>
                  <a:pt x="584" y="279"/>
                </a:cubicBezTo>
                <a:cubicBezTo>
                  <a:pt x="583" y="279"/>
                  <a:pt x="583" y="279"/>
                  <a:pt x="582" y="279"/>
                </a:cubicBezTo>
                <a:cubicBezTo>
                  <a:pt x="581" y="279"/>
                  <a:pt x="581" y="278"/>
                  <a:pt x="580" y="277"/>
                </a:cubicBezTo>
                <a:cubicBezTo>
                  <a:pt x="580" y="275"/>
                  <a:pt x="582" y="273"/>
                  <a:pt x="584" y="272"/>
                </a:cubicBezTo>
                <a:cubicBezTo>
                  <a:pt x="586" y="272"/>
                  <a:pt x="588" y="272"/>
                  <a:pt x="591" y="272"/>
                </a:cubicBezTo>
                <a:cubicBezTo>
                  <a:pt x="592" y="272"/>
                  <a:pt x="593" y="273"/>
                  <a:pt x="594" y="273"/>
                </a:cubicBezTo>
                <a:cubicBezTo>
                  <a:pt x="596" y="274"/>
                  <a:pt x="597" y="274"/>
                  <a:pt x="599" y="275"/>
                </a:cubicBezTo>
                <a:cubicBezTo>
                  <a:pt x="599" y="276"/>
                  <a:pt x="600" y="277"/>
                  <a:pt x="601" y="278"/>
                </a:cubicBezTo>
                <a:cubicBezTo>
                  <a:pt x="602" y="279"/>
                  <a:pt x="603" y="280"/>
                  <a:pt x="604" y="281"/>
                </a:cubicBezTo>
                <a:cubicBezTo>
                  <a:pt x="606" y="283"/>
                  <a:pt x="604" y="286"/>
                  <a:pt x="602" y="287"/>
                </a:cubicBezTo>
                <a:cubicBezTo>
                  <a:pt x="601" y="288"/>
                  <a:pt x="600" y="289"/>
                  <a:pt x="599" y="290"/>
                </a:cubicBezTo>
                <a:cubicBezTo>
                  <a:pt x="599" y="291"/>
                  <a:pt x="599" y="292"/>
                  <a:pt x="600" y="293"/>
                </a:cubicBezTo>
                <a:cubicBezTo>
                  <a:pt x="600" y="295"/>
                  <a:pt x="600" y="296"/>
                  <a:pt x="599" y="297"/>
                </a:cubicBezTo>
                <a:cubicBezTo>
                  <a:pt x="598" y="298"/>
                  <a:pt x="596" y="298"/>
                  <a:pt x="596" y="299"/>
                </a:cubicBezTo>
                <a:cubicBezTo>
                  <a:pt x="595" y="300"/>
                  <a:pt x="596" y="301"/>
                  <a:pt x="596" y="302"/>
                </a:cubicBezTo>
                <a:cubicBezTo>
                  <a:pt x="596" y="303"/>
                  <a:pt x="595" y="303"/>
                  <a:pt x="594" y="303"/>
                </a:cubicBezTo>
                <a:cubicBezTo>
                  <a:pt x="592" y="304"/>
                  <a:pt x="591" y="306"/>
                  <a:pt x="589" y="306"/>
                </a:cubicBezTo>
                <a:cubicBezTo>
                  <a:pt x="588" y="306"/>
                  <a:pt x="587" y="305"/>
                  <a:pt x="585" y="305"/>
                </a:cubicBezTo>
                <a:cubicBezTo>
                  <a:pt x="584" y="305"/>
                  <a:pt x="583" y="305"/>
                  <a:pt x="581" y="305"/>
                </a:cubicBezTo>
                <a:cubicBezTo>
                  <a:pt x="580" y="305"/>
                  <a:pt x="578" y="306"/>
                  <a:pt x="577" y="305"/>
                </a:cubicBezTo>
                <a:cubicBezTo>
                  <a:pt x="575" y="305"/>
                  <a:pt x="574" y="304"/>
                  <a:pt x="572" y="304"/>
                </a:cubicBezTo>
                <a:cubicBezTo>
                  <a:pt x="570" y="304"/>
                  <a:pt x="567" y="304"/>
                  <a:pt x="565" y="305"/>
                </a:cubicBezTo>
                <a:cubicBezTo>
                  <a:pt x="564" y="307"/>
                  <a:pt x="563" y="309"/>
                  <a:pt x="560" y="309"/>
                </a:cubicBezTo>
                <a:cubicBezTo>
                  <a:pt x="557" y="308"/>
                  <a:pt x="554" y="308"/>
                  <a:pt x="551" y="307"/>
                </a:cubicBezTo>
                <a:cubicBezTo>
                  <a:pt x="548" y="305"/>
                  <a:pt x="546" y="305"/>
                  <a:pt x="542" y="306"/>
                </a:cubicBezTo>
                <a:cubicBezTo>
                  <a:pt x="540" y="307"/>
                  <a:pt x="538" y="309"/>
                  <a:pt x="535" y="310"/>
                </a:cubicBezTo>
                <a:cubicBezTo>
                  <a:pt x="533" y="311"/>
                  <a:pt x="530" y="311"/>
                  <a:pt x="527" y="311"/>
                </a:cubicBezTo>
                <a:cubicBezTo>
                  <a:pt x="521" y="313"/>
                  <a:pt x="516" y="316"/>
                  <a:pt x="510" y="318"/>
                </a:cubicBezTo>
                <a:cubicBezTo>
                  <a:pt x="504" y="319"/>
                  <a:pt x="498" y="321"/>
                  <a:pt x="492" y="323"/>
                </a:cubicBezTo>
                <a:cubicBezTo>
                  <a:pt x="486" y="325"/>
                  <a:pt x="480" y="327"/>
                  <a:pt x="474" y="328"/>
                </a:cubicBezTo>
                <a:cubicBezTo>
                  <a:pt x="471" y="328"/>
                  <a:pt x="468" y="327"/>
                  <a:pt x="465" y="327"/>
                </a:cubicBezTo>
                <a:cubicBezTo>
                  <a:pt x="462" y="326"/>
                  <a:pt x="460" y="324"/>
                  <a:pt x="457" y="323"/>
                </a:cubicBezTo>
                <a:cubicBezTo>
                  <a:pt x="456" y="322"/>
                  <a:pt x="452" y="321"/>
                  <a:pt x="452" y="319"/>
                </a:cubicBezTo>
                <a:cubicBezTo>
                  <a:pt x="452" y="318"/>
                  <a:pt x="454" y="318"/>
                  <a:pt x="455" y="317"/>
                </a:cubicBezTo>
                <a:cubicBezTo>
                  <a:pt x="456" y="317"/>
                  <a:pt x="458" y="317"/>
                  <a:pt x="459" y="316"/>
                </a:cubicBezTo>
                <a:cubicBezTo>
                  <a:pt x="465" y="314"/>
                  <a:pt x="471" y="312"/>
                  <a:pt x="476" y="310"/>
                </a:cubicBezTo>
                <a:cubicBezTo>
                  <a:pt x="479" y="309"/>
                  <a:pt x="482" y="308"/>
                  <a:pt x="485" y="308"/>
                </a:cubicBezTo>
                <a:cubicBezTo>
                  <a:pt x="488" y="307"/>
                  <a:pt x="492" y="308"/>
                  <a:pt x="495" y="307"/>
                </a:cubicBezTo>
                <a:cubicBezTo>
                  <a:pt x="497" y="307"/>
                  <a:pt x="500" y="307"/>
                  <a:pt x="502" y="305"/>
                </a:cubicBezTo>
                <a:cubicBezTo>
                  <a:pt x="503" y="303"/>
                  <a:pt x="505" y="302"/>
                  <a:pt x="506" y="300"/>
                </a:cubicBezTo>
                <a:cubicBezTo>
                  <a:pt x="506" y="298"/>
                  <a:pt x="506" y="297"/>
                  <a:pt x="504" y="298"/>
                </a:cubicBezTo>
                <a:cubicBezTo>
                  <a:pt x="503" y="299"/>
                  <a:pt x="501" y="302"/>
                  <a:pt x="499" y="302"/>
                </a:cubicBezTo>
                <a:cubicBezTo>
                  <a:pt x="498" y="302"/>
                  <a:pt x="497" y="301"/>
                  <a:pt x="496" y="301"/>
                </a:cubicBezTo>
                <a:cubicBezTo>
                  <a:pt x="495" y="301"/>
                  <a:pt x="494" y="301"/>
                  <a:pt x="493" y="302"/>
                </a:cubicBezTo>
                <a:cubicBezTo>
                  <a:pt x="492" y="302"/>
                  <a:pt x="490" y="303"/>
                  <a:pt x="489" y="303"/>
                </a:cubicBezTo>
                <a:cubicBezTo>
                  <a:pt x="488" y="303"/>
                  <a:pt x="486" y="304"/>
                  <a:pt x="486" y="303"/>
                </a:cubicBezTo>
                <a:cubicBezTo>
                  <a:pt x="485" y="301"/>
                  <a:pt x="488" y="300"/>
                  <a:pt x="485" y="300"/>
                </a:cubicBezTo>
                <a:cubicBezTo>
                  <a:pt x="484" y="300"/>
                  <a:pt x="482" y="299"/>
                  <a:pt x="481" y="300"/>
                </a:cubicBezTo>
                <a:cubicBezTo>
                  <a:pt x="480" y="300"/>
                  <a:pt x="479" y="301"/>
                  <a:pt x="479" y="302"/>
                </a:cubicBezTo>
                <a:cubicBezTo>
                  <a:pt x="476" y="304"/>
                  <a:pt x="474" y="304"/>
                  <a:pt x="471" y="304"/>
                </a:cubicBezTo>
                <a:cubicBezTo>
                  <a:pt x="468" y="304"/>
                  <a:pt x="465" y="305"/>
                  <a:pt x="462" y="305"/>
                </a:cubicBezTo>
                <a:cubicBezTo>
                  <a:pt x="461" y="305"/>
                  <a:pt x="460" y="305"/>
                  <a:pt x="460" y="304"/>
                </a:cubicBezTo>
                <a:cubicBezTo>
                  <a:pt x="460" y="303"/>
                  <a:pt x="460" y="303"/>
                  <a:pt x="460" y="303"/>
                </a:cubicBezTo>
                <a:cubicBezTo>
                  <a:pt x="459" y="302"/>
                  <a:pt x="458" y="302"/>
                  <a:pt x="458" y="302"/>
                </a:cubicBezTo>
                <a:cubicBezTo>
                  <a:pt x="459" y="301"/>
                  <a:pt x="460" y="300"/>
                  <a:pt x="461" y="300"/>
                </a:cubicBezTo>
                <a:cubicBezTo>
                  <a:pt x="461" y="299"/>
                  <a:pt x="462" y="298"/>
                  <a:pt x="463" y="297"/>
                </a:cubicBezTo>
                <a:cubicBezTo>
                  <a:pt x="463" y="293"/>
                  <a:pt x="461" y="295"/>
                  <a:pt x="459" y="294"/>
                </a:cubicBezTo>
                <a:cubicBezTo>
                  <a:pt x="458" y="292"/>
                  <a:pt x="455" y="292"/>
                  <a:pt x="455" y="295"/>
                </a:cubicBezTo>
                <a:cubicBezTo>
                  <a:pt x="455" y="296"/>
                  <a:pt x="457" y="300"/>
                  <a:pt x="454" y="299"/>
                </a:cubicBezTo>
                <a:cubicBezTo>
                  <a:pt x="453" y="299"/>
                  <a:pt x="452" y="297"/>
                  <a:pt x="450" y="297"/>
                </a:cubicBezTo>
                <a:cubicBezTo>
                  <a:pt x="449" y="297"/>
                  <a:pt x="449" y="297"/>
                  <a:pt x="449" y="298"/>
                </a:cubicBezTo>
                <a:cubicBezTo>
                  <a:pt x="449" y="299"/>
                  <a:pt x="450" y="300"/>
                  <a:pt x="451" y="300"/>
                </a:cubicBezTo>
                <a:cubicBezTo>
                  <a:pt x="454" y="302"/>
                  <a:pt x="448" y="304"/>
                  <a:pt x="447" y="306"/>
                </a:cubicBezTo>
                <a:cubicBezTo>
                  <a:pt x="445" y="307"/>
                  <a:pt x="443" y="310"/>
                  <a:pt x="441" y="309"/>
                </a:cubicBezTo>
                <a:cubicBezTo>
                  <a:pt x="440" y="308"/>
                  <a:pt x="440" y="307"/>
                  <a:pt x="439" y="307"/>
                </a:cubicBezTo>
                <a:cubicBezTo>
                  <a:pt x="438" y="306"/>
                  <a:pt x="438" y="305"/>
                  <a:pt x="438" y="304"/>
                </a:cubicBezTo>
                <a:cubicBezTo>
                  <a:pt x="438" y="303"/>
                  <a:pt x="438" y="301"/>
                  <a:pt x="437" y="302"/>
                </a:cubicBezTo>
                <a:cubicBezTo>
                  <a:pt x="436" y="302"/>
                  <a:pt x="436" y="303"/>
                  <a:pt x="436" y="304"/>
                </a:cubicBezTo>
                <a:cubicBezTo>
                  <a:pt x="434" y="304"/>
                  <a:pt x="432" y="302"/>
                  <a:pt x="431" y="302"/>
                </a:cubicBezTo>
                <a:cubicBezTo>
                  <a:pt x="428" y="303"/>
                  <a:pt x="432" y="306"/>
                  <a:pt x="432" y="307"/>
                </a:cubicBezTo>
                <a:cubicBezTo>
                  <a:pt x="432" y="308"/>
                  <a:pt x="429" y="308"/>
                  <a:pt x="428" y="308"/>
                </a:cubicBezTo>
                <a:cubicBezTo>
                  <a:pt x="427" y="308"/>
                  <a:pt x="426" y="307"/>
                  <a:pt x="424" y="307"/>
                </a:cubicBezTo>
                <a:cubicBezTo>
                  <a:pt x="423" y="306"/>
                  <a:pt x="422" y="306"/>
                  <a:pt x="421" y="306"/>
                </a:cubicBezTo>
                <a:cubicBezTo>
                  <a:pt x="419" y="305"/>
                  <a:pt x="421" y="301"/>
                  <a:pt x="419" y="301"/>
                </a:cubicBezTo>
                <a:cubicBezTo>
                  <a:pt x="419" y="300"/>
                  <a:pt x="418" y="301"/>
                  <a:pt x="417" y="301"/>
                </a:cubicBezTo>
                <a:cubicBezTo>
                  <a:pt x="416" y="302"/>
                  <a:pt x="415" y="302"/>
                  <a:pt x="414" y="302"/>
                </a:cubicBezTo>
                <a:cubicBezTo>
                  <a:pt x="410" y="302"/>
                  <a:pt x="407" y="302"/>
                  <a:pt x="404" y="301"/>
                </a:cubicBezTo>
                <a:cubicBezTo>
                  <a:pt x="402" y="301"/>
                  <a:pt x="399" y="301"/>
                  <a:pt x="397" y="299"/>
                </a:cubicBezTo>
                <a:cubicBezTo>
                  <a:pt x="396" y="297"/>
                  <a:pt x="399" y="295"/>
                  <a:pt x="400" y="294"/>
                </a:cubicBezTo>
                <a:cubicBezTo>
                  <a:pt x="405" y="292"/>
                  <a:pt x="412" y="293"/>
                  <a:pt x="417" y="292"/>
                </a:cubicBezTo>
                <a:cubicBezTo>
                  <a:pt x="420" y="292"/>
                  <a:pt x="422" y="291"/>
                  <a:pt x="425" y="290"/>
                </a:cubicBezTo>
                <a:cubicBezTo>
                  <a:pt x="428" y="289"/>
                  <a:pt x="431" y="289"/>
                  <a:pt x="434" y="288"/>
                </a:cubicBezTo>
                <a:cubicBezTo>
                  <a:pt x="437" y="287"/>
                  <a:pt x="439" y="286"/>
                  <a:pt x="441" y="285"/>
                </a:cubicBezTo>
                <a:cubicBezTo>
                  <a:pt x="442" y="285"/>
                  <a:pt x="442" y="284"/>
                  <a:pt x="441" y="284"/>
                </a:cubicBezTo>
                <a:cubicBezTo>
                  <a:pt x="440" y="283"/>
                  <a:pt x="439" y="284"/>
                  <a:pt x="438" y="284"/>
                </a:cubicBezTo>
                <a:cubicBezTo>
                  <a:pt x="435" y="286"/>
                  <a:pt x="433" y="286"/>
                  <a:pt x="430" y="287"/>
                </a:cubicBezTo>
                <a:cubicBezTo>
                  <a:pt x="427" y="287"/>
                  <a:pt x="423" y="286"/>
                  <a:pt x="421" y="287"/>
                </a:cubicBezTo>
                <a:cubicBezTo>
                  <a:pt x="420" y="288"/>
                  <a:pt x="419" y="288"/>
                  <a:pt x="417" y="288"/>
                </a:cubicBezTo>
                <a:cubicBezTo>
                  <a:pt x="416" y="289"/>
                  <a:pt x="414" y="288"/>
                  <a:pt x="413" y="288"/>
                </a:cubicBezTo>
                <a:cubicBezTo>
                  <a:pt x="412" y="288"/>
                  <a:pt x="410" y="288"/>
                  <a:pt x="409" y="288"/>
                </a:cubicBezTo>
                <a:cubicBezTo>
                  <a:pt x="408" y="288"/>
                  <a:pt x="406" y="288"/>
                  <a:pt x="405" y="288"/>
                </a:cubicBezTo>
                <a:cubicBezTo>
                  <a:pt x="405" y="287"/>
                  <a:pt x="408" y="284"/>
                  <a:pt x="408" y="283"/>
                </a:cubicBezTo>
                <a:cubicBezTo>
                  <a:pt x="409" y="280"/>
                  <a:pt x="412" y="281"/>
                  <a:pt x="414" y="281"/>
                </a:cubicBezTo>
                <a:cubicBezTo>
                  <a:pt x="417" y="280"/>
                  <a:pt x="420" y="281"/>
                  <a:pt x="423" y="280"/>
                </a:cubicBezTo>
                <a:cubicBezTo>
                  <a:pt x="426" y="279"/>
                  <a:pt x="429" y="279"/>
                  <a:pt x="432" y="279"/>
                </a:cubicBezTo>
                <a:cubicBezTo>
                  <a:pt x="434" y="279"/>
                  <a:pt x="436" y="279"/>
                  <a:pt x="439" y="279"/>
                </a:cubicBezTo>
                <a:cubicBezTo>
                  <a:pt x="440" y="279"/>
                  <a:pt x="442" y="279"/>
                  <a:pt x="443" y="278"/>
                </a:cubicBezTo>
                <a:cubicBezTo>
                  <a:pt x="444" y="276"/>
                  <a:pt x="442" y="276"/>
                  <a:pt x="441" y="277"/>
                </a:cubicBezTo>
                <a:cubicBezTo>
                  <a:pt x="438" y="278"/>
                  <a:pt x="435" y="278"/>
                  <a:pt x="432" y="278"/>
                </a:cubicBezTo>
                <a:cubicBezTo>
                  <a:pt x="429" y="278"/>
                  <a:pt x="426" y="277"/>
                  <a:pt x="423" y="277"/>
                </a:cubicBezTo>
                <a:cubicBezTo>
                  <a:pt x="420" y="277"/>
                  <a:pt x="417" y="278"/>
                  <a:pt x="415" y="276"/>
                </a:cubicBezTo>
                <a:cubicBezTo>
                  <a:pt x="413" y="275"/>
                  <a:pt x="415" y="274"/>
                  <a:pt x="415" y="273"/>
                </a:cubicBezTo>
                <a:cubicBezTo>
                  <a:pt x="415" y="272"/>
                  <a:pt x="414" y="272"/>
                  <a:pt x="414" y="271"/>
                </a:cubicBezTo>
                <a:cubicBezTo>
                  <a:pt x="415" y="269"/>
                  <a:pt x="417" y="268"/>
                  <a:pt x="419" y="268"/>
                </a:cubicBezTo>
                <a:cubicBezTo>
                  <a:pt x="423" y="267"/>
                  <a:pt x="426" y="266"/>
                  <a:pt x="430" y="267"/>
                </a:cubicBezTo>
                <a:cubicBezTo>
                  <a:pt x="435" y="268"/>
                  <a:pt x="439" y="268"/>
                  <a:pt x="443" y="268"/>
                </a:cubicBezTo>
                <a:cubicBezTo>
                  <a:pt x="444" y="268"/>
                  <a:pt x="445" y="268"/>
                  <a:pt x="446" y="268"/>
                </a:cubicBezTo>
                <a:cubicBezTo>
                  <a:pt x="448" y="267"/>
                  <a:pt x="446" y="266"/>
                  <a:pt x="445" y="266"/>
                </a:cubicBezTo>
                <a:cubicBezTo>
                  <a:pt x="444" y="266"/>
                  <a:pt x="442" y="266"/>
                  <a:pt x="441" y="266"/>
                </a:cubicBezTo>
                <a:cubicBezTo>
                  <a:pt x="439" y="266"/>
                  <a:pt x="437" y="265"/>
                  <a:pt x="435" y="264"/>
                </a:cubicBezTo>
                <a:cubicBezTo>
                  <a:pt x="433" y="263"/>
                  <a:pt x="432" y="263"/>
                  <a:pt x="430" y="263"/>
                </a:cubicBezTo>
                <a:cubicBezTo>
                  <a:pt x="429" y="264"/>
                  <a:pt x="428" y="262"/>
                  <a:pt x="428" y="261"/>
                </a:cubicBezTo>
                <a:cubicBezTo>
                  <a:pt x="428" y="260"/>
                  <a:pt x="429" y="259"/>
                  <a:pt x="430" y="259"/>
                </a:cubicBezTo>
                <a:cubicBezTo>
                  <a:pt x="432" y="258"/>
                  <a:pt x="434" y="258"/>
                  <a:pt x="436" y="257"/>
                </a:cubicBezTo>
                <a:cubicBezTo>
                  <a:pt x="440" y="255"/>
                  <a:pt x="444" y="255"/>
                  <a:pt x="448" y="256"/>
                </a:cubicBezTo>
                <a:cubicBezTo>
                  <a:pt x="451" y="256"/>
                  <a:pt x="453" y="258"/>
                  <a:pt x="455" y="260"/>
                </a:cubicBezTo>
                <a:cubicBezTo>
                  <a:pt x="454" y="259"/>
                  <a:pt x="454" y="259"/>
                  <a:pt x="453" y="258"/>
                </a:cubicBezTo>
                <a:cubicBezTo>
                  <a:pt x="454" y="259"/>
                  <a:pt x="453" y="258"/>
                  <a:pt x="453" y="258"/>
                </a:cubicBezTo>
                <a:close/>
                <a:moveTo>
                  <a:pt x="455" y="242"/>
                </a:moveTo>
                <a:cubicBezTo>
                  <a:pt x="457" y="242"/>
                  <a:pt x="460" y="241"/>
                  <a:pt x="462" y="242"/>
                </a:cubicBezTo>
                <a:cubicBezTo>
                  <a:pt x="463" y="243"/>
                  <a:pt x="464" y="243"/>
                  <a:pt x="464" y="244"/>
                </a:cubicBezTo>
                <a:cubicBezTo>
                  <a:pt x="465" y="245"/>
                  <a:pt x="466" y="245"/>
                  <a:pt x="466" y="246"/>
                </a:cubicBezTo>
                <a:cubicBezTo>
                  <a:pt x="468" y="248"/>
                  <a:pt x="464" y="249"/>
                  <a:pt x="463" y="249"/>
                </a:cubicBezTo>
                <a:cubicBezTo>
                  <a:pt x="460" y="249"/>
                  <a:pt x="458" y="249"/>
                  <a:pt x="455" y="248"/>
                </a:cubicBezTo>
                <a:cubicBezTo>
                  <a:pt x="453" y="247"/>
                  <a:pt x="450" y="246"/>
                  <a:pt x="448" y="247"/>
                </a:cubicBezTo>
                <a:cubicBezTo>
                  <a:pt x="447" y="247"/>
                  <a:pt x="445" y="248"/>
                  <a:pt x="445" y="247"/>
                </a:cubicBezTo>
                <a:cubicBezTo>
                  <a:pt x="444" y="246"/>
                  <a:pt x="444" y="245"/>
                  <a:pt x="445" y="244"/>
                </a:cubicBezTo>
                <a:cubicBezTo>
                  <a:pt x="445" y="243"/>
                  <a:pt x="448" y="243"/>
                  <a:pt x="449" y="243"/>
                </a:cubicBezTo>
                <a:cubicBezTo>
                  <a:pt x="451" y="242"/>
                  <a:pt x="454" y="242"/>
                  <a:pt x="456" y="242"/>
                </a:cubicBezTo>
                <a:cubicBezTo>
                  <a:pt x="455" y="242"/>
                  <a:pt x="455" y="242"/>
                  <a:pt x="455" y="242"/>
                </a:cubicBezTo>
                <a:cubicBezTo>
                  <a:pt x="457" y="242"/>
                  <a:pt x="455" y="242"/>
                  <a:pt x="455" y="242"/>
                </a:cubicBezTo>
                <a:close/>
                <a:moveTo>
                  <a:pt x="457" y="202"/>
                </a:moveTo>
                <a:cubicBezTo>
                  <a:pt x="459" y="204"/>
                  <a:pt x="461" y="206"/>
                  <a:pt x="463" y="206"/>
                </a:cubicBezTo>
                <a:cubicBezTo>
                  <a:pt x="465" y="207"/>
                  <a:pt x="464" y="210"/>
                  <a:pt x="463" y="211"/>
                </a:cubicBezTo>
                <a:cubicBezTo>
                  <a:pt x="460" y="211"/>
                  <a:pt x="457" y="211"/>
                  <a:pt x="454" y="212"/>
                </a:cubicBezTo>
                <a:cubicBezTo>
                  <a:pt x="451" y="212"/>
                  <a:pt x="449" y="211"/>
                  <a:pt x="447" y="208"/>
                </a:cubicBezTo>
                <a:cubicBezTo>
                  <a:pt x="447" y="207"/>
                  <a:pt x="445" y="207"/>
                  <a:pt x="444" y="206"/>
                </a:cubicBezTo>
                <a:cubicBezTo>
                  <a:pt x="444" y="205"/>
                  <a:pt x="442" y="205"/>
                  <a:pt x="441" y="204"/>
                </a:cubicBezTo>
                <a:cubicBezTo>
                  <a:pt x="440" y="202"/>
                  <a:pt x="445" y="201"/>
                  <a:pt x="446" y="201"/>
                </a:cubicBezTo>
                <a:cubicBezTo>
                  <a:pt x="448" y="201"/>
                  <a:pt x="451" y="198"/>
                  <a:pt x="453" y="199"/>
                </a:cubicBezTo>
                <a:cubicBezTo>
                  <a:pt x="455" y="199"/>
                  <a:pt x="457" y="202"/>
                  <a:pt x="458" y="203"/>
                </a:cubicBezTo>
                <a:cubicBezTo>
                  <a:pt x="458" y="203"/>
                  <a:pt x="457" y="202"/>
                  <a:pt x="457" y="202"/>
                </a:cubicBezTo>
                <a:cubicBezTo>
                  <a:pt x="459" y="203"/>
                  <a:pt x="457" y="202"/>
                  <a:pt x="457" y="202"/>
                </a:cubicBezTo>
                <a:close/>
                <a:moveTo>
                  <a:pt x="472" y="205"/>
                </a:moveTo>
                <a:cubicBezTo>
                  <a:pt x="471" y="206"/>
                  <a:pt x="470" y="206"/>
                  <a:pt x="470" y="207"/>
                </a:cubicBezTo>
                <a:cubicBezTo>
                  <a:pt x="469" y="208"/>
                  <a:pt x="470" y="209"/>
                  <a:pt x="471" y="210"/>
                </a:cubicBezTo>
                <a:cubicBezTo>
                  <a:pt x="472" y="211"/>
                  <a:pt x="472" y="212"/>
                  <a:pt x="472" y="214"/>
                </a:cubicBezTo>
                <a:cubicBezTo>
                  <a:pt x="473" y="215"/>
                  <a:pt x="472" y="217"/>
                  <a:pt x="473" y="218"/>
                </a:cubicBezTo>
                <a:cubicBezTo>
                  <a:pt x="473" y="220"/>
                  <a:pt x="476" y="222"/>
                  <a:pt x="478" y="222"/>
                </a:cubicBezTo>
                <a:cubicBezTo>
                  <a:pt x="479" y="222"/>
                  <a:pt x="480" y="221"/>
                  <a:pt x="481" y="221"/>
                </a:cubicBezTo>
                <a:cubicBezTo>
                  <a:pt x="482" y="222"/>
                  <a:pt x="483" y="223"/>
                  <a:pt x="484" y="224"/>
                </a:cubicBezTo>
                <a:cubicBezTo>
                  <a:pt x="485" y="225"/>
                  <a:pt x="488" y="225"/>
                  <a:pt x="490" y="226"/>
                </a:cubicBezTo>
                <a:cubicBezTo>
                  <a:pt x="492" y="226"/>
                  <a:pt x="493" y="225"/>
                  <a:pt x="494" y="225"/>
                </a:cubicBezTo>
                <a:cubicBezTo>
                  <a:pt x="496" y="225"/>
                  <a:pt x="497" y="224"/>
                  <a:pt x="498" y="223"/>
                </a:cubicBezTo>
                <a:cubicBezTo>
                  <a:pt x="501" y="223"/>
                  <a:pt x="503" y="223"/>
                  <a:pt x="506" y="222"/>
                </a:cubicBezTo>
                <a:cubicBezTo>
                  <a:pt x="509" y="222"/>
                  <a:pt x="511" y="220"/>
                  <a:pt x="514" y="220"/>
                </a:cubicBezTo>
                <a:cubicBezTo>
                  <a:pt x="516" y="220"/>
                  <a:pt x="517" y="220"/>
                  <a:pt x="518" y="219"/>
                </a:cubicBezTo>
                <a:cubicBezTo>
                  <a:pt x="520" y="219"/>
                  <a:pt x="521" y="219"/>
                  <a:pt x="522" y="219"/>
                </a:cubicBezTo>
                <a:cubicBezTo>
                  <a:pt x="524" y="218"/>
                  <a:pt x="525" y="215"/>
                  <a:pt x="526" y="213"/>
                </a:cubicBezTo>
                <a:cubicBezTo>
                  <a:pt x="527" y="211"/>
                  <a:pt x="523" y="210"/>
                  <a:pt x="522" y="210"/>
                </a:cubicBezTo>
                <a:cubicBezTo>
                  <a:pt x="521" y="210"/>
                  <a:pt x="520" y="210"/>
                  <a:pt x="519" y="210"/>
                </a:cubicBezTo>
                <a:cubicBezTo>
                  <a:pt x="518" y="211"/>
                  <a:pt x="518" y="212"/>
                  <a:pt x="517" y="212"/>
                </a:cubicBezTo>
                <a:cubicBezTo>
                  <a:pt x="515" y="212"/>
                  <a:pt x="514" y="211"/>
                  <a:pt x="513" y="210"/>
                </a:cubicBezTo>
                <a:cubicBezTo>
                  <a:pt x="511" y="208"/>
                  <a:pt x="512" y="206"/>
                  <a:pt x="514" y="206"/>
                </a:cubicBezTo>
                <a:cubicBezTo>
                  <a:pt x="516" y="206"/>
                  <a:pt x="517" y="207"/>
                  <a:pt x="519" y="206"/>
                </a:cubicBezTo>
                <a:cubicBezTo>
                  <a:pt x="520" y="206"/>
                  <a:pt x="521" y="205"/>
                  <a:pt x="522" y="205"/>
                </a:cubicBezTo>
                <a:cubicBezTo>
                  <a:pt x="523" y="204"/>
                  <a:pt x="525" y="204"/>
                  <a:pt x="526" y="204"/>
                </a:cubicBezTo>
                <a:cubicBezTo>
                  <a:pt x="528" y="204"/>
                  <a:pt x="529" y="203"/>
                  <a:pt x="530" y="202"/>
                </a:cubicBezTo>
                <a:cubicBezTo>
                  <a:pt x="530" y="201"/>
                  <a:pt x="532" y="200"/>
                  <a:pt x="532" y="200"/>
                </a:cubicBezTo>
                <a:cubicBezTo>
                  <a:pt x="534" y="198"/>
                  <a:pt x="527" y="198"/>
                  <a:pt x="527" y="198"/>
                </a:cubicBezTo>
                <a:cubicBezTo>
                  <a:pt x="525" y="198"/>
                  <a:pt x="523" y="197"/>
                  <a:pt x="522" y="198"/>
                </a:cubicBezTo>
                <a:cubicBezTo>
                  <a:pt x="520" y="198"/>
                  <a:pt x="519" y="199"/>
                  <a:pt x="517" y="199"/>
                </a:cubicBezTo>
                <a:cubicBezTo>
                  <a:pt x="514" y="200"/>
                  <a:pt x="510" y="199"/>
                  <a:pt x="507" y="200"/>
                </a:cubicBezTo>
                <a:cubicBezTo>
                  <a:pt x="503" y="201"/>
                  <a:pt x="500" y="202"/>
                  <a:pt x="497" y="202"/>
                </a:cubicBezTo>
                <a:cubicBezTo>
                  <a:pt x="495" y="202"/>
                  <a:pt x="494" y="202"/>
                  <a:pt x="492" y="202"/>
                </a:cubicBezTo>
                <a:cubicBezTo>
                  <a:pt x="490" y="202"/>
                  <a:pt x="489" y="203"/>
                  <a:pt x="487" y="203"/>
                </a:cubicBezTo>
                <a:cubicBezTo>
                  <a:pt x="484" y="204"/>
                  <a:pt x="481" y="204"/>
                  <a:pt x="477" y="204"/>
                </a:cubicBezTo>
                <a:cubicBezTo>
                  <a:pt x="475" y="204"/>
                  <a:pt x="473" y="204"/>
                  <a:pt x="471" y="206"/>
                </a:cubicBezTo>
                <a:cubicBezTo>
                  <a:pt x="471" y="206"/>
                  <a:pt x="471" y="206"/>
                  <a:pt x="472" y="205"/>
                </a:cubicBezTo>
                <a:cubicBezTo>
                  <a:pt x="471" y="206"/>
                  <a:pt x="472" y="205"/>
                  <a:pt x="472" y="205"/>
                </a:cubicBezTo>
                <a:close/>
                <a:moveTo>
                  <a:pt x="498" y="178"/>
                </a:moveTo>
                <a:cubicBezTo>
                  <a:pt x="501" y="177"/>
                  <a:pt x="504" y="177"/>
                  <a:pt x="507" y="176"/>
                </a:cubicBezTo>
                <a:cubicBezTo>
                  <a:pt x="509" y="174"/>
                  <a:pt x="512" y="174"/>
                  <a:pt x="515" y="173"/>
                </a:cubicBezTo>
                <a:cubicBezTo>
                  <a:pt x="518" y="173"/>
                  <a:pt x="520" y="173"/>
                  <a:pt x="523" y="175"/>
                </a:cubicBezTo>
                <a:cubicBezTo>
                  <a:pt x="524" y="175"/>
                  <a:pt x="524" y="176"/>
                  <a:pt x="526" y="176"/>
                </a:cubicBezTo>
                <a:cubicBezTo>
                  <a:pt x="527" y="177"/>
                  <a:pt x="529" y="177"/>
                  <a:pt x="530" y="177"/>
                </a:cubicBezTo>
                <a:cubicBezTo>
                  <a:pt x="533" y="178"/>
                  <a:pt x="535" y="179"/>
                  <a:pt x="537" y="181"/>
                </a:cubicBezTo>
                <a:cubicBezTo>
                  <a:pt x="539" y="183"/>
                  <a:pt x="538" y="185"/>
                  <a:pt x="537" y="187"/>
                </a:cubicBezTo>
                <a:cubicBezTo>
                  <a:pt x="533" y="191"/>
                  <a:pt x="527" y="190"/>
                  <a:pt x="522" y="189"/>
                </a:cubicBezTo>
                <a:cubicBezTo>
                  <a:pt x="520" y="188"/>
                  <a:pt x="517" y="189"/>
                  <a:pt x="514" y="188"/>
                </a:cubicBezTo>
                <a:cubicBezTo>
                  <a:pt x="511" y="188"/>
                  <a:pt x="508" y="186"/>
                  <a:pt x="506" y="187"/>
                </a:cubicBezTo>
                <a:cubicBezTo>
                  <a:pt x="504" y="188"/>
                  <a:pt x="503" y="191"/>
                  <a:pt x="500" y="191"/>
                </a:cubicBezTo>
                <a:cubicBezTo>
                  <a:pt x="498" y="191"/>
                  <a:pt x="495" y="190"/>
                  <a:pt x="493" y="188"/>
                </a:cubicBezTo>
                <a:cubicBezTo>
                  <a:pt x="491" y="187"/>
                  <a:pt x="487" y="187"/>
                  <a:pt x="485" y="188"/>
                </a:cubicBezTo>
                <a:cubicBezTo>
                  <a:pt x="484" y="189"/>
                  <a:pt x="483" y="190"/>
                  <a:pt x="482" y="190"/>
                </a:cubicBezTo>
                <a:cubicBezTo>
                  <a:pt x="480" y="190"/>
                  <a:pt x="478" y="191"/>
                  <a:pt x="476" y="191"/>
                </a:cubicBezTo>
                <a:cubicBezTo>
                  <a:pt x="475" y="192"/>
                  <a:pt x="470" y="192"/>
                  <a:pt x="471" y="190"/>
                </a:cubicBezTo>
                <a:cubicBezTo>
                  <a:pt x="471" y="187"/>
                  <a:pt x="474" y="186"/>
                  <a:pt x="476" y="186"/>
                </a:cubicBezTo>
                <a:cubicBezTo>
                  <a:pt x="480" y="184"/>
                  <a:pt x="485" y="183"/>
                  <a:pt x="489" y="182"/>
                </a:cubicBezTo>
                <a:cubicBezTo>
                  <a:pt x="493" y="181"/>
                  <a:pt x="496" y="178"/>
                  <a:pt x="500" y="178"/>
                </a:cubicBezTo>
                <a:cubicBezTo>
                  <a:pt x="499" y="178"/>
                  <a:pt x="499" y="178"/>
                  <a:pt x="498" y="178"/>
                </a:cubicBezTo>
                <a:cubicBezTo>
                  <a:pt x="500" y="178"/>
                  <a:pt x="498" y="178"/>
                  <a:pt x="498" y="178"/>
                </a:cubicBezTo>
                <a:close/>
                <a:moveTo>
                  <a:pt x="397" y="333"/>
                </a:moveTo>
                <a:cubicBezTo>
                  <a:pt x="394" y="334"/>
                  <a:pt x="392" y="333"/>
                  <a:pt x="389" y="333"/>
                </a:cubicBezTo>
                <a:cubicBezTo>
                  <a:pt x="387" y="333"/>
                  <a:pt x="386" y="333"/>
                  <a:pt x="384" y="333"/>
                </a:cubicBezTo>
                <a:cubicBezTo>
                  <a:pt x="383" y="333"/>
                  <a:pt x="381" y="333"/>
                  <a:pt x="380" y="334"/>
                </a:cubicBezTo>
                <a:cubicBezTo>
                  <a:pt x="377" y="334"/>
                  <a:pt x="375" y="335"/>
                  <a:pt x="375" y="337"/>
                </a:cubicBezTo>
                <a:cubicBezTo>
                  <a:pt x="375" y="339"/>
                  <a:pt x="373" y="342"/>
                  <a:pt x="371" y="341"/>
                </a:cubicBezTo>
                <a:cubicBezTo>
                  <a:pt x="370" y="341"/>
                  <a:pt x="370" y="339"/>
                  <a:pt x="370" y="338"/>
                </a:cubicBezTo>
                <a:cubicBezTo>
                  <a:pt x="370" y="336"/>
                  <a:pt x="370" y="335"/>
                  <a:pt x="368" y="335"/>
                </a:cubicBezTo>
                <a:cubicBezTo>
                  <a:pt x="367" y="334"/>
                  <a:pt x="364" y="334"/>
                  <a:pt x="363" y="336"/>
                </a:cubicBezTo>
                <a:cubicBezTo>
                  <a:pt x="362" y="336"/>
                  <a:pt x="362" y="337"/>
                  <a:pt x="361" y="337"/>
                </a:cubicBezTo>
                <a:cubicBezTo>
                  <a:pt x="360" y="337"/>
                  <a:pt x="360" y="336"/>
                  <a:pt x="360" y="335"/>
                </a:cubicBezTo>
                <a:cubicBezTo>
                  <a:pt x="361" y="335"/>
                  <a:pt x="362" y="334"/>
                  <a:pt x="361" y="333"/>
                </a:cubicBezTo>
                <a:cubicBezTo>
                  <a:pt x="360" y="332"/>
                  <a:pt x="358" y="332"/>
                  <a:pt x="357" y="332"/>
                </a:cubicBezTo>
                <a:cubicBezTo>
                  <a:pt x="352" y="332"/>
                  <a:pt x="347" y="331"/>
                  <a:pt x="343" y="329"/>
                </a:cubicBezTo>
                <a:cubicBezTo>
                  <a:pt x="341" y="328"/>
                  <a:pt x="339" y="326"/>
                  <a:pt x="336" y="325"/>
                </a:cubicBezTo>
                <a:cubicBezTo>
                  <a:pt x="334" y="323"/>
                  <a:pt x="331" y="323"/>
                  <a:pt x="328" y="324"/>
                </a:cubicBezTo>
                <a:cubicBezTo>
                  <a:pt x="321" y="324"/>
                  <a:pt x="315" y="325"/>
                  <a:pt x="309" y="325"/>
                </a:cubicBezTo>
                <a:cubicBezTo>
                  <a:pt x="302" y="326"/>
                  <a:pt x="297" y="328"/>
                  <a:pt x="290" y="329"/>
                </a:cubicBezTo>
                <a:cubicBezTo>
                  <a:pt x="289" y="329"/>
                  <a:pt x="275" y="328"/>
                  <a:pt x="278" y="332"/>
                </a:cubicBezTo>
                <a:cubicBezTo>
                  <a:pt x="279" y="334"/>
                  <a:pt x="281" y="336"/>
                  <a:pt x="282" y="338"/>
                </a:cubicBezTo>
                <a:cubicBezTo>
                  <a:pt x="283" y="339"/>
                  <a:pt x="284" y="340"/>
                  <a:pt x="284" y="342"/>
                </a:cubicBezTo>
                <a:cubicBezTo>
                  <a:pt x="285" y="343"/>
                  <a:pt x="285" y="344"/>
                  <a:pt x="286" y="345"/>
                </a:cubicBezTo>
                <a:cubicBezTo>
                  <a:pt x="287" y="347"/>
                  <a:pt x="291" y="346"/>
                  <a:pt x="290" y="349"/>
                </a:cubicBezTo>
                <a:cubicBezTo>
                  <a:pt x="290" y="350"/>
                  <a:pt x="289" y="350"/>
                  <a:pt x="289" y="351"/>
                </a:cubicBezTo>
                <a:cubicBezTo>
                  <a:pt x="288" y="352"/>
                  <a:pt x="288" y="353"/>
                  <a:pt x="287" y="354"/>
                </a:cubicBezTo>
                <a:cubicBezTo>
                  <a:pt x="286" y="357"/>
                  <a:pt x="285" y="358"/>
                  <a:pt x="283" y="359"/>
                </a:cubicBezTo>
                <a:cubicBezTo>
                  <a:pt x="281" y="361"/>
                  <a:pt x="281" y="364"/>
                  <a:pt x="279" y="366"/>
                </a:cubicBezTo>
                <a:cubicBezTo>
                  <a:pt x="278" y="367"/>
                  <a:pt x="276" y="369"/>
                  <a:pt x="277" y="371"/>
                </a:cubicBezTo>
                <a:cubicBezTo>
                  <a:pt x="277" y="372"/>
                  <a:pt x="280" y="374"/>
                  <a:pt x="279" y="376"/>
                </a:cubicBezTo>
                <a:cubicBezTo>
                  <a:pt x="279" y="376"/>
                  <a:pt x="278" y="377"/>
                  <a:pt x="277" y="377"/>
                </a:cubicBezTo>
                <a:cubicBezTo>
                  <a:pt x="276" y="378"/>
                  <a:pt x="275" y="378"/>
                  <a:pt x="274" y="378"/>
                </a:cubicBezTo>
                <a:cubicBezTo>
                  <a:pt x="273" y="378"/>
                  <a:pt x="271" y="379"/>
                  <a:pt x="270" y="381"/>
                </a:cubicBezTo>
                <a:cubicBezTo>
                  <a:pt x="270" y="384"/>
                  <a:pt x="270" y="386"/>
                  <a:pt x="268" y="389"/>
                </a:cubicBezTo>
                <a:cubicBezTo>
                  <a:pt x="268" y="390"/>
                  <a:pt x="266" y="391"/>
                  <a:pt x="264" y="392"/>
                </a:cubicBezTo>
                <a:cubicBezTo>
                  <a:pt x="263" y="394"/>
                  <a:pt x="263" y="396"/>
                  <a:pt x="262" y="397"/>
                </a:cubicBezTo>
                <a:cubicBezTo>
                  <a:pt x="261" y="398"/>
                  <a:pt x="260" y="399"/>
                  <a:pt x="260" y="400"/>
                </a:cubicBezTo>
                <a:cubicBezTo>
                  <a:pt x="259" y="401"/>
                  <a:pt x="259" y="402"/>
                  <a:pt x="258" y="403"/>
                </a:cubicBezTo>
                <a:cubicBezTo>
                  <a:pt x="257" y="405"/>
                  <a:pt x="257" y="407"/>
                  <a:pt x="259" y="407"/>
                </a:cubicBezTo>
                <a:cubicBezTo>
                  <a:pt x="262" y="407"/>
                  <a:pt x="264" y="406"/>
                  <a:pt x="267" y="407"/>
                </a:cubicBezTo>
                <a:cubicBezTo>
                  <a:pt x="269" y="407"/>
                  <a:pt x="269" y="408"/>
                  <a:pt x="270" y="409"/>
                </a:cubicBezTo>
                <a:cubicBezTo>
                  <a:pt x="271" y="410"/>
                  <a:pt x="272" y="410"/>
                  <a:pt x="274" y="411"/>
                </a:cubicBezTo>
                <a:cubicBezTo>
                  <a:pt x="276" y="412"/>
                  <a:pt x="279" y="413"/>
                  <a:pt x="282" y="414"/>
                </a:cubicBezTo>
                <a:cubicBezTo>
                  <a:pt x="285" y="415"/>
                  <a:pt x="287" y="417"/>
                  <a:pt x="289" y="418"/>
                </a:cubicBezTo>
                <a:cubicBezTo>
                  <a:pt x="291" y="420"/>
                  <a:pt x="294" y="421"/>
                  <a:pt x="296" y="423"/>
                </a:cubicBezTo>
                <a:cubicBezTo>
                  <a:pt x="297" y="425"/>
                  <a:pt x="298" y="428"/>
                  <a:pt x="300" y="430"/>
                </a:cubicBezTo>
                <a:cubicBezTo>
                  <a:pt x="301" y="432"/>
                  <a:pt x="303" y="435"/>
                  <a:pt x="305" y="435"/>
                </a:cubicBezTo>
                <a:cubicBezTo>
                  <a:pt x="307" y="435"/>
                  <a:pt x="307" y="434"/>
                  <a:pt x="308" y="433"/>
                </a:cubicBezTo>
                <a:cubicBezTo>
                  <a:pt x="309" y="433"/>
                  <a:pt x="311" y="432"/>
                  <a:pt x="312" y="432"/>
                </a:cubicBezTo>
                <a:cubicBezTo>
                  <a:pt x="315" y="431"/>
                  <a:pt x="317" y="431"/>
                  <a:pt x="320" y="430"/>
                </a:cubicBezTo>
                <a:cubicBezTo>
                  <a:pt x="323" y="428"/>
                  <a:pt x="323" y="426"/>
                  <a:pt x="325" y="424"/>
                </a:cubicBezTo>
                <a:cubicBezTo>
                  <a:pt x="326" y="423"/>
                  <a:pt x="327" y="422"/>
                  <a:pt x="328" y="422"/>
                </a:cubicBezTo>
                <a:cubicBezTo>
                  <a:pt x="329" y="422"/>
                  <a:pt x="330" y="423"/>
                  <a:pt x="330" y="424"/>
                </a:cubicBezTo>
                <a:cubicBezTo>
                  <a:pt x="332" y="426"/>
                  <a:pt x="334" y="425"/>
                  <a:pt x="336" y="425"/>
                </a:cubicBezTo>
                <a:cubicBezTo>
                  <a:pt x="338" y="424"/>
                  <a:pt x="341" y="423"/>
                  <a:pt x="343" y="422"/>
                </a:cubicBezTo>
                <a:cubicBezTo>
                  <a:pt x="345" y="421"/>
                  <a:pt x="348" y="420"/>
                  <a:pt x="349" y="418"/>
                </a:cubicBezTo>
                <a:cubicBezTo>
                  <a:pt x="350" y="415"/>
                  <a:pt x="349" y="412"/>
                  <a:pt x="349" y="410"/>
                </a:cubicBezTo>
                <a:cubicBezTo>
                  <a:pt x="349" y="408"/>
                  <a:pt x="348" y="405"/>
                  <a:pt x="351" y="405"/>
                </a:cubicBezTo>
                <a:cubicBezTo>
                  <a:pt x="353" y="405"/>
                  <a:pt x="353" y="402"/>
                  <a:pt x="353" y="401"/>
                </a:cubicBezTo>
                <a:cubicBezTo>
                  <a:pt x="352" y="400"/>
                  <a:pt x="352" y="398"/>
                  <a:pt x="352" y="397"/>
                </a:cubicBezTo>
                <a:cubicBezTo>
                  <a:pt x="353" y="397"/>
                  <a:pt x="354" y="398"/>
                  <a:pt x="355" y="398"/>
                </a:cubicBezTo>
                <a:cubicBezTo>
                  <a:pt x="356" y="399"/>
                  <a:pt x="358" y="399"/>
                  <a:pt x="359" y="399"/>
                </a:cubicBezTo>
                <a:cubicBezTo>
                  <a:pt x="362" y="400"/>
                  <a:pt x="364" y="399"/>
                  <a:pt x="366" y="397"/>
                </a:cubicBezTo>
                <a:cubicBezTo>
                  <a:pt x="368" y="395"/>
                  <a:pt x="369" y="392"/>
                  <a:pt x="370" y="390"/>
                </a:cubicBezTo>
                <a:cubicBezTo>
                  <a:pt x="370" y="387"/>
                  <a:pt x="371" y="385"/>
                  <a:pt x="373" y="384"/>
                </a:cubicBezTo>
                <a:cubicBezTo>
                  <a:pt x="376" y="383"/>
                  <a:pt x="378" y="382"/>
                  <a:pt x="381" y="381"/>
                </a:cubicBezTo>
                <a:cubicBezTo>
                  <a:pt x="387" y="379"/>
                  <a:pt x="392" y="376"/>
                  <a:pt x="398" y="373"/>
                </a:cubicBezTo>
                <a:cubicBezTo>
                  <a:pt x="403" y="370"/>
                  <a:pt x="409" y="369"/>
                  <a:pt x="414" y="366"/>
                </a:cubicBezTo>
                <a:cubicBezTo>
                  <a:pt x="417" y="365"/>
                  <a:pt x="419" y="364"/>
                  <a:pt x="422" y="363"/>
                </a:cubicBezTo>
                <a:cubicBezTo>
                  <a:pt x="425" y="362"/>
                  <a:pt x="427" y="362"/>
                  <a:pt x="430" y="362"/>
                </a:cubicBezTo>
                <a:cubicBezTo>
                  <a:pt x="432" y="362"/>
                  <a:pt x="434" y="361"/>
                  <a:pt x="435" y="359"/>
                </a:cubicBezTo>
                <a:cubicBezTo>
                  <a:pt x="436" y="356"/>
                  <a:pt x="434" y="355"/>
                  <a:pt x="432" y="354"/>
                </a:cubicBezTo>
                <a:cubicBezTo>
                  <a:pt x="430" y="353"/>
                  <a:pt x="428" y="352"/>
                  <a:pt x="426" y="351"/>
                </a:cubicBezTo>
                <a:cubicBezTo>
                  <a:pt x="423" y="349"/>
                  <a:pt x="422" y="347"/>
                  <a:pt x="420" y="345"/>
                </a:cubicBezTo>
                <a:cubicBezTo>
                  <a:pt x="416" y="342"/>
                  <a:pt x="411" y="340"/>
                  <a:pt x="406" y="337"/>
                </a:cubicBezTo>
                <a:cubicBezTo>
                  <a:pt x="404" y="336"/>
                  <a:pt x="403" y="334"/>
                  <a:pt x="400" y="334"/>
                </a:cubicBezTo>
                <a:cubicBezTo>
                  <a:pt x="399" y="333"/>
                  <a:pt x="397" y="334"/>
                  <a:pt x="395" y="334"/>
                </a:cubicBezTo>
                <a:cubicBezTo>
                  <a:pt x="396" y="334"/>
                  <a:pt x="396" y="334"/>
                  <a:pt x="397" y="333"/>
                </a:cubicBezTo>
                <a:cubicBezTo>
                  <a:pt x="395" y="334"/>
                  <a:pt x="397" y="333"/>
                  <a:pt x="397" y="333"/>
                </a:cubicBezTo>
                <a:close/>
                <a:moveTo>
                  <a:pt x="967" y="583"/>
                </a:moveTo>
                <a:cubicBezTo>
                  <a:pt x="970" y="583"/>
                  <a:pt x="974" y="585"/>
                  <a:pt x="973" y="589"/>
                </a:cubicBezTo>
                <a:cubicBezTo>
                  <a:pt x="972" y="590"/>
                  <a:pt x="973" y="592"/>
                  <a:pt x="971" y="592"/>
                </a:cubicBezTo>
                <a:cubicBezTo>
                  <a:pt x="970" y="592"/>
                  <a:pt x="968" y="592"/>
                  <a:pt x="967" y="591"/>
                </a:cubicBezTo>
                <a:cubicBezTo>
                  <a:pt x="966" y="591"/>
                  <a:pt x="967" y="589"/>
                  <a:pt x="967" y="588"/>
                </a:cubicBezTo>
                <a:cubicBezTo>
                  <a:pt x="966" y="587"/>
                  <a:pt x="964" y="586"/>
                  <a:pt x="964" y="585"/>
                </a:cubicBezTo>
                <a:cubicBezTo>
                  <a:pt x="962" y="581"/>
                  <a:pt x="967" y="583"/>
                  <a:pt x="968" y="583"/>
                </a:cubicBezTo>
                <a:cubicBezTo>
                  <a:pt x="968" y="583"/>
                  <a:pt x="967" y="583"/>
                  <a:pt x="967" y="583"/>
                </a:cubicBezTo>
                <a:cubicBezTo>
                  <a:pt x="969" y="583"/>
                  <a:pt x="967" y="583"/>
                  <a:pt x="967" y="583"/>
                </a:cubicBezTo>
                <a:close/>
                <a:moveTo>
                  <a:pt x="974" y="593"/>
                </a:moveTo>
                <a:cubicBezTo>
                  <a:pt x="974" y="593"/>
                  <a:pt x="976" y="593"/>
                  <a:pt x="976" y="593"/>
                </a:cubicBezTo>
                <a:cubicBezTo>
                  <a:pt x="977" y="594"/>
                  <a:pt x="977" y="596"/>
                  <a:pt x="976" y="596"/>
                </a:cubicBezTo>
                <a:cubicBezTo>
                  <a:pt x="974" y="596"/>
                  <a:pt x="972" y="594"/>
                  <a:pt x="974" y="593"/>
                </a:cubicBezTo>
                <a:cubicBezTo>
                  <a:pt x="974" y="593"/>
                  <a:pt x="974" y="593"/>
                  <a:pt x="974" y="593"/>
                </a:cubicBezTo>
                <a:cubicBezTo>
                  <a:pt x="974" y="593"/>
                  <a:pt x="974" y="593"/>
                  <a:pt x="974" y="593"/>
                </a:cubicBezTo>
                <a:close/>
                <a:moveTo>
                  <a:pt x="955" y="588"/>
                </a:moveTo>
                <a:cubicBezTo>
                  <a:pt x="956" y="590"/>
                  <a:pt x="956" y="591"/>
                  <a:pt x="957" y="591"/>
                </a:cubicBezTo>
                <a:cubicBezTo>
                  <a:pt x="958" y="592"/>
                  <a:pt x="959" y="594"/>
                  <a:pt x="958" y="595"/>
                </a:cubicBezTo>
                <a:cubicBezTo>
                  <a:pt x="957" y="596"/>
                  <a:pt x="956" y="596"/>
                  <a:pt x="955" y="595"/>
                </a:cubicBezTo>
                <a:cubicBezTo>
                  <a:pt x="954" y="594"/>
                  <a:pt x="953" y="593"/>
                  <a:pt x="951" y="592"/>
                </a:cubicBezTo>
                <a:cubicBezTo>
                  <a:pt x="950" y="591"/>
                  <a:pt x="949" y="587"/>
                  <a:pt x="951" y="586"/>
                </a:cubicBezTo>
                <a:cubicBezTo>
                  <a:pt x="952" y="585"/>
                  <a:pt x="953" y="586"/>
                  <a:pt x="954" y="586"/>
                </a:cubicBezTo>
                <a:cubicBezTo>
                  <a:pt x="955" y="587"/>
                  <a:pt x="955" y="588"/>
                  <a:pt x="956" y="589"/>
                </a:cubicBezTo>
                <a:cubicBezTo>
                  <a:pt x="956" y="589"/>
                  <a:pt x="955" y="589"/>
                  <a:pt x="955" y="588"/>
                </a:cubicBezTo>
                <a:cubicBezTo>
                  <a:pt x="956" y="590"/>
                  <a:pt x="955" y="588"/>
                  <a:pt x="955" y="588"/>
                </a:cubicBezTo>
                <a:close/>
                <a:moveTo>
                  <a:pt x="134" y="890"/>
                </a:moveTo>
                <a:cubicBezTo>
                  <a:pt x="133" y="892"/>
                  <a:pt x="132" y="894"/>
                  <a:pt x="134" y="896"/>
                </a:cubicBezTo>
                <a:cubicBezTo>
                  <a:pt x="136" y="897"/>
                  <a:pt x="138" y="898"/>
                  <a:pt x="138" y="901"/>
                </a:cubicBezTo>
                <a:cubicBezTo>
                  <a:pt x="137" y="902"/>
                  <a:pt x="137" y="903"/>
                  <a:pt x="137" y="903"/>
                </a:cubicBezTo>
                <a:cubicBezTo>
                  <a:pt x="138" y="904"/>
                  <a:pt x="139" y="904"/>
                  <a:pt x="140" y="905"/>
                </a:cubicBezTo>
                <a:cubicBezTo>
                  <a:pt x="141" y="905"/>
                  <a:pt x="143" y="905"/>
                  <a:pt x="143" y="906"/>
                </a:cubicBezTo>
                <a:cubicBezTo>
                  <a:pt x="143" y="907"/>
                  <a:pt x="142" y="907"/>
                  <a:pt x="142" y="908"/>
                </a:cubicBezTo>
                <a:cubicBezTo>
                  <a:pt x="143" y="909"/>
                  <a:pt x="142" y="910"/>
                  <a:pt x="143" y="910"/>
                </a:cubicBezTo>
                <a:cubicBezTo>
                  <a:pt x="144" y="910"/>
                  <a:pt x="146" y="910"/>
                  <a:pt x="146" y="909"/>
                </a:cubicBezTo>
                <a:cubicBezTo>
                  <a:pt x="147" y="909"/>
                  <a:pt x="148" y="908"/>
                  <a:pt x="149" y="908"/>
                </a:cubicBezTo>
                <a:cubicBezTo>
                  <a:pt x="150" y="907"/>
                  <a:pt x="151" y="906"/>
                  <a:pt x="151" y="905"/>
                </a:cubicBezTo>
                <a:cubicBezTo>
                  <a:pt x="152" y="903"/>
                  <a:pt x="151" y="900"/>
                  <a:pt x="152" y="898"/>
                </a:cubicBezTo>
                <a:cubicBezTo>
                  <a:pt x="153" y="896"/>
                  <a:pt x="155" y="894"/>
                  <a:pt x="156" y="891"/>
                </a:cubicBezTo>
                <a:cubicBezTo>
                  <a:pt x="156" y="891"/>
                  <a:pt x="157" y="890"/>
                  <a:pt x="156" y="889"/>
                </a:cubicBezTo>
                <a:cubicBezTo>
                  <a:pt x="156" y="889"/>
                  <a:pt x="155" y="890"/>
                  <a:pt x="154" y="891"/>
                </a:cubicBezTo>
                <a:cubicBezTo>
                  <a:pt x="153" y="892"/>
                  <a:pt x="150" y="892"/>
                  <a:pt x="150" y="895"/>
                </a:cubicBezTo>
                <a:cubicBezTo>
                  <a:pt x="151" y="897"/>
                  <a:pt x="151" y="899"/>
                  <a:pt x="149" y="900"/>
                </a:cubicBezTo>
                <a:cubicBezTo>
                  <a:pt x="148" y="901"/>
                  <a:pt x="145" y="903"/>
                  <a:pt x="144" y="902"/>
                </a:cubicBezTo>
                <a:cubicBezTo>
                  <a:pt x="144" y="901"/>
                  <a:pt x="143" y="900"/>
                  <a:pt x="143" y="899"/>
                </a:cubicBezTo>
                <a:cubicBezTo>
                  <a:pt x="144" y="898"/>
                  <a:pt x="145" y="898"/>
                  <a:pt x="145" y="897"/>
                </a:cubicBezTo>
                <a:cubicBezTo>
                  <a:pt x="147" y="896"/>
                  <a:pt x="149" y="895"/>
                  <a:pt x="148" y="893"/>
                </a:cubicBezTo>
                <a:cubicBezTo>
                  <a:pt x="148" y="890"/>
                  <a:pt x="145" y="890"/>
                  <a:pt x="144" y="891"/>
                </a:cubicBezTo>
                <a:cubicBezTo>
                  <a:pt x="142" y="892"/>
                  <a:pt x="141" y="890"/>
                  <a:pt x="140" y="889"/>
                </a:cubicBezTo>
                <a:cubicBezTo>
                  <a:pt x="139" y="888"/>
                  <a:pt x="138" y="888"/>
                  <a:pt x="136" y="889"/>
                </a:cubicBezTo>
                <a:cubicBezTo>
                  <a:pt x="135" y="889"/>
                  <a:pt x="134" y="890"/>
                  <a:pt x="134" y="891"/>
                </a:cubicBezTo>
                <a:cubicBezTo>
                  <a:pt x="134" y="891"/>
                  <a:pt x="134" y="890"/>
                  <a:pt x="134" y="890"/>
                </a:cubicBezTo>
                <a:cubicBezTo>
                  <a:pt x="134" y="891"/>
                  <a:pt x="134" y="890"/>
                  <a:pt x="134" y="890"/>
                </a:cubicBezTo>
                <a:close/>
                <a:moveTo>
                  <a:pt x="177" y="890"/>
                </a:moveTo>
                <a:cubicBezTo>
                  <a:pt x="176" y="891"/>
                  <a:pt x="174" y="892"/>
                  <a:pt x="173" y="894"/>
                </a:cubicBezTo>
                <a:cubicBezTo>
                  <a:pt x="173" y="896"/>
                  <a:pt x="176" y="895"/>
                  <a:pt x="177" y="895"/>
                </a:cubicBezTo>
                <a:cubicBezTo>
                  <a:pt x="179" y="894"/>
                  <a:pt x="182" y="895"/>
                  <a:pt x="181" y="892"/>
                </a:cubicBezTo>
                <a:cubicBezTo>
                  <a:pt x="181" y="891"/>
                  <a:pt x="180" y="890"/>
                  <a:pt x="179" y="889"/>
                </a:cubicBezTo>
                <a:cubicBezTo>
                  <a:pt x="178" y="889"/>
                  <a:pt x="177" y="890"/>
                  <a:pt x="177" y="891"/>
                </a:cubicBezTo>
                <a:cubicBezTo>
                  <a:pt x="177" y="890"/>
                  <a:pt x="177" y="890"/>
                  <a:pt x="177" y="890"/>
                </a:cubicBezTo>
                <a:cubicBezTo>
                  <a:pt x="176" y="892"/>
                  <a:pt x="177" y="890"/>
                  <a:pt x="177" y="890"/>
                </a:cubicBezTo>
                <a:close/>
                <a:moveTo>
                  <a:pt x="181" y="904"/>
                </a:moveTo>
                <a:cubicBezTo>
                  <a:pt x="181" y="906"/>
                  <a:pt x="185" y="908"/>
                  <a:pt x="186" y="909"/>
                </a:cubicBezTo>
                <a:cubicBezTo>
                  <a:pt x="187" y="911"/>
                  <a:pt x="190" y="912"/>
                  <a:pt x="189" y="909"/>
                </a:cubicBezTo>
                <a:cubicBezTo>
                  <a:pt x="189" y="908"/>
                  <a:pt x="188" y="907"/>
                  <a:pt x="187" y="906"/>
                </a:cubicBezTo>
                <a:cubicBezTo>
                  <a:pt x="186" y="906"/>
                  <a:pt x="186" y="905"/>
                  <a:pt x="185" y="904"/>
                </a:cubicBezTo>
                <a:cubicBezTo>
                  <a:pt x="184" y="903"/>
                  <a:pt x="182" y="902"/>
                  <a:pt x="181" y="905"/>
                </a:cubicBezTo>
                <a:cubicBezTo>
                  <a:pt x="181" y="904"/>
                  <a:pt x="181" y="904"/>
                  <a:pt x="181" y="904"/>
                </a:cubicBezTo>
                <a:cubicBezTo>
                  <a:pt x="181" y="905"/>
                  <a:pt x="181" y="904"/>
                  <a:pt x="181" y="904"/>
                </a:cubicBezTo>
                <a:close/>
                <a:moveTo>
                  <a:pt x="183" y="896"/>
                </a:moveTo>
                <a:cubicBezTo>
                  <a:pt x="183" y="898"/>
                  <a:pt x="184" y="898"/>
                  <a:pt x="185" y="900"/>
                </a:cubicBezTo>
                <a:cubicBezTo>
                  <a:pt x="186" y="901"/>
                  <a:pt x="187" y="901"/>
                  <a:pt x="188" y="899"/>
                </a:cubicBezTo>
                <a:cubicBezTo>
                  <a:pt x="188" y="898"/>
                  <a:pt x="186" y="897"/>
                  <a:pt x="185" y="896"/>
                </a:cubicBezTo>
                <a:cubicBezTo>
                  <a:pt x="184" y="896"/>
                  <a:pt x="182" y="895"/>
                  <a:pt x="183" y="896"/>
                </a:cubicBezTo>
                <a:cubicBezTo>
                  <a:pt x="183" y="896"/>
                  <a:pt x="183" y="896"/>
                  <a:pt x="183" y="896"/>
                </a:cubicBezTo>
                <a:cubicBezTo>
                  <a:pt x="183" y="897"/>
                  <a:pt x="183" y="896"/>
                  <a:pt x="183" y="896"/>
                </a:cubicBezTo>
                <a:close/>
                <a:moveTo>
                  <a:pt x="189" y="902"/>
                </a:moveTo>
                <a:cubicBezTo>
                  <a:pt x="189" y="903"/>
                  <a:pt x="188" y="904"/>
                  <a:pt x="189" y="905"/>
                </a:cubicBezTo>
                <a:cubicBezTo>
                  <a:pt x="190" y="906"/>
                  <a:pt x="191" y="906"/>
                  <a:pt x="191" y="907"/>
                </a:cubicBezTo>
                <a:cubicBezTo>
                  <a:pt x="192" y="908"/>
                  <a:pt x="193" y="908"/>
                  <a:pt x="194" y="907"/>
                </a:cubicBezTo>
                <a:cubicBezTo>
                  <a:pt x="195" y="907"/>
                  <a:pt x="195" y="906"/>
                  <a:pt x="194" y="905"/>
                </a:cubicBezTo>
                <a:cubicBezTo>
                  <a:pt x="193" y="904"/>
                  <a:pt x="192" y="903"/>
                  <a:pt x="191" y="902"/>
                </a:cubicBezTo>
                <a:cubicBezTo>
                  <a:pt x="190" y="901"/>
                  <a:pt x="189" y="901"/>
                  <a:pt x="189" y="902"/>
                </a:cubicBezTo>
                <a:cubicBezTo>
                  <a:pt x="189" y="902"/>
                  <a:pt x="189" y="902"/>
                  <a:pt x="189" y="902"/>
                </a:cubicBezTo>
                <a:cubicBezTo>
                  <a:pt x="189" y="902"/>
                  <a:pt x="189" y="902"/>
                  <a:pt x="189" y="902"/>
                </a:cubicBezTo>
                <a:close/>
                <a:moveTo>
                  <a:pt x="179" y="878"/>
                </a:moveTo>
                <a:cubicBezTo>
                  <a:pt x="179" y="878"/>
                  <a:pt x="178" y="880"/>
                  <a:pt x="179" y="880"/>
                </a:cubicBezTo>
                <a:cubicBezTo>
                  <a:pt x="179" y="881"/>
                  <a:pt x="181" y="881"/>
                  <a:pt x="181" y="881"/>
                </a:cubicBezTo>
                <a:cubicBezTo>
                  <a:pt x="182" y="880"/>
                  <a:pt x="181" y="878"/>
                  <a:pt x="181" y="877"/>
                </a:cubicBezTo>
                <a:cubicBezTo>
                  <a:pt x="180" y="876"/>
                  <a:pt x="179" y="877"/>
                  <a:pt x="179" y="878"/>
                </a:cubicBezTo>
                <a:cubicBezTo>
                  <a:pt x="179" y="878"/>
                  <a:pt x="179" y="878"/>
                  <a:pt x="179" y="878"/>
                </a:cubicBezTo>
                <a:cubicBezTo>
                  <a:pt x="179" y="878"/>
                  <a:pt x="179" y="878"/>
                  <a:pt x="179" y="878"/>
                </a:cubicBezTo>
                <a:close/>
                <a:moveTo>
                  <a:pt x="146" y="912"/>
                </a:moveTo>
                <a:cubicBezTo>
                  <a:pt x="144" y="912"/>
                  <a:pt x="144" y="914"/>
                  <a:pt x="145" y="914"/>
                </a:cubicBezTo>
                <a:cubicBezTo>
                  <a:pt x="146" y="914"/>
                  <a:pt x="148" y="914"/>
                  <a:pt x="149" y="914"/>
                </a:cubicBezTo>
                <a:cubicBezTo>
                  <a:pt x="150" y="915"/>
                  <a:pt x="148" y="917"/>
                  <a:pt x="148" y="917"/>
                </a:cubicBezTo>
                <a:cubicBezTo>
                  <a:pt x="147" y="919"/>
                  <a:pt x="149" y="919"/>
                  <a:pt x="150" y="919"/>
                </a:cubicBezTo>
                <a:cubicBezTo>
                  <a:pt x="152" y="918"/>
                  <a:pt x="152" y="916"/>
                  <a:pt x="153" y="915"/>
                </a:cubicBezTo>
                <a:cubicBezTo>
                  <a:pt x="153" y="914"/>
                  <a:pt x="154" y="913"/>
                  <a:pt x="154" y="912"/>
                </a:cubicBezTo>
                <a:cubicBezTo>
                  <a:pt x="155" y="912"/>
                  <a:pt x="156" y="911"/>
                  <a:pt x="155" y="910"/>
                </a:cubicBezTo>
                <a:cubicBezTo>
                  <a:pt x="154" y="909"/>
                  <a:pt x="152" y="911"/>
                  <a:pt x="150" y="911"/>
                </a:cubicBezTo>
                <a:cubicBezTo>
                  <a:pt x="150" y="912"/>
                  <a:pt x="148" y="912"/>
                  <a:pt x="147" y="912"/>
                </a:cubicBezTo>
                <a:cubicBezTo>
                  <a:pt x="147" y="912"/>
                  <a:pt x="146" y="912"/>
                  <a:pt x="145" y="912"/>
                </a:cubicBezTo>
                <a:cubicBezTo>
                  <a:pt x="145" y="912"/>
                  <a:pt x="146" y="912"/>
                  <a:pt x="146" y="912"/>
                </a:cubicBezTo>
                <a:cubicBezTo>
                  <a:pt x="145" y="912"/>
                  <a:pt x="146" y="912"/>
                  <a:pt x="146" y="912"/>
                </a:cubicBezTo>
                <a:close/>
                <a:moveTo>
                  <a:pt x="154" y="920"/>
                </a:moveTo>
                <a:cubicBezTo>
                  <a:pt x="153" y="920"/>
                  <a:pt x="151" y="921"/>
                  <a:pt x="153" y="923"/>
                </a:cubicBezTo>
                <a:cubicBezTo>
                  <a:pt x="154" y="925"/>
                  <a:pt x="156" y="925"/>
                  <a:pt x="157" y="926"/>
                </a:cubicBezTo>
                <a:cubicBezTo>
                  <a:pt x="158" y="928"/>
                  <a:pt x="159" y="929"/>
                  <a:pt x="161" y="931"/>
                </a:cubicBezTo>
                <a:cubicBezTo>
                  <a:pt x="161" y="932"/>
                  <a:pt x="162" y="933"/>
                  <a:pt x="163" y="933"/>
                </a:cubicBezTo>
                <a:cubicBezTo>
                  <a:pt x="164" y="934"/>
                  <a:pt x="165" y="933"/>
                  <a:pt x="166" y="933"/>
                </a:cubicBezTo>
                <a:cubicBezTo>
                  <a:pt x="168" y="933"/>
                  <a:pt x="165" y="931"/>
                  <a:pt x="165" y="930"/>
                </a:cubicBezTo>
                <a:cubicBezTo>
                  <a:pt x="164" y="930"/>
                  <a:pt x="163" y="929"/>
                  <a:pt x="162" y="928"/>
                </a:cubicBezTo>
                <a:cubicBezTo>
                  <a:pt x="162" y="927"/>
                  <a:pt x="161" y="926"/>
                  <a:pt x="160" y="925"/>
                </a:cubicBezTo>
                <a:cubicBezTo>
                  <a:pt x="159" y="924"/>
                  <a:pt x="157" y="924"/>
                  <a:pt x="156" y="922"/>
                </a:cubicBezTo>
                <a:cubicBezTo>
                  <a:pt x="156" y="921"/>
                  <a:pt x="155" y="919"/>
                  <a:pt x="154" y="920"/>
                </a:cubicBezTo>
                <a:cubicBezTo>
                  <a:pt x="154" y="920"/>
                  <a:pt x="154" y="920"/>
                  <a:pt x="154" y="920"/>
                </a:cubicBezTo>
                <a:cubicBezTo>
                  <a:pt x="154" y="920"/>
                  <a:pt x="154" y="920"/>
                  <a:pt x="154" y="920"/>
                </a:cubicBezTo>
                <a:close/>
                <a:moveTo>
                  <a:pt x="201" y="912"/>
                </a:moveTo>
                <a:cubicBezTo>
                  <a:pt x="201" y="913"/>
                  <a:pt x="200" y="914"/>
                  <a:pt x="200" y="915"/>
                </a:cubicBezTo>
                <a:cubicBezTo>
                  <a:pt x="200" y="916"/>
                  <a:pt x="200" y="917"/>
                  <a:pt x="201" y="917"/>
                </a:cubicBezTo>
                <a:cubicBezTo>
                  <a:pt x="202" y="916"/>
                  <a:pt x="203" y="916"/>
                  <a:pt x="203" y="915"/>
                </a:cubicBezTo>
                <a:cubicBezTo>
                  <a:pt x="205" y="914"/>
                  <a:pt x="203" y="913"/>
                  <a:pt x="203" y="912"/>
                </a:cubicBezTo>
                <a:cubicBezTo>
                  <a:pt x="203" y="912"/>
                  <a:pt x="204" y="912"/>
                  <a:pt x="205" y="912"/>
                </a:cubicBezTo>
                <a:cubicBezTo>
                  <a:pt x="206" y="913"/>
                  <a:pt x="206" y="914"/>
                  <a:pt x="205" y="915"/>
                </a:cubicBezTo>
                <a:cubicBezTo>
                  <a:pt x="204" y="916"/>
                  <a:pt x="202" y="918"/>
                  <a:pt x="203" y="920"/>
                </a:cubicBezTo>
                <a:cubicBezTo>
                  <a:pt x="204" y="922"/>
                  <a:pt x="207" y="923"/>
                  <a:pt x="208" y="920"/>
                </a:cubicBezTo>
                <a:cubicBezTo>
                  <a:pt x="208" y="919"/>
                  <a:pt x="208" y="918"/>
                  <a:pt x="209" y="917"/>
                </a:cubicBezTo>
                <a:cubicBezTo>
                  <a:pt x="209" y="916"/>
                  <a:pt x="210" y="915"/>
                  <a:pt x="209" y="914"/>
                </a:cubicBezTo>
                <a:cubicBezTo>
                  <a:pt x="209" y="912"/>
                  <a:pt x="206" y="910"/>
                  <a:pt x="205" y="909"/>
                </a:cubicBezTo>
                <a:cubicBezTo>
                  <a:pt x="202" y="909"/>
                  <a:pt x="202" y="911"/>
                  <a:pt x="201" y="913"/>
                </a:cubicBezTo>
                <a:cubicBezTo>
                  <a:pt x="201" y="913"/>
                  <a:pt x="201" y="912"/>
                  <a:pt x="201" y="912"/>
                </a:cubicBezTo>
                <a:cubicBezTo>
                  <a:pt x="201" y="913"/>
                  <a:pt x="201" y="912"/>
                  <a:pt x="201" y="912"/>
                </a:cubicBezTo>
                <a:close/>
                <a:moveTo>
                  <a:pt x="198" y="922"/>
                </a:moveTo>
                <a:cubicBezTo>
                  <a:pt x="198" y="923"/>
                  <a:pt x="200" y="925"/>
                  <a:pt x="201" y="926"/>
                </a:cubicBezTo>
                <a:cubicBezTo>
                  <a:pt x="201" y="926"/>
                  <a:pt x="204" y="927"/>
                  <a:pt x="204" y="925"/>
                </a:cubicBezTo>
                <a:cubicBezTo>
                  <a:pt x="203" y="925"/>
                  <a:pt x="202" y="924"/>
                  <a:pt x="202" y="924"/>
                </a:cubicBezTo>
                <a:cubicBezTo>
                  <a:pt x="201" y="923"/>
                  <a:pt x="201" y="922"/>
                  <a:pt x="200" y="921"/>
                </a:cubicBezTo>
                <a:cubicBezTo>
                  <a:pt x="199" y="920"/>
                  <a:pt x="197" y="920"/>
                  <a:pt x="198" y="922"/>
                </a:cubicBezTo>
                <a:cubicBezTo>
                  <a:pt x="198" y="922"/>
                  <a:pt x="198" y="922"/>
                  <a:pt x="198" y="922"/>
                </a:cubicBezTo>
                <a:cubicBezTo>
                  <a:pt x="198" y="922"/>
                  <a:pt x="198" y="922"/>
                  <a:pt x="198" y="922"/>
                </a:cubicBezTo>
                <a:close/>
                <a:moveTo>
                  <a:pt x="209" y="925"/>
                </a:moveTo>
                <a:cubicBezTo>
                  <a:pt x="206" y="926"/>
                  <a:pt x="209" y="928"/>
                  <a:pt x="211" y="927"/>
                </a:cubicBezTo>
                <a:cubicBezTo>
                  <a:pt x="213" y="926"/>
                  <a:pt x="210" y="924"/>
                  <a:pt x="209" y="925"/>
                </a:cubicBezTo>
                <a:cubicBezTo>
                  <a:pt x="209" y="925"/>
                  <a:pt x="209" y="925"/>
                  <a:pt x="209" y="925"/>
                </a:cubicBezTo>
                <a:cubicBezTo>
                  <a:pt x="208" y="925"/>
                  <a:pt x="209" y="925"/>
                  <a:pt x="209" y="925"/>
                </a:cubicBezTo>
                <a:close/>
                <a:moveTo>
                  <a:pt x="225" y="933"/>
                </a:moveTo>
                <a:cubicBezTo>
                  <a:pt x="224" y="934"/>
                  <a:pt x="222" y="935"/>
                  <a:pt x="222" y="937"/>
                </a:cubicBezTo>
                <a:cubicBezTo>
                  <a:pt x="222" y="938"/>
                  <a:pt x="223" y="938"/>
                  <a:pt x="224" y="938"/>
                </a:cubicBezTo>
                <a:cubicBezTo>
                  <a:pt x="225" y="938"/>
                  <a:pt x="225" y="936"/>
                  <a:pt x="225" y="936"/>
                </a:cubicBezTo>
                <a:cubicBezTo>
                  <a:pt x="225" y="935"/>
                  <a:pt x="228" y="934"/>
                  <a:pt x="228" y="933"/>
                </a:cubicBezTo>
                <a:cubicBezTo>
                  <a:pt x="227" y="932"/>
                  <a:pt x="225" y="932"/>
                  <a:pt x="224" y="933"/>
                </a:cubicBezTo>
                <a:cubicBezTo>
                  <a:pt x="224" y="933"/>
                  <a:pt x="224" y="933"/>
                  <a:pt x="225" y="933"/>
                </a:cubicBezTo>
                <a:cubicBezTo>
                  <a:pt x="224" y="934"/>
                  <a:pt x="225" y="933"/>
                  <a:pt x="225" y="933"/>
                </a:cubicBezTo>
                <a:close/>
                <a:moveTo>
                  <a:pt x="217" y="939"/>
                </a:moveTo>
                <a:cubicBezTo>
                  <a:pt x="217" y="940"/>
                  <a:pt x="218" y="941"/>
                  <a:pt x="218" y="943"/>
                </a:cubicBezTo>
                <a:cubicBezTo>
                  <a:pt x="218" y="944"/>
                  <a:pt x="219" y="942"/>
                  <a:pt x="219" y="941"/>
                </a:cubicBezTo>
                <a:cubicBezTo>
                  <a:pt x="219" y="941"/>
                  <a:pt x="220" y="939"/>
                  <a:pt x="219" y="938"/>
                </a:cubicBezTo>
                <a:cubicBezTo>
                  <a:pt x="218" y="938"/>
                  <a:pt x="217" y="939"/>
                  <a:pt x="217" y="939"/>
                </a:cubicBezTo>
                <a:cubicBezTo>
                  <a:pt x="217" y="939"/>
                  <a:pt x="217" y="939"/>
                  <a:pt x="217" y="939"/>
                </a:cubicBezTo>
                <a:cubicBezTo>
                  <a:pt x="217" y="940"/>
                  <a:pt x="217" y="939"/>
                  <a:pt x="217" y="939"/>
                </a:cubicBezTo>
                <a:close/>
                <a:moveTo>
                  <a:pt x="184" y="865"/>
                </a:moveTo>
                <a:cubicBezTo>
                  <a:pt x="182" y="868"/>
                  <a:pt x="181" y="870"/>
                  <a:pt x="179" y="873"/>
                </a:cubicBezTo>
                <a:cubicBezTo>
                  <a:pt x="181" y="871"/>
                  <a:pt x="183" y="868"/>
                  <a:pt x="184" y="865"/>
                </a:cubicBezTo>
                <a:cubicBezTo>
                  <a:pt x="184" y="865"/>
                  <a:pt x="184" y="866"/>
                  <a:pt x="184" y="866"/>
                </a:cubicBezTo>
                <a:cubicBezTo>
                  <a:pt x="184" y="866"/>
                  <a:pt x="184" y="865"/>
                  <a:pt x="184" y="865"/>
                </a:cubicBezTo>
                <a:cubicBezTo>
                  <a:pt x="182" y="868"/>
                  <a:pt x="184" y="865"/>
                  <a:pt x="184" y="865"/>
                </a:cubicBezTo>
                <a:close/>
                <a:moveTo>
                  <a:pt x="218" y="946"/>
                </a:moveTo>
                <a:cubicBezTo>
                  <a:pt x="217" y="947"/>
                  <a:pt x="218" y="949"/>
                  <a:pt x="219" y="950"/>
                </a:cubicBezTo>
                <a:cubicBezTo>
                  <a:pt x="219" y="951"/>
                  <a:pt x="220" y="951"/>
                  <a:pt x="220" y="950"/>
                </a:cubicBezTo>
                <a:cubicBezTo>
                  <a:pt x="220" y="949"/>
                  <a:pt x="220" y="945"/>
                  <a:pt x="218" y="947"/>
                </a:cubicBezTo>
                <a:cubicBezTo>
                  <a:pt x="218" y="946"/>
                  <a:pt x="218" y="946"/>
                  <a:pt x="218" y="946"/>
                </a:cubicBezTo>
                <a:cubicBezTo>
                  <a:pt x="217" y="948"/>
                  <a:pt x="218" y="946"/>
                  <a:pt x="218" y="946"/>
                </a:cubicBezTo>
                <a:close/>
                <a:moveTo>
                  <a:pt x="231" y="960"/>
                </a:moveTo>
                <a:cubicBezTo>
                  <a:pt x="230" y="959"/>
                  <a:pt x="229" y="959"/>
                  <a:pt x="228" y="960"/>
                </a:cubicBezTo>
                <a:cubicBezTo>
                  <a:pt x="227" y="960"/>
                  <a:pt x="227" y="961"/>
                  <a:pt x="228" y="961"/>
                </a:cubicBezTo>
                <a:cubicBezTo>
                  <a:pt x="229" y="962"/>
                  <a:pt x="231" y="962"/>
                  <a:pt x="232" y="962"/>
                </a:cubicBezTo>
                <a:cubicBezTo>
                  <a:pt x="233" y="962"/>
                  <a:pt x="235" y="963"/>
                  <a:pt x="236" y="963"/>
                </a:cubicBezTo>
                <a:cubicBezTo>
                  <a:pt x="237" y="963"/>
                  <a:pt x="238" y="963"/>
                  <a:pt x="238" y="962"/>
                </a:cubicBezTo>
                <a:cubicBezTo>
                  <a:pt x="238" y="961"/>
                  <a:pt x="237" y="961"/>
                  <a:pt x="236" y="961"/>
                </a:cubicBezTo>
                <a:cubicBezTo>
                  <a:pt x="234" y="960"/>
                  <a:pt x="232" y="960"/>
                  <a:pt x="230" y="959"/>
                </a:cubicBezTo>
                <a:cubicBezTo>
                  <a:pt x="230" y="959"/>
                  <a:pt x="230" y="960"/>
                  <a:pt x="231" y="960"/>
                </a:cubicBezTo>
                <a:cubicBezTo>
                  <a:pt x="230" y="959"/>
                  <a:pt x="231" y="960"/>
                  <a:pt x="231" y="960"/>
                </a:cubicBezTo>
                <a:close/>
                <a:moveTo>
                  <a:pt x="219" y="963"/>
                </a:moveTo>
                <a:cubicBezTo>
                  <a:pt x="218" y="963"/>
                  <a:pt x="215" y="964"/>
                  <a:pt x="214" y="966"/>
                </a:cubicBezTo>
                <a:cubicBezTo>
                  <a:pt x="214" y="966"/>
                  <a:pt x="214" y="967"/>
                  <a:pt x="215" y="968"/>
                </a:cubicBezTo>
                <a:cubicBezTo>
                  <a:pt x="216" y="969"/>
                  <a:pt x="216" y="970"/>
                  <a:pt x="217" y="971"/>
                </a:cubicBezTo>
                <a:cubicBezTo>
                  <a:pt x="217" y="972"/>
                  <a:pt x="218" y="972"/>
                  <a:pt x="219" y="971"/>
                </a:cubicBezTo>
                <a:cubicBezTo>
                  <a:pt x="220" y="971"/>
                  <a:pt x="222" y="971"/>
                  <a:pt x="223" y="970"/>
                </a:cubicBezTo>
                <a:cubicBezTo>
                  <a:pt x="225" y="970"/>
                  <a:pt x="229" y="968"/>
                  <a:pt x="230" y="971"/>
                </a:cubicBezTo>
                <a:cubicBezTo>
                  <a:pt x="230" y="972"/>
                  <a:pt x="229" y="972"/>
                  <a:pt x="229" y="973"/>
                </a:cubicBezTo>
                <a:cubicBezTo>
                  <a:pt x="229" y="973"/>
                  <a:pt x="229" y="974"/>
                  <a:pt x="230" y="974"/>
                </a:cubicBezTo>
                <a:cubicBezTo>
                  <a:pt x="230" y="975"/>
                  <a:pt x="230" y="975"/>
                  <a:pt x="229" y="976"/>
                </a:cubicBezTo>
                <a:cubicBezTo>
                  <a:pt x="228" y="976"/>
                  <a:pt x="227" y="975"/>
                  <a:pt x="226" y="974"/>
                </a:cubicBezTo>
                <a:cubicBezTo>
                  <a:pt x="225" y="974"/>
                  <a:pt x="223" y="973"/>
                  <a:pt x="222" y="974"/>
                </a:cubicBezTo>
                <a:cubicBezTo>
                  <a:pt x="220" y="976"/>
                  <a:pt x="223" y="976"/>
                  <a:pt x="224" y="978"/>
                </a:cubicBezTo>
                <a:cubicBezTo>
                  <a:pt x="224" y="981"/>
                  <a:pt x="226" y="978"/>
                  <a:pt x="228" y="978"/>
                </a:cubicBezTo>
                <a:cubicBezTo>
                  <a:pt x="229" y="978"/>
                  <a:pt x="230" y="982"/>
                  <a:pt x="232" y="980"/>
                </a:cubicBezTo>
                <a:cubicBezTo>
                  <a:pt x="232" y="979"/>
                  <a:pt x="235" y="978"/>
                  <a:pt x="236" y="980"/>
                </a:cubicBezTo>
                <a:cubicBezTo>
                  <a:pt x="237" y="982"/>
                  <a:pt x="232" y="982"/>
                  <a:pt x="234" y="984"/>
                </a:cubicBezTo>
                <a:cubicBezTo>
                  <a:pt x="236" y="986"/>
                  <a:pt x="237" y="983"/>
                  <a:pt x="239" y="983"/>
                </a:cubicBezTo>
                <a:cubicBezTo>
                  <a:pt x="240" y="983"/>
                  <a:pt x="241" y="983"/>
                  <a:pt x="243" y="984"/>
                </a:cubicBezTo>
                <a:cubicBezTo>
                  <a:pt x="244" y="984"/>
                  <a:pt x="243" y="985"/>
                  <a:pt x="243" y="986"/>
                </a:cubicBezTo>
                <a:cubicBezTo>
                  <a:pt x="243" y="987"/>
                  <a:pt x="245" y="987"/>
                  <a:pt x="245" y="987"/>
                </a:cubicBezTo>
                <a:cubicBezTo>
                  <a:pt x="246" y="987"/>
                  <a:pt x="247" y="988"/>
                  <a:pt x="248" y="989"/>
                </a:cubicBezTo>
                <a:cubicBezTo>
                  <a:pt x="248" y="989"/>
                  <a:pt x="249" y="989"/>
                  <a:pt x="250" y="989"/>
                </a:cubicBezTo>
                <a:cubicBezTo>
                  <a:pt x="250" y="989"/>
                  <a:pt x="252" y="989"/>
                  <a:pt x="252" y="990"/>
                </a:cubicBezTo>
                <a:cubicBezTo>
                  <a:pt x="251" y="992"/>
                  <a:pt x="249" y="991"/>
                  <a:pt x="247" y="992"/>
                </a:cubicBezTo>
                <a:cubicBezTo>
                  <a:pt x="245" y="992"/>
                  <a:pt x="245" y="995"/>
                  <a:pt x="247" y="995"/>
                </a:cubicBezTo>
                <a:cubicBezTo>
                  <a:pt x="250" y="996"/>
                  <a:pt x="252" y="995"/>
                  <a:pt x="255" y="995"/>
                </a:cubicBezTo>
                <a:cubicBezTo>
                  <a:pt x="258" y="995"/>
                  <a:pt x="258" y="998"/>
                  <a:pt x="260" y="1000"/>
                </a:cubicBezTo>
                <a:cubicBezTo>
                  <a:pt x="261" y="1002"/>
                  <a:pt x="257" y="1003"/>
                  <a:pt x="258" y="1003"/>
                </a:cubicBezTo>
                <a:cubicBezTo>
                  <a:pt x="258" y="1004"/>
                  <a:pt x="261" y="1004"/>
                  <a:pt x="261" y="1003"/>
                </a:cubicBezTo>
                <a:cubicBezTo>
                  <a:pt x="263" y="1003"/>
                  <a:pt x="264" y="1003"/>
                  <a:pt x="265" y="1003"/>
                </a:cubicBezTo>
                <a:cubicBezTo>
                  <a:pt x="266" y="1004"/>
                  <a:pt x="267" y="1004"/>
                  <a:pt x="268" y="1004"/>
                </a:cubicBezTo>
                <a:cubicBezTo>
                  <a:pt x="269" y="1004"/>
                  <a:pt x="271" y="1004"/>
                  <a:pt x="271" y="1004"/>
                </a:cubicBezTo>
                <a:cubicBezTo>
                  <a:pt x="272" y="1004"/>
                  <a:pt x="272" y="1003"/>
                  <a:pt x="273" y="1002"/>
                </a:cubicBezTo>
                <a:cubicBezTo>
                  <a:pt x="273" y="1001"/>
                  <a:pt x="274" y="999"/>
                  <a:pt x="275" y="1001"/>
                </a:cubicBezTo>
                <a:cubicBezTo>
                  <a:pt x="275" y="1003"/>
                  <a:pt x="275" y="1006"/>
                  <a:pt x="272" y="1007"/>
                </a:cubicBezTo>
                <a:cubicBezTo>
                  <a:pt x="271" y="1007"/>
                  <a:pt x="268" y="1007"/>
                  <a:pt x="270" y="1010"/>
                </a:cubicBezTo>
                <a:cubicBezTo>
                  <a:pt x="271" y="1012"/>
                  <a:pt x="275" y="1012"/>
                  <a:pt x="278" y="1013"/>
                </a:cubicBezTo>
                <a:cubicBezTo>
                  <a:pt x="281" y="1014"/>
                  <a:pt x="284" y="1015"/>
                  <a:pt x="286" y="1016"/>
                </a:cubicBezTo>
                <a:cubicBezTo>
                  <a:pt x="289" y="1017"/>
                  <a:pt x="292" y="1019"/>
                  <a:pt x="294" y="1019"/>
                </a:cubicBezTo>
                <a:cubicBezTo>
                  <a:pt x="296" y="1019"/>
                  <a:pt x="299" y="1018"/>
                  <a:pt x="300" y="1016"/>
                </a:cubicBezTo>
                <a:cubicBezTo>
                  <a:pt x="301" y="1014"/>
                  <a:pt x="297" y="1013"/>
                  <a:pt x="296" y="1012"/>
                </a:cubicBezTo>
                <a:cubicBezTo>
                  <a:pt x="294" y="1011"/>
                  <a:pt x="294" y="1009"/>
                  <a:pt x="293" y="1008"/>
                </a:cubicBezTo>
                <a:cubicBezTo>
                  <a:pt x="292" y="1006"/>
                  <a:pt x="292" y="1004"/>
                  <a:pt x="292" y="1003"/>
                </a:cubicBezTo>
                <a:cubicBezTo>
                  <a:pt x="290" y="998"/>
                  <a:pt x="285" y="999"/>
                  <a:pt x="281" y="998"/>
                </a:cubicBezTo>
                <a:cubicBezTo>
                  <a:pt x="279" y="997"/>
                  <a:pt x="278" y="996"/>
                  <a:pt x="276" y="995"/>
                </a:cubicBezTo>
                <a:cubicBezTo>
                  <a:pt x="274" y="994"/>
                  <a:pt x="273" y="992"/>
                  <a:pt x="272" y="990"/>
                </a:cubicBezTo>
                <a:cubicBezTo>
                  <a:pt x="271" y="988"/>
                  <a:pt x="270" y="987"/>
                  <a:pt x="268" y="985"/>
                </a:cubicBezTo>
                <a:cubicBezTo>
                  <a:pt x="267" y="983"/>
                  <a:pt x="267" y="981"/>
                  <a:pt x="266" y="979"/>
                </a:cubicBezTo>
                <a:cubicBezTo>
                  <a:pt x="260" y="972"/>
                  <a:pt x="250" y="974"/>
                  <a:pt x="242" y="972"/>
                </a:cubicBezTo>
                <a:cubicBezTo>
                  <a:pt x="238" y="970"/>
                  <a:pt x="234" y="969"/>
                  <a:pt x="230" y="967"/>
                </a:cubicBezTo>
                <a:cubicBezTo>
                  <a:pt x="228" y="966"/>
                  <a:pt x="226" y="965"/>
                  <a:pt x="224" y="964"/>
                </a:cubicBezTo>
                <a:cubicBezTo>
                  <a:pt x="222" y="963"/>
                  <a:pt x="220" y="963"/>
                  <a:pt x="219" y="963"/>
                </a:cubicBezTo>
                <a:cubicBezTo>
                  <a:pt x="219" y="963"/>
                  <a:pt x="219" y="963"/>
                  <a:pt x="219" y="963"/>
                </a:cubicBezTo>
                <a:cubicBezTo>
                  <a:pt x="218" y="963"/>
                  <a:pt x="219" y="963"/>
                  <a:pt x="219" y="963"/>
                </a:cubicBezTo>
                <a:close/>
                <a:moveTo>
                  <a:pt x="239" y="987"/>
                </a:moveTo>
                <a:cubicBezTo>
                  <a:pt x="237" y="988"/>
                  <a:pt x="240" y="990"/>
                  <a:pt x="241" y="990"/>
                </a:cubicBezTo>
                <a:cubicBezTo>
                  <a:pt x="242" y="989"/>
                  <a:pt x="241" y="988"/>
                  <a:pt x="241" y="987"/>
                </a:cubicBezTo>
                <a:cubicBezTo>
                  <a:pt x="240" y="986"/>
                  <a:pt x="239" y="987"/>
                  <a:pt x="238" y="987"/>
                </a:cubicBezTo>
                <a:cubicBezTo>
                  <a:pt x="239" y="987"/>
                  <a:pt x="239" y="987"/>
                  <a:pt x="239" y="987"/>
                </a:cubicBezTo>
                <a:cubicBezTo>
                  <a:pt x="237" y="988"/>
                  <a:pt x="239" y="987"/>
                  <a:pt x="239" y="987"/>
                </a:cubicBezTo>
                <a:close/>
                <a:moveTo>
                  <a:pt x="269" y="975"/>
                </a:moveTo>
                <a:cubicBezTo>
                  <a:pt x="268" y="977"/>
                  <a:pt x="268" y="977"/>
                  <a:pt x="269" y="979"/>
                </a:cubicBezTo>
                <a:cubicBezTo>
                  <a:pt x="270" y="979"/>
                  <a:pt x="271" y="981"/>
                  <a:pt x="271" y="979"/>
                </a:cubicBezTo>
                <a:cubicBezTo>
                  <a:pt x="271" y="977"/>
                  <a:pt x="270" y="973"/>
                  <a:pt x="268" y="976"/>
                </a:cubicBezTo>
                <a:cubicBezTo>
                  <a:pt x="269" y="976"/>
                  <a:pt x="269" y="976"/>
                  <a:pt x="269" y="975"/>
                </a:cubicBezTo>
                <a:cubicBezTo>
                  <a:pt x="268" y="977"/>
                  <a:pt x="269" y="975"/>
                  <a:pt x="269" y="975"/>
                </a:cubicBezTo>
                <a:close/>
                <a:moveTo>
                  <a:pt x="278" y="988"/>
                </a:moveTo>
                <a:cubicBezTo>
                  <a:pt x="278" y="990"/>
                  <a:pt x="279" y="990"/>
                  <a:pt x="281" y="990"/>
                </a:cubicBezTo>
                <a:cubicBezTo>
                  <a:pt x="282" y="991"/>
                  <a:pt x="283" y="992"/>
                  <a:pt x="285" y="993"/>
                </a:cubicBezTo>
                <a:cubicBezTo>
                  <a:pt x="285" y="993"/>
                  <a:pt x="287" y="994"/>
                  <a:pt x="286" y="993"/>
                </a:cubicBezTo>
                <a:cubicBezTo>
                  <a:pt x="286" y="992"/>
                  <a:pt x="284" y="992"/>
                  <a:pt x="284" y="991"/>
                </a:cubicBezTo>
                <a:cubicBezTo>
                  <a:pt x="283" y="990"/>
                  <a:pt x="281" y="989"/>
                  <a:pt x="280" y="988"/>
                </a:cubicBezTo>
                <a:cubicBezTo>
                  <a:pt x="278" y="987"/>
                  <a:pt x="277" y="987"/>
                  <a:pt x="278" y="989"/>
                </a:cubicBezTo>
                <a:cubicBezTo>
                  <a:pt x="278" y="988"/>
                  <a:pt x="278" y="988"/>
                  <a:pt x="278" y="988"/>
                </a:cubicBezTo>
                <a:cubicBezTo>
                  <a:pt x="278" y="989"/>
                  <a:pt x="278" y="988"/>
                  <a:pt x="278" y="988"/>
                </a:cubicBezTo>
                <a:close/>
              </a:path>
            </a:pathLst>
          </a:custGeom>
          <a:solidFill>
            <a:srgbClr val="CC0000"/>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30" name="Freeform 138">
            <a:extLst>
              <a:ext uri="{FF2B5EF4-FFF2-40B4-BE49-F238E27FC236}">
                <a16:creationId xmlns:a16="http://schemas.microsoft.com/office/drawing/2014/main" id="{427FDA21-529C-F046-AEEC-BE7D9BF705B6}"/>
              </a:ext>
            </a:extLst>
          </p:cNvPr>
          <p:cNvSpPr>
            <a:spLocks noEditPoints="1"/>
          </p:cNvSpPr>
          <p:nvPr>
            <p:custDataLst>
              <p:tags r:id="rId12"/>
            </p:custDataLst>
          </p:nvPr>
        </p:nvSpPr>
        <p:spPr bwMode="auto">
          <a:xfrm>
            <a:off x="1078515" y="2017411"/>
            <a:ext cx="750816" cy="558608"/>
          </a:xfrm>
          <a:custGeom>
            <a:avLst/>
            <a:gdLst>
              <a:gd name="T0" fmla="*/ 570 w 643"/>
              <a:gd name="T1" fmla="*/ 349 h 478"/>
              <a:gd name="T2" fmla="*/ 487 w 643"/>
              <a:gd name="T3" fmla="*/ 313 h 478"/>
              <a:gd name="T4" fmla="*/ 414 w 643"/>
              <a:gd name="T5" fmla="*/ 42 h 478"/>
              <a:gd name="T6" fmla="*/ 255 w 643"/>
              <a:gd name="T7" fmla="*/ 17 h 478"/>
              <a:gd name="T8" fmla="*/ 208 w 643"/>
              <a:gd name="T9" fmla="*/ 9 h 478"/>
              <a:gd name="T10" fmla="*/ 137 w 643"/>
              <a:gd name="T11" fmla="*/ 33 h 478"/>
              <a:gd name="T12" fmla="*/ 97 w 643"/>
              <a:gd name="T13" fmla="*/ 38 h 478"/>
              <a:gd name="T14" fmla="*/ 70 w 643"/>
              <a:gd name="T15" fmla="*/ 124 h 478"/>
              <a:gd name="T16" fmla="*/ 126 w 643"/>
              <a:gd name="T17" fmla="*/ 143 h 478"/>
              <a:gd name="T18" fmla="*/ 82 w 643"/>
              <a:gd name="T19" fmla="*/ 160 h 478"/>
              <a:gd name="T20" fmla="*/ 21 w 643"/>
              <a:gd name="T21" fmla="*/ 159 h 478"/>
              <a:gd name="T22" fmla="*/ 27 w 643"/>
              <a:gd name="T23" fmla="*/ 198 h 478"/>
              <a:gd name="T24" fmla="*/ 117 w 643"/>
              <a:gd name="T25" fmla="*/ 191 h 478"/>
              <a:gd name="T26" fmla="*/ 59 w 643"/>
              <a:gd name="T27" fmla="*/ 239 h 478"/>
              <a:gd name="T28" fmla="*/ 33 w 643"/>
              <a:gd name="T29" fmla="*/ 276 h 478"/>
              <a:gd name="T30" fmla="*/ 46 w 643"/>
              <a:gd name="T31" fmla="*/ 286 h 478"/>
              <a:gd name="T32" fmla="*/ 62 w 643"/>
              <a:gd name="T33" fmla="*/ 304 h 478"/>
              <a:gd name="T34" fmla="*/ 89 w 643"/>
              <a:gd name="T35" fmla="*/ 319 h 478"/>
              <a:gd name="T36" fmla="*/ 100 w 643"/>
              <a:gd name="T37" fmla="*/ 339 h 478"/>
              <a:gd name="T38" fmla="*/ 153 w 643"/>
              <a:gd name="T39" fmla="*/ 359 h 478"/>
              <a:gd name="T40" fmla="*/ 185 w 643"/>
              <a:gd name="T41" fmla="*/ 354 h 478"/>
              <a:gd name="T42" fmla="*/ 127 w 643"/>
              <a:gd name="T43" fmla="*/ 416 h 478"/>
              <a:gd name="T44" fmla="*/ 80 w 643"/>
              <a:gd name="T45" fmla="*/ 443 h 478"/>
              <a:gd name="T46" fmla="*/ 109 w 643"/>
              <a:gd name="T47" fmla="*/ 434 h 478"/>
              <a:gd name="T48" fmla="*/ 182 w 643"/>
              <a:gd name="T49" fmla="*/ 400 h 478"/>
              <a:gd name="T50" fmla="*/ 243 w 643"/>
              <a:gd name="T51" fmla="*/ 347 h 478"/>
              <a:gd name="T52" fmla="*/ 265 w 643"/>
              <a:gd name="T53" fmla="*/ 311 h 478"/>
              <a:gd name="T54" fmla="*/ 303 w 643"/>
              <a:gd name="T55" fmla="*/ 297 h 478"/>
              <a:gd name="T56" fmla="*/ 271 w 643"/>
              <a:gd name="T57" fmla="*/ 339 h 478"/>
              <a:gd name="T58" fmla="*/ 316 w 643"/>
              <a:gd name="T59" fmla="*/ 322 h 478"/>
              <a:gd name="T60" fmla="*/ 328 w 643"/>
              <a:gd name="T61" fmla="*/ 299 h 478"/>
              <a:gd name="T62" fmla="*/ 365 w 643"/>
              <a:gd name="T63" fmla="*/ 298 h 478"/>
              <a:gd name="T64" fmla="*/ 413 w 643"/>
              <a:gd name="T65" fmla="*/ 320 h 478"/>
              <a:gd name="T66" fmla="*/ 486 w 643"/>
              <a:gd name="T67" fmla="*/ 330 h 478"/>
              <a:gd name="T68" fmla="*/ 540 w 643"/>
              <a:gd name="T69" fmla="*/ 358 h 478"/>
              <a:gd name="T70" fmla="*/ 544 w 643"/>
              <a:gd name="T71" fmla="*/ 360 h 478"/>
              <a:gd name="T72" fmla="*/ 567 w 643"/>
              <a:gd name="T73" fmla="*/ 362 h 478"/>
              <a:gd name="T74" fmla="*/ 586 w 643"/>
              <a:gd name="T75" fmla="*/ 385 h 478"/>
              <a:gd name="T76" fmla="*/ 611 w 643"/>
              <a:gd name="T77" fmla="*/ 421 h 478"/>
              <a:gd name="T78" fmla="*/ 630 w 643"/>
              <a:gd name="T79" fmla="*/ 449 h 478"/>
              <a:gd name="T80" fmla="*/ 61 w 643"/>
              <a:gd name="T81" fmla="*/ 444 h 478"/>
              <a:gd name="T82" fmla="*/ 26 w 643"/>
              <a:gd name="T83" fmla="*/ 467 h 478"/>
              <a:gd name="T84" fmla="*/ 87 w 643"/>
              <a:gd name="T85" fmla="*/ 455 h 478"/>
              <a:gd name="T86" fmla="*/ 141 w 643"/>
              <a:gd name="T87" fmla="*/ 439 h 478"/>
              <a:gd name="T88" fmla="*/ 239 w 643"/>
              <a:gd name="T89" fmla="*/ 382 h 478"/>
              <a:gd name="T90" fmla="*/ 258 w 643"/>
              <a:gd name="T91" fmla="*/ 382 h 478"/>
              <a:gd name="T92" fmla="*/ 227 w 643"/>
              <a:gd name="T93" fmla="*/ 381 h 478"/>
              <a:gd name="T94" fmla="*/ 253 w 643"/>
              <a:gd name="T95" fmla="*/ 364 h 478"/>
              <a:gd name="T96" fmla="*/ 344 w 643"/>
              <a:gd name="T97" fmla="*/ 320 h 478"/>
              <a:gd name="T98" fmla="*/ 551 w 643"/>
              <a:gd name="T99" fmla="*/ 368 h 478"/>
              <a:gd name="T100" fmla="*/ 546 w 643"/>
              <a:gd name="T101" fmla="*/ 373 h 478"/>
              <a:gd name="T102" fmla="*/ 563 w 643"/>
              <a:gd name="T103" fmla="*/ 411 h 478"/>
              <a:gd name="T104" fmla="*/ 546 w 643"/>
              <a:gd name="T105" fmla="*/ 389 h 478"/>
              <a:gd name="T106" fmla="*/ 565 w 643"/>
              <a:gd name="T107" fmla="*/ 367 h 478"/>
              <a:gd name="T108" fmla="*/ 605 w 643"/>
              <a:gd name="T109" fmla="*/ 448 h 478"/>
              <a:gd name="T110" fmla="*/ 587 w 643"/>
              <a:gd name="T111" fmla="*/ 412 h 478"/>
              <a:gd name="T112" fmla="*/ 620 w 643"/>
              <a:gd name="T113" fmla="*/ 439 h 478"/>
              <a:gd name="T114" fmla="*/ 574 w 643"/>
              <a:gd name="T115" fmla="*/ 406 h 478"/>
              <a:gd name="T116" fmla="*/ 586 w 643"/>
              <a:gd name="T117" fmla="*/ 400 h 478"/>
              <a:gd name="T118" fmla="*/ 595 w 643"/>
              <a:gd name="T119" fmla="*/ 407 h 478"/>
              <a:gd name="T120" fmla="*/ 608 w 643"/>
              <a:gd name="T121" fmla="*/ 413 h 478"/>
              <a:gd name="T122" fmla="*/ 581 w 643"/>
              <a:gd name="T123" fmla="*/ 418 h 478"/>
              <a:gd name="T124" fmla="*/ 623 w 643"/>
              <a:gd name="T125" fmla="*/ 434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3" h="478">
                <a:moveTo>
                  <a:pt x="632" y="450"/>
                </a:moveTo>
                <a:cubicBezTo>
                  <a:pt x="634" y="447"/>
                  <a:pt x="636" y="445"/>
                  <a:pt x="638" y="442"/>
                </a:cubicBezTo>
                <a:cubicBezTo>
                  <a:pt x="639" y="441"/>
                  <a:pt x="640" y="440"/>
                  <a:pt x="641" y="439"/>
                </a:cubicBezTo>
                <a:cubicBezTo>
                  <a:pt x="641" y="438"/>
                  <a:pt x="643" y="436"/>
                  <a:pt x="643" y="435"/>
                </a:cubicBezTo>
                <a:cubicBezTo>
                  <a:pt x="643" y="432"/>
                  <a:pt x="642" y="429"/>
                  <a:pt x="641" y="426"/>
                </a:cubicBezTo>
                <a:cubicBezTo>
                  <a:pt x="641" y="423"/>
                  <a:pt x="642" y="421"/>
                  <a:pt x="642" y="418"/>
                </a:cubicBezTo>
                <a:cubicBezTo>
                  <a:pt x="641" y="416"/>
                  <a:pt x="638" y="415"/>
                  <a:pt x="636" y="414"/>
                </a:cubicBezTo>
                <a:cubicBezTo>
                  <a:pt x="633" y="413"/>
                  <a:pt x="630" y="412"/>
                  <a:pt x="627" y="411"/>
                </a:cubicBezTo>
                <a:cubicBezTo>
                  <a:pt x="624" y="410"/>
                  <a:pt x="622" y="409"/>
                  <a:pt x="619" y="408"/>
                </a:cubicBezTo>
                <a:cubicBezTo>
                  <a:pt x="616" y="407"/>
                  <a:pt x="613" y="406"/>
                  <a:pt x="611" y="404"/>
                </a:cubicBezTo>
                <a:cubicBezTo>
                  <a:pt x="609" y="402"/>
                  <a:pt x="608" y="399"/>
                  <a:pt x="606" y="397"/>
                </a:cubicBezTo>
                <a:cubicBezTo>
                  <a:pt x="606" y="396"/>
                  <a:pt x="605" y="394"/>
                  <a:pt x="604" y="393"/>
                </a:cubicBezTo>
                <a:cubicBezTo>
                  <a:pt x="604" y="391"/>
                  <a:pt x="604" y="390"/>
                  <a:pt x="604" y="388"/>
                </a:cubicBezTo>
                <a:cubicBezTo>
                  <a:pt x="603" y="385"/>
                  <a:pt x="601" y="383"/>
                  <a:pt x="599" y="381"/>
                </a:cubicBezTo>
                <a:cubicBezTo>
                  <a:pt x="597" y="378"/>
                  <a:pt x="596" y="376"/>
                  <a:pt x="594" y="373"/>
                </a:cubicBezTo>
                <a:cubicBezTo>
                  <a:pt x="591" y="368"/>
                  <a:pt x="587" y="363"/>
                  <a:pt x="583" y="359"/>
                </a:cubicBezTo>
                <a:cubicBezTo>
                  <a:pt x="579" y="355"/>
                  <a:pt x="574" y="353"/>
                  <a:pt x="570" y="349"/>
                </a:cubicBezTo>
                <a:cubicBezTo>
                  <a:pt x="569" y="347"/>
                  <a:pt x="568" y="344"/>
                  <a:pt x="566" y="343"/>
                </a:cubicBezTo>
                <a:cubicBezTo>
                  <a:pt x="565" y="342"/>
                  <a:pt x="564" y="342"/>
                  <a:pt x="563" y="341"/>
                </a:cubicBezTo>
                <a:cubicBezTo>
                  <a:pt x="562" y="340"/>
                  <a:pt x="561" y="339"/>
                  <a:pt x="559" y="338"/>
                </a:cubicBezTo>
                <a:cubicBezTo>
                  <a:pt x="557" y="337"/>
                  <a:pt x="556" y="334"/>
                  <a:pt x="554" y="332"/>
                </a:cubicBezTo>
                <a:cubicBezTo>
                  <a:pt x="552" y="331"/>
                  <a:pt x="550" y="328"/>
                  <a:pt x="547" y="328"/>
                </a:cubicBezTo>
                <a:cubicBezTo>
                  <a:pt x="545" y="329"/>
                  <a:pt x="542" y="329"/>
                  <a:pt x="540" y="331"/>
                </a:cubicBezTo>
                <a:cubicBezTo>
                  <a:pt x="539" y="331"/>
                  <a:pt x="537" y="332"/>
                  <a:pt x="537" y="333"/>
                </a:cubicBezTo>
                <a:cubicBezTo>
                  <a:pt x="537" y="334"/>
                  <a:pt x="537" y="335"/>
                  <a:pt x="536" y="336"/>
                </a:cubicBezTo>
                <a:cubicBezTo>
                  <a:pt x="534" y="337"/>
                  <a:pt x="534" y="340"/>
                  <a:pt x="532" y="342"/>
                </a:cubicBezTo>
                <a:cubicBezTo>
                  <a:pt x="530" y="344"/>
                  <a:pt x="528" y="343"/>
                  <a:pt x="526" y="343"/>
                </a:cubicBezTo>
                <a:cubicBezTo>
                  <a:pt x="523" y="343"/>
                  <a:pt x="522" y="346"/>
                  <a:pt x="520" y="347"/>
                </a:cubicBezTo>
                <a:cubicBezTo>
                  <a:pt x="519" y="348"/>
                  <a:pt x="516" y="349"/>
                  <a:pt x="514" y="347"/>
                </a:cubicBezTo>
                <a:cubicBezTo>
                  <a:pt x="513" y="345"/>
                  <a:pt x="514" y="342"/>
                  <a:pt x="513" y="340"/>
                </a:cubicBezTo>
                <a:cubicBezTo>
                  <a:pt x="512" y="338"/>
                  <a:pt x="509" y="336"/>
                  <a:pt x="507" y="334"/>
                </a:cubicBezTo>
                <a:cubicBezTo>
                  <a:pt x="502" y="330"/>
                  <a:pt x="497" y="326"/>
                  <a:pt x="492" y="322"/>
                </a:cubicBezTo>
                <a:cubicBezTo>
                  <a:pt x="491" y="321"/>
                  <a:pt x="488" y="319"/>
                  <a:pt x="487" y="317"/>
                </a:cubicBezTo>
                <a:cubicBezTo>
                  <a:pt x="487" y="316"/>
                  <a:pt x="488" y="315"/>
                  <a:pt x="487" y="313"/>
                </a:cubicBezTo>
                <a:cubicBezTo>
                  <a:pt x="487" y="312"/>
                  <a:pt x="486" y="313"/>
                  <a:pt x="485" y="313"/>
                </a:cubicBezTo>
                <a:cubicBezTo>
                  <a:pt x="482" y="313"/>
                  <a:pt x="479" y="313"/>
                  <a:pt x="477" y="314"/>
                </a:cubicBezTo>
                <a:cubicBezTo>
                  <a:pt x="476" y="315"/>
                  <a:pt x="475" y="316"/>
                  <a:pt x="474" y="316"/>
                </a:cubicBezTo>
                <a:cubicBezTo>
                  <a:pt x="473" y="317"/>
                  <a:pt x="470" y="316"/>
                  <a:pt x="469" y="316"/>
                </a:cubicBezTo>
                <a:cubicBezTo>
                  <a:pt x="466" y="315"/>
                  <a:pt x="463" y="314"/>
                  <a:pt x="460" y="314"/>
                </a:cubicBezTo>
                <a:cubicBezTo>
                  <a:pt x="459" y="314"/>
                  <a:pt x="457" y="313"/>
                  <a:pt x="456" y="313"/>
                </a:cubicBezTo>
                <a:cubicBezTo>
                  <a:pt x="456" y="313"/>
                  <a:pt x="456" y="309"/>
                  <a:pt x="456" y="309"/>
                </a:cubicBezTo>
                <a:cubicBezTo>
                  <a:pt x="456" y="296"/>
                  <a:pt x="456" y="282"/>
                  <a:pt x="456" y="269"/>
                </a:cubicBezTo>
                <a:cubicBezTo>
                  <a:pt x="456" y="243"/>
                  <a:pt x="456" y="216"/>
                  <a:pt x="456" y="190"/>
                </a:cubicBezTo>
                <a:cubicBezTo>
                  <a:pt x="456" y="163"/>
                  <a:pt x="456" y="136"/>
                  <a:pt x="456" y="110"/>
                </a:cubicBezTo>
                <a:cubicBezTo>
                  <a:pt x="456" y="97"/>
                  <a:pt x="456" y="83"/>
                  <a:pt x="456" y="70"/>
                </a:cubicBezTo>
                <a:cubicBezTo>
                  <a:pt x="456" y="67"/>
                  <a:pt x="456" y="64"/>
                  <a:pt x="456" y="61"/>
                </a:cubicBezTo>
                <a:cubicBezTo>
                  <a:pt x="456" y="59"/>
                  <a:pt x="456" y="58"/>
                  <a:pt x="456" y="56"/>
                </a:cubicBezTo>
                <a:cubicBezTo>
                  <a:pt x="456" y="55"/>
                  <a:pt x="456" y="54"/>
                  <a:pt x="455" y="53"/>
                </a:cubicBezTo>
                <a:cubicBezTo>
                  <a:pt x="450" y="51"/>
                  <a:pt x="445" y="50"/>
                  <a:pt x="440" y="48"/>
                </a:cubicBezTo>
                <a:cubicBezTo>
                  <a:pt x="435" y="46"/>
                  <a:pt x="429" y="44"/>
                  <a:pt x="423" y="43"/>
                </a:cubicBezTo>
                <a:cubicBezTo>
                  <a:pt x="420" y="42"/>
                  <a:pt x="417" y="42"/>
                  <a:pt x="414" y="42"/>
                </a:cubicBezTo>
                <a:cubicBezTo>
                  <a:pt x="411" y="42"/>
                  <a:pt x="408" y="42"/>
                  <a:pt x="404" y="43"/>
                </a:cubicBezTo>
                <a:cubicBezTo>
                  <a:pt x="399" y="44"/>
                  <a:pt x="392" y="46"/>
                  <a:pt x="387" y="43"/>
                </a:cubicBezTo>
                <a:cubicBezTo>
                  <a:pt x="384" y="42"/>
                  <a:pt x="381" y="41"/>
                  <a:pt x="379" y="40"/>
                </a:cubicBezTo>
                <a:cubicBezTo>
                  <a:pt x="376" y="38"/>
                  <a:pt x="373" y="38"/>
                  <a:pt x="370" y="38"/>
                </a:cubicBezTo>
                <a:cubicBezTo>
                  <a:pt x="364" y="38"/>
                  <a:pt x="358" y="38"/>
                  <a:pt x="351" y="37"/>
                </a:cubicBezTo>
                <a:cubicBezTo>
                  <a:pt x="345" y="37"/>
                  <a:pt x="338" y="36"/>
                  <a:pt x="332" y="35"/>
                </a:cubicBezTo>
                <a:cubicBezTo>
                  <a:pt x="325" y="34"/>
                  <a:pt x="319" y="32"/>
                  <a:pt x="313" y="31"/>
                </a:cubicBezTo>
                <a:cubicBezTo>
                  <a:pt x="306" y="29"/>
                  <a:pt x="300" y="29"/>
                  <a:pt x="293" y="29"/>
                </a:cubicBezTo>
                <a:cubicBezTo>
                  <a:pt x="290" y="29"/>
                  <a:pt x="287" y="30"/>
                  <a:pt x="284" y="31"/>
                </a:cubicBezTo>
                <a:cubicBezTo>
                  <a:pt x="282" y="32"/>
                  <a:pt x="278" y="31"/>
                  <a:pt x="276" y="30"/>
                </a:cubicBezTo>
                <a:cubicBezTo>
                  <a:pt x="274" y="28"/>
                  <a:pt x="273" y="26"/>
                  <a:pt x="270" y="26"/>
                </a:cubicBezTo>
                <a:cubicBezTo>
                  <a:pt x="269" y="26"/>
                  <a:pt x="268" y="26"/>
                  <a:pt x="267" y="26"/>
                </a:cubicBezTo>
                <a:cubicBezTo>
                  <a:pt x="266" y="25"/>
                  <a:pt x="266" y="24"/>
                  <a:pt x="266" y="23"/>
                </a:cubicBezTo>
                <a:cubicBezTo>
                  <a:pt x="264" y="22"/>
                  <a:pt x="262" y="22"/>
                  <a:pt x="264" y="20"/>
                </a:cubicBezTo>
                <a:cubicBezTo>
                  <a:pt x="264" y="20"/>
                  <a:pt x="265" y="19"/>
                  <a:pt x="265" y="18"/>
                </a:cubicBezTo>
                <a:cubicBezTo>
                  <a:pt x="266" y="17"/>
                  <a:pt x="264" y="17"/>
                  <a:pt x="263" y="17"/>
                </a:cubicBezTo>
                <a:cubicBezTo>
                  <a:pt x="261" y="16"/>
                  <a:pt x="258" y="17"/>
                  <a:pt x="255" y="17"/>
                </a:cubicBezTo>
                <a:cubicBezTo>
                  <a:pt x="252" y="17"/>
                  <a:pt x="249" y="16"/>
                  <a:pt x="245" y="16"/>
                </a:cubicBezTo>
                <a:cubicBezTo>
                  <a:pt x="242" y="16"/>
                  <a:pt x="239" y="16"/>
                  <a:pt x="237" y="17"/>
                </a:cubicBezTo>
                <a:cubicBezTo>
                  <a:pt x="235" y="17"/>
                  <a:pt x="234" y="18"/>
                  <a:pt x="233" y="18"/>
                </a:cubicBezTo>
                <a:cubicBezTo>
                  <a:pt x="232" y="19"/>
                  <a:pt x="231" y="19"/>
                  <a:pt x="229" y="18"/>
                </a:cubicBezTo>
                <a:cubicBezTo>
                  <a:pt x="227" y="18"/>
                  <a:pt x="226" y="17"/>
                  <a:pt x="225" y="14"/>
                </a:cubicBezTo>
                <a:cubicBezTo>
                  <a:pt x="225" y="12"/>
                  <a:pt x="223" y="11"/>
                  <a:pt x="221" y="11"/>
                </a:cubicBezTo>
                <a:cubicBezTo>
                  <a:pt x="220" y="11"/>
                  <a:pt x="219" y="12"/>
                  <a:pt x="218" y="11"/>
                </a:cubicBezTo>
                <a:cubicBezTo>
                  <a:pt x="217" y="11"/>
                  <a:pt x="218" y="9"/>
                  <a:pt x="217" y="9"/>
                </a:cubicBezTo>
                <a:cubicBezTo>
                  <a:pt x="216" y="8"/>
                  <a:pt x="214" y="12"/>
                  <a:pt x="214" y="13"/>
                </a:cubicBezTo>
                <a:cubicBezTo>
                  <a:pt x="213" y="13"/>
                  <a:pt x="212" y="13"/>
                  <a:pt x="211" y="13"/>
                </a:cubicBezTo>
                <a:cubicBezTo>
                  <a:pt x="210" y="14"/>
                  <a:pt x="210" y="15"/>
                  <a:pt x="209" y="16"/>
                </a:cubicBezTo>
                <a:cubicBezTo>
                  <a:pt x="208" y="17"/>
                  <a:pt x="207" y="17"/>
                  <a:pt x="206" y="17"/>
                </a:cubicBezTo>
                <a:cubicBezTo>
                  <a:pt x="205" y="17"/>
                  <a:pt x="205" y="18"/>
                  <a:pt x="203" y="19"/>
                </a:cubicBezTo>
                <a:cubicBezTo>
                  <a:pt x="202" y="20"/>
                  <a:pt x="202" y="17"/>
                  <a:pt x="202" y="16"/>
                </a:cubicBezTo>
                <a:cubicBezTo>
                  <a:pt x="202" y="15"/>
                  <a:pt x="202" y="14"/>
                  <a:pt x="203" y="13"/>
                </a:cubicBezTo>
                <a:cubicBezTo>
                  <a:pt x="203" y="11"/>
                  <a:pt x="204" y="11"/>
                  <a:pt x="206" y="11"/>
                </a:cubicBezTo>
                <a:cubicBezTo>
                  <a:pt x="206" y="11"/>
                  <a:pt x="209" y="10"/>
                  <a:pt x="208" y="9"/>
                </a:cubicBezTo>
                <a:cubicBezTo>
                  <a:pt x="207" y="8"/>
                  <a:pt x="205" y="8"/>
                  <a:pt x="204" y="8"/>
                </a:cubicBezTo>
                <a:cubicBezTo>
                  <a:pt x="201" y="7"/>
                  <a:pt x="198" y="6"/>
                  <a:pt x="196" y="5"/>
                </a:cubicBezTo>
                <a:cubicBezTo>
                  <a:pt x="195" y="4"/>
                  <a:pt x="194" y="4"/>
                  <a:pt x="194" y="3"/>
                </a:cubicBezTo>
                <a:cubicBezTo>
                  <a:pt x="195" y="2"/>
                  <a:pt x="196" y="1"/>
                  <a:pt x="194" y="1"/>
                </a:cubicBezTo>
                <a:cubicBezTo>
                  <a:pt x="193" y="0"/>
                  <a:pt x="192" y="2"/>
                  <a:pt x="191" y="2"/>
                </a:cubicBezTo>
                <a:cubicBezTo>
                  <a:pt x="190" y="3"/>
                  <a:pt x="188" y="4"/>
                  <a:pt x="187" y="5"/>
                </a:cubicBezTo>
                <a:cubicBezTo>
                  <a:pt x="182" y="9"/>
                  <a:pt x="178" y="13"/>
                  <a:pt x="173" y="16"/>
                </a:cubicBezTo>
                <a:cubicBezTo>
                  <a:pt x="170" y="17"/>
                  <a:pt x="167" y="17"/>
                  <a:pt x="164" y="18"/>
                </a:cubicBezTo>
                <a:cubicBezTo>
                  <a:pt x="161" y="18"/>
                  <a:pt x="157" y="19"/>
                  <a:pt x="154" y="20"/>
                </a:cubicBezTo>
                <a:cubicBezTo>
                  <a:pt x="149" y="20"/>
                  <a:pt x="144" y="20"/>
                  <a:pt x="140" y="20"/>
                </a:cubicBezTo>
                <a:cubicBezTo>
                  <a:pt x="138" y="20"/>
                  <a:pt x="137" y="21"/>
                  <a:pt x="136" y="21"/>
                </a:cubicBezTo>
                <a:cubicBezTo>
                  <a:pt x="134" y="22"/>
                  <a:pt x="135" y="24"/>
                  <a:pt x="136" y="25"/>
                </a:cubicBezTo>
                <a:cubicBezTo>
                  <a:pt x="137" y="26"/>
                  <a:pt x="138" y="26"/>
                  <a:pt x="139" y="27"/>
                </a:cubicBezTo>
                <a:cubicBezTo>
                  <a:pt x="140" y="27"/>
                  <a:pt x="141" y="27"/>
                  <a:pt x="142" y="27"/>
                </a:cubicBezTo>
                <a:cubicBezTo>
                  <a:pt x="143" y="27"/>
                  <a:pt x="146" y="26"/>
                  <a:pt x="146" y="27"/>
                </a:cubicBezTo>
                <a:cubicBezTo>
                  <a:pt x="146" y="29"/>
                  <a:pt x="142" y="29"/>
                  <a:pt x="141" y="29"/>
                </a:cubicBezTo>
                <a:cubicBezTo>
                  <a:pt x="138" y="29"/>
                  <a:pt x="137" y="30"/>
                  <a:pt x="137" y="33"/>
                </a:cubicBezTo>
                <a:cubicBezTo>
                  <a:pt x="138" y="34"/>
                  <a:pt x="139" y="35"/>
                  <a:pt x="139" y="36"/>
                </a:cubicBezTo>
                <a:cubicBezTo>
                  <a:pt x="139" y="37"/>
                  <a:pt x="137" y="37"/>
                  <a:pt x="137" y="36"/>
                </a:cubicBezTo>
                <a:cubicBezTo>
                  <a:pt x="136" y="36"/>
                  <a:pt x="136" y="34"/>
                  <a:pt x="135" y="34"/>
                </a:cubicBezTo>
                <a:cubicBezTo>
                  <a:pt x="134" y="33"/>
                  <a:pt x="133" y="34"/>
                  <a:pt x="133" y="33"/>
                </a:cubicBezTo>
                <a:cubicBezTo>
                  <a:pt x="132" y="33"/>
                  <a:pt x="131" y="33"/>
                  <a:pt x="131" y="32"/>
                </a:cubicBezTo>
                <a:cubicBezTo>
                  <a:pt x="131" y="32"/>
                  <a:pt x="133" y="31"/>
                  <a:pt x="133" y="31"/>
                </a:cubicBezTo>
                <a:cubicBezTo>
                  <a:pt x="133" y="30"/>
                  <a:pt x="131" y="29"/>
                  <a:pt x="131" y="29"/>
                </a:cubicBezTo>
                <a:cubicBezTo>
                  <a:pt x="130" y="28"/>
                  <a:pt x="132" y="27"/>
                  <a:pt x="132" y="27"/>
                </a:cubicBezTo>
                <a:cubicBezTo>
                  <a:pt x="133" y="26"/>
                  <a:pt x="133" y="26"/>
                  <a:pt x="132" y="25"/>
                </a:cubicBezTo>
                <a:cubicBezTo>
                  <a:pt x="131" y="25"/>
                  <a:pt x="130" y="25"/>
                  <a:pt x="129" y="26"/>
                </a:cubicBezTo>
                <a:cubicBezTo>
                  <a:pt x="127" y="27"/>
                  <a:pt x="124" y="29"/>
                  <a:pt x="122" y="31"/>
                </a:cubicBezTo>
                <a:cubicBezTo>
                  <a:pt x="120" y="32"/>
                  <a:pt x="118" y="34"/>
                  <a:pt x="115" y="35"/>
                </a:cubicBezTo>
                <a:cubicBezTo>
                  <a:pt x="114" y="35"/>
                  <a:pt x="113" y="35"/>
                  <a:pt x="111" y="35"/>
                </a:cubicBezTo>
                <a:cubicBezTo>
                  <a:pt x="110" y="36"/>
                  <a:pt x="109" y="36"/>
                  <a:pt x="107" y="37"/>
                </a:cubicBezTo>
                <a:cubicBezTo>
                  <a:pt x="106" y="38"/>
                  <a:pt x="103" y="40"/>
                  <a:pt x="102" y="38"/>
                </a:cubicBezTo>
                <a:cubicBezTo>
                  <a:pt x="101" y="37"/>
                  <a:pt x="106" y="36"/>
                  <a:pt x="103" y="35"/>
                </a:cubicBezTo>
                <a:cubicBezTo>
                  <a:pt x="101" y="34"/>
                  <a:pt x="99" y="36"/>
                  <a:pt x="97" y="38"/>
                </a:cubicBezTo>
                <a:cubicBezTo>
                  <a:pt x="95" y="40"/>
                  <a:pt x="93" y="42"/>
                  <a:pt x="90" y="44"/>
                </a:cubicBezTo>
                <a:cubicBezTo>
                  <a:pt x="86" y="48"/>
                  <a:pt x="83" y="53"/>
                  <a:pt x="81" y="58"/>
                </a:cubicBezTo>
                <a:cubicBezTo>
                  <a:pt x="78" y="63"/>
                  <a:pt x="75" y="69"/>
                  <a:pt x="70" y="72"/>
                </a:cubicBezTo>
                <a:cubicBezTo>
                  <a:pt x="65" y="75"/>
                  <a:pt x="59" y="75"/>
                  <a:pt x="54" y="76"/>
                </a:cubicBezTo>
                <a:cubicBezTo>
                  <a:pt x="51" y="76"/>
                  <a:pt x="48" y="77"/>
                  <a:pt x="45" y="78"/>
                </a:cubicBezTo>
                <a:cubicBezTo>
                  <a:pt x="42" y="78"/>
                  <a:pt x="39" y="78"/>
                  <a:pt x="36" y="78"/>
                </a:cubicBezTo>
                <a:cubicBezTo>
                  <a:pt x="34" y="77"/>
                  <a:pt x="31" y="76"/>
                  <a:pt x="30" y="78"/>
                </a:cubicBezTo>
                <a:cubicBezTo>
                  <a:pt x="28" y="79"/>
                  <a:pt x="29" y="81"/>
                  <a:pt x="28" y="83"/>
                </a:cubicBezTo>
                <a:cubicBezTo>
                  <a:pt x="28" y="85"/>
                  <a:pt x="27" y="87"/>
                  <a:pt x="26" y="89"/>
                </a:cubicBezTo>
                <a:cubicBezTo>
                  <a:pt x="26" y="89"/>
                  <a:pt x="22" y="92"/>
                  <a:pt x="22" y="93"/>
                </a:cubicBezTo>
                <a:cubicBezTo>
                  <a:pt x="23" y="93"/>
                  <a:pt x="25" y="93"/>
                  <a:pt x="25" y="93"/>
                </a:cubicBezTo>
                <a:cubicBezTo>
                  <a:pt x="27" y="94"/>
                  <a:pt x="28" y="94"/>
                  <a:pt x="29" y="95"/>
                </a:cubicBezTo>
                <a:cubicBezTo>
                  <a:pt x="31" y="96"/>
                  <a:pt x="33" y="99"/>
                  <a:pt x="36" y="99"/>
                </a:cubicBezTo>
                <a:cubicBezTo>
                  <a:pt x="39" y="100"/>
                  <a:pt x="42" y="101"/>
                  <a:pt x="44" y="102"/>
                </a:cubicBezTo>
                <a:cubicBezTo>
                  <a:pt x="47" y="103"/>
                  <a:pt x="50" y="105"/>
                  <a:pt x="52" y="106"/>
                </a:cubicBezTo>
                <a:cubicBezTo>
                  <a:pt x="57" y="110"/>
                  <a:pt x="62" y="114"/>
                  <a:pt x="67" y="118"/>
                </a:cubicBezTo>
                <a:cubicBezTo>
                  <a:pt x="69" y="119"/>
                  <a:pt x="70" y="121"/>
                  <a:pt x="70" y="124"/>
                </a:cubicBezTo>
                <a:cubicBezTo>
                  <a:pt x="70" y="126"/>
                  <a:pt x="70" y="128"/>
                  <a:pt x="73" y="129"/>
                </a:cubicBezTo>
                <a:cubicBezTo>
                  <a:pt x="75" y="129"/>
                  <a:pt x="77" y="129"/>
                  <a:pt x="80" y="130"/>
                </a:cubicBezTo>
                <a:cubicBezTo>
                  <a:pt x="81" y="130"/>
                  <a:pt x="82" y="131"/>
                  <a:pt x="83" y="131"/>
                </a:cubicBezTo>
                <a:cubicBezTo>
                  <a:pt x="84" y="131"/>
                  <a:pt x="85" y="130"/>
                  <a:pt x="86" y="129"/>
                </a:cubicBezTo>
                <a:cubicBezTo>
                  <a:pt x="87" y="129"/>
                  <a:pt x="88" y="129"/>
                  <a:pt x="89" y="130"/>
                </a:cubicBezTo>
                <a:cubicBezTo>
                  <a:pt x="90" y="130"/>
                  <a:pt x="90" y="129"/>
                  <a:pt x="91" y="128"/>
                </a:cubicBezTo>
                <a:cubicBezTo>
                  <a:pt x="91" y="127"/>
                  <a:pt x="92" y="126"/>
                  <a:pt x="93" y="126"/>
                </a:cubicBezTo>
                <a:cubicBezTo>
                  <a:pt x="95" y="126"/>
                  <a:pt x="95" y="128"/>
                  <a:pt x="95" y="129"/>
                </a:cubicBezTo>
                <a:cubicBezTo>
                  <a:pt x="95" y="131"/>
                  <a:pt x="100" y="129"/>
                  <a:pt x="101" y="129"/>
                </a:cubicBezTo>
                <a:cubicBezTo>
                  <a:pt x="103" y="130"/>
                  <a:pt x="105" y="130"/>
                  <a:pt x="106" y="131"/>
                </a:cubicBezTo>
                <a:cubicBezTo>
                  <a:pt x="107" y="132"/>
                  <a:pt x="108" y="132"/>
                  <a:pt x="107" y="134"/>
                </a:cubicBezTo>
                <a:cubicBezTo>
                  <a:pt x="106" y="135"/>
                  <a:pt x="104" y="136"/>
                  <a:pt x="103" y="137"/>
                </a:cubicBezTo>
                <a:cubicBezTo>
                  <a:pt x="102" y="139"/>
                  <a:pt x="105" y="141"/>
                  <a:pt x="106" y="142"/>
                </a:cubicBezTo>
                <a:cubicBezTo>
                  <a:pt x="108" y="144"/>
                  <a:pt x="112" y="144"/>
                  <a:pt x="114" y="143"/>
                </a:cubicBezTo>
                <a:cubicBezTo>
                  <a:pt x="115" y="143"/>
                  <a:pt x="116" y="142"/>
                  <a:pt x="117" y="141"/>
                </a:cubicBezTo>
                <a:cubicBezTo>
                  <a:pt x="118" y="141"/>
                  <a:pt x="119" y="140"/>
                  <a:pt x="120" y="140"/>
                </a:cubicBezTo>
                <a:cubicBezTo>
                  <a:pt x="122" y="141"/>
                  <a:pt x="124" y="143"/>
                  <a:pt x="126" y="143"/>
                </a:cubicBezTo>
                <a:cubicBezTo>
                  <a:pt x="127" y="142"/>
                  <a:pt x="127" y="141"/>
                  <a:pt x="129" y="141"/>
                </a:cubicBezTo>
                <a:cubicBezTo>
                  <a:pt x="130" y="141"/>
                  <a:pt x="130" y="142"/>
                  <a:pt x="131" y="143"/>
                </a:cubicBezTo>
                <a:cubicBezTo>
                  <a:pt x="131" y="146"/>
                  <a:pt x="131" y="148"/>
                  <a:pt x="129" y="149"/>
                </a:cubicBezTo>
                <a:cubicBezTo>
                  <a:pt x="127" y="150"/>
                  <a:pt x="123" y="150"/>
                  <a:pt x="121" y="150"/>
                </a:cubicBezTo>
                <a:cubicBezTo>
                  <a:pt x="118" y="149"/>
                  <a:pt x="116" y="147"/>
                  <a:pt x="113" y="146"/>
                </a:cubicBezTo>
                <a:cubicBezTo>
                  <a:pt x="111" y="146"/>
                  <a:pt x="108" y="146"/>
                  <a:pt x="106" y="146"/>
                </a:cubicBezTo>
                <a:cubicBezTo>
                  <a:pt x="103" y="146"/>
                  <a:pt x="102" y="146"/>
                  <a:pt x="102" y="149"/>
                </a:cubicBezTo>
                <a:cubicBezTo>
                  <a:pt x="102" y="151"/>
                  <a:pt x="105" y="149"/>
                  <a:pt x="106" y="148"/>
                </a:cubicBezTo>
                <a:cubicBezTo>
                  <a:pt x="108" y="148"/>
                  <a:pt x="111" y="149"/>
                  <a:pt x="113" y="150"/>
                </a:cubicBezTo>
                <a:cubicBezTo>
                  <a:pt x="115" y="150"/>
                  <a:pt x="116" y="151"/>
                  <a:pt x="117" y="153"/>
                </a:cubicBezTo>
                <a:cubicBezTo>
                  <a:pt x="117" y="154"/>
                  <a:pt x="116" y="155"/>
                  <a:pt x="116" y="156"/>
                </a:cubicBezTo>
                <a:cubicBezTo>
                  <a:pt x="116" y="156"/>
                  <a:pt x="114" y="158"/>
                  <a:pt x="114" y="157"/>
                </a:cubicBezTo>
                <a:cubicBezTo>
                  <a:pt x="113" y="156"/>
                  <a:pt x="114" y="155"/>
                  <a:pt x="113" y="155"/>
                </a:cubicBezTo>
                <a:cubicBezTo>
                  <a:pt x="112" y="154"/>
                  <a:pt x="110" y="155"/>
                  <a:pt x="109" y="155"/>
                </a:cubicBezTo>
                <a:cubicBezTo>
                  <a:pt x="107" y="156"/>
                  <a:pt x="105" y="157"/>
                  <a:pt x="104" y="159"/>
                </a:cubicBezTo>
                <a:cubicBezTo>
                  <a:pt x="102" y="164"/>
                  <a:pt x="95" y="161"/>
                  <a:pt x="91" y="161"/>
                </a:cubicBezTo>
                <a:cubicBezTo>
                  <a:pt x="88" y="161"/>
                  <a:pt x="85" y="161"/>
                  <a:pt x="82" y="160"/>
                </a:cubicBezTo>
                <a:cubicBezTo>
                  <a:pt x="79" y="159"/>
                  <a:pt x="77" y="159"/>
                  <a:pt x="73" y="159"/>
                </a:cubicBezTo>
                <a:cubicBezTo>
                  <a:pt x="71" y="159"/>
                  <a:pt x="69" y="157"/>
                  <a:pt x="67" y="156"/>
                </a:cubicBezTo>
                <a:cubicBezTo>
                  <a:pt x="66" y="156"/>
                  <a:pt x="65" y="156"/>
                  <a:pt x="65" y="155"/>
                </a:cubicBezTo>
                <a:cubicBezTo>
                  <a:pt x="64" y="154"/>
                  <a:pt x="65" y="152"/>
                  <a:pt x="66" y="152"/>
                </a:cubicBezTo>
                <a:cubicBezTo>
                  <a:pt x="67" y="151"/>
                  <a:pt x="66" y="149"/>
                  <a:pt x="66" y="148"/>
                </a:cubicBezTo>
                <a:cubicBezTo>
                  <a:pt x="67" y="148"/>
                  <a:pt x="68" y="147"/>
                  <a:pt x="68" y="146"/>
                </a:cubicBezTo>
                <a:cubicBezTo>
                  <a:pt x="69" y="144"/>
                  <a:pt x="64" y="145"/>
                  <a:pt x="62" y="145"/>
                </a:cubicBezTo>
                <a:cubicBezTo>
                  <a:pt x="60" y="145"/>
                  <a:pt x="57" y="145"/>
                  <a:pt x="54" y="145"/>
                </a:cubicBezTo>
                <a:cubicBezTo>
                  <a:pt x="52" y="146"/>
                  <a:pt x="51" y="148"/>
                  <a:pt x="49" y="149"/>
                </a:cubicBezTo>
                <a:cubicBezTo>
                  <a:pt x="47" y="149"/>
                  <a:pt x="46" y="148"/>
                  <a:pt x="44" y="148"/>
                </a:cubicBezTo>
                <a:cubicBezTo>
                  <a:pt x="43" y="149"/>
                  <a:pt x="43" y="149"/>
                  <a:pt x="42" y="150"/>
                </a:cubicBezTo>
                <a:cubicBezTo>
                  <a:pt x="41" y="151"/>
                  <a:pt x="36" y="152"/>
                  <a:pt x="36" y="153"/>
                </a:cubicBezTo>
                <a:cubicBezTo>
                  <a:pt x="37" y="154"/>
                  <a:pt x="37" y="155"/>
                  <a:pt x="38" y="155"/>
                </a:cubicBezTo>
                <a:cubicBezTo>
                  <a:pt x="38" y="155"/>
                  <a:pt x="39" y="155"/>
                  <a:pt x="39" y="156"/>
                </a:cubicBezTo>
                <a:cubicBezTo>
                  <a:pt x="39" y="157"/>
                  <a:pt x="36" y="158"/>
                  <a:pt x="36" y="158"/>
                </a:cubicBezTo>
                <a:cubicBezTo>
                  <a:pt x="33" y="159"/>
                  <a:pt x="31" y="157"/>
                  <a:pt x="29" y="157"/>
                </a:cubicBezTo>
                <a:cubicBezTo>
                  <a:pt x="26" y="156"/>
                  <a:pt x="23" y="158"/>
                  <a:pt x="21" y="159"/>
                </a:cubicBezTo>
                <a:cubicBezTo>
                  <a:pt x="20" y="159"/>
                  <a:pt x="18" y="160"/>
                  <a:pt x="17" y="161"/>
                </a:cubicBezTo>
                <a:cubicBezTo>
                  <a:pt x="17" y="162"/>
                  <a:pt x="16" y="162"/>
                  <a:pt x="15" y="163"/>
                </a:cubicBezTo>
                <a:cubicBezTo>
                  <a:pt x="13" y="165"/>
                  <a:pt x="11" y="164"/>
                  <a:pt x="9" y="165"/>
                </a:cubicBezTo>
                <a:cubicBezTo>
                  <a:pt x="7" y="166"/>
                  <a:pt x="6" y="168"/>
                  <a:pt x="4" y="169"/>
                </a:cubicBezTo>
                <a:cubicBezTo>
                  <a:pt x="2" y="170"/>
                  <a:pt x="0" y="171"/>
                  <a:pt x="2" y="173"/>
                </a:cubicBezTo>
                <a:cubicBezTo>
                  <a:pt x="4" y="174"/>
                  <a:pt x="7" y="176"/>
                  <a:pt x="9" y="176"/>
                </a:cubicBezTo>
                <a:cubicBezTo>
                  <a:pt x="10" y="176"/>
                  <a:pt x="12" y="176"/>
                  <a:pt x="13" y="176"/>
                </a:cubicBezTo>
                <a:cubicBezTo>
                  <a:pt x="14" y="177"/>
                  <a:pt x="16" y="177"/>
                  <a:pt x="17" y="178"/>
                </a:cubicBezTo>
                <a:cubicBezTo>
                  <a:pt x="19" y="178"/>
                  <a:pt x="20" y="178"/>
                  <a:pt x="21" y="178"/>
                </a:cubicBezTo>
                <a:cubicBezTo>
                  <a:pt x="23" y="179"/>
                  <a:pt x="24" y="179"/>
                  <a:pt x="26" y="179"/>
                </a:cubicBezTo>
                <a:cubicBezTo>
                  <a:pt x="27" y="179"/>
                  <a:pt x="28" y="179"/>
                  <a:pt x="29" y="180"/>
                </a:cubicBezTo>
                <a:cubicBezTo>
                  <a:pt x="30" y="180"/>
                  <a:pt x="30" y="181"/>
                  <a:pt x="29" y="181"/>
                </a:cubicBezTo>
                <a:cubicBezTo>
                  <a:pt x="28" y="182"/>
                  <a:pt x="27" y="181"/>
                  <a:pt x="26" y="181"/>
                </a:cubicBezTo>
                <a:cubicBezTo>
                  <a:pt x="24" y="182"/>
                  <a:pt x="24" y="183"/>
                  <a:pt x="23" y="183"/>
                </a:cubicBezTo>
                <a:cubicBezTo>
                  <a:pt x="22" y="185"/>
                  <a:pt x="18" y="185"/>
                  <a:pt x="20" y="187"/>
                </a:cubicBezTo>
                <a:cubicBezTo>
                  <a:pt x="21" y="188"/>
                  <a:pt x="25" y="190"/>
                  <a:pt x="25" y="192"/>
                </a:cubicBezTo>
                <a:cubicBezTo>
                  <a:pt x="24" y="195"/>
                  <a:pt x="25" y="196"/>
                  <a:pt x="27" y="198"/>
                </a:cubicBezTo>
                <a:cubicBezTo>
                  <a:pt x="29" y="199"/>
                  <a:pt x="32" y="200"/>
                  <a:pt x="35" y="200"/>
                </a:cubicBezTo>
                <a:cubicBezTo>
                  <a:pt x="38" y="200"/>
                  <a:pt x="41" y="200"/>
                  <a:pt x="44" y="202"/>
                </a:cubicBezTo>
                <a:cubicBezTo>
                  <a:pt x="46" y="203"/>
                  <a:pt x="49" y="202"/>
                  <a:pt x="51" y="201"/>
                </a:cubicBezTo>
                <a:cubicBezTo>
                  <a:pt x="54" y="200"/>
                  <a:pt x="57" y="199"/>
                  <a:pt x="60" y="198"/>
                </a:cubicBezTo>
                <a:cubicBezTo>
                  <a:pt x="63" y="198"/>
                  <a:pt x="66" y="198"/>
                  <a:pt x="68" y="198"/>
                </a:cubicBezTo>
                <a:cubicBezTo>
                  <a:pt x="70" y="198"/>
                  <a:pt x="73" y="200"/>
                  <a:pt x="75" y="200"/>
                </a:cubicBezTo>
                <a:cubicBezTo>
                  <a:pt x="77" y="199"/>
                  <a:pt x="78" y="196"/>
                  <a:pt x="80" y="197"/>
                </a:cubicBezTo>
                <a:cubicBezTo>
                  <a:pt x="81" y="198"/>
                  <a:pt x="82" y="199"/>
                  <a:pt x="83" y="200"/>
                </a:cubicBezTo>
                <a:cubicBezTo>
                  <a:pt x="84" y="201"/>
                  <a:pt x="85" y="201"/>
                  <a:pt x="85" y="203"/>
                </a:cubicBezTo>
                <a:cubicBezTo>
                  <a:pt x="85" y="204"/>
                  <a:pt x="87" y="207"/>
                  <a:pt x="88" y="205"/>
                </a:cubicBezTo>
                <a:cubicBezTo>
                  <a:pt x="89" y="203"/>
                  <a:pt x="88" y="200"/>
                  <a:pt x="91" y="199"/>
                </a:cubicBezTo>
                <a:cubicBezTo>
                  <a:pt x="93" y="198"/>
                  <a:pt x="95" y="197"/>
                  <a:pt x="98" y="196"/>
                </a:cubicBezTo>
                <a:cubicBezTo>
                  <a:pt x="99" y="196"/>
                  <a:pt x="100" y="197"/>
                  <a:pt x="101" y="196"/>
                </a:cubicBezTo>
                <a:cubicBezTo>
                  <a:pt x="102" y="195"/>
                  <a:pt x="102" y="194"/>
                  <a:pt x="103" y="193"/>
                </a:cubicBezTo>
                <a:cubicBezTo>
                  <a:pt x="104" y="191"/>
                  <a:pt x="106" y="193"/>
                  <a:pt x="108" y="194"/>
                </a:cubicBezTo>
                <a:cubicBezTo>
                  <a:pt x="111" y="195"/>
                  <a:pt x="111" y="192"/>
                  <a:pt x="112" y="190"/>
                </a:cubicBezTo>
                <a:cubicBezTo>
                  <a:pt x="114" y="189"/>
                  <a:pt x="117" y="189"/>
                  <a:pt x="117" y="191"/>
                </a:cubicBezTo>
                <a:cubicBezTo>
                  <a:pt x="118" y="192"/>
                  <a:pt x="119" y="193"/>
                  <a:pt x="119" y="194"/>
                </a:cubicBezTo>
                <a:cubicBezTo>
                  <a:pt x="120" y="195"/>
                  <a:pt x="120" y="196"/>
                  <a:pt x="119" y="197"/>
                </a:cubicBezTo>
                <a:cubicBezTo>
                  <a:pt x="118" y="199"/>
                  <a:pt x="116" y="201"/>
                  <a:pt x="114" y="201"/>
                </a:cubicBezTo>
                <a:cubicBezTo>
                  <a:pt x="113" y="202"/>
                  <a:pt x="110" y="202"/>
                  <a:pt x="111" y="204"/>
                </a:cubicBezTo>
                <a:cubicBezTo>
                  <a:pt x="112" y="205"/>
                  <a:pt x="114" y="206"/>
                  <a:pt x="115" y="207"/>
                </a:cubicBezTo>
                <a:cubicBezTo>
                  <a:pt x="117" y="209"/>
                  <a:pt x="119" y="211"/>
                  <a:pt x="120" y="214"/>
                </a:cubicBezTo>
                <a:cubicBezTo>
                  <a:pt x="121" y="219"/>
                  <a:pt x="120" y="224"/>
                  <a:pt x="115" y="228"/>
                </a:cubicBezTo>
                <a:cubicBezTo>
                  <a:pt x="113" y="229"/>
                  <a:pt x="110" y="229"/>
                  <a:pt x="107" y="229"/>
                </a:cubicBezTo>
                <a:cubicBezTo>
                  <a:pt x="104" y="229"/>
                  <a:pt x="100" y="228"/>
                  <a:pt x="97" y="229"/>
                </a:cubicBezTo>
                <a:cubicBezTo>
                  <a:pt x="94" y="229"/>
                  <a:pt x="93" y="230"/>
                  <a:pt x="91" y="232"/>
                </a:cubicBezTo>
                <a:cubicBezTo>
                  <a:pt x="91" y="233"/>
                  <a:pt x="90" y="234"/>
                  <a:pt x="89" y="235"/>
                </a:cubicBezTo>
                <a:cubicBezTo>
                  <a:pt x="88" y="236"/>
                  <a:pt x="87" y="237"/>
                  <a:pt x="86" y="238"/>
                </a:cubicBezTo>
                <a:cubicBezTo>
                  <a:pt x="84" y="239"/>
                  <a:pt x="82" y="241"/>
                  <a:pt x="80" y="241"/>
                </a:cubicBezTo>
                <a:cubicBezTo>
                  <a:pt x="77" y="241"/>
                  <a:pt x="75" y="240"/>
                  <a:pt x="72" y="239"/>
                </a:cubicBezTo>
                <a:cubicBezTo>
                  <a:pt x="70" y="238"/>
                  <a:pt x="69" y="237"/>
                  <a:pt x="66" y="237"/>
                </a:cubicBezTo>
                <a:cubicBezTo>
                  <a:pt x="65" y="237"/>
                  <a:pt x="64" y="237"/>
                  <a:pt x="62" y="238"/>
                </a:cubicBezTo>
                <a:cubicBezTo>
                  <a:pt x="61" y="238"/>
                  <a:pt x="59" y="238"/>
                  <a:pt x="59" y="239"/>
                </a:cubicBezTo>
                <a:cubicBezTo>
                  <a:pt x="58" y="240"/>
                  <a:pt x="59" y="241"/>
                  <a:pt x="60" y="241"/>
                </a:cubicBezTo>
                <a:cubicBezTo>
                  <a:pt x="61" y="241"/>
                  <a:pt x="60" y="242"/>
                  <a:pt x="59" y="242"/>
                </a:cubicBezTo>
                <a:cubicBezTo>
                  <a:pt x="57" y="242"/>
                  <a:pt x="54" y="242"/>
                  <a:pt x="52" y="244"/>
                </a:cubicBezTo>
                <a:cubicBezTo>
                  <a:pt x="52" y="246"/>
                  <a:pt x="51" y="248"/>
                  <a:pt x="51" y="250"/>
                </a:cubicBezTo>
                <a:cubicBezTo>
                  <a:pt x="51" y="253"/>
                  <a:pt x="54" y="251"/>
                  <a:pt x="55" y="250"/>
                </a:cubicBezTo>
                <a:cubicBezTo>
                  <a:pt x="56" y="250"/>
                  <a:pt x="57" y="249"/>
                  <a:pt x="57" y="250"/>
                </a:cubicBezTo>
                <a:cubicBezTo>
                  <a:pt x="58" y="250"/>
                  <a:pt x="56" y="251"/>
                  <a:pt x="56" y="252"/>
                </a:cubicBezTo>
                <a:cubicBezTo>
                  <a:pt x="55" y="252"/>
                  <a:pt x="55" y="253"/>
                  <a:pt x="55" y="254"/>
                </a:cubicBezTo>
                <a:cubicBezTo>
                  <a:pt x="54" y="255"/>
                  <a:pt x="55" y="256"/>
                  <a:pt x="56" y="257"/>
                </a:cubicBezTo>
                <a:cubicBezTo>
                  <a:pt x="56" y="258"/>
                  <a:pt x="53" y="257"/>
                  <a:pt x="52" y="257"/>
                </a:cubicBezTo>
                <a:cubicBezTo>
                  <a:pt x="51" y="256"/>
                  <a:pt x="50" y="256"/>
                  <a:pt x="49" y="255"/>
                </a:cubicBezTo>
                <a:cubicBezTo>
                  <a:pt x="47" y="255"/>
                  <a:pt x="46" y="256"/>
                  <a:pt x="45" y="257"/>
                </a:cubicBezTo>
                <a:cubicBezTo>
                  <a:pt x="43" y="259"/>
                  <a:pt x="41" y="260"/>
                  <a:pt x="40" y="263"/>
                </a:cubicBezTo>
                <a:cubicBezTo>
                  <a:pt x="38" y="264"/>
                  <a:pt x="35" y="266"/>
                  <a:pt x="36" y="269"/>
                </a:cubicBezTo>
                <a:cubicBezTo>
                  <a:pt x="36" y="270"/>
                  <a:pt x="37" y="271"/>
                  <a:pt x="37" y="272"/>
                </a:cubicBezTo>
                <a:cubicBezTo>
                  <a:pt x="37" y="273"/>
                  <a:pt x="36" y="274"/>
                  <a:pt x="35" y="273"/>
                </a:cubicBezTo>
                <a:cubicBezTo>
                  <a:pt x="33" y="273"/>
                  <a:pt x="31" y="275"/>
                  <a:pt x="33" y="276"/>
                </a:cubicBezTo>
                <a:cubicBezTo>
                  <a:pt x="34" y="276"/>
                  <a:pt x="35" y="276"/>
                  <a:pt x="34" y="277"/>
                </a:cubicBezTo>
                <a:cubicBezTo>
                  <a:pt x="34" y="278"/>
                  <a:pt x="33" y="278"/>
                  <a:pt x="32" y="278"/>
                </a:cubicBezTo>
                <a:cubicBezTo>
                  <a:pt x="31" y="278"/>
                  <a:pt x="30" y="277"/>
                  <a:pt x="29" y="278"/>
                </a:cubicBezTo>
                <a:cubicBezTo>
                  <a:pt x="29" y="278"/>
                  <a:pt x="27" y="279"/>
                  <a:pt x="28" y="280"/>
                </a:cubicBezTo>
                <a:cubicBezTo>
                  <a:pt x="29" y="281"/>
                  <a:pt x="31" y="280"/>
                  <a:pt x="32" y="280"/>
                </a:cubicBezTo>
                <a:cubicBezTo>
                  <a:pt x="33" y="280"/>
                  <a:pt x="34" y="280"/>
                  <a:pt x="35" y="281"/>
                </a:cubicBezTo>
                <a:cubicBezTo>
                  <a:pt x="35" y="282"/>
                  <a:pt x="34" y="283"/>
                  <a:pt x="33" y="284"/>
                </a:cubicBezTo>
                <a:cubicBezTo>
                  <a:pt x="32" y="286"/>
                  <a:pt x="34" y="286"/>
                  <a:pt x="36" y="287"/>
                </a:cubicBezTo>
                <a:cubicBezTo>
                  <a:pt x="38" y="287"/>
                  <a:pt x="39" y="289"/>
                  <a:pt x="38" y="291"/>
                </a:cubicBezTo>
                <a:cubicBezTo>
                  <a:pt x="38" y="293"/>
                  <a:pt x="41" y="293"/>
                  <a:pt x="41" y="291"/>
                </a:cubicBezTo>
                <a:cubicBezTo>
                  <a:pt x="41" y="290"/>
                  <a:pt x="41" y="289"/>
                  <a:pt x="41" y="289"/>
                </a:cubicBezTo>
                <a:cubicBezTo>
                  <a:pt x="42" y="288"/>
                  <a:pt x="43" y="288"/>
                  <a:pt x="43" y="287"/>
                </a:cubicBezTo>
                <a:cubicBezTo>
                  <a:pt x="44" y="284"/>
                  <a:pt x="46" y="283"/>
                  <a:pt x="48" y="282"/>
                </a:cubicBezTo>
                <a:cubicBezTo>
                  <a:pt x="49" y="281"/>
                  <a:pt x="51" y="280"/>
                  <a:pt x="52" y="279"/>
                </a:cubicBezTo>
                <a:cubicBezTo>
                  <a:pt x="54" y="279"/>
                  <a:pt x="51" y="282"/>
                  <a:pt x="51" y="282"/>
                </a:cubicBezTo>
                <a:cubicBezTo>
                  <a:pt x="50" y="282"/>
                  <a:pt x="49" y="283"/>
                  <a:pt x="48" y="283"/>
                </a:cubicBezTo>
                <a:cubicBezTo>
                  <a:pt x="47" y="284"/>
                  <a:pt x="46" y="285"/>
                  <a:pt x="46" y="286"/>
                </a:cubicBezTo>
                <a:cubicBezTo>
                  <a:pt x="44" y="288"/>
                  <a:pt x="46" y="289"/>
                  <a:pt x="48" y="289"/>
                </a:cubicBezTo>
                <a:cubicBezTo>
                  <a:pt x="48" y="290"/>
                  <a:pt x="49" y="291"/>
                  <a:pt x="50" y="291"/>
                </a:cubicBezTo>
                <a:cubicBezTo>
                  <a:pt x="50" y="292"/>
                  <a:pt x="52" y="291"/>
                  <a:pt x="52" y="292"/>
                </a:cubicBezTo>
                <a:cubicBezTo>
                  <a:pt x="52" y="293"/>
                  <a:pt x="49" y="294"/>
                  <a:pt x="48" y="294"/>
                </a:cubicBezTo>
                <a:cubicBezTo>
                  <a:pt x="46" y="296"/>
                  <a:pt x="49" y="296"/>
                  <a:pt x="51" y="296"/>
                </a:cubicBezTo>
                <a:cubicBezTo>
                  <a:pt x="53" y="296"/>
                  <a:pt x="56" y="297"/>
                  <a:pt x="58" y="298"/>
                </a:cubicBezTo>
                <a:cubicBezTo>
                  <a:pt x="60" y="298"/>
                  <a:pt x="61" y="298"/>
                  <a:pt x="63" y="298"/>
                </a:cubicBezTo>
                <a:cubicBezTo>
                  <a:pt x="64" y="298"/>
                  <a:pt x="65" y="298"/>
                  <a:pt x="66" y="298"/>
                </a:cubicBezTo>
                <a:cubicBezTo>
                  <a:pt x="68" y="298"/>
                  <a:pt x="68" y="294"/>
                  <a:pt x="70" y="295"/>
                </a:cubicBezTo>
                <a:cubicBezTo>
                  <a:pt x="71" y="296"/>
                  <a:pt x="72" y="296"/>
                  <a:pt x="72" y="297"/>
                </a:cubicBezTo>
                <a:cubicBezTo>
                  <a:pt x="73" y="298"/>
                  <a:pt x="70" y="298"/>
                  <a:pt x="72" y="300"/>
                </a:cubicBezTo>
                <a:cubicBezTo>
                  <a:pt x="72" y="300"/>
                  <a:pt x="75" y="301"/>
                  <a:pt x="74" y="302"/>
                </a:cubicBezTo>
                <a:cubicBezTo>
                  <a:pt x="73" y="303"/>
                  <a:pt x="72" y="304"/>
                  <a:pt x="72" y="305"/>
                </a:cubicBezTo>
                <a:cubicBezTo>
                  <a:pt x="71" y="305"/>
                  <a:pt x="69" y="307"/>
                  <a:pt x="69" y="306"/>
                </a:cubicBezTo>
                <a:cubicBezTo>
                  <a:pt x="68" y="305"/>
                  <a:pt x="67" y="304"/>
                  <a:pt x="67" y="303"/>
                </a:cubicBezTo>
                <a:cubicBezTo>
                  <a:pt x="67" y="303"/>
                  <a:pt x="67" y="302"/>
                  <a:pt x="67" y="301"/>
                </a:cubicBezTo>
                <a:cubicBezTo>
                  <a:pt x="66" y="300"/>
                  <a:pt x="62" y="303"/>
                  <a:pt x="62" y="304"/>
                </a:cubicBezTo>
                <a:cubicBezTo>
                  <a:pt x="61" y="305"/>
                  <a:pt x="60" y="307"/>
                  <a:pt x="59" y="306"/>
                </a:cubicBezTo>
                <a:cubicBezTo>
                  <a:pt x="57" y="303"/>
                  <a:pt x="61" y="304"/>
                  <a:pt x="61" y="302"/>
                </a:cubicBezTo>
                <a:cubicBezTo>
                  <a:pt x="60" y="300"/>
                  <a:pt x="58" y="300"/>
                  <a:pt x="56" y="300"/>
                </a:cubicBezTo>
                <a:cubicBezTo>
                  <a:pt x="54" y="300"/>
                  <a:pt x="54" y="299"/>
                  <a:pt x="52" y="298"/>
                </a:cubicBezTo>
                <a:cubicBezTo>
                  <a:pt x="51" y="298"/>
                  <a:pt x="50" y="299"/>
                  <a:pt x="50" y="300"/>
                </a:cubicBezTo>
                <a:cubicBezTo>
                  <a:pt x="49" y="301"/>
                  <a:pt x="49" y="303"/>
                  <a:pt x="48" y="303"/>
                </a:cubicBezTo>
                <a:cubicBezTo>
                  <a:pt x="47" y="304"/>
                  <a:pt x="46" y="304"/>
                  <a:pt x="45" y="305"/>
                </a:cubicBezTo>
                <a:cubicBezTo>
                  <a:pt x="45" y="305"/>
                  <a:pt x="44" y="307"/>
                  <a:pt x="45" y="307"/>
                </a:cubicBezTo>
                <a:cubicBezTo>
                  <a:pt x="46" y="308"/>
                  <a:pt x="47" y="307"/>
                  <a:pt x="48" y="308"/>
                </a:cubicBezTo>
                <a:cubicBezTo>
                  <a:pt x="48" y="308"/>
                  <a:pt x="49" y="309"/>
                  <a:pt x="49" y="310"/>
                </a:cubicBezTo>
                <a:cubicBezTo>
                  <a:pt x="50" y="310"/>
                  <a:pt x="51" y="310"/>
                  <a:pt x="52" y="310"/>
                </a:cubicBezTo>
                <a:cubicBezTo>
                  <a:pt x="54" y="310"/>
                  <a:pt x="55" y="311"/>
                  <a:pt x="56" y="314"/>
                </a:cubicBezTo>
                <a:cubicBezTo>
                  <a:pt x="57" y="316"/>
                  <a:pt x="58" y="319"/>
                  <a:pt x="60" y="321"/>
                </a:cubicBezTo>
                <a:cubicBezTo>
                  <a:pt x="62" y="323"/>
                  <a:pt x="65" y="324"/>
                  <a:pt x="68" y="325"/>
                </a:cubicBezTo>
                <a:cubicBezTo>
                  <a:pt x="71" y="326"/>
                  <a:pt x="73" y="324"/>
                  <a:pt x="76" y="324"/>
                </a:cubicBezTo>
                <a:cubicBezTo>
                  <a:pt x="79" y="324"/>
                  <a:pt x="81" y="323"/>
                  <a:pt x="83" y="321"/>
                </a:cubicBezTo>
                <a:cubicBezTo>
                  <a:pt x="85" y="319"/>
                  <a:pt x="87" y="320"/>
                  <a:pt x="89" y="319"/>
                </a:cubicBezTo>
                <a:cubicBezTo>
                  <a:pt x="92" y="319"/>
                  <a:pt x="90" y="316"/>
                  <a:pt x="89" y="314"/>
                </a:cubicBezTo>
                <a:cubicBezTo>
                  <a:pt x="88" y="314"/>
                  <a:pt x="87" y="313"/>
                  <a:pt x="87" y="312"/>
                </a:cubicBezTo>
                <a:cubicBezTo>
                  <a:pt x="88" y="312"/>
                  <a:pt x="90" y="311"/>
                  <a:pt x="90" y="311"/>
                </a:cubicBezTo>
                <a:cubicBezTo>
                  <a:pt x="91" y="310"/>
                  <a:pt x="92" y="310"/>
                  <a:pt x="93" y="309"/>
                </a:cubicBezTo>
                <a:cubicBezTo>
                  <a:pt x="94" y="308"/>
                  <a:pt x="95" y="307"/>
                  <a:pt x="96" y="305"/>
                </a:cubicBezTo>
                <a:cubicBezTo>
                  <a:pt x="97" y="304"/>
                  <a:pt x="97" y="302"/>
                  <a:pt x="99" y="301"/>
                </a:cubicBezTo>
                <a:cubicBezTo>
                  <a:pt x="100" y="301"/>
                  <a:pt x="102" y="301"/>
                  <a:pt x="102" y="302"/>
                </a:cubicBezTo>
                <a:cubicBezTo>
                  <a:pt x="103" y="303"/>
                  <a:pt x="101" y="304"/>
                  <a:pt x="101" y="304"/>
                </a:cubicBezTo>
                <a:cubicBezTo>
                  <a:pt x="100" y="304"/>
                  <a:pt x="99" y="305"/>
                  <a:pt x="98" y="305"/>
                </a:cubicBezTo>
                <a:cubicBezTo>
                  <a:pt x="98" y="306"/>
                  <a:pt x="97" y="307"/>
                  <a:pt x="97" y="308"/>
                </a:cubicBezTo>
                <a:cubicBezTo>
                  <a:pt x="96" y="310"/>
                  <a:pt x="93" y="312"/>
                  <a:pt x="94" y="314"/>
                </a:cubicBezTo>
                <a:cubicBezTo>
                  <a:pt x="94" y="314"/>
                  <a:pt x="95" y="315"/>
                  <a:pt x="95" y="315"/>
                </a:cubicBezTo>
                <a:cubicBezTo>
                  <a:pt x="96" y="315"/>
                  <a:pt x="97" y="314"/>
                  <a:pt x="97" y="314"/>
                </a:cubicBezTo>
                <a:cubicBezTo>
                  <a:pt x="98" y="314"/>
                  <a:pt x="97" y="320"/>
                  <a:pt x="98" y="321"/>
                </a:cubicBezTo>
                <a:cubicBezTo>
                  <a:pt x="98" y="324"/>
                  <a:pt x="100" y="325"/>
                  <a:pt x="101" y="327"/>
                </a:cubicBezTo>
                <a:cubicBezTo>
                  <a:pt x="102" y="329"/>
                  <a:pt x="105" y="333"/>
                  <a:pt x="103" y="334"/>
                </a:cubicBezTo>
                <a:cubicBezTo>
                  <a:pt x="102" y="336"/>
                  <a:pt x="100" y="337"/>
                  <a:pt x="100" y="339"/>
                </a:cubicBezTo>
                <a:cubicBezTo>
                  <a:pt x="100" y="341"/>
                  <a:pt x="102" y="342"/>
                  <a:pt x="104" y="342"/>
                </a:cubicBezTo>
                <a:cubicBezTo>
                  <a:pt x="105" y="342"/>
                  <a:pt x="108" y="342"/>
                  <a:pt x="107" y="343"/>
                </a:cubicBezTo>
                <a:cubicBezTo>
                  <a:pt x="106" y="345"/>
                  <a:pt x="103" y="345"/>
                  <a:pt x="103" y="347"/>
                </a:cubicBezTo>
                <a:cubicBezTo>
                  <a:pt x="103" y="348"/>
                  <a:pt x="105" y="351"/>
                  <a:pt x="104" y="352"/>
                </a:cubicBezTo>
                <a:cubicBezTo>
                  <a:pt x="104" y="352"/>
                  <a:pt x="98" y="354"/>
                  <a:pt x="100" y="355"/>
                </a:cubicBezTo>
                <a:cubicBezTo>
                  <a:pt x="101" y="356"/>
                  <a:pt x="103" y="355"/>
                  <a:pt x="104" y="355"/>
                </a:cubicBezTo>
                <a:cubicBezTo>
                  <a:pt x="105" y="355"/>
                  <a:pt x="106" y="356"/>
                  <a:pt x="107" y="356"/>
                </a:cubicBezTo>
                <a:cubicBezTo>
                  <a:pt x="110" y="355"/>
                  <a:pt x="110" y="352"/>
                  <a:pt x="112" y="350"/>
                </a:cubicBezTo>
                <a:cubicBezTo>
                  <a:pt x="114" y="349"/>
                  <a:pt x="117" y="350"/>
                  <a:pt x="119" y="349"/>
                </a:cubicBezTo>
                <a:cubicBezTo>
                  <a:pt x="121" y="348"/>
                  <a:pt x="123" y="346"/>
                  <a:pt x="125" y="345"/>
                </a:cubicBezTo>
                <a:cubicBezTo>
                  <a:pt x="127" y="344"/>
                  <a:pt x="128" y="345"/>
                  <a:pt x="129" y="347"/>
                </a:cubicBezTo>
                <a:cubicBezTo>
                  <a:pt x="129" y="349"/>
                  <a:pt x="132" y="349"/>
                  <a:pt x="133" y="350"/>
                </a:cubicBezTo>
                <a:cubicBezTo>
                  <a:pt x="134" y="350"/>
                  <a:pt x="136" y="351"/>
                  <a:pt x="136" y="350"/>
                </a:cubicBezTo>
                <a:cubicBezTo>
                  <a:pt x="137" y="350"/>
                  <a:pt x="138" y="349"/>
                  <a:pt x="138" y="348"/>
                </a:cubicBezTo>
                <a:cubicBezTo>
                  <a:pt x="140" y="346"/>
                  <a:pt x="142" y="350"/>
                  <a:pt x="144" y="351"/>
                </a:cubicBezTo>
                <a:cubicBezTo>
                  <a:pt x="145" y="353"/>
                  <a:pt x="147" y="355"/>
                  <a:pt x="149" y="357"/>
                </a:cubicBezTo>
                <a:cubicBezTo>
                  <a:pt x="150" y="360"/>
                  <a:pt x="151" y="361"/>
                  <a:pt x="153" y="359"/>
                </a:cubicBezTo>
                <a:cubicBezTo>
                  <a:pt x="155" y="358"/>
                  <a:pt x="154" y="356"/>
                  <a:pt x="153" y="355"/>
                </a:cubicBezTo>
                <a:cubicBezTo>
                  <a:pt x="151" y="353"/>
                  <a:pt x="152" y="350"/>
                  <a:pt x="152" y="348"/>
                </a:cubicBezTo>
                <a:cubicBezTo>
                  <a:pt x="153" y="346"/>
                  <a:pt x="154" y="346"/>
                  <a:pt x="156" y="346"/>
                </a:cubicBezTo>
                <a:cubicBezTo>
                  <a:pt x="159" y="346"/>
                  <a:pt x="157" y="341"/>
                  <a:pt x="160" y="341"/>
                </a:cubicBezTo>
                <a:cubicBezTo>
                  <a:pt x="161" y="341"/>
                  <a:pt x="162" y="342"/>
                  <a:pt x="162" y="343"/>
                </a:cubicBezTo>
                <a:cubicBezTo>
                  <a:pt x="163" y="343"/>
                  <a:pt x="164" y="344"/>
                  <a:pt x="165" y="344"/>
                </a:cubicBezTo>
                <a:cubicBezTo>
                  <a:pt x="166" y="345"/>
                  <a:pt x="167" y="346"/>
                  <a:pt x="166" y="347"/>
                </a:cubicBezTo>
                <a:cubicBezTo>
                  <a:pt x="166" y="348"/>
                  <a:pt x="164" y="347"/>
                  <a:pt x="163" y="347"/>
                </a:cubicBezTo>
                <a:cubicBezTo>
                  <a:pt x="161" y="345"/>
                  <a:pt x="160" y="345"/>
                  <a:pt x="159" y="348"/>
                </a:cubicBezTo>
                <a:cubicBezTo>
                  <a:pt x="159" y="350"/>
                  <a:pt x="159" y="352"/>
                  <a:pt x="162" y="354"/>
                </a:cubicBezTo>
                <a:cubicBezTo>
                  <a:pt x="164" y="356"/>
                  <a:pt x="166" y="355"/>
                  <a:pt x="168" y="354"/>
                </a:cubicBezTo>
                <a:cubicBezTo>
                  <a:pt x="171" y="352"/>
                  <a:pt x="174" y="351"/>
                  <a:pt x="177" y="350"/>
                </a:cubicBezTo>
                <a:cubicBezTo>
                  <a:pt x="179" y="350"/>
                  <a:pt x="182" y="348"/>
                  <a:pt x="183" y="346"/>
                </a:cubicBezTo>
                <a:cubicBezTo>
                  <a:pt x="184" y="345"/>
                  <a:pt x="186" y="341"/>
                  <a:pt x="188" y="342"/>
                </a:cubicBezTo>
                <a:cubicBezTo>
                  <a:pt x="189" y="342"/>
                  <a:pt x="186" y="346"/>
                  <a:pt x="186" y="347"/>
                </a:cubicBezTo>
                <a:cubicBezTo>
                  <a:pt x="185" y="348"/>
                  <a:pt x="185" y="349"/>
                  <a:pt x="185" y="350"/>
                </a:cubicBezTo>
                <a:cubicBezTo>
                  <a:pt x="185" y="351"/>
                  <a:pt x="186" y="353"/>
                  <a:pt x="185" y="354"/>
                </a:cubicBezTo>
                <a:cubicBezTo>
                  <a:pt x="184" y="356"/>
                  <a:pt x="174" y="363"/>
                  <a:pt x="178" y="365"/>
                </a:cubicBezTo>
                <a:cubicBezTo>
                  <a:pt x="179" y="365"/>
                  <a:pt x="183" y="366"/>
                  <a:pt x="182" y="368"/>
                </a:cubicBezTo>
                <a:cubicBezTo>
                  <a:pt x="181" y="368"/>
                  <a:pt x="180" y="368"/>
                  <a:pt x="179" y="368"/>
                </a:cubicBezTo>
                <a:cubicBezTo>
                  <a:pt x="178" y="368"/>
                  <a:pt x="177" y="368"/>
                  <a:pt x="176" y="369"/>
                </a:cubicBezTo>
                <a:cubicBezTo>
                  <a:pt x="174" y="370"/>
                  <a:pt x="174" y="374"/>
                  <a:pt x="175" y="376"/>
                </a:cubicBezTo>
                <a:cubicBezTo>
                  <a:pt x="175" y="377"/>
                  <a:pt x="175" y="378"/>
                  <a:pt x="175" y="379"/>
                </a:cubicBezTo>
                <a:cubicBezTo>
                  <a:pt x="176" y="381"/>
                  <a:pt x="177" y="381"/>
                  <a:pt x="178" y="382"/>
                </a:cubicBezTo>
                <a:cubicBezTo>
                  <a:pt x="179" y="384"/>
                  <a:pt x="175" y="383"/>
                  <a:pt x="174" y="383"/>
                </a:cubicBezTo>
                <a:cubicBezTo>
                  <a:pt x="172" y="383"/>
                  <a:pt x="169" y="384"/>
                  <a:pt x="167" y="386"/>
                </a:cubicBezTo>
                <a:cubicBezTo>
                  <a:pt x="165" y="387"/>
                  <a:pt x="164" y="389"/>
                  <a:pt x="162" y="391"/>
                </a:cubicBezTo>
                <a:cubicBezTo>
                  <a:pt x="160" y="392"/>
                  <a:pt x="158" y="393"/>
                  <a:pt x="157" y="396"/>
                </a:cubicBezTo>
                <a:cubicBezTo>
                  <a:pt x="157" y="397"/>
                  <a:pt x="157" y="399"/>
                  <a:pt x="157" y="400"/>
                </a:cubicBezTo>
                <a:cubicBezTo>
                  <a:pt x="157" y="402"/>
                  <a:pt x="155" y="401"/>
                  <a:pt x="153" y="400"/>
                </a:cubicBezTo>
                <a:cubicBezTo>
                  <a:pt x="152" y="400"/>
                  <a:pt x="151" y="399"/>
                  <a:pt x="150" y="400"/>
                </a:cubicBezTo>
                <a:cubicBezTo>
                  <a:pt x="148" y="400"/>
                  <a:pt x="147" y="401"/>
                  <a:pt x="146" y="402"/>
                </a:cubicBezTo>
                <a:cubicBezTo>
                  <a:pt x="144" y="403"/>
                  <a:pt x="141" y="405"/>
                  <a:pt x="139" y="407"/>
                </a:cubicBezTo>
                <a:cubicBezTo>
                  <a:pt x="136" y="410"/>
                  <a:pt x="129" y="411"/>
                  <a:pt x="127" y="416"/>
                </a:cubicBezTo>
                <a:cubicBezTo>
                  <a:pt x="126" y="418"/>
                  <a:pt x="127" y="420"/>
                  <a:pt x="128" y="422"/>
                </a:cubicBezTo>
                <a:cubicBezTo>
                  <a:pt x="130" y="424"/>
                  <a:pt x="126" y="424"/>
                  <a:pt x="125" y="424"/>
                </a:cubicBezTo>
                <a:cubicBezTo>
                  <a:pt x="124" y="424"/>
                  <a:pt x="123" y="423"/>
                  <a:pt x="123" y="424"/>
                </a:cubicBezTo>
                <a:cubicBezTo>
                  <a:pt x="122" y="424"/>
                  <a:pt x="122" y="425"/>
                  <a:pt x="122" y="426"/>
                </a:cubicBezTo>
                <a:cubicBezTo>
                  <a:pt x="122" y="428"/>
                  <a:pt x="117" y="424"/>
                  <a:pt x="117" y="423"/>
                </a:cubicBezTo>
                <a:cubicBezTo>
                  <a:pt x="116" y="423"/>
                  <a:pt x="116" y="422"/>
                  <a:pt x="116" y="421"/>
                </a:cubicBezTo>
                <a:cubicBezTo>
                  <a:pt x="115" y="420"/>
                  <a:pt x="114" y="420"/>
                  <a:pt x="113" y="420"/>
                </a:cubicBezTo>
                <a:cubicBezTo>
                  <a:pt x="110" y="421"/>
                  <a:pt x="107" y="422"/>
                  <a:pt x="104" y="423"/>
                </a:cubicBezTo>
                <a:cubicBezTo>
                  <a:pt x="101" y="424"/>
                  <a:pt x="99" y="425"/>
                  <a:pt x="97" y="427"/>
                </a:cubicBezTo>
                <a:cubicBezTo>
                  <a:pt x="95" y="428"/>
                  <a:pt x="92" y="430"/>
                  <a:pt x="90" y="432"/>
                </a:cubicBezTo>
                <a:cubicBezTo>
                  <a:pt x="90" y="433"/>
                  <a:pt x="89" y="434"/>
                  <a:pt x="88" y="435"/>
                </a:cubicBezTo>
                <a:cubicBezTo>
                  <a:pt x="87" y="435"/>
                  <a:pt x="86" y="435"/>
                  <a:pt x="85" y="436"/>
                </a:cubicBezTo>
                <a:cubicBezTo>
                  <a:pt x="84" y="436"/>
                  <a:pt x="84" y="437"/>
                  <a:pt x="83" y="438"/>
                </a:cubicBezTo>
                <a:cubicBezTo>
                  <a:pt x="82" y="439"/>
                  <a:pt x="81" y="440"/>
                  <a:pt x="80" y="440"/>
                </a:cubicBezTo>
                <a:cubicBezTo>
                  <a:pt x="78" y="439"/>
                  <a:pt x="78" y="442"/>
                  <a:pt x="78" y="443"/>
                </a:cubicBezTo>
                <a:cubicBezTo>
                  <a:pt x="78" y="443"/>
                  <a:pt x="77" y="446"/>
                  <a:pt x="78" y="445"/>
                </a:cubicBezTo>
                <a:cubicBezTo>
                  <a:pt x="79" y="445"/>
                  <a:pt x="80" y="444"/>
                  <a:pt x="80" y="443"/>
                </a:cubicBezTo>
                <a:cubicBezTo>
                  <a:pt x="80" y="442"/>
                  <a:pt x="81" y="441"/>
                  <a:pt x="81" y="442"/>
                </a:cubicBezTo>
                <a:cubicBezTo>
                  <a:pt x="82" y="442"/>
                  <a:pt x="83" y="442"/>
                  <a:pt x="83" y="443"/>
                </a:cubicBezTo>
                <a:cubicBezTo>
                  <a:pt x="84" y="444"/>
                  <a:pt x="88" y="445"/>
                  <a:pt x="88" y="443"/>
                </a:cubicBezTo>
                <a:cubicBezTo>
                  <a:pt x="88" y="441"/>
                  <a:pt x="87" y="440"/>
                  <a:pt x="88" y="438"/>
                </a:cubicBezTo>
                <a:cubicBezTo>
                  <a:pt x="88" y="436"/>
                  <a:pt x="89" y="436"/>
                  <a:pt x="91" y="438"/>
                </a:cubicBezTo>
                <a:cubicBezTo>
                  <a:pt x="92" y="439"/>
                  <a:pt x="93" y="441"/>
                  <a:pt x="95" y="441"/>
                </a:cubicBezTo>
                <a:cubicBezTo>
                  <a:pt x="95" y="441"/>
                  <a:pt x="95" y="440"/>
                  <a:pt x="96" y="440"/>
                </a:cubicBezTo>
                <a:cubicBezTo>
                  <a:pt x="97" y="440"/>
                  <a:pt x="98" y="440"/>
                  <a:pt x="99" y="439"/>
                </a:cubicBezTo>
                <a:cubicBezTo>
                  <a:pt x="99" y="439"/>
                  <a:pt x="99" y="438"/>
                  <a:pt x="99" y="437"/>
                </a:cubicBezTo>
                <a:cubicBezTo>
                  <a:pt x="100" y="436"/>
                  <a:pt x="101" y="435"/>
                  <a:pt x="102" y="435"/>
                </a:cubicBezTo>
                <a:cubicBezTo>
                  <a:pt x="103" y="434"/>
                  <a:pt x="104" y="434"/>
                  <a:pt x="105" y="433"/>
                </a:cubicBezTo>
                <a:cubicBezTo>
                  <a:pt x="106" y="432"/>
                  <a:pt x="105" y="431"/>
                  <a:pt x="105" y="430"/>
                </a:cubicBezTo>
                <a:cubicBezTo>
                  <a:pt x="106" y="427"/>
                  <a:pt x="108" y="428"/>
                  <a:pt x="110" y="429"/>
                </a:cubicBezTo>
                <a:cubicBezTo>
                  <a:pt x="111" y="429"/>
                  <a:pt x="112" y="428"/>
                  <a:pt x="114" y="429"/>
                </a:cubicBezTo>
                <a:cubicBezTo>
                  <a:pt x="115" y="430"/>
                  <a:pt x="112" y="431"/>
                  <a:pt x="112" y="431"/>
                </a:cubicBezTo>
                <a:cubicBezTo>
                  <a:pt x="111" y="431"/>
                  <a:pt x="110" y="432"/>
                  <a:pt x="109" y="432"/>
                </a:cubicBezTo>
                <a:cubicBezTo>
                  <a:pt x="108" y="433"/>
                  <a:pt x="108" y="433"/>
                  <a:pt x="109" y="434"/>
                </a:cubicBezTo>
                <a:cubicBezTo>
                  <a:pt x="111" y="435"/>
                  <a:pt x="114" y="434"/>
                  <a:pt x="116" y="433"/>
                </a:cubicBezTo>
                <a:cubicBezTo>
                  <a:pt x="117" y="433"/>
                  <a:pt x="118" y="433"/>
                  <a:pt x="119" y="432"/>
                </a:cubicBezTo>
                <a:cubicBezTo>
                  <a:pt x="120" y="432"/>
                  <a:pt x="120" y="431"/>
                  <a:pt x="120" y="430"/>
                </a:cubicBezTo>
                <a:cubicBezTo>
                  <a:pt x="121" y="429"/>
                  <a:pt x="122" y="430"/>
                  <a:pt x="123" y="430"/>
                </a:cubicBezTo>
                <a:cubicBezTo>
                  <a:pt x="125" y="431"/>
                  <a:pt x="125" y="430"/>
                  <a:pt x="126" y="429"/>
                </a:cubicBezTo>
                <a:cubicBezTo>
                  <a:pt x="128" y="424"/>
                  <a:pt x="134" y="426"/>
                  <a:pt x="138" y="424"/>
                </a:cubicBezTo>
                <a:cubicBezTo>
                  <a:pt x="139" y="424"/>
                  <a:pt x="140" y="423"/>
                  <a:pt x="141" y="423"/>
                </a:cubicBezTo>
                <a:cubicBezTo>
                  <a:pt x="142" y="422"/>
                  <a:pt x="143" y="423"/>
                  <a:pt x="144" y="423"/>
                </a:cubicBezTo>
                <a:cubicBezTo>
                  <a:pt x="146" y="424"/>
                  <a:pt x="148" y="422"/>
                  <a:pt x="151" y="422"/>
                </a:cubicBezTo>
                <a:cubicBezTo>
                  <a:pt x="153" y="422"/>
                  <a:pt x="155" y="421"/>
                  <a:pt x="156" y="419"/>
                </a:cubicBezTo>
                <a:cubicBezTo>
                  <a:pt x="157" y="416"/>
                  <a:pt x="156" y="413"/>
                  <a:pt x="158" y="411"/>
                </a:cubicBezTo>
                <a:cubicBezTo>
                  <a:pt x="159" y="409"/>
                  <a:pt x="162" y="408"/>
                  <a:pt x="164" y="407"/>
                </a:cubicBezTo>
                <a:cubicBezTo>
                  <a:pt x="165" y="406"/>
                  <a:pt x="167" y="405"/>
                  <a:pt x="168" y="405"/>
                </a:cubicBezTo>
                <a:cubicBezTo>
                  <a:pt x="169" y="404"/>
                  <a:pt x="171" y="403"/>
                  <a:pt x="172" y="404"/>
                </a:cubicBezTo>
                <a:cubicBezTo>
                  <a:pt x="174" y="404"/>
                  <a:pt x="174" y="403"/>
                  <a:pt x="175" y="402"/>
                </a:cubicBezTo>
                <a:cubicBezTo>
                  <a:pt x="176" y="401"/>
                  <a:pt x="177" y="401"/>
                  <a:pt x="178" y="400"/>
                </a:cubicBezTo>
                <a:cubicBezTo>
                  <a:pt x="180" y="400"/>
                  <a:pt x="181" y="400"/>
                  <a:pt x="182" y="400"/>
                </a:cubicBezTo>
                <a:cubicBezTo>
                  <a:pt x="183" y="400"/>
                  <a:pt x="185" y="399"/>
                  <a:pt x="186" y="398"/>
                </a:cubicBezTo>
                <a:cubicBezTo>
                  <a:pt x="188" y="397"/>
                  <a:pt x="190" y="395"/>
                  <a:pt x="192" y="393"/>
                </a:cubicBezTo>
                <a:cubicBezTo>
                  <a:pt x="192" y="392"/>
                  <a:pt x="194" y="392"/>
                  <a:pt x="194" y="391"/>
                </a:cubicBezTo>
                <a:cubicBezTo>
                  <a:pt x="194" y="389"/>
                  <a:pt x="194" y="388"/>
                  <a:pt x="194" y="387"/>
                </a:cubicBezTo>
                <a:cubicBezTo>
                  <a:pt x="194" y="385"/>
                  <a:pt x="197" y="384"/>
                  <a:pt x="199" y="383"/>
                </a:cubicBezTo>
                <a:cubicBezTo>
                  <a:pt x="202" y="382"/>
                  <a:pt x="205" y="382"/>
                  <a:pt x="207" y="380"/>
                </a:cubicBezTo>
                <a:cubicBezTo>
                  <a:pt x="208" y="379"/>
                  <a:pt x="208" y="376"/>
                  <a:pt x="210" y="376"/>
                </a:cubicBezTo>
                <a:cubicBezTo>
                  <a:pt x="213" y="375"/>
                  <a:pt x="215" y="374"/>
                  <a:pt x="217" y="372"/>
                </a:cubicBezTo>
                <a:cubicBezTo>
                  <a:pt x="218" y="371"/>
                  <a:pt x="219" y="370"/>
                  <a:pt x="220" y="370"/>
                </a:cubicBezTo>
                <a:cubicBezTo>
                  <a:pt x="221" y="369"/>
                  <a:pt x="222" y="369"/>
                  <a:pt x="223" y="369"/>
                </a:cubicBezTo>
                <a:cubicBezTo>
                  <a:pt x="224" y="368"/>
                  <a:pt x="225" y="367"/>
                  <a:pt x="226" y="367"/>
                </a:cubicBezTo>
                <a:cubicBezTo>
                  <a:pt x="228" y="367"/>
                  <a:pt x="229" y="368"/>
                  <a:pt x="230" y="368"/>
                </a:cubicBezTo>
                <a:cubicBezTo>
                  <a:pt x="232" y="367"/>
                  <a:pt x="232" y="365"/>
                  <a:pt x="232" y="364"/>
                </a:cubicBezTo>
                <a:cubicBezTo>
                  <a:pt x="232" y="362"/>
                  <a:pt x="235" y="362"/>
                  <a:pt x="235" y="360"/>
                </a:cubicBezTo>
                <a:cubicBezTo>
                  <a:pt x="235" y="357"/>
                  <a:pt x="237" y="357"/>
                  <a:pt x="239" y="356"/>
                </a:cubicBezTo>
                <a:cubicBezTo>
                  <a:pt x="242" y="355"/>
                  <a:pt x="244" y="352"/>
                  <a:pt x="246" y="351"/>
                </a:cubicBezTo>
                <a:cubicBezTo>
                  <a:pt x="248" y="350"/>
                  <a:pt x="244" y="348"/>
                  <a:pt x="243" y="347"/>
                </a:cubicBezTo>
                <a:cubicBezTo>
                  <a:pt x="242" y="344"/>
                  <a:pt x="239" y="344"/>
                  <a:pt x="237" y="344"/>
                </a:cubicBezTo>
                <a:cubicBezTo>
                  <a:pt x="235" y="344"/>
                  <a:pt x="231" y="344"/>
                  <a:pt x="233" y="341"/>
                </a:cubicBezTo>
                <a:cubicBezTo>
                  <a:pt x="233" y="341"/>
                  <a:pt x="234" y="340"/>
                  <a:pt x="234" y="339"/>
                </a:cubicBezTo>
                <a:cubicBezTo>
                  <a:pt x="233" y="338"/>
                  <a:pt x="233" y="337"/>
                  <a:pt x="234" y="336"/>
                </a:cubicBezTo>
                <a:cubicBezTo>
                  <a:pt x="236" y="335"/>
                  <a:pt x="239" y="336"/>
                  <a:pt x="239" y="333"/>
                </a:cubicBezTo>
                <a:cubicBezTo>
                  <a:pt x="239" y="333"/>
                  <a:pt x="239" y="332"/>
                  <a:pt x="239" y="331"/>
                </a:cubicBezTo>
                <a:cubicBezTo>
                  <a:pt x="240" y="330"/>
                  <a:pt x="241" y="329"/>
                  <a:pt x="242" y="329"/>
                </a:cubicBezTo>
                <a:cubicBezTo>
                  <a:pt x="243" y="328"/>
                  <a:pt x="245" y="326"/>
                  <a:pt x="246" y="328"/>
                </a:cubicBezTo>
                <a:cubicBezTo>
                  <a:pt x="246" y="328"/>
                  <a:pt x="247" y="330"/>
                  <a:pt x="248" y="329"/>
                </a:cubicBezTo>
                <a:cubicBezTo>
                  <a:pt x="249" y="329"/>
                  <a:pt x="251" y="327"/>
                  <a:pt x="251" y="327"/>
                </a:cubicBezTo>
                <a:cubicBezTo>
                  <a:pt x="252" y="325"/>
                  <a:pt x="250" y="324"/>
                  <a:pt x="252" y="322"/>
                </a:cubicBezTo>
                <a:cubicBezTo>
                  <a:pt x="253" y="321"/>
                  <a:pt x="255" y="321"/>
                  <a:pt x="257" y="321"/>
                </a:cubicBezTo>
                <a:cubicBezTo>
                  <a:pt x="259" y="320"/>
                  <a:pt x="258" y="319"/>
                  <a:pt x="257" y="317"/>
                </a:cubicBezTo>
                <a:cubicBezTo>
                  <a:pt x="257" y="316"/>
                  <a:pt x="256" y="316"/>
                  <a:pt x="255" y="315"/>
                </a:cubicBezTo>
                <a:cubicBezTo>
                  <a:pt x="254" y="315"/>
                  <a:pt x="252" y="314"/>
                  <a:pt x="252" y="313"/>
                </a:cubicBezTo>
                <a:cubicBezTo>
                  <a:pt x="252" y="312"/>
                  <a:pt x="257" y="312"/>
                  <a:pt x="258" y="312"/>
                </a:cubicBezTo>
                <a:cubicBezTo>
                  <a:pt x="260" y="312"/>
                  <a:pt x="263" y="313"/>
                  <a:pt x="265" y="311"/>
                </a:cubicBezTo>
                <a:cubicBezTo>
                  <a:pt x="266" y="309"/>
                  <a:pt x="265" y="307"/>
                  <a:pt x="267" y="305"/>
                </a:cubicBezTo>
                <a:cubicBezTo>
                  <a:pt x="268" y="303"/>
                  <a:pt x="271" y="303"/>
                  <a:pt x="273" y="302"/>
                </a:cubicBezTo>
                <a:cubicBezTo>
                  <a:pt x="274" y="301"/>
                  <a:pt x="274" y="300"/>
                  <a:pt x="274" y="298"/>
                </a:cubicBezTo>
                <a:cubicBezTo>
                  <a:pt x="274" y="297"/>
                  <a:pt x="275" y="296"/>
                  <a:pt x="276" y="295"/>
                </a:cubicBezTo>
                <a:cubicBezTo>
                  <a:pt x="278" y="294"/>
                  <a:pt x="281" y="294"/>
                  <a:pt x="283" y="294"/>
                </a:cubicBezTo>
                <a:cubicBezTo>
                  <a:pt x="287" y="292"/>
                  <a:pt x="290" y="285"/>
                  <a:pt x="295" y="286"/>
                </a:cubicBezTo>
                <a:cubicBezTo>
                  <a:pt x="298" y="286"/>
                  <a:pt x="300" y="286"/>
                  <a:pt x="303" y="286"/>
                </a:cubicBezTo>
                <a:cubicBezTo>
                  <a:pt x="306" y="285"/>
                  <a:pt x="308" y="284"/>
                  <a:pt x="309" y="281"/>
                </a:cubicBezTo>
                <a:cubicBezTo>
                  <a:pt x="310" y="279"/>
                  <a:pt x="312" y="281"/>
                  <a:pt x="314" y="281"/>
                </a:cubicBezTo>
                <a:cubicBezTo>
                  <a:pt x="317" y="282"/>
                  <a:pt x="314" y="284"/>
                  <a:pt x="313" y="285"/>
                </a:cubicBezTo>
                <a:cubicBezTo>
                  <a:pt x="311" y="285"/>
                  <a:pt x="309" y="286"/>
                  <a:pt x="308" y="288"/>
                </a:cubicBezTo>
                <a:cubicBezTo>
                  <a:pt x="308" y="291"/>
                  <a:pt x="308" y="293"/>
                  <a:pt x="310" y="294"/>
                </a:cubicBezTo>
                <a:cubicBezTo>
                  <a:pt x="311" y="295"/>
                  <a:pt x="313" y="296"/>
                  <a:pt x="315" y="297"/>
                </a:cubicBezTo>
                <a:cubicBezTo>
                  <a:pt x="315" y="297"/>
                  <a:pt x="316" y="297"/>
                  <a:pt x="316" y="298"/>
                </a:cubicBezTo>
                <a:cubicBezTo>
                  <a:pt x="317" y="299"/>
                  <a:pt x="314" y="298"/>
                  <a:pt x="314" y="298"/>
                </a:cubicBezTo>
                <a:cubicBezTo>
                  <a:pt x="311" y="298"/>
                  <a:pt x="309" y="296"/>
                  <a:pt x="306" y="296"/>
                </a:cubicBezTo>
                <a:cubicBezTo>
                  <a:pt x="305" y="296"/>
                  <a:pt x="304" y="297"/>
                  <a:pt x="303" y="297"/>
                </a:cubicBezTo>
                <a:cubicBezTo>
                  <a:pt x="301" y="297"/>
                  <a:pt x="300" y="296"/>
                  <a:pt x="299" y="296"/>
                </a:cubicBezTo>
                <a:cubicBezTo>
                  <a:pt x="296" y="295"/>
                  <a:pt x="293" y="294"/>
                  <a:pt x="291" y="296"/>
                </a:cubicBezTo>
                <a:cubicBezTo>
                  <a:pt x="289" y="298"/>
                  <a:pt x="287" y="300"/>
                  <a:pt x="284" y="301"/>
                </a:cubicBezTo>
                <a:cubicBezTo>
                  <a:pt x="282" y="301"/>
                  <a:pt x="281" y="302"/>
                  <a:pt x="282" y="304"/>
                </a:cubicBezTo>
                <a:cubicBezTo>
                  <a:pt x="282" y="307"/>
                  <a:pt x="283" y="309"/>
                  <a:pt x="281" y="311"/>
                </a:cubicBezTo>
                <a:cubicBezTo>
                  <a:pt x="280" y="313"/>
                  <a:pt x="278" y="314"/>
                  <a:pt x="277" y="316"/>
                </a:cubicBezTo>
                <a:cubicBezTo>
                  <a:pt x="276" y="317"/>
                  <a:pt x="276" y="319"/>
                  <a:pt x="275" y="320"/>
                </a:cubicBezTo>
                <a:cubicBezTo>
                  <a:pt x="275" y="321"/>
                  <a:pt x="274" y="322"/>
                  <a:pt x="273" y="324"/>
                </a:cubicBezTo>
                <a:cubicBezTo>
                  <a:pt x="273" y="324"/>
                  <a:pt x="272" y="325"/>
                  <a:pt x="272" y="326"/>
                </a:cubicBezTo>
                <a:cubicBezTo>
                  <a:pt x="272" y="327"/>
                  <a:pt x="274" y="328"/>
                  <a:pt x="275" y="328"/>
                </a:cubicBezTo>
                <a:cubicBezTo>
                  <a:pt x="277" y="329"/>
                  <a:pt x="280" y="330"/>
                  <a:pt x="283" y="328"/>
                </a:cubicBezTo>
                <a:cubicBezTo>
                  <a:pt x="283" y="328"/>
                  <a:pt x="286" y="325"/>
                  <a:pt x="286" y="327"/>
                </a:cubicBezTo>
                <a:cubicBezTo>
                  <a:pt x="286" y="328"/>
                  <a:pt x="285" y="330"/>
                  <a:pt x="284" y="331"/>
                </a:cubicBezTo>
                <a:cubicBezTo>
                  <a:pt x="283" y="332"/>
                  <a:pt x="282" y="332"/>
                  <a:pt x="281" y="332"/>
                </a:cubicBezTo>
                <a:cubicBezTo>
                  <a:pt x="280" y="333"/>
                  <a:pt x="280" y="333"/>
                  <a:pt x="280" y="334"/>
                </a:cubicBezTo>
                <a:cubicBezTo>
                  <a:pt x="278" y="336"/>
                  <a:pt x="276" y="332"/>
                  <a:pt x="274" y="334"/>
                </a:cubicBezTo>
                <a:cubicBezTo>
                  <a:pt x="272" y="336"/>
                  <a:pt x="271" y="336"/>
                  <a:pt x="271" y="339"/>
                </a:cubicBezTo>
                <a:cubicBezTo>
                  <a:pt x="272" y="341"/>
                  <a:pt x="273" y="342"/>
                  <a:pt x="275" y="342"/>
                </a:cubicBezTo>
                <a:cubicBezTo>
                  <a:pt x="277" y="341"/>
                  <a:pt x="279" y="340"/>
                  <a:pt x="281" y="340"/>
                </a:cubicBezTo>
                <a:cubicBezTo>
                  <a:pt x="282" y="339"/>
                  <a:pt x="283" y="339"/>
                  <a:pt x="284" y="338"/>
                </a:cubicBezTo>
                <a:cubicBezTo>
                  <a:pt x="286" y="338"/>
                  <a:pt x="287" y="337"/>
                  <a:pt x="288" y="337"/>
                </a:cubicBezTo>
                <a:cubicBezTo>
                  <a:pt x="290" y="336"/>
                  <a:pt x="291" y="335"/>
                  <a:pt x="292" y="334"/>
                </a:cubicBezTo>
                <a:cubicBezTo>
                  <a:pt x="293" y="333"/>
                  <a:pt x="293" y="332"/>
                  <a:pt x="294" y="332"/>
                </a:cubicBezTo>
                <a:cubicBezTo>
                  <a:pt x="295" y="331"/>
                  <a:pt x="296" y="331"/>
                  <a:pt x="297" y="331"/>
                </a:cubicBezTo>
                <a:cubicBezTo>
                  <a:pt x="297" y="330"/>
                  <a:pt x="298" y="330"/>
                  <a:pt x="299" y="331"/>
                </a:cubicBezTo>
                <a:cubicBezTo>
                  <a:pt x="300" y="331"/>
                  <a:pt x="300" y="332"/>
                  <a:pt x="301" y="331"/>
                </a:cubicBezTo>
                <a:cubicBezTo>
                  <a:pt x="301" y="330"/>
                  <a:pt x="301" y="329"/>
                  <a:pt x="301" y="329"/>
                </a:cubicBezTo>
                <a:cubicBezTo>
                  <a:pt x="302" y="328"/>
                  <a:pt x="302" y="328"/>
                  <a:pt x="303" y="328"/>
                </a:cubicBezTo>
                <a:cubicBezTo>
                  <a:pt x="303" y="328"/>
                  <a:pt x="303" y="327"/>
                  <a:pt x="304" y="327"/>
                </a:cubicBezTo>
                <a:cubicBezTo>
                  <a:pt x="305" y="326"/>
                  <a:pt x="307" y="327"/>
                  <a:pt x="306" y="325"/>
                </a:cubicBezTo>
                <a:cubicBezTo>
                  <a:pt x="305" y="323"/>
                  <a:pt x="309" y="322"/>
                  <a:pt x="309" y="324"/>
                </a:cubicBezTo>
                <a:cubicBezTo>
                  <a:pt x="310" y="325"/>
                  <a:pt x="311" y="324"/>
                  <a:pt x="312" y="324"/>
                </a:cubicBezTo>
                <a:cubicBezTo>
                  <a:pt x="312" y="323"/>
                  <a:pt x="312" y="322"/>
                  <a:pt x="313" y="321"/>
                </a:cubicBezTo>
                <a:cubicBezTo>
                  <a:pt x="314" y="318"/>
                  <a:pt x="315" y="321"/>
                  <a:pt x="316" y="322"/>
                </a:cubicBezTo>
                <a:cubicBezTo>
                  <a:pt x="318" y="323"/>
                  <a:pt x="318" y="320"/>
                  <a:pt x="319" y="319"/>
                </a:cubicBezTo>
                <a:cubicBezTo>
                  <a:pt x="320" y="318"/>
                  <a:pt x="322" y="321"/>
                  <a:pt x="324" y="322"/>
                </a:cubicBezTo>
                <a:cubicBezTo>
                  <a:pt x="326" y="323"/>
                  <a:pt x="329" y="322"/>
                  <a:pt x="330" y="321"/>
                </a:cubicBezTo>
                <a:cubicBezTo>
                  <a:pt x="331" y="320"/>
                  <a:pt x="331" y="319"/>
                  <a:pt x="331" y="318"/>
                </a:cubicBezTo>
                <a:cubicBezTo>
                  <a:pt x="332" y="317"/>
                  <a:pt x="333" y="317"/>
                  <a:pt x="333" y="317"/>
                </a:cubicBezTo>
                <a:cubicBezTo>
                  <a:pt x="335" y="316"/>
                  <a:pt x="332" y="314"/>
                  <a:pt x="332" y="313"/>
                </a:cubicBezTo>
                <a:cubicBezTo>
                  <a:pt x="332" y="312"/>
                  <a:pt x="333" y="312"/>
                  <a:pt x="334" y="311"/>
                </a:cubicBezTo>
                <a:cubicBezTo>
                  <a:pt x="335" y="311"/>
                  <a:pt x="337" y="311"/>
                  <a:pt x="337" y="310"/>
                </a:cubicBezTo>
                <a:cubicBezTo>
                  <a:pt x="339" y="308"/>
                  <a:pt x="337" y="306"/>
                  <a:pt x="335" y="307"/>
                </a:cubicBezTo>
                <a:cubicBezTo>
                  <a:pt x="335" y="307"/>
                  <a:pt x="335" y="308"/>
                  <a:pt x="334" y="309"/>
                </a:cubicBezTo>
                <a:cubicBezTo>
                  <a:pt x="333" y="309"/>
                  <a:pt x="331" y="309"/>
                  <a:pt x="330" y="309"/>
                </a:cubicBezTo>
                <a:cubicBezTo>
                  <a:pt x="327" y="310"/>
                  <a:pt x="328" y="309"/>
                  <a:pt x="329" y="307"/>
                </a:cubicBezTo>
                <a:cubicBezTo>
                  <a:pt x="329" y="306"/>
                  <a:pt x="330" y="306"/>
                  <a:pt x="330" y="305"/>
                </a:cubicBezTo>
                <a:cubicBezTo>
                  <a:pt x="330" y="304"/>
                  <a:pt x="329" y="303"/>
                  <a:pt x="328" y="303"/>
                </a:cubicBezTo>
                <a:cubicBezTo>
                  <a:pt x="327" y="303"/>
                  <a:pt x="327" y="302"/>
                  <a:pt x="327" y="302"/>
                </a:cubicBezTo>
                <a:cubicBezTo>
                  <a:pt x="327" y="301"/>
                  <a:pt x="326" y="301"/>
                  <a:pt x="326" y="300"/>
                </a:cubicBezTo>
                <a:cubicBezTo>
                  <a:pt x="326" y="300"/>
                  <a:pt x="327" y="299"/>
                  <a:pt x="328" y="299"/>
                </a:cubicBezTo>
                <a:cubicBezTo>
                  <a:pt x="329" y="298"/>
                  <a:pt x="331" y="299"/>
                  <a:pt x="332" y="298"/>
                </a:cubicBezTo>
                <a:cubicBezTo>
                  <a:pt x="333" y="297"/>
                  <a:pt x="330" y="294"/>
                  <a:pt x="332" y="292"/>
                </a:cubicBezTo>
                <a:cubicBezTo>
                  <a:pt x="334" y="291"/>
                  <a:pt x="337" y="292"/>
                  <a:pt x="338" y="290"/>
                </a:cubicBezTo>
                <a:cubicBezTo>
                  <a:pt x="339" y="290"/>
                  <a:pt x="342" y="286"/>
                  <a:pt x="342" y="289"/>
                </a:cubicBezTo>
                <a:cubicBezTo>
                  <a:pt x="342" y="291"/>
                  <a:pt x="340" y="293"/>
                  <a:pt x="339" y="294"/>
                </a:cubicBezTo>
                <a:cubicBezTo>
                  <a:pt x="337" y="295"/>
                  <a:pt x="337" y="297"/>
                  <a:pt x="339" y="298"/>
                </a:cubicBezTo>
                <a:cubicBezTo>
                  <a:pt x="342" y="298"/>
                  <a:pt x="342" y="295"/>
                  <a:pt x="343" y="294"/>
                </a:cubicBezTo>
                <a:cubicBezTo>
                  <a:pt x="343" y="293"/>
                  <a:pt x="345" y="290"/>
                  <a:pt x="346" y="291"/>
                </a:cubicBezTo>
                <a:cubicBezTo>
                  <a:pt x="347" y="292"/>
                  <a:pt x="345" y="293"/>
                  <a:pt x="346" y="294"/>
                </a:cubicBezTo>
                <a:cubicBezTo>
                  <a:pt x="347" y="294"/>
                  <a:pt x="348" y="294"/>
                  <a:pt x="349" y="294"/>
                </a:cubicBezTo>
                <a:cubicBezTo>
                  <a:pt x="351" y="295"/>
                  <a:pt x="354" y="295"/>
                  <a:pt x="356" y="294"/>
                </a:cubicBezTo>
                <a:cubicBezTo>
                  <a:pt x="357" y="294"/>
                  <a:pt x="358" y="293"/>
                  <a:pt x="359" y="293"/>
                </a:cubicBezTo>
                <a:cubicBezTo>
                  <a:pt x="360" y="292"/>
                  <a:pt x="361" y="291"/>
                  <a:pt x="363" y="291"/>
                </a:cubicBezTo>
                <a:cubicBezTo>
                  <a:pt x="363" y="291"/>
                  <a:pt x="366" y="291"/>
                  <a:pt x="366" y="291"/>
                </a:cubicBezTo>
                <a:cubicBezTo>
                  <a:pt x="366" y="292"/>
                  <a:pt x="364" y="293"/>
                  <a:pt x="364" y="293"/>
                </a:cubicBezTo>
                <a:cubicBezTo>
                  <a:pt x="363" y="293"/>
                  <a:pt x="362" y="294"/>
                  <a:pt x="362" y="295"/>
                </a:cubicBezTo>
                <a:cubicBezTo>
                  <a:pt x="361" y="298"/>
                  <a:pt x="364" y="297"/>
                  <a:pt x="365" y="298"/>
                </a:cubicBezTo>
                <a:cubicBezTo>
                  <a:pt x="366" y="298"/>
                  <a:pt x="364" y="299"/>
                  <a:pt x="364" y="299"/>
                </a:cubicBezTo>
                <a:cubicBezTo>
                  <a:pt x="364" y="300"/>
                  <a:pt x="366" y="301"/>
                  <a:pt x="367" y="301"/>
                </a:cubicBezTo>
                <a:cubicBezTo>
                  <a:pt x="367" y="301"/>
                  <a:pt x="371" y="299"/>
                  <a:pt x="370" y="301"/>
                </a:cubicBezTo>
                <a:cubicBezTo>
                  <a:pt x="370" y="302"/>
                  <a:pt x="367" y="304"/>
                  <a:pt x="369" y="304"/>
                </a:cubicBezTo>
                <a:cubicBezTo>
                  <a:pt x="371" y="305"/>
                  <a:pt x="373" y="304"/>
                  <a:pt x="375" y="303"/>
                </a:cubicBezTo>
                <a:cubicBezTo>
                  <a:pt x="377" y="303"/>
                  <a:pt x="378" y="304"/>
                  <a:pt x="376" y="306"/>
                </a:cubicBezTo>
                <a:cubicBezTo>
                  <a:pt x="375" y="306"/>
                  <a:pt x="372" y="309"/>
                  <a:pt x="374" y="309"/>
                </a:cubicBezTo>
                <a:cubicBezTo>
                  <a:pt x="375" y="310"/>
                  <a:pt x="377" y="309"/>
                  <a:pt x="379" y="309"/>
                </a:cubicBezTo>
                <a:cubicBezTo>
                  <a:pt x="380" y="309"/>
                  <a:pt x="382" y="310"/>
                  <a:pt x="384" y="310"/>
                </a:cubicBezTo>
                <a:cubicBezTo>
                  <a:pt x="389" y="309"/>
                  <a:pt x="390" y="303"/>
                  <a:pt x="395" y="302"/>
                </a:cubicBezTo>
                <a:cubicBezTo>
                  <a:pt x="397" y="302"/>
                  <a:pt x="393" y="306"/>
                  <a:pt x="392" y="306"/>
                </a:cubicBezTo>
                <a:cubicBezTo>
                  <a:pt x="391" y="308"/>
                  <a:pt x="389" y="312"/>
                  <a:pt x="391" y="314"/>
                </a:cubicBezTo>
                <a:cubicBezTo>
                  <a:pt x="392" y="314"/>
                  <a:pt x="394" y="314"/>
                  <a:pt x="395" y="315"/>
                </a:cubicBezTo>
                <a:cubicBezTo>
                  <a:pt x="396" y="316"/>
                  <a:pt x="397" y="317"/>
                  <a:pt x="398" y="317"/>
                </a:cubicBezTo>
                <a:cubicBezTo>
                  <a:pt x="399" y="318"/>
                  <a:pt x="400" y="318"/>
                  <a:pt x="402" y="318"/>
                </a:cubicBezTo>
                <a:cubicBezTo>
                  <a:pt x="403" y="319"/>
                  <a:pt x="404" y="320"/>
                  <a:pt x="405" y="320"/>
                </a:cubicBezTo>
                <a:cubicBezTo>
                  <a:pt x="408" y="321"/>
                  <a:pt x="411" y="320"/>
                  <a:pt x="413" y="320"/>
                </a:cubicBezTo>
                <a:cubicBezTo>
                  <a:pt x="416" y="320"/>
                  <a:pt x="420" y="320"/>
                  <a:pt x="423" y="320"/>
                </a:cubicBezTo>
                <a:cubicBezTo>
                  <a:pt x="426" y="319"/>
                  <a:pt x="429" y="319"/>
                  <a:pt x="432" y="319"/>
                </a:cubicBezTo>
                <a:cubicBezTo>
                  <a:pt x="435" y="319"/>
                  <a:pt x="437" y="320"/>
                  <a:pt x="440" y="321"/>
                </a:cubicBezTo>
                <a:cubicBezTo>
                  <a:pt x="442" y="322"/>
                  <a:pt x="443" y="322"/>
                  <a:pt x="445" y="322"/>
                </a:cubicBezTo>
                <a:cubicBezTo>
                  <a:pt x="447" y="322"/>
                  <a:pt x="448" y="321"/>
                  <a:pt x="448" y="319"/>
                </a:cubicBezTo>
                <a:cubicBezTo>
                  <a:pt x="449" y="316"/>
                  <a:pt x="451" y="318"/>
                  <a:pt x="451" y="320"/>
                </a:cubicBezTo>
                <a:cubicBezTo>
                  <a:pt x="451" y="321"/>
                  <a:pt x="450" y="324"/>
                  <a:pt x="451" y="324"/>
                </a:cubicBezTo>
                <a:cubicBezTo>
                  <a:pt x="452" y="325"/>
                  <a:pt x="454" y="325"/>
                  <a:pt x="455" y="325"/>
                </a:cubicBezTo>
                <a:cubicBezTo>
                  <a:pt x="456" y="325"/>
                  <a:pt x="458" y="325"/>
                  <a:pt x="459" y="326"/>
                </a:cubicBezTo>
                <a:cubicBezTo>
                  <a:pt x="462" y="326"/>
                  <a:pt x="465" y="327"/>
                  <a:pt x="468" y="327"/>
                </a:cubicBezTo>
                <a:cubicBezTo>
                  <a:pt x="470" y="327"/>
                  <a:pt x="473" y="327"/>
                  <a:pt x="475" y="325"/>
                </a:cubicBezTo>
                <a:cubicBezTo>
                  <a:pt x="477" y="324"/>
                  <a:pt x="479" y="322"/>
                  <a:pt x="481" y="321"/>
                </a:cubicBezTo>
                <a:cubicBezTo>
                  <a:pt x="483" y="319"/>
                  <a:pt x="485" y="321"/>
                  <a:pt x="487" y="321"/>
                </a:cubicBezTo>
                <a:cubicBezTo>
                  <a:pt x="489" y="322"/>
                  <a:pt x="493" y="324"/>
                  <a:pt x="492" y="326"/>
                </a:cubicBezTo>
                <a:cubicBezTo>
                  <a:pt x="492" y="326"/>
                  <a:pt x="489" y="326"/>
                  <a:pt x="489" y="326"/>
                </a:cubicBezTo>
                <a:cubicBezTo>
                  <a:pt x="488" y="326"/>
                  <a:pt x="487" y="326"/>
                  <a:pt x="486" y="327"/>
                </a:cubicBezTo>
                <a:cubicBezTo>
                  <a:pt x="486" y="328"/>
                  <a:pt x="486" y="329"/>
                  <a:pt x="486" y="330"/>
                </a:cubicBezTo>
                <a:cubicBezTo>
                  <a:pt x="486" y="331"/>
                  <a:pt x="485" y="332"/>
                  <a:pt x="485" y="331"/>
                </a:cubicBezTo>
                <a:cubicBezTo>
                  <a:pt x="484" y="329"/>
                  <a:pt x="485" y="327"/>
                  <a:pt x="485" y="324"/>
                </a:cubicBezTo>
                <a:cubicBezTo>
                  <a:pt x="484" y="322"/>
                  <a:pt x="481" y="323"/>
                  <a:pt x="481" y="325"/>
                </a:cubicBezTo>
                <a:cubicBezTo>
                  <a:pt x="482" y="327"/>
                  <a:pt x="483" y="329"/>
                  <a:pt x="481" y="331"/>
                </a:cubicBezTo>
                <a:cubicBezTo>
                  <a:pt x="481" y="331"/>
                  <a:pt x="479" y="331"/>
                  <a:pt x="479" y="332"/>
                </a:cubicBezTo>
                <a:cubicBezTo>
                  <a:pt x="480" y="333"/>
                  <a:pt x="482" y="334"/>
                  <a:pt x="483" y="334"/>
                </a:cubicBezTo>
                <a:cubicBezTo>
                  <a:pt x="485" y="336"/>
                  <a:pt x="488" y="337"/>
                  <a:pt x="490" y="338"/>
                </a:cubicBezTo>
                <a:cubicBezTo>
                  <a:pt x="492" y="339"/>
                  <a:pt x="494" y="341"/>
                  <a:pt x="497" y="342"/>
                </a:cubicBezTo>
                <a:cubicBezTo>
                  <a:pt x="498" y="342"/>
                  <a:pt x="499" y="342"/>
                  <a:pt x="500" y="341"/>
                </a:cubicBezTo>
                <a:cubicBezTo>
                  <a:pt x="501" y="341"/>
                  <a:pt x="500" y="342"/>
                  <a:pt x="500" y="342"/>
                </a:cubicBezTo>
                <a:cubicBezTo>
                  <a:pt x="497" y="344"/>
                  <a:pt x="502" y="346"/>
                  <a:pt x="503" y="346"/>
                </a:cubicBezTo>
                <a:cubicBezTo>
                  <a:pt x="508" y="349"/>
                  <a:pt x="513" y="353"/>
                  <a:pt x="518" y="356"/>
                </a:cubicBezTo>
                <a:cubicBezTo>
                  <a:pt x="520" y="358"/>
                  <a:pt x="523" y="360"/>
                  <a:pt x="525" y="361"/>
                </a:cubicBezTo>
                <a:cubicBezTo>
                  <a:pt x="527" y="363"/>
                  <a:pt x="530" y="364"/>
                  <a:pt x="532" y="363"/>
                </a:cubicBezTo>
                <a:cubicBezTo>
                  <a:pt x="533" y="362"/>
                  <a:pt x="533" y="361"/>
                  <a:pt x="534" y="361"/>
                </a:cubicBezTo>
                <a:cubicBezTo>
                  <a:pt x="535" y="360"/>
                  <a:pt x="536" y="361"/>
                  <a:pt x="537" y="361"/>
                </a:cubicBezTo>
                <a:cubicBezTo>
                  <a:pt x="539" y="361"/>
                  <a:pt x="541" y="361"/>
                  <a:pt x="540" y="358"/>
                </a:cubicBezTo>
                <a:cubicBezTo>
                  <a:pt x="539" y="356"/>
                  <a:pt x="537" y="357"/>
                  <a:pt x="535" y="356"/>
                </a:cubicBezTo>
                <a:cubicBezTo>
                  <a:pt x="532" y="355"/>
                  <a:pt x="536" y="354"/>
                  <a:pt x="534" y="353"/>
                </a:cubicBezTo>
                <a:cubicBezTo>
                  <a:pt x="532" y="352"/>
                  <a:pt x="531" y="350"/>
                  <a:pt x="529" y="349"/>
                </a:cubicBezTo>
                <a:cubicBezTo>
                  <a:pt x="527" y="349"/>
                  <a:pt x="525" y="352"/>
                  <a:pt x="523" y="351"/>
                </a:cubicBezTo>
                <a:cubicBezTo>
                  <a:pt x="521" y="350"/>
                  <a:pt x="524" y="349"/>
                  <a:pt x="525" y="348"/>
                </a:cubicBezTo>
                <a:cubicBezTo>
                  <a:pt x="525" y="348"/>
                  <a:pt x="526" y="347"/>
                  <a:pt x="526" y="347"/>
                </a:cubicBezTo>
                <a:cubicBezTo>
                  <a:pt x="527" y="346"/>
                  <a:pt x="529" y="346"/>
                  <a:pt x="530" y="346"/>
                </a:cubicBezTo>
                <a:cubicBezTo>
                  <a:pt x="533" y="345"/>
                  <a:pt x="533" y="347"/>
                  <a:pt x="535" y="349"/>
                </a:cubicBezTo>
                <a:cubicBezTo>
                  <a:pt x="536" y="351"/>
                  <a:pt x="539" y="351"/>
                  <a:pt x="539" y="349"/>
                </a:cubicBezTo>
                <a:cubicBezTo>
                  <a:pt x="539" y="347"/>
                  <a:pt x="539" y="346"/>
                  <a:pt x="539" y="345"/>
                </a:cubicBezTo>
                <a:cubicBezTo>
                  <a:pt x="540" y="344"/>
                  <a:pt x="540" y="345"/>
                  <a:pt x="541" y="346"/>
                </a:cubicBezTo>
                <a:cubicBezTo>
                  <a:pt x="541" y="346"/>
                  <a:pt x="542" y="348"/>
                  <a:pt x="544" y="348"/>
                </a:cubicBezTo>
                <a:cubicBezTo>
                  <a:pt x="546" y="348"/>
                  <a:pt x="545" y="349"/>
                  <a:pt x="544" y="350"/>
                </a:cubicBezTo>
                <a:cubicBezTo>
                  <a:pt x="543" y="350"/>
                  <a:pt x="543" y="351"/>
                  <a:pt x="542" y="352"/>
                </a:cubicBezTo>
                <a:cubicBezTo>
                  <a:pt x="542" y="353"/>
                  <a:pt x="543" y="354"/>
                  <a:pt x="544" y="354"/>
                </a:cubicBezTo>
                <a:cubicBezTo>
                  <a:pt x="545" y="355"/>
                  <a:pt x="544" y="356"/>
                  <a:pt x="544" y="357"/>
                </a:cubicBezTo>
                <a:cubicBezTo>
                  <a:pt x="544" y="358"/>
                  <a:pt x="544" y="359"/>
                  <a:pt x="544" y="360"/>
                </a:cubicBezTo>
                <a:cubicBezTo>
                  <a:pt x="545" y="361"/>
                  <a:pt x="550" y="359"/>
                  <a:pt x="551" y="359"/>
                </a:cubicBezTo>
                <a:cubicBezTo>
                  <a:pt x="552" y="360"/>
                  <a:pt x="552" y="361"/>
                  <a:pt x="552" y="362"/>
                </a:cubicBezTo>
                <a:cubicBezTo>
                  <a:pt x="552" y="363"/>
                  <a:pt x="554" y="363"/>
                  <a:pt x="555" y="363"/>
                </a:cubicBezTo>
                <a:cubicBezTo>
                  <a:pt x="557" y="364"/>
                  <a:pt x="557" y="361"/>
                  <a:pt x="556" y="359"/>
                </a:cubicBezTo>
                <a:cubicBezTo>
                  <a:pt x="555" y="358"/>
                  <a:pt x="555" y="357"/>
                  <a:pt x="555" y="356"/>
                </a:cubicBezTo>
                <a:cubicBezTo>
                  <a:pt x="555" y="355"/>
                  <a:pt x="556" y="354"/>
                  <a:pt x="556" y="353"/>
                </a:cubicBezTo>
                <a:cubicBezTo>
                  <a:pt x="555" y="351"/>
                  <a:pt x="552" y="350"/>
                  <a:pt x="552" y="348"/>
                </a:cubicBezTo>
                <a:cubicBezTo>
                  <a:pt x="551" y="346"/>
                  <a:pt x="552" y="344"/>
                  <a:pt x="550" y="342"/>
                </a:cubicBezTo>
                <a:cubicBezTo>
                  <a:pt x="548" y="341"/>
                  <a:pt x="550" y="339"/>
                  <a:pt x="551" y="338"/>
                </a:cubicBezTo>
                <a:cubicBezTo>
                  <a:pt x="551" y="337"/>
                  <a:pt x="553" y="334"/>
                  <a:pt x="554" y="336"/>
                </a:cubicBezTo>
                <a:cubicBezTo>
                  <a:pt x="554" y="337"/>
                  <a:pt x="553" y="338"/>
                  <a:pt x="553" y="339"/>
                </a:cubicBezTo>
                <a:cubicBezTo>
                  <a:pt x="553" y="341"/>
                  <a:pt x="554" y="342"/>
                  <a:pt x="554" y="343"/>
                </a:cubicBezTo>
                <a:cubicBezTo>
                  <a:pt x="555" y="345"/>
                  <a:pt x="556" y="348"/>
                  <a:pt x="557" y="349"/>
                </a:cubicBezTo>
                <a:cubicBezTo>
                  <a:pt x="558" y="350"/>
                  <a:pt x="559" y="351"/>
                  <a:pt x="560" y="352"/>
                </a:cubicBezTo>
                <a:cubicBezTo>
                  <a:pt x="561" y="352"/>
                  <a:pt x="561" y="354"/>
                  <a:pt x="561" y="355"/>
                </a:cubicBezTo>
                <a:cubicBezTo>
                  <a:pt x="561" y="357"/>
                  <a:pt x="561" y="359"/>
                  <a:pt x="563" y="360"/>
                </a:cubicBezTo>
                <a:cubicBezTo>
                  <a:pt x="564" y="361"/>
                  <a:pt x="565" y="362"/>
                  <a:pt x="567" y="362"/>
                </a:cubicBezTo>
                <a:cubicBezTo>
                  <a:pt x="568" y="363"/>
                  <a:pt x="570" y="364"/>
                  <a:pt x="571" y="364"/>
                </a:cubicBezTo>
                <a:cubicBezTo>
                  <a:pt x="573" y="364"/>
                  <a:pt x="575" y="360"/>
                  <a:pt x="575" y="359"/>
                </a:cubicBezTo>
                <a:cubicBezTo>
                  <a:pt x="576" y="358"/>
                  <a:pt x="576" y="357"/>
                  <a:pt x="577" y="358"/>
                </a:cubicBezTo>
                <a:cubicBezTo>
                  <a:pt x="579" y="359"/>
                  <a:pt x="578" y="360"/>
                  <a:pt x="577" y="361"/>
                </a:cubicBezTo>
                <a:cubicBezTo>
                  <a:pt x="576" y="361"/>
                  <a:pt x="576" y="363"/>
                  <a:pt x="576" y="364"/>
                </a:cubicBezTo>
                <a:cubicBezTo>
                  <a:pt x="575" y="365"/>
                  <a:pt x="575" y="366"/>
                  <a:pt x="575" y="367"/>
                </a:cubicBezTo>
                <a:cubicBezTo>
                  <a:pt x="575" y="369"/>
                  <a:pt x="576" y="369"/>
                  <a:pt x="579" y="368"/>
                </a:cubicBezTo>
                <a:cubicBezTo>
                  <a:pt x="579" y="368"/>
                  <a:pt x="580" y="367"/>
                  <a:pt x="581" y="367"/>
                </a:cubicBezTo>
                <a:cubicBezTo>
                  <a:pt x="582" y="367"/>
                  <a:pt x="582" y="368"/>
                  <a:pt x="582" y="369"/>
                </a:cubicBezTo>
                <a:cubicBezTo>
                  <a:pt x="582" y="370"/>
                  <a:pt x="581" y="371"/>
                  <a:pt x="582" y="372"/>
                </a:cubicBezTo>
                <a:cubicBezTo>
                  <a:pt x="583" y="373"/>
                  <a:pt x="584" y="372"/>
                  <a:pt x="585" y="372"/>
                </a:cubicBezTo>
                <a:cubicBezTo>
                  <a:pt x="586" y="372"/>
                  <a:pt x="588" y="372"/>
                  <a:pt x="589" y="372"/>
                </a:cubicBezTo>
                <a:cubicBezTo>
                  <a:pt x="590" y="373"/>
                  <a:pt x="589" y="374"/>
                  <a:pt x="588" y="374"/>
                </a:cubicBezTo>
                <a:cubicBezTo>
                  <a:pt x="586" y="374"/>
                  <a:pt x="583" y="373"/>
                  <a:pt x="584" y="376"/>
                </a:cubicBezTo>
                <a:cubicBezTo>
                  <a:pt x="584" y="377"/>
                  <a:pt x="585" y="378"/>
                  <a:pt x="586" y="379"/>
                </a:cubicBezTo>
                <a:cubicBezTo>
                  <a:pt x="586" y="379"/>
                  <a:pt x="587" y="380"/>
                  <a:pt x="588" y="381"/>
                </a:cubicBezTo>
                <a:cubicBezTo>
                  <a:pt x="588" y="383"/>
                  <a:pt x="585" y="383"/>
                  <a:pt x="586" y="385"/>
                </a:cubicBezTo>
                <a:cubicBezTo>
                  <a:pt x="587" y="387"/>
                  <a:pt x="590" y="386"/>
                  <a:pt x="591" y="386"/>
                </a:cubicBezTo>
                <a:cubicBezTo>
                  <a:pt x="592" y="386"/>
                  <a:pt x="593" y="386"/>
                  <a:pt x="593" y="387"/>
                </a:cubicBezTo>
                <a:cubicBezTo>
                  <a:pt x="592" y="388"/>
                  <a:pt x="591" y="388"/>
                  <a:pt x="590" y="388"/>
                </a:cubicBezTo>
                <a:cubicBezTo>
                  <a:pt x="589" y="388"/>
                  <a:pt x="585" y="388"/>
                  <a:pt x="585" y="390"/>
                </a:cubicBezTo>
                <a:cubicBezTo>
                  <a:pt x="585" y="392"/>
                  <a:pt x="588" y="391"/>
                  <a:pt x="589" y="391"/>
                </a:cubicBezTo>
                <a:cubicBezTo>
                  <a:pt x="590" y="392"/>
                  <a:pt x="592" y="392"/>
                  <a:pt x="593" y="392"/>
                </a:cubicBezTo>
                <a:cubicBezTo>
                  <a:pt x="594" y="392"/>
                  <a:pt x="595" y="392"/>
                  <a:pt x="596" y="393"/>
                </a:cubicBezTo>
                <a:cubicBezTo>
                  <a:pt x="597" y="394"/>
                  <a:pt x="597" y="395"/>
                  <a:pt x="596" y="396"/>
                </a:cubicBezTo>
                <a:cubicBezTo>
                  <a:pt x="596" y="397"/>
                  <a:pt x="596" y="399"/>
                  <a:pt x="597" y="399"/>
                </a:cubicBezTo>
                <a:cubicBezTo>
                  <a:pt x="599" y="400"/>
                  <a:pt x="601" y="399"/>
                  <a:pt x="603" y="399"/>
                </a:cubicBezTo>
                <a:cubicBezTo>
                  <a:pt x="604" y="399"/>
                  <a:pt x="604" y="400"/>
                  <a:pt x="603" y="400"/>
                </a:cubicBezTo>
                <a:cubicBezTo>
                  <a:pt x="603" y="401"/>
                  <a:pt x="602" y="402"/>
                  <a:pt x="602" y="404"/>
                </a:cubicBezTo>
                <a:cubicBezTo>
                  <a:pt x="602" y="406"/>
                  <a:pt x="606" y="407"/>
                  <a:pt x="607" y="409"/>
                </a:cubicBezTo>
                <a:cubicBezTo>
                  <a:pt x="608" y="409"/>
                  <a:pt x="609" y="410"/>
                  <a:pt x="611" y="411"/>
                </a:cubicBezTo>
                <a:cubicBezTo>
                  <a:pt x="612" y="412"/>
                  <a:pt x="613" y="413"/>
                  <a:pt x="613" y="414"/>
                </a:cubicBezTo>
                <a:cubicBezTo>
                  <a:pt x="615" y="416"/>
                  <a:pt x="611" y="416"/>
                  <a:pt x="611" y="418"/>
                </a:cubicBezTo>
                <a:cubicBezTo>
                  <a:pt x="611" y="419"/>
                  <a:pt x="611" y="420"/>
                  <a:pt x="611" y="421"/>
                </a:cubicBezTo>
                <a:cubicBezTo>
                  <a:pt x="612" y="422"/>
                  <a:pt x="614" y="421"/>
                  <a:pt x="614" y="420"/>
                </a:cubicBezTo>
                <a:cubicBezTo>
                  <a:pt x="616" y="420"/>
                  <a:pt x="617" y="420"/>
                  <a:pt x="619" y="419"/>
                </a:cubicBezTo>
                <a:cubicBezTo>
                  <a:pt x="620" y="419"/>
                  <a:pt x="621" y="419"/>
                  <a:pt x="622" y="418"/>
                </a:cubicBezTo>
                <a:cubicBezTo>
                  <a:pt x="623" y="417"/>
                  <a:pt x="627" y="415"/>
                  <a:pt x="627" y="418"/>
                </a:cubicBezTo>
                <a:cubicBezTo>
                  <a:pt x="627" y="419"/>
                  <a:pt x="624" y="420"/>
                  <a:pt x="625" y="422"/>
                </a:cubicBezTo>
                <a:cubicBezTo>
                  <a:pt x="625" y="423"/>
                  <a:pt x="626" y="423"/>
                  <a:pt x="627" y="423"/>
                </a:cubicBezTo>
                <a:cubicBezTo>
                  <a:pt x="628" y="424"/>
                  <a:pt x="629" y="425"/>
                  <a:pt x="629" y="426"/>
                </a:cubicBezTo>
                <a:cubicBezTo>
                  <a:pt x="631" y="428"/>
                  <a:pt x="630" y="430"/>
                  <a:pt x="629" y="432"/>
                </a:cubicBezTo>
                <a:cubicBezTo>
                  <a:pt x="629" y="433"/>
                  <a:pt x="630" y="434"/>
                  <a:pt x="630" y="435"/>
                </a:cubicBezTo>
                <a:cubicBezTo>
                  <a:pt x="630" y="436"/>
                  <a:pt x="633" y="435"/>
                  <a:pt x="633" y="436"/>
                </a:cubicBezTo>
                <a:cubicBezTo>
                  <a:pt x="634" y="436"/>
                  <a:pt x="633" y="437"/>
                  <a:pt x="632" y="437"/>
                </a:cubicBezTo>
                <a:cubicBezTo>
                  <a:pt x="632" y="437"/>
                  <a:pt x="631" y="437"/>
                  <a:pt x="631" y="437"/>
                </a:cubicBezTo>
                <a:cubicBezTo>
                  <a:pt x="629" y="437"/>
                  <a:pt x="627" y="437"/>
                  <a:pt x="628" y="439"/>
                </a:cubicBezTo>
                <a:cubicBezTo>
                  <a:pt x="628" y="440"/>
                  <a:pt x="629" y="440"/>
                  <a:pt x="630" y="441"/>
                </a:cubicBezTo>
                <a:cubicBezTo>
                  <a:pt x="630" y="441"/>
                  <a:pt x="632" y="440"/>
                  <a:pt x="632" y="441"/>
                </a:cubicBezTo>
                <a:cubicBezTo>
                  <a:pt x="632" y="443"/>
                  <a:pt x="629" y="443"/>
                  <a:pt x="628" y="444"/>
                </a:cubicBezTo>
                <a:cubicBezTo>
                  <a:pt x="626" y="446"/>
                  <a:pt x="628" y="449"/>
                  <a:pt x="630" y="449"/>
                </a:cubicBezTo>
                <a:cubicBezTo>
                  <a:pt x="631" y="450"/>
                  <a:pt x="632" y="450"/>
                  <a:pt x="633" y="449"/>
                </a:cubicBezTo>
                <a:cubicBezTo>
                  <a:pt x="633" y="448"/>
                  <a:pt x="634" y="448"/>
                  <a:pt x="634" y="447"/>
                </a:cubicBezTo>
                <a:cubicBezTo>
                  <a:pt x="634" y="448"/>
                  <a:pt x="633" y="449"/>
                  <a:pt x="632" y="450"/>
                </a:cubicBezTo>
                <a:cubicBezTo>
                  <a:pt x="634" y="447"/>
                  <a:pt x="632" y="450"/>
                  <a:pt x="632" y="450"/>
                </a:cubicBezTo>
                <a:close/>
                <a:moveTo>
                  <a:pt x="61" y="444"/>
                </a:moveTo>
                <a:cubicBezTo>
                  <a:pt x="63" y="443"/>
                  <a:pt x="65" y="443"/>
                  <a:pt x="66" y="443"/>
                </a:cubicBezTo>
                <a:cubicBezTo>
                  <a:pt x="68" y="443"/>
                  <a:pt x="69" y="442"/>
                  <a:pt x="71" y="442"/>
                </a:cubicBezTo>
                <a:cubicBezTo>
                  <a:pt x="74" y="442"/>
                  <a:pt x="75" y="446"/>
                  <a:pt x="77" y="448"/>
                </a:cubicBezTo>
                <a:cubicBezTo>
                  <a:pt x="78" y="451"/>
                  <a:pt x="73" y="451"/>
                  <a:pt x="71" y="451"/>
                </a:cubicBezTo>
                <a:cubicBezTo>
                  <a:pt x="70" y="452"/>
                  <a:pt x="68" y="452"/>
                  <a:pt x="66" y="452"/>
                </a:cubicBezTo>
                <a:cubicBezTo>
                  <a:pt x="64" y="452"/>
                  <a:pt x="62" y="452"/>
                  <a:pt x="61" y="453"/>
                </a:cubicBezTo>
                <a:cubicBezTo>
                  <a:pt x="59" y="454"/>
                  <a:pt x="58" y="456"/>
                  <a:pt x="56" y="456"/>
                </a:cubicBezTo>
                <a:cubicBezTo>
                  <a:pt x="54" y="457"/>
                  <a:pt x="52" y="456"/>
                  <a:pt x="52" y="453"/>
                </a:cubicBezTo>
                <a:cubicBezTo>
                  <a:pt x="52" y="450"/>
                  <a:pt x="54" y="449"/>
                  <a:pt x="56" y="447"/>
                </a:cubicBezTo>
                <a:cubicBezTo>
                  <a:pt x="58" y="445"/>
                  <a:pt x="60" y="444"/>
                  <a:pt x="62" y="444"/>
                </a:cubicBezTo>
                <a:cubicBezTo>
                  <a:pt x="62" y="444"/>
                  <a:pt x="61" y="444"/>
                  <a:pt x="61" y="444"/>
                </a:cubicBezTo>
                <a:cubicBezTo>
                  <a:pt x="64" y="443"/>
                  <a:pt x="61" y="444"/>
                  <a:pt x="61" y="444"/>
                </a:cubicBezTo>
                <a:close/>
                <a:moveTo>
                  <a:pt x="38" y="460"/>
                </a:moveTo>
                <a:cubicBezTo>
                  <a:pt x="38" y="461"/>
                  <a:pt x="37" y="464"/>
                  <a:pt x="39" y="464"/>
                </a:cubicBezTo>
                <a:cubicBezTo>
                  <a:pt x="40" y="464"/>
                  <a:pt x="44" y="463"/>
                  <a:pt x="44" y="462"/>
                </a:cubicBezTo>
                <a:cubicBezTo>
                  <a:pt x="44" y="460"/>
                  <a:pt x="38" y="457"/>
                  <a:pt x="38" y="461"/>
                </a:cubicBezTo>
                <a:cubicBezTo>
                  <a:pt x="38" y="460"/>
                  <a:pt x="38" y="460"/>
                  <a:pt x="38" y="460"/>
                </a:cubicBezTo>
                <a:cubicBezTo>
                  <a:pt x="38" y="461"/>
                  <a:pt x="38" y="460"/>
                  <a:pt x="38" y="460"/>
                </a:cubicBezTo>
                <a:close/>
                <a:moveTo>
                  <a:pt x="31" y="462"/>
                </a:moveTo>
                <a:cubicBezTo>
                  <a:pt x="29" y="464"/>
                  <a:pt x="33" y="466"/>
                  <a:pt x="34" y="464"/>
                </a:cubicBezTo>
                <a:cubicBezTo>
                  <a:pt x="34" y="463"/>
                  <a:pt x="34" y="462"/>
                  <a:pt x="33" y="461"/>
                </a:cubicBezTo>
                <a:cubicBezTo>
                  <a:pt x="32" y="460"/>
                  <a:pt x="31" y="461"/>
                  <a:pt x="30" y="462"/>
                </a:cubicBezTo>
                <a:cubicBezTo>
                  <a:pt x="31" y="462"/>
                  <a:pt x="31" y="462"/>
                  <a:pt x="31" y="462"/>
                </a:cubicBezTo>
                <a:cubicBezTo>
                  <a:pt x="30" y="463"/>
                  <a:pt x="31" y="462"/>
                  <a:pt x="31" y="462"/>
                </a:cubicBezTo>
                <a:close/>
                <a:moveTo>
                  <a:pt x="15" y="467"/>
                </a:moveTo>
                <a:cubicBezTo>
                  <a:pt x="16" y="467"/>
                  <a:pt x="18" y="465"/>
                  <a:pt x="19" y="466"/>
                </a:cubicBezTo>
                <a:cubicBezTo>
                  <a:pt x="20" y="466"/>
                  <a:pt x="20" y="468"/>
                  <a:pt x="20" y="469"/>
                </a:cubicBezTo>
                <a:cubicBezTo>
                  <a:pt x="21" y="469"/>
                  <a:pt x="22" y="468"/>
                  <a:pt x="22" y="467"/>
                </a:cubicBezTo>
                <a:cubicBezTo>
                  <a:pt x="23" y="466"/>
                  <a:pt x="25" y="466"/>
                  <a:pt x="26" y="467"/>
                </a:cubicBezTo>
                <a:cubicBezTo>
                  <a:pt x="28" y="469"/>
                  <a:pt x="25" y="469"/>
                  <a:pt x="24" y="470"/>
                </a:cubicBezTo>
                <a:cubicBezTo>
                  <a:pt x="22" y="471"/>
                  <a:pt x="27" y="473"/>
                  <a:pt x="24" y="475"/>
                </a:cubicBezTo>
                <a:cubicBezTo>
                  <a:pt x="23" y="475"/>
                  <a:pt x="22" y="475"/>
                  <a:pt x="21" y="476"/>
                </a:cubicBezTo>
                <a:cubicBezTo>
                  <a:pt x="20" y="477"/>
                  <a:pt x="19" y="478"/>
                  <a:pt x="18" y="478"/>
                </a:cubicBezTo>
                <a:cubicBezTo>
                  <a:pt x="17" y="478"/>
                  <a:pt x="14" y="477"/>
                  <a:pt x="14" y="476"/>
                </a:cubicBezTo>
                <a:cubicBezTo>
                  <a:pt x="13" y="475"/>
                  <a:pt x="16" y="473"/>
                  <a:pt x="17" y="474"/>
                </a:cubicBezTo>
                <a:cubicBezTo>
                  <a:pt x="18" y="474"/>
                  <a:pt x="19" y="474"/>
                  <a:pt x="19" y="473"/>
                </a:cubicBezTo>
                <a:cubicBezTo>
                  <a:pt x="19" y="471"/>
                  <a:pt x="16" y="472"/>
                  <a:pt x="15" y="471"/>
                </a:cubicBezTo>
                <a:cubicBezTo>
                  <a:pt x="14" y="471"/>
                  <a:pt x="13" y="470"/>
                  <a:pt x="13" y="468"/>
                </a:cubicBezTo>
                <a:cubicBezTo>
                  <a:pt x="13" y="467"/>
                  <a:pt x="15" y="467"/>
                  <a:pt x="16" y="467"/>
                </a:cubicBezTo>
                <a:cubicBezTo>
                  <a:pt x="16" y="467"/>
                  <a:pt x="15" y="467"/>
                  <a:pt x="15" y="467"/>
                </a:cubicBezTo>
                <a:cubicBezTo>
                  <a:pt x="16" y="467"/>
                  <a:pt x="15" y="467"/>
                  <a:pt x="15" y="467"/>
                </a:cubicBezTo>
                <a:close/>
                <a:moveTo>
                  <a:pt x="87" y="455"/>
                </a:moveTo>
                <a:cubicBezTo>
                  <a:pt x="85" y="456"/>
                  <a:pt x="89" y="459"/>
                  <a:pt x="90" y="458"/>
                </a:cubicBezTo>
                <a:cubicBezTo>
                  <a:pt x="92" y="458"/>
                  <a:pt x="90" y="456"/>
                  <a:pt x="90" y="456"/>
                </a:cubicBezTo>
                <a:cubicBezTo>
                  <a:pt x="89" y="454"/>
                  <a:pt x="88" y="454"/>
                  <a:pt x="87" y="455"/>
                </a:cubicBezTo>
                <a:cubicBezTo>
                  <a:pt x="87" y="455"/>
                  <a:pt x="87" y="455"/>
                  <a:pt x="87" y="455"/>
                </a:cubicBezTo>
                <a:cubicBezTo>
                  <a:pt x="85" y="456"/>
                  <a:pt x="87" y="455"/>
                  <a:pt x="87" y="455"/>
                </a:cubicBezTo>
                <a:close/>
                <a:moveTo>
                  <a:pt x="120" y="435"/>
                </a:moveTo>
                <a:cubicBezTo>
                  <a:pt x="119" y="436"/>
                  <a:pt x="119" y="441"/>
                  <a:pt x="122" y="440"/>
                </a:cubicBezTo>
                <a:cubicBezTo>
                  <a:pt x="122" y="440"/>
                  <a:pt x="126" y="439"/>
                  <a:pt x="125" y="438"/>
                </a:cubicBezTo>
                <a:cubicBezTo>
                  <a:pt x="125" y="437"/>
                  <a:pt x="123" y="436"/>
                  <a:pt x="122" y="435"/>
                </a:cubicBezTo>
                <a:cubicBezTo>
                  <a:pt x="121" y="434"/>
                  <a:pt x="120" y="434"/>
                  <a:pt x="120" y="436"/>
                </a:cubicBezTo>
                <a:cubicBezTo>
                  <a:pt x="120" y="435"/>
                  <a:pt x="120" y="435"/>
                  <a:pt x="120" y="435"/>
                </a:cubicBezTo>
                <a:cubicBezTo>
                  <a:pt x="119" y="436"/>
                  <a:pt x="120" y="435"/>
                  <a:pt x="120" y="435"/>
                </a:cubicBezTo>
                <a:close/>
                <a:moveTo>
                  <a:pt x="133" y="439"/>
                </a:moveTo>
                <a:cubicBezTo>
                  <a:pt x="132" y="440"/>
                  <a:pt x="129" y="441"/>
                  <a:pt x="129" y="443"/>
                </a:cubicBezTo>
                <a:cubicBezTo>
                  <a:pt x="129" y="445"/>
                  <a:pt x="131" y="447"/>
                  <a:pt x="132" y="445"/>
                </a:cubicBezTo>
                <a:cubicBezTo>
                  <a:pt x="133" y="443"/>
                  <a:pt x="134" y="442"/>
                  <a:pt x="134" y="441"/>
                </a:cubicBezTo>
                <a:cubicBezTo>
                  <a:pt x="135" y="440"/>
                  <a:pt x="136" y="439"/>
                  <a:pt x="135" y="438"/>
                </a:cubicBezTo>
                <a:cubicBezTo>
                  <a:pt x="135" y="437"/>
                  <a:pt x="132" y="439"/>
                  <a:pt x="132" y="440"/>
                </a:cubicBezTo>
                <a:cubicBezTo>
                  <a:pt x="132" y="439"/>
                  <a:pt x="133" y="439"/>
                  <a:pt x="133" y="439"/>
                </a:cubicBezTo>
                <a:cubicBezTo>
                  <a:pt x="132" y="440"/>
                  <a:pt x="133" y="439"/>
                  <a:pt x="133" y="439"/>
                </a:cubicBezTo>
                <a:close/>
                <a:moveTo>
                  <a:pt x="141" y="439"/>
                </a:moveTo>
                <a:cubicBezTo>
                  <a:pt x="141" y="439"/>
                  <a:pt x="138" y="441"/>
                  <a:pt x="140" y="442"/>
                </a:cubicBezTo>
                <a:cubicBezTo>
                  <a:pt x="141" y="442"/>
                  <a:pt x="143" y="442"/>
                  <a:pt x="144" y="442"/>
                </a:cubicBezTo>
                <a:cubicBezTo>
                  <a:pt x="144" y="441"/>
                  <a:pt x="143" y="439"/>
                  <a:pt x="143" y="439"/>
                </a:cubicBezTo>
                <a:cubicBezTo>
                  <a:pt x="142" y="438"/>
                  <a:pt x="141" y="439"/>
                  <a:pt x="140" y="439"/>
                </a:cubicBezTo>
                <a:cubicBezTo>
                  <a:pt x="141" y="439"/>
                  <a:pt x="141" y="439"/>
                  <a:pt x="141" y="439"/>
                </a:cubicBezTo>
                <a:cubicBezTo>
                  <a:pt x="141" y="439"/>
                  <a:pt x="141" y="439"/>
                  <a:pt x="141" y="439"/>
                </a:cubicBezTo>
                <a:close/>
                <a:moveTo>
                  <a:pt x="161" y="413"/>
                </a:moveTo>
                <a:cubicBezTo>
                  <a:pt x="160" y="414"/>
                  <a:pt x="160" y="416"/>
                  <a:pt x="161" y="417"/>
                </a:cubicBezTo>
                <a:cubicBezTo>
                  <a:pt x="162" y="418"/>
                  <a:pt x="163" y="417"/>
                  <a:pt x="163" y="416"/>
                </a:cubicBezTo>
                <a:cubicBezTo>
                  <a:pt x="163" y="415"/>
                  <a:pt x="162" y="411"/>
                  <a:pt x="160" y="413"/>
                </a:cubicBezTo>
                <a:cubicBezTo>
                  <a:pt x="161" y="413"/>
                  <a:pt x="161" y="413"/>
                  <a:pt x="161" y="413"/>
                </a:cubicBezTo>
                <a:cubicBezTo>
                  <a:pt x="160" y="414"/>
                  <a:pt x="161" y="413"/>
                  <a:pt x="161" y="413"/>
                </a:cubicBezTo>
                <a:close/>
                <a:moveTo>
                  <a:pt x="227" y="381"/>
                </a:moveTo>
                <a:cubicBezTo>
                  <a:pt x="228" y="380"/>
                  <a:pt x="230" y="379"/>
                  <a:pt x="232" y="379"/>
                </a:cubicBezTo>
                <a:cubicBezTo>
                  <a:pt x="236" y="379"/>
                  <a:pt x="232" y="380"/>
                  <a:pt x="233" y="382"/>
                </a:cubicBezTo>
                <a:cubicBezTo>
                  <a:pt x="234" y="382"/>
                  <a:pt x="235" y="382"/>
                  <a:pt x="236" y="382"/>
                </a:cubicBezTo>
                <a:cubicBezTo>
                  <a:pt x="237" y="382"/>
                  <a:pt x="237" y="382"/>
                  <a:pt x="239" y="382"/>
                </a:cubicBezTo>
                <a:cubicBezTo>
                  <a:pt x="240" y="382"/>
                  <a:pt x="241" y="382"/>
                  <a:pt x="242" y="382"/>
                </a:cubicBezTo>
                <a:cubicBezTo>
                  <a:pt x="243" y="381"/>
                  <a:pt x="242" y="380"/>
                  <a:pt x="241" y="380"/>
                </a:cubicBezTo>
                <a:cubicBezTo>
                  <a:pt x="239" y="379"/>
                  <a:pt x="233" y="377"/>
                  <a:pt x="238" y="374"/>
                </a:cubicBezTo>
                <a:cubicBezTo>
                  <a:pt x="240" y="373"/>
                  <a:pt x="242" y="374"/>
                  <a:pt x="243" y="376"/>
                </a:cubicBezTo>
                <a:cubicBezTo>
                  <a:pt x="243" y="376"/>
                  <a:pt x="244" y="378"/>
                  <a:pt x="245" y="378"/>
                </a:cubicBezTo>
                <a:cubicBezTo>
                  <a:pt x="246" y="378"/>
                  <a:pt x="246" y="376"/>
                  <a:pt x="247" y="376"/>
                </a:cubicBezTo>
                <a:cubicBezTo>
                  <a:pt x="248" y="375"/>
                  <a:pt x="250" y="376"/>
                  <a:pt x="251" y="375"/>
                </a:cubicBezTo>
                <a:cubicBezTo>
                  <a:pt x="251" y="374"/>
                  <a:pt x="251" y="372"/>
                  <a:pt x="252" y="372"/>
                </a:cubicBezTo>
                <a:cubicBezTo>
                  <a:pt x="253" y="372"/>
                  <a:pt x="254" y="374"/>
                  <a:pt x="255" y="374"/>
                </a:cubicBezTo>
                <a:cubicBezTo>
                  <a:pt x="255" y="375"/>
                  <a:pt x="256" y="376"/>
                  <a:pt x="257" y="375"/>
                </a:cubicBezTo>
                <a:cubicBezTo>
                  <a:pt x="258" y="375"/>
                  <a:pt x="257" y="374"/>
                  <a:pt x="258" y="373"/>
                </a:cubicBezTo>
                <a:cubicBezTo>
                  <a:pt x="259" y="373"/>
                  <a:pt x="263" y="373"/>
                  <a:pt x="262" y="375"/>
                </a:cubicBezTo>
                <a:cubicBezTo>
                  <a:pt x="262" y="376"/>
                  <a:pt x="262" y="376"/>
                  <a:pt x="261" y="377"/>
                </a:cubicBezTo>
                <a:cubicBezTo>
                  <a:pt x="261" y="378"/>
                  <a:pt x="262" y="379"/>
                  <a:pt x="263" y="379"/>
                </a:cubicBezTo>
                <a:cubicBezTo>
                  <a:pt x="264" y="379"/>
                  <a:pt x="265" y="379"/>
                  <a:pt x="266" y="380"/>
                </a:cubicBezTo>
                <a:cubicBezTo>
                  <a:pt x="267" y="381"/>
                  <a:pt x="266" y="382"/>
                  <a:pt x="265" y="383"/>
                </a:cubicBezTo>
                <a:cubicBezTo>
                  <a:pt x="262" y="384"/>
                  <a:pt x="260" y="383"/>
                  <a:pt x="258" y="382"/>
                </a:cubicBezTo>
                <a:cubicBezTo>
                  <a:pt x="256" y="382"/>
                  <a:pt x="253" y="382"/>
                  <a:pt x="255" y="384"/>
                </a:cubicBezTo>
                <a:cubicBezTo>
                  <a:pt x="256" y="384"/>
                  <a:pt x="261" y="387"/>
                  <a:pt x="257" y="387"/>
                </a:cubicBezTo>
                <a:cubicBezTo>
                  <a:pt x="255" y="387"/>
                  <a:pt x="253" y="386"/>
                  <a:pt x="251" y="389"/>
                </a:cubicBezTo>
                <a:cubicBezTo>
                  <a:pt x="250" y="390"/>
                  <a:pt x="250" y="391"/>
                  <a:pt x="248" y="391"/>
                </a:cubicBezTo>
                <a:cubicBezTo>
                  <a:pt x="247" y="391"/>
                  <a:pt x="246" y="390"/>
                  <a:pt x="245" y="391"/>
                </a:cubicBezTo>
                <a:cubicBezTo>
                  <a:pt x="244" y="392"/>
                  <a:pt x="243" y="393"/>
                  <a:pt x="242" y="393"/>
                </a:cubicBezTo>
                <a:cubicBezTo>
                  <a:pt x="241" y="393"/>
                  <a:pt x="241" y="392"/>
                  <a:pt x="240" y="392"/>
                </a:cubicBezTo>
                <a:cubicBezTo>
                  <a:pt x="239" y="392"/>
                  <a:pt x="239" y="392"/>
                  <a:pt x="238" y="393"/>
                </a:cubicBezTo>
                <a:cubicBezTo>
                  <a:pt x="237" y="393"/>
                  <a:pt x="237" y="392"/>
                  <a:pt x="236" y="391"/>
                </a:cubicBezTo>
                <a:cubicBezTo>
                  <a:pt x="235" y="391"/>
                  <a:pt x="234" y="391"/>
                  <a:pt x="233" y="391"/>
                </a:cubicBezTo>
                <a:cubicBezTo>
                  <a:pt x="231" y="391"/>
                  <a:pt x="230" y="392"/>
                  <a:pt x="229" y="391"/>
                </a:cubicBezTo>
                <a:cubicBezTo>
                  <a:pt x="228" y="391"/>
                  <a:pt x="227" y="390"/>
                  <a:pt x="226" y="389"/>
                </a:cubicBezTo>
                <a:cubicBezTo>
                  <a:pt x="225" y="388"/>
                  <a:pt x="221" y="389"/>
                  <a:pt x="223" y="386"/>
                </a:cubicBezTo>
                <a:cubicBezTo>
                  <a:pt x="223" y="384"/>
                  <a:pt x="224" y="383"/>
                  <a:pt x="225" y="383"/>
                </a:cubicBezTo>
                <a:cubicBezTo>
                  <a:pt x="226" y="382"/>
                  <a:pt x="227" y="381"/>
                  <a:pt x="228" y="380"/>
                </a:cubicBezTo>
                <a:cubicBezTo>
                  <a:pt x="228" y="381"/>
                  <a:pt x="227" y="381"/>
                  <a:pt x="227" y="381"/>
                </a:cubicBezTo>
                <a:cubicBezTo>
                  <a:pt x="228" y="380"/>
                  <a:pt x="227" y="381"/>
                  <a:pt x="227" y="381"/>
                </a:cubicBezTo>
                <a:close/>
                <a:moveTo>
                  <a:pt x="253" y="364"/>
                </a:moveTo>
                <a:cubicBezTo>
                  <a:pt x="252" y="365"/>
                  <a:pt x="253" y="366"/>
                  <a:pt x="253" y="367"/>
                </a:cubicBezTo>
                <a:cubicBezTo>
                  <a:pt x="253" y="368"/>
                  <a:pt x="252" y="368"/>
                  <a:pt x="253" y="369"/>
                </a:cubicBezTo>
                <a:cubicBezTo>
                  <a:pt x="254" y="371"/>
                  <a:pt x="256" y="371"/>
                  <a:pt x="257" y="369"/>
                </a:cubicBezTo>
                <a:cubicBezTo>
                  <a:pt x="258" y="367"/>
                  <a:pt x="260" y="365"/>
                  <a:pt x="263" y="366"/>
                </a:cubicBezTo>
                <a:cubicBezTo>
                  <a:pt x="264" y="366"/>
                  <a:pt x="264" y="367"/>
                  <a:pt x="265" y="366"/>
                </a:cubicBezTo>
                <a:cubicBezTo>
                  <a:pt x="266" y="365"/>
                  <a:pt x="267" y="365"/>
                  <a:pt x="268" y="365"/>
                </a:cubicBezTo>
                <a:cubicBezTo>
                  <a:pt x="269" y="364"/>
                  <a:pt x="269" y="363"/>
                  <a:pt x="268" y="362"/>
                </a:cubicBezTo>
                <a:cubicBezTo>
                  <a:pt x="268" y="361"/>
                  <a:pt x="266" y="362"/>
                  <a:pt x="264" y="362"/>
                </a:cubicBezTo>
                <a:cubicBezTo>
                  <a:pt x="263" y="362"/>
                  <a:pt x="263" y="362"/>
                  <a:pt x="262" y="361"/>
                </a:cubicBezTo>
                <a:cubicBezTo>
                  <a:pt x="261" y="360"/>
                  <a:pt x="260" y="360"/>
                  <a:pt x="259" y="360"/>
                </a:cubicBezTo>
                <a:cubicBezTo>
                  <a:pt x="258" y="360"/>
                  <a:pt x="256" y="360"/>
                  <a:pt x="256" y="361"/>
                </a:cubicBezTo>
                <a:cubicBezTo>
                  <a:pt x="256" y="362"/>
                  <a:pt x="257" y="363"/>
                  <a:pt x="257" y="364"/>
                </a:cubicBezTo>
                <a:cubicBezTo>
                  <a:pt x="257" y="364"/>
                  <a:pt x="255" y="363"/>
                  <a:pt x="255" y="363"/>
                </a:cubicBezTo>
                <a:cubicBezTo>
                  <a:pt x="253" y="363"/>
                  <a:pt x="253" y="363"/>
                  <a:pt x="252" y="364"/>
                </a:cubicBezTo>
                <a:cubicBezTo>
                  <a:pt x="252" y="364"/>
                  <a:pt x="253" y="364"/>
                  <a:pt x="253" y="364"/>
                </a:cubicBezTo>
                <a:cubicBezTo>
                  <a:pt x="252" y="365"/>
                  <a:pt x="253" y="364"/>
                  <a:pt x="253" y="364"/>
                </a:cubicBezTo>
                <a:close/>
                <a:moveTo>
                  <a:pt x="237" y="396"/>
                </a:moveTo>
                <a:cubicBezTo>
                  <a:pt x="236" y="396"/>
                  <a:pt x="236" y="397"/>
                  <a:pt x="235" y="398"/>
                </a:cubicBezTo>
                <a:cubicBezTo>
                  <a:pt x="235" y="399"/>
                  <a:pt x="233" y="400"/>
                  <a:pt x="233" y="401"/>
                </a:cubicBezTo>
                <a:cubicBezTo>
                  <a:pt x="234" y="402"/>
                  <a:pt x="235" y="402"/>
                  <a:pt x="236" y="402"/>
                </a:cubicBezTo>
                <a:cubicBezTo>
                  <a:pt x="237" y="401"/>
                  <a:pt x="238" y="400"/>
                  <a:pt x="239" y="399"/>
                </a:cubicBezTo>
                <a:cubicBezTo>
                  <a:pt x="240" y="399"/>
                  <a:pt x="244" y="397"/>
                  <a:pt x="242" y="396"/>
                </a:cubicBezTo>
                <a:cubicBezTo>
                  <a:pt x="240" y="395"/>
                  <a:pt x="238" y="395"/>
                  <a:pt x="237" y="396"/>
                </a:cubicBezTo>
                <a:cubicBezTo>
                  <a:pt x="237" y="396"/>
                  <a:pt x="237" y="396"/>
                  <a:pt x="237" y="396"/>
                </a:cubicBezTo>
                <a:cubicBezTo>
                  <a:pt x="236" y="396"/>
                  <a:pt x="237" y="396"/>
                  <a:pt x="237" y="396"/>
                </a:cubicBezTo>
                <a:close/>
                <a:moveTo>
                  <a:pt x="227" y="393"/>
                </a:moveTo>
                <a:cubicBezTo>
                  <a:pt x="226" y="394"/>
                  <a:pt x="228" y="396"/>
                  <a:pt x="228" y="397"/>
                </a:cubicBezTo>
                <a:cubicBezTo>
                  <a:pt x="229" y="398"/>
                  <a:pt x="232" y="398"/>
                  <a:pt x="231" y="396"/>
                </a:cubicBezTo>
                <a:cubicBezTo>
                  <a:pt x="231" y="395"/>
                  <a:pt x="227" y="391"/>
                  <a:pt x="226" y="393"/>
                </a:cubicBezTo>
                <a:cubicBezTo>
                  <a:pt x="226" y="393"/>
                  <a:pt x="227" y="393"/>
                  <a:pt x="227" y="393"/>
                </a:cubicBezTo>
                <a:cubicBezTo>
                  <a:pt x="226" y="394"/>
                  <a:pt x="227" y="393"/>
                  <a:pt x="227" y="393"/>
                </a:cubicBezTo>
                <a:close/>
                <a:moveTo>
                  <a:pt x="348" y="315"/>
                </a:moveTo>
                <a:cubicBezTo>
                  <a:pt x="347" y="317"/>
                  <a:pt x="345" y="318"/>
                  <a:pt x="344" y="320"/>
                </a:cubicBezTo>
                <a:cubicBezTo>
                  <a:pt x="342" y="321"/>
                  <a:pt x="341" y="322"/>
                  <a:pt x="341" y="324"/>
                </a:cubicBezTo>
                <a:cubicBezTo>
                  <a:pt x="340" y="326"/>
                  <a:pt x="343" y="324"/>
                  <a:pt x="344" y="323"/>
                </a:cubicBezTo>
                <a:cubicBezTo>
                  <a:pt x="346" y="322"/>
                  <a:pt x="347" y="321"/>
                  <a:pt x="349" y="319"/>
                </a:cubicBezTo>
                <a:cubicBezTo>
                  <a:pt x="350" y="318"/>
                  <a:pt x="358" y="314"/>
                  <a:pt x="354" y="312"/>
                </a:cubicBezTo>
                <a:cubicBezTo>
                  <a:pt x="351" y="311"/>
                  <a:pt x="349" y="314"/>
                  <a:pt x="347" y="316"/>
                </a:cubicBezTo>
                <a:cubicBezTo>
                  <a:pt x="348" y="315"/>
                  <a:pt x="348" y="315"/>
                  <a:pt x="348" y="315"/>
                </a:cubicBezTo>
                <a:cubicBezTo>
                  <a:pt x="346" y="318"/>
                  <a:pt x="348" y="315"/>
                  <a:pt x="348" y="315"/>
                </a:cubicBezTo>
                <a:close/>
                <a:moveTo>
                  <a:pt x="551" y="368"/>
                </a:moveTo>
                <a:cubicBezTo>
                  <a:pt x="551" y="369"/>
                  <a:pt x="550" y="369"/>
                  <a:pt x="550" y="370"/>
                </a:cubicBezTo>
                <a:cubicBezTo>
                  <a:pt x="550" y="372"/>
                  <a:pt x="552" y="373"/>
                  <a:pt x="553" y="374"/>
                </a:cubicBezTo>
                <a:cubicBezTo>
                  <a:pt x="554" y="374"/>
                  <a:pt x="556" y="376"/>
                  <a:pt x="557" y="375"/>
                </a:cubicBezTo>
                <a:cubicBezTo>
                  <a:pt x="558" y="375"/>
                  <a:pt x="557" y="373"/>
                  <a:pt x="557" y="372"/>
                </a:cubicBezTo>
                <a:cubicBezTo>
                  <a:pt x="556" y="371"/>
                  <a:pt x="558" y="371"/>
                  <a:pt x="558" y="370"/>
                </a:cubicBezTo>
                <a:cubicBezTo>
                  <a:pt x="558" y="369"/>
                  <a:pt x="556" y="369"/>
                  <a:pt x="556" y="368"/>
                </a:cubicBezTo>
                <a:cubicBezTo>
                  <a:pt x="554" y="367"/>
                  <a:pt x="551" y="366"/>
                  <a:pt x="551" y="369"/>
                </a:cubicBezTo>
                <a:cubicBezTo>
                  <a:pt x="551" y="368"/>
                  <a:pt x="551" y="368"/>
                  <a:pt x="551" y="368"/>
                </a:cubicBezTo>
                <a:cubicBezTo>
                  <a:pt x="551" y="369"/>
                  <a:pt x="551" y="368"/>
                  <a:pt x="551" y="368"/>
                </a:cubicBezTo>
                <a:close/>
                <a:moveTo>
                  <a:pt x="542" y="365"/>
                </a:moveTo>
                <a:cubicBezTo>
                  <a:pt x="541" y="366"/>
                  <a:pt x="537" y="366"/>
                  <a:pt x="537" y="368"/>
                </a:cubicBezTo>
                <a:cubicBezTo>
                  <a:pt x="536" y="369"/>
                  <a:pt x="540" y="371"/>
                  <a:pt x="541" y="372"/>
                </a:cubicBezTo>
                <a:cubicBezTo>
                  <a:pt x="543" y="376"/>
                  <a:pt x="537" y="372"/>
                  <a:pt x="536" y="372"/>
                </a:cubicBezTo>
                <a:cubicBezTo>
                  <a:pt x="535" y="372"/>
                  <a:pt x="536" y="374"/>
                  <a:pt x="536" y="374"/>
                </a:cubicBezTo>
                <a:cubicBezTo>
                  <a:pt x="537" y="375"/>
                  <a:pt x="538" y="375"/>
                  <a:pt x="539" y="376"/>
                </a:cubicBezTo>
                <a:cubicBezTo>
                  <a:pt x="540" y="378"/>
                  <a:pt x="539" y="380"/>
                  <a:pt x="540" y="381"/>
                </a:cubicBezTo>
                <a:cubicBezTo>
                  <a:pt x="542" y="382"/>
                  <a:pt x="544" y="383"/>
                  <a:pt x="546" y="382"/>
                </a:cubicBezTo>
                <a:cubicBezTo>
                  <a:pt x="549" y="381"/>
                  <a:pt x="546" y="379"/>
                  <a:pt x="546" y="377"/>
                </a:cubicBezTo>
                <a:cubicBezTo>
                  <a:pt x="546" y="376"/>
                  <a:pt x="548" y="378"/>
                  <a:pt x="549" y="378"/>
                </a:cubicBezTo>
                <a:cubicBezTo>
                  <a:pt x="550" y="379"/>
                  <a:pt x="551" y="379"/>
                  <a:pt x="552" y="380"/>
                </a:cubicBezTo>
                <a:cubicBezTo>
                  <a:pt x="553" y="380"/>
                  <a:pt x="554" y="380"/>
                  <a:pt x="555" y="381"/>
                </a:cubicBezTo>
                <a:cubicBezTo>
                  <a:pt x="556" y="381"/>
                  <a:pt x="558" y="381"/>
                  <a:pt x="559" y="381"/>
                </a:cubicBezTo>
                <a:cubicBezTo>
                  <a:pt x="560" y="381"/>
                  <a:pt x="558" y="380"/>
                  <a:pt x="558" y="380"/>
                </a:cubicBezTo>
                <a:cubicBezTo>
                  <a:pt x="557" y="379"/>
                  <a:pt x="556" y="379"/>
                  <a:pt x="554" y="378"/>
                </a:cubicBezTo>
                <a:cubicBezTo>
                  <a:pt x="553" y="378"/>
                  <a:pt x="552" y="377"/>
                  <a:pt x="551" y="377"/>
                </a:cubicBezTo>
                <a:cubicBezTo>
                  <a:pt x="549" y="375"/>
                  <a:pt x="547" y="374"/>
                  <a:pt x="546" y="373"/>
                </a:cubicBezTo>
                <a:cubicBezTo>
                  <a:pt x="544" y="372"/>
                  <a:pt x="543" y="370"/>
                  <a:pt x="545" y="369"/>
                </a:cubicBezTo>
                <a:cubicBezTo>
                  <a:pt x="547" y="368"/>
                  <a:pt x="549" y="367"/>
                  <a:pt x="547" y="366"/>
                </a:cubicBezTo>
                <a:cubicBezTo>
                  <a:pt x="546" y="364"/>
                  <a:pt x="543" y="364"/>
                  <a:pt x="542" y="366"/>
                </a:cubicBezTo>
                <a:cubicBezTo>
                  <a:pt x="542" y="365"/>
                  <a:pt x="542" y="365"/>
                  <a:pt x="542" y="365"/>
                </a:cubicBezTo>
                <a:cubicBezTo>
                  <a:pt x="541" y="366"/>
                  <a:pt x="542" y="365"/>
                  <a:pt x="542" y="365"/>
                </a:cubicBezTo>
                <a:close/>
                <a:moveTo>
                  <a:pt x="552" y="384"/>
                </a:moveTo>
                <a:cubicBezTo>
                  <a:pt x="552" y="385"/>
                  <a:pt x="552" y="386"/>
                  <a:pt x="551" y="387"/>
                </a:cubicBezTo>
                <a:cubicBezTo>
                  <a:pt x="551" y="387"/>
                  <a:pt x="550" y="388"/>
                  <a:pt x="550" y="388"/>
                </a:cubicBezTo>
                <a:cubicBezTo>
                  <a:pt x="550" y="390"/>
                  <a:pt x="553" y="390"/>
                  <a:pt x="554" y="391"/>
                </a:cubicBezTo>
                <a:cubicBezTo>
                  <a:pt x="555" y="391"/>
                  <a:pt x="555" y="392"/>
                  <a:pt x="555" y="393"/>
                </a:cubicBezTo>
                <a:cubicBezTo>
                  <a:pt x="555" y="394"/>
                  <a:pt x="557" y="394"/>
                  <a:pt x="556" y="395"/>
                </a:cubicBezTo>
                <a:cubicBezTo>
                  <a:pt x="556" y="396"/>
                  <a:pt x="554" y="397"/>
                  <a:pt x="554" y="397"/>
                </a:cubicBezTo>
                <a:cubicBezTo>
                  <a:pt x="552" y="398"/>
                  <a:pt x="555" y="399"/>
                  <a:pt x="555" y="400"/>
                </a:cubicBezTo>
                <a:cubicBezTo>
                  <a:pt x="557" y="401"/>
                  <a:pt x="558" y="403"/>
                  <a:pt x="560" y="402"/>
                </a:cubicBezTo>
                <a:cubicBezTo>
                  <a:pt x="562" y="402"/>
                  <a:pt x="561" y="405"/>
                  <a:pt x="561" y="406"/>
                </a:cubicBezTo>
                <a:cubicBezTo>
                  <a:pt x="561" y="407"/>
                  <a:pt x="561" y="407"/>
                  <a:pt x="562" y="408"/>
                </a:cubicBezTo>
                <a:cubicBezTo>
                  <a:pt x="563" y="408"/>
                  <a:pt x="563" y="410"/>
                  <a:pt x="563" y="411"/>
                </a:cubicBezTo>
                <a:cubicBezTo>
                  <a:pt x="564" y="413"/>
                  <a:pt x="564" y="414"/>
                  <a:pt x="565" y="412"/>
                </a:cubicBezTo>
                <a:cubicBezTo>
                  <a:pt x="566" y="411"/>
                  <a:pt x="566" y="409"/>
                  <a:pt x="565" y="408"/>
                </a:cubicBezTo>
                <a:cubicBezTo>
                  <a:pt x="564" y="407"/>
                  <a:pt x="563" y="405"/>
                  <a:pt x="563" y="404"/>
                </a:cubicBezTo>
                <a:cubicBezTo>
                  <a:pt x="562" y="402"/>
                  <a:pt x="564" y="400"/>
                  <a:pt x="564" y="398"/>
                </a:cubicBezTo>
                <a:cubicBezTo>
                  <a:pt x="564" y="396"/>
                  <a:pt x="562" y="394"/>
                  <a:pt x="561" y="392"/>
                </a:cubicBezTo>
                <a:cubicBezTo>
                  <a:pt x="561" y="391"/>
                  <a:pt x="560" y="390"/>
                  <a:pt x="560" y="389"/>
                </a:cubicBezTo>
                <a:cubicBezTo>
                  <a:pt x="559" y="388"/>
                  <a:pt x="558" y="388"/>
                  <a:pt x="557" y="387"/>
                </a:cubicBezTo>
                <a:cubicBezTo>
                  <a:pt x="556" y="385"/>
                  <a:pt x="555" y="384"/>
                  <a:pt x="554" y="384"/>
                </a:cubicBezTo>
                <a:cubicBezTo>
                  <a:pt x="552" y="383"/>
                  <a:pt x="552" y="384"/>
                  <a:pt x="552" y="385"/>
                </a:cubicBezTo>
                <a:cubicBezTo>
                  <a:pt x="552" y="385"/>
                  <a:pt x="552" y="384"/>
                  <a:pt x="552" y="384"/>
                </a:cubicBezTo>
                <a:cubicBezTo>
                  <a:pt x="552" y="385"/>
                  <a:pt x="552" y="384"/>
                  <a:pt x="552" y="384"/>
                </a:cubicBezTo>
                <a:close/>
                <a:moveTo>
                  <a:pt x="546" y="389"/>
                </a:moveTo>
                <a:cubicBezTo>
                  <a:pt x="545" y="390"/>
                  <a:pt x="547" y="391"/>
                  <a:pt x="546" y="392"/>
                </a:cubicBezTo>
                <a:cubicBezTo>
                  <a:pt x="545" y="394"/>
                  <a:pt x="544" y="396"/>
                  <a:pt x="547" y="395"/>
                </a:cubicBezTo>
                <a:cubicBezTo>
                  <a:pt x="548" y="394"/>
                  <a:pt x="550" y="393"/>
                  <a:pt x="549" y="391"/>
                </a:cubicBezTo>
                <a:cubicBezTo>
                  <a:pt x="548" y="390"/>
                  <a:pt x="546" y="387"/>
                  <a:pt x="545" y="390"/>
                </a:cubicBezTo>
                <a:cubicBezTo>
                  <a:pt x="546" y="389"/>
                  <a:pt x="546" y="389"/>
                  <a:pt x="546" y="389"/>
                </a:cubicBezTo>
                <a:cubicBezTo>
                  <a:pt x="545" y="390"/>
                  <a:pt x="546" y="389"/>
                  <a:pt x="546" y="389"/>
                </a:cubicBezTo>
                <a:close/>
                <a:moveTo>
                  <a:pt x="567" y="367"/>
                </a:moveTo>
                <a:cubicBezTo>
                  <a:pt x="565" y="367"/>
                  <a:pt x="564" y="366"/>
                  <a:pt x="563" y="368"/>
                </a:cubicBezTo>
                <a:cubicBezTo>
                  <a:pt x="562" y="369"/>
                  <a:pt x="562" y="371"/>
                  <a:pt x="563" y="372"/>
                </a:cubicBezTo>
                <a:cubicBezTo>
                  <a:pt x="564" y="374"/>
                  <a:pt x="565" y="376"/>
                  <a:pt x="565" y="378"/>
                </a:cubicBezTo>
                <a:cubicBezTo>
                  <a:pt x="565" y="379"/>
                  <a:pt x="566" y="381"/>
                  <a:pt x="567" y="382"/>
                </a:cubicBezTo>
                <a:cubicBezTo>
                  <a:pt x="569" y="382"/>
                  <a:pt x="571" y="382"/>
                  <a:pt x="571" y="384"/>
                </a:cubicBezTo>
                <a:cubicBezTo>
                  <a:pt x="571" y="386"/>
                  <a:pt x="569" y="387"/>
                  <a:pt x="568" y="388"/>
                </a:cubicBezTo>
                <a:cubicBezTo>
                  <a:pt x="567" y="389"/>
                  <a:pt x="565" y="391"/>
                  <a:pt x="566" y="392"/>
                </a:cubicBezTo>
                <a:cubicBezTo>
                  <a:pt x="567" y="393"/>
                  <a:pt x="570" y="392"/>
                  <a:pt x="571" y="392"/>
                </a:cubicBezTo>
                <a:cubicBezTo>
                  <a:pt x="572" y="391"/>
                  <a:pt x="573" y="390"/>
                  <a:pt x="573" y="388"/>
                </a:cubicBezTo>
                <a:cubicBezTo>
                  <a:pt x="573" y="386"/>
                  <a:pt x="574" y="386"/>
                  <a:pt x="576" y="385"/>
                </a:cubicBezTo>
                <a:cubicBezTo>
                  <a:pt x="577" y="384"/>
                  <a:pt x="577" y="382"/>
                  <a:pt x="577" y="381"/>
                </a:cubicBezTo>
                <a:cubicBezTo>
                  <a:pt x="576" y="379"/>
                  <a:pt x="575" y="378"/>
                  <a:pt x="573" y="377"/>
                </a:cubicBezTo>
                <a:cubicBezTo>
                  <a:pt x="572" y="377"/>
                  <a:pt x="570" y="376"/>
                  <a:pt x="570" y="375"/>
                </a:cubicBezTo>
                <a:cubicBezTo>
                  <a:pt x="570" y="373"/>
                  <a:pt x="570" y="371"/>
                  <a:pt x="571" y="370"/>
                </a:cubicBezTo>
                <a:cubicBezTo>
                  <a:pt x="572" y="366"/>
                  <a:pt x="568" y="368"/>
                  <a:pt x="565" y="367"/>
                </a:cubicBezTo>
                <a:cubicBezTo>
                  <a:pt x="566" y="367"/>
                  <a:pt x="566" y="367"/>
                  <a:pt x="567" y="367"/>
                </a:cubicBezTo>
                <a:cubicBezTo>
                  <a:pt x="566" y="367"/>
                  <a:pt x="567" y="367"/>
                  <a:pt x="567" y="367"/>
                </a:cubicBezTo>
                <a:close/>
                <a:moveTo>
                  <a:pt x="587" y="412"/>
                </a:moveTo>
                <a:cubicBezTo>
                  <a:pt x="585" y="412"/>
                  <a:pt x="583" y="414"/>
                  <a:pt x="585" y="415"/>
                </a:cubicBezTo>
                <a:cubicBezTo>
                  <a:pt x="586" y="415"/>
                  <a:pt x="587" y="415"/>
                  <a:pt x="587" y="416"/>
                </a:cubicBezTo>
                <a:cubicBezTo>
                  <a:pt x="586" y="417"/>
                  <a:pt x="586" y="418"/>
                  <a:pt x="587" y="419"/>
                </a:cubicBezTo>
                <a:cubicBezTo>
                  <a:pt x="588" y="420"/>
                  <a:pt x="591" y="421"/>
                  <a:pt x="590" y="422"/>
                </a:cubicBezTo>
                <a:cubicBezTo>
                  <a:pt x="589" y="423"/>
                  <a:pt x="589" y="424"/>
                  <a:pt x="588" y="425"/>
                </a:cubicBezTo>
                <a:cubicBezTo>
                  <a:pt x="587" y="425"/>
                  <a:pt x="586" y="426"/>
                  <a:pt x="587" y="427"/>
                </a:cubicBezTo>
                <a:cubicBezTo>
                  <a:pt x="589" y="427"/>
                  <a:pt x="591" y="426"/>
                  <a:pt x="593" y="428"/>
                </a:cubicBezTo>
                <a:cubicBezTo>
                  <a:pt x="596" y="430"/>
                  <a:pt x="592" y="429"/>
                  <a:pt x="592" y="431"/>
                </a:cubicBezTo>
                <a:cubicBezTo>
                  <a:pt x="592" y="433"/>
                  <a:pt x="594" y="434"/>
                  <a:pt x="595" y="435"/>
                </a:cubicBezTo>
                <a:cubicBezTo>
                  <a:pt x="596" y="436"/>
                  <a:pt x="598" y="437"/>
                  <a:pt x="599" y="437"/>
                </a:cubicBezTo>
                <a:cubicBezTo>
                  <a:pt x="600" y="437"/>
                  <a:pt x="601" y="438"/>
                  <a:pt x="601" y="439"/>
                </a:cubicBezTo>
                <a:cubicBezTo>
                  <a:pt x="601" y="441"/>
                  <a:pt x="600" y="443"/>
                  <a:pt x="602" y="444"/>
                </a:cubicBezTo>
                <a:cubicBezTo>
                  <a:pt x="603" y="444"/>
                  <a:pt x="604" y="445"/>
                  <a:pt x="604" y="445"/>
                </a:cubicBezTo>
                <a:cubicBezTo>
                  <a:pt x="605" y="446"/>
                  <a:pt x="605" y="447"/>
                  <a:pt x="605" y="448"/>
                </a:cubicBezTo>
                <a:cubicBezTo>
                  <a:pt x="606" y="449"/>
                  <a:pt x="608" y="449"/>
                  <a:pt x="609" y="449"/>
                </a:cubicBezTo>
                <a:cubicBezTo>
                  <a:pt x="611" y="448"/>
                  <a:pt x="610" y="445"/>
                  <a:pt x="608" y="444"/>
                </a:cubicBezTo>
                <a:cubicBezTo>
                  <a:pt x="607" y="444"/>
                  <a:pt x="606" y="443"/>
                  <a:pt x="606" y="442"/>
                </a:cubicBezTo>
                <a:cubicBezTo>
                  <a:pt x="605" y="442"/>
                  <a:pt x="607" y="441"/>
                  <a:pt x="608" y="441"/>
                </a:cubicBezTo>
                <a:cubicBezTo>
                  <a:pt x="610" y="440"/>
                  <a:pt x="610" y="437"/>
                  <a:pt x="607" y="436"/>
                </a:cubicBezTo>
                <a:cubicBezTo>
                  <a:pt x="606" y="436"/>
                  <a:pt x="606" y="436"/>
                  <a:pt x="606" y="435"/>
                </a:cubicBezTo>
                <a:cubicBezTo>
                  <a:pt x="605" y="434"/>
                  <a:pt x="605" y="433"/>
                  <a:pt x="604" y="433"/>
                </a:cubicBezTo>
                <a:cubicBezTo>
                  <a:pt x="603" y="433"/>
                  <a:pt x="602" y="433"/>
                  <a:pt x="601" y="433"/>
                </a:cubicBezTo>
                <a:cubicBezTo>
                  <a:pt x="600" y="432"/>
                  <a:pt x="599" y="431"/>
                  <a:pt x="599" y="430"/>
                </a:cubicBezTo>
                <a:cubicBezTo>
                  <a:pt x="598" y="428"/>
                  <a:pt x="602" y="428"/>
                  <a:pt x="603" y="428"/>
                </a:cubicBezTo>
                <a:cubicBezTo>
                  <a:pt x="604" y="427"/>
                  <a:pt x="603" y="426"/>
                  <a:pt x="603" y="425"/>
                </a:cubicBezTo>
                <a:cubicBezTo>
                  <a:pt x="602" y="424"/>
                  <a:pt x="600" y="423"/>
                  <a:pt x="599" y="421"/>
                </a:cubicBezTo>
                <a:cubicBezTo>
                  <a:pt x="598" y="420"/>
                  <a:pt x="597" y="418"/>
                  <a:pt x="595" y="418"/>
                </a:cubicBezTo>
                <a:cubicBezTo>
                  <a:pt x="594" y="418"/>
                  <a:pt x="592" y="418"/>
                  <a:pt x="591" y="416"/>
                </a:cubicBezTo>
                <a:cubicBezTo>
                  <a:pt x="590" y="415"/>
                  <a:pt x="591" y="413"/>
                  <a:pt x="589" y="412"/>
                </a:cubicBezTo>
                <a:cubicBezTo>
                  <a:pt x="588" y="412"/>
                  <a:pt x="587" y="412"/>
                  <a:pt x="585" y="412"/>
                </a:cubicBezTo>
                <a:cubicBezTo>
                  <a:pt x="586" y="412"/>
                  <a:pt x="586" y="412"/>
                  <a:pt x="587" y="412"/>
                </a:cubicBezTo>
                <a:cubicBezTo>
                  <a:pt x="586" y="412"/>
                  <a:pt x="587" y="412"/>
                  <a:pt x="587" y="412"/>
                </a:cubicBezTo>
                <a:close/>
                <a:moveTo>
                  <a:pt x="587" y="437"/>
                </a:moveTo>
                <a:cubicBezTo>
                  <a:pt x="586" y="439"/>
                  <a:pt x="588" y="439"/>
                  <a:pt x="589" y="440"/>
                </a:cubicBezTo>
                <a:cubicBezTo>
                  <a:pt x="590" y="441"/>
                  <a:pt x="590" y="443"/>
                  <a:pt x="591" y="444"/>
                </a:cubicBezTo>
                <a:cubicBezTo>
                  <a:pt x="592" y="445"/>
                  <a:pt x="594" y="446"/>
                  <a:pt x="595" y="448"/>
                </a:cubicBezTo>
                <a:cubicBezTo>
                  <a:pt x="595" y="448"/>
                  <a:pt x="596" y="451"/>
                  <a:pt x="597" y="450"/>
                </a:cubicBezTo>
                <a:cubicBezTo>
                  <a:pt x="598" y="450"/>
                  <a:pt x="596" y="447"/>
                  <a:pt x="596" y="446"/>
                </a:cubicBezTo>
                <a:cubicBezTo>
                  <a:pt x="595" y="444"/>
                  <a:pt x="593" y="443"/>
                  <a:pt x="593" y="441"/>
                </a:cubicBezTo>
                <a:cubicBezTo>
                  <a:pt x="593" y="439"/>
                  <a:pt x="592" y="438"/>
                  <a:pt x="590" y="437"/>
                </a:cubicBezTo>
                <a:cubicBezTo>
                  <a:pt x="589" y="436"/>
                  <a:pt x="587" y="435"/>
                  <a:pt x="586" y="437"/>
                </a:cubicBezTo>
                <a:cubicBezTo>
                  <a:pt x="586" y="437"/>
                  <a:pt x="586" y="437"/>
                  <a:pt x="587" y="437"/>
                </a:cubicBezTo>
                <a:cubicBezTo>
                  <a:pt x="586" y="438"/>
                  <a:pt x="587" y="437"/>
                  <a:pt x="587" y="437"/>
                </a:cubicBezTo>
                <a:close/>
                <a:moveTo>
                  <a:pt x="618" y="438"/>
                </a:moveTo>
                <a:cubicBezTo>
                  <a:pt x="615" y="439"/>
                  <a:pt x="617" y="441"/>
                  <a:pt x="618" y="442"/>
                </a:cubicBezTo>
                <a:cubicBezTo>
                  <a:pt x="618" y="443"/>
                  <a:pt x="619" y="445"/>
                  <a:pt x="619" y="445"/>
                </a:cubicBezTo>
                <a:cubicBezTo>
                  <a:pt x="620" y="445"/>
                  <a:pt x="621" y="444"/>
                  <a:pt x="621" y="443"/>
                </a:cubicBezTo>
                <a:cubicBezTo>
                  <a:pt x="621" y="442"/>
                  <a:pt x="620" y="440"/>
                  <a:pt x="620" y="439"/>
                </a:cubicBezTo>
                <a:cubicBezTo>
                  <a:pt x="619" y="437"/>
                  <a:pt x="618" y="438"/>
                  <a:pt x="617" y="438"/>
                </a:cubicBezTo>
                <a:cubicBezTo>
                  <a:pt x="617" y="438"/>
                  <a:pt x="617" y="438"/>
                  <a:pt x="618" y="438"/>
                </a:cubicBezTo>
                <a:cubicBezTo>
                  <a:pt x="616" y="439"/>
                  <a:pt x="618" y="438"/>
                  <a:pt x="618" y="438"/>
                </a:cubicBezTo>
                <a:close/>
                <a:moveTo>
                  <a:pt x="574" y="371"/>
                </a:moveTo>
                <a:cubicBezTo>
                  <a:pt x="574" y="372"/>
                  <a:pt x="573" y="373"/>
                  <a:pt x="574" y="374"/>
                </a:cubicBezTo>
                <a:cubicBezTo>
                  <a:pt x="574" y="374"/>
                  <a:pt x="575" y="375"/>
                  <a:pt x="576" y="376"/>
                </a:cubicBezTo>
                <a:cubicBezTo>
                  <a:pt x="577" y="376"/>
                  <a:pt x="578" y="378"/>
                  <a:pt x="579" y="378"/>
                </a:cubicBezTo>
                <a:cubicBezTo>
                  <a:pt x="579" y="378"/>
                  <a:pt x="580" y="378"/>
                  <a:pt x="580" y="377"/>
                </a:cubicBezTo>
                <a:cubicBezTo>
                  <a:pt x="580" y="376"/>
                  <a:pt x="579" y="375"/>
                  <a:pt x="578" y="374"/>
                </a:cubicBezTo>
                <a:cubicBezTo>
                  <a:pt x="577" y="373"/>
                  <a:pt x="578" y="372"/>
                  <a:pt x="576" y="371"/>
                </a:cubicBezTo>
                <a:cubicBezTo>
                  <a:pt x="575" y="371"/>
                  <a:pt x="575" y="371"/>
                  <a:pt x="574" y="372"/>
                </a:cubicBezTo>
                <a:cubicBezTo>
                  <a:pt x="574" y="371"/>
                  <a:pt x="574" y="371"/>
                  <a:pt x="574" y="371"/>
                </a:cubicBezTo>
                <a:cubicBezTo>
                  <a:pt x="574" y="372"/>
                  <a:pt x="574" y="371"/>
                  <a:pt x="574" y="371"/>
                </a:cubicBezTo>
                <a:close/>
                <a:moveTo>
                  <a:pt x="571" y="399"/>
                </a:moveTo>
                <a:cubicBezTo>
                  <a:pt x="569" y="400"/>
                  <a:pt x="568" y="401"/>
                  <a:pt x="570" y="402"/>
                </a:cubicBezTo>
                <a:cubicBezTo>
                  <a:pt x="571" y="402"/>
                  <a:pt x="572" y="403"/>
                  <a:pt x="572" y="403"/>
                </a:cubicBezTo>
                <a:cubicBezTo>
                  <a:pt x="573" y="404"/>
                  <a:pt x="574" y="405"/>
                  <a:pt x="574" y="406"/>
                </a:cubicBezTo>
                <a:cubicBezTo>
                  <a:pt x="576" y="408"/>
                  <a:pt x="575" y="410"/>
                  <a:pt x="575" y="412"/>
                </a:cubicBezTo>
                <a:cubicBezTo>
                  <a:pt x="575" y="413"/>
                  <a:pt x="576" y="414"/>
                  <a:pt x="576" y="413"/>
                </a:cubicBezTo>
                <a:cubicBezTo>
                  <a:pt x="577" y="412"/>
                  <a:pt x="577" y="411"/>
                  <a:pt x="577" y="410"/>
                </a:cubicBezTo>
                <a:cubicBezTo>
                  <a:pt x="577" y="408"/>
                  <a:pt x="576" y="405"/>
                  <a:pt x="578" y="404"/>
                </a:cubicBezTo>
                <a:cubicBezTo>
                  <a:pt x="579" y="404"/>
                  <a:pt x="579" y="404"/>
                  <a:pt x="580" y="403"/>
                </a:cubicBezTo>
                <a:cubicBezTo>
                  <a:pt x="580" y="403"/>
                  <a:pt x="580" y="401"/>
                  <a:pt x="579" y="401"/>
                </a:cubicBezTo>
                <a:cubicBezTo>
                  <a:pt x="579" y="401"/>
                  <a:pt x="578" y="402"/>
                  <a:pt x="577" y="402"/>
                </a:cubicBezTo>
                <a:cubicBezTo>
                  <a:pt x="577" y="402"/>
                  <a:pt x="576" y="401"/>
                  <a:pt x="575" y="400"/>
                </a:cubicBezTo>
                <a:cubicBezTo>
                  <a:pt x="574" y="399"/>
                  <a:pt x="572" y="398"/>
                  <a:pt x="571" y="399"/>
                </a:cubicBezTo>
                <a:cubicBezTo>
                  <a:pt x="571" y="399"/>
                  <a:pt x="571" y="399"/>
                  <a:pt x="571" y="399"/>
                </a:cubicBezTo>
                <a:cubicBezTo>
                  <a:pt x="570" y="399"/>
                  <a:pt x="571" y="399"/>
                  <a:pt x="571" y="399"/>
                </a:cubicBezTo>
                <a:close/>
                <a:moveTo>
                  <a:pt x="584" y="396"/>
                </a:moveTo>
                <a:cubicBezTo>
                  <a:pt x="582" y="396"/>
                  <a:pt x="579" y="395"/>
                  <a:pt x="581" y="397"/>
                </a:cubicBezTo>
                <a:cubicBezTo>
                  <a:pt x="582" y="398"/>
                  <a:pt x="584" y="400"/>
                  <a:pt x="583" y="402"/>
                </a:cubicBezTo>
                <a:cubicBezTo>
                  <a:pt x="582" y="403"/>
                  <a:pt x="582" y="406"/>
                  <a:pt x="584" y="407"/>
                </a:cubicBezTo>
                <a:cubicBezTo>
                  <a:pt x="586" y="407"/>
                  <a:pt x="588" y="407"/>
                  <a:pt x="589" y="405"/>
                </a:cubicBezTo>
                <a:cubicBezTo>
                  <a:pt x="590" y="403"/>
                  <a:pt x="586" y="402"/>
                  <a:pt x="586" y="400"/>
                </a:cubicBezTo>
                <a:cubicBezTo>
                  <a:pt x="587" y="397"/>
                  <a:pt x="590" y="402"/>
                  <a:pt x="591" y="402"/>
                </a:cubicBezTo>
                <a:cubicBezTo>
                  <a:pt x="593" y="401"/>
                  <a:pt x="592" y="398"/>
                  <a:pt x="590" y="397"/>
                </a:cubicBezTo>
                <a:cubicBezTo>
                  <a:pt x="588" y="396"/>
                  <a:pt x="585" y="397"/>
                  <a:pt x="583" y="396"/>
                </a:cubicBezTo>
                <a:cubicBezTo>
                  <a:pt x="583" y="396"/>
                  <a:pt x="583" y="396"/>
                  <a:pt x="584" y="396"/>
                </a:cubicBezTo>
                <a:cubicBezTo>
                  <a:pt x="583" y="396"/>
                  <a:pt x="584" y="396"/>
                  <a:pt x="584" y="396"/>
                </a:cubicBezTo>
                <a:close/>
                <a:moveTo>
                  <a:pt x="571" y="413"/>
                </a:moveTo>
                <a:cubicBezTo>
                  <a:pt x="571" y="414"/>
                  <a:pt x="572" y="415"/>
                  <a:pt x="572" y="416"/>
                </a:cubicBezTo>
                <a:cubicBezTo>
                  <a:pt x="572" y="417"/>
                  <a:pt x="572" y="418"/>
                  <a:pt x="572" y="419"/>
                </a:cubicBezTo>
                <a:cubicBezTo>
                  <a:pt x="572" y="421"/>
                  <a:pt x="573" y="418"/>
                  <a:pt x="573" y="417"/>
                </a:cubicBezTo>
                <a:cubicBezTo>
                  <a:pt x="573" y="416"/>
                  <a:pt x="573" y="415"/>
                  <a:pt x="573" y="414"/>
                </a:cubicBezTo>
                <a:cubicBezTo>
                  <a:pt x="573" y="413"/>
                  <a:pt x="573" y="412"/>
                  <a:pt x="573" y="411"/>
                </a:cubicBezTo>
                <a:cubicBezTo>
                  <a:pt x="572" y="410"/>
                  <a:pt x="571" y="410"/>
                  <a:pt x="571" y="411"/>
                </a:cubicBezTo>
                <a:cubicBezTo>
                  <a:pt x="571" y="412"/>
                  <a:pt x="571" y="413"/>
                  <a:pt x="571" y="413"/>
                </a:cubicBezTo>
                <a:cubicBezTo>
                  <a:pt x="571" y="413"/>
                  <a:pt x="571" y="413"/>
                  <a:pt x="571" y="413"/>
                </a:cubicBezTo>
                <a:cubicBezTo>
                  <a:pt x="571" y="413"/>
                  <a:pt x="571" y="413"/>
                  <a:pt x="571" y="413"/>
                </a:cubicBezTo>
                <a:close/>
                <a:moveTo>
                  <a:pt x="596" y="404"/>
                </a:moveTo>
                <a:cubicBezTo>
                  <a:pt x="596" y="405"/>
                  <a:pt x="593" y="406"/>
                  <a:pt x="595" y="407"/>
                </a:cubicBezTo>
                <a:cubicBezTo>
                  <a:pt x="597" y="408"/>
                  <a:pt x="598" y="407"/>
                  <a:pt x="599" y="406"/>
                </a:cubicBezTo>
                <a:cubicBezTo>
                  <a:pt x="600" y="405"/>
                  <a:pt x="598" y="403"/>
                  <a:pt x="597" y="403"/>
                </a:cubicBezTo>
                <a:cubicBezTo>
                  <a:pt x="596" y="402"/>
                  <a:pt x="596" y="404"/>
                  <a:pt x="596" y="405"/>
                </a:cubicBezTo>
                <a:cubicBezTo>
                  <a:pt x="596" y="404"/>
                  <a:pt x="596" y="404"/>
                  <a:pt x="596" y="404"/>
                </a:cubicBezTo>
                <a:cubicBezTo>
                  <a:pt x="596" y="404"/>
                  <a:pt x="596" y="404"/>
                  <a:pt x="596" y="404"/>
                </a:cubicBezTo>
                <a:close/>
                <a:moveTo>
                  <a:pt x="602" y="414"/>
                </a:moveTo>
                <a:cubicBezTo>
                  <a:pt x="601" y="414"/>
                  <a:pt x="600" y="415"/>
                  <a:pt x="600" y="416"/>
                </a:cubicBezTo>
                <a:cubicBezTo>
                  <a:pt x="599" y="417"/>
                  <a:pt x="601" y="417"/>
                  <a:pt x="602" y="418"/>
                </a:cubicBezTo>
                <a:cubicBezTo>
                  <a:pt x="602" y="418"/>
                  <a:pt x="606" y="421"/>
                  <a:pt x="606" y="420"/>
                </a:cubicBezTo>
                <a:cubicBezTo>
                  <a:pt x="606" y="419"/>
                  <a:pt x="605" y="418"/>
                  <a:pt x="604" y="417"/>
                </a:cubicBezTo>
                <a:cubicBezTo>
                  <a:pt x="603" y="415"/>
                  <a:pt x="602" y="413"/>
                  <a:pt x="601" y="414"/>
                </a:cubicBezTo>
                <a:cubicBezTo>
                  <a:pt x="601" y="414"/>
                  <a:pt x="601" y="414"/>
                  <a:pt x="602" y="414"/>
                </a:cubicBezTo>
                <a:cubicBezTo>
                  <a:pt x="601" y="414"/>
                  <a:pt x="602" y="414"/>
                  <a:pt x="602" y="414"/>
                </a:cubicBezTo>
                <a:close/>
                <a:moveTo>
                  <a:pt x="605" y="412"/>
                </a:moveTo>
                <a:cubicBezTo>
                  <a:pt x="605" y="413"/>
                  <a:pt x="606" y="414"/>
                  <a:pt x="607" y="415"/>
                </a:cubicBezTo>
                <a:cubicBezTo>
                  <a:pt x="608" y="415"/>
                  <a:pt x="610" y="415"/>
                  <a:pt x="609" y="414"/>
                </a:cubicBezTo>
                <a:cubicBezTo>
                  <a:pt x="609" y="414"/>
                  <a:pt x="608" y="414"/>
                  <a:pt x="608" y="413"/>
                </a:cubicBezTo>
                <a:cubicBezTo>
                  <a:pt x="608" y="413"/>
                  <a:pt x="608" y="412"/>
                  <a:pt x="607" y="412"/>
                </a:cubicBezTo>
                <a:cubicBezTo>
                  <a:pt x="607" y="412"/>
                  <a:pt x="606" y="411"/>
                  <a:pt x="605" y="412"/>
                </a:cubicBezTo>
                <a:cubicBezTo>
                  <a:pt x="605" y="412"/>
                  <a:pt x="605" y="412"/>
                  <a:pt x="605" y="412"/>
                </a:cubicBezTo>
                <a:cubicBezTo>
                  <a:pt x="605" y="413"/>
                  <a:pt x="605" y="412"/>
                  <a:pt x="605" y="412"/>
                </a:cubicBezTo>
                <a:close/>
                <a:moveTo>
                  <a:pt x="594" y="411"/>
                </a:moveTo>
                <a:cubicBezTo>
                  <a:pt x="593" y="411"/>
                  <a:pt x="594" y="412"/>
                  <a:pt x="594" y="413"/>
                </a:cubicBezTo>
                <a:cubicBezTo>
                  <a:pt x="595" y="414"/>
                  <a:pt x="596" y="414"/>
                  <a:pt x="597" y="413"/>
                </a:cubicBezTo>
                <a:cubicBezTo>
                  <a:pt x="598" y="412"/>
                  <a:pt x="597" y="411"/>
                  <a:pt x="596" y="411"/>
                </a:cubicBezTo>
                <a:cubicBezTo>
                  <a:pt x="596" y="411"/>
                  <a:pt x="595" y="410"/>
                  <a:pt x="594" y="410"/>
                </a:cubicBezTo>
                <a:cubicBezTo>
                  <a:pt x="594" y="410"/>
                  <a:pt x="593" y="411"/>
                  <a:pt x="594" y="411"/>
                </a:cubicBezTo>
                <a:cubicBezTo>
                  <a:pt x="593" y="411"/>
                  <a:pt x="594" y="411"/>
                  <a:pt x="594" y="411"/>
                </a:cubicBezTo>
                <a:close/>
                <a:moveTo>
                  <a:pt x="581" y="418"/>
                </a:moveTo>
                <a:cubicBezTo>
                  <a:pt x="581" y="419"/>
                  <a:pt x="578" y="421"/>
                  <a:pt x="579" y="421"/>
                </a:cubicBezTo>
                <a:cubicBezTo>
                  <a:pt x="580" y="422"/>
                  <a:pt x="581" y="421"/>
                  <a:pt x="582" y="421"/>
                </a:cubicBezTo>
                <a:cubicBezTo>
                  <a:pt x="583" y="420"/>
                  <a:pt x="585" y="420"/>
                  <a:pt x="584" y="418"/>
                </a:cubicBezTo>
                <a:cubicBezTo>
                  <a:pt x="583" y="417"/>
                  <a:pt x="581" y="417"/>
                  <a:pt x="581" y="419"/>
                </a:cubicBezTo>
                <a:cubicBezTo>
                  <a:pt x="581" y="419"/>
                  <a:pt x="581" y="418"/>
                  <a:pt x="581" y="418"/>
                </a:cubicBezTo>
                <a:cubicBezTo>
                  <a:pt x="581" y="419"/>
                  <a:pt x="581" y="418"/>
                  <a:pt x="581" y="418"/>
                </a:cubicBezTo>
                <a:close/>
                <a:moveTo>
                  <a:pt x="608" y="425"/>
                </a:moveTo>
                <a:cubicBezTo>
                  <a:pt x="608" y="425"/>
                  <a:pt x="607" y="425"/>
                  <a:pt x="607" y="426"/>
                </a:cubicBezTo>
                <a:cubicBezTo>
                  <a:pt x="607" y="426"/>
                  <a:pt x="607" y="427"/>
                  <a:pt x="607" y="428"/>
                </a:cubicBezTo>
                <a:cubicBezTo>
                  <a:pt x="607" y="430"/>
                  <a:pt x="608" y="430"/>
                  <a:pt x="610" y="429"/>
                </a:cubicBezTo>
                <a:cubicBezTo>
                  <a:pt x="611" y="428"/>
                  <a:pt x="613" y="426"/>
                  <a:pt x="611" y="425"/>
                </a:cubicBezTo>
                <a:cubicBezTo>
                  <a:pt x="611" y="424"/>
                  <a:pt x="609" y="424"/>
                  <a:pt x="608" y="425"/>
                </a:cubicBezTo>
                <a:cubicBezTo>
                  <a:pt x="608" y="425"/>
                  <a:pt x="608" y="425"/>
                  <a:pt x="608" y="425"/>
                </a:cubicBezTo>
                <a:cubicBezTo>
                  <a:pt x="608" y="425"/>
                  <a:pt x="608" y="425"/>
                  <a:pt x="608" y="425"/>
                </a:cubicBezTo>
                <a:close/>
                <a:moveTo>
                  <a:pt x="619" y="423"/>
                </a:moveTo>
                <a:cubicBezTo>
                  <a:pt x="617" y="425"/>
                  <a:pt x="617" y="427"/>
                  <a:pt x="616" y="429"/>
                </a:cubicBezTo>
                <a:cubicBezTo>
                  <a:pt x="615" y="430"/>
                  <a:pt x="613" y="433"/>
                  <a:pt x="614" y="434"/>
                </a:cubicBezTo>
                <a:cubicBezTo>
                  <a:pt x="615" y="435"/>
                  <a:pt x="616" y="434"/>
                  <a:pt x="617" y="433"/>
                </a:cubicBezTo>
                <a:cubicBezTo>
                  <a:pt x="618" y="432"/>
                  <a:pt x="618" y="432"/>
                  <a:pt x="619" y="430"/>
                </a:cubicBezTo>
                <a:cubicBezTo>
                  <a:pt x="619" y="430"/>
                  <a:pt x="620" y="429"/>
                  <a:pt x="621" y="429"/>
                </a:cubicBezTo>
                <a:cubicBezTo>
                  <a:pt x="622" y="429"/>
                  <a:pt x="621" y="431"/>
                  <a:pt x="621" y="432"/>
                </a:cubicBezTo>
                <a:cubicBezTo>
                  <a:pt x="621" y="433"/>
                  <a:pt x="622" y="434"/>
                  <a:pt x="623" y="434"/>
                </a:cubicBezTo>
                <a:cubicBezTo>
                  <a:pt x="623" y="435"/>
                  <a:pt x="624" y="435"/>
                  <a:pt x="625" y="435"/>
                </a:cubicBezTo>
                <a:cubicBezTo>
                  <a:pt x="626" y="434"/>
                  <a:pt x="626" y="433"/>
                  <a:pt x="625" y="432"/>
                </a:cubicBezTo>
                <a:cubicBezTo>
                  <a:pt x="625" y="431"/>
                  <a:pt x="626" y="430"/>
                  <a:pt x="626" y="429"/>
                </a:cubicBezTo>
                <a:cubicBezTo>
                  <a:pt x="627" y="426"/>
                  <a:pt x="624" y="427"/>
                  <a:pt x="623" y="424"/>
                </a:cubicBezTo>
                <a:cubicBezTo>
                  <a:pt x="622" y="422"/>
                  <a:pt x="620" y="423"/>
                  <a:pt x="618" y="424"/>
                </a:cubicBezTo>
                <a:cubicBezTo>
                  <a:pt x="619" y="424"/>
                  <a:pt x="619" y="424"/>
                  <a:pt x="619" y="423"/>
                </a:cubicBezTo>
                <a:cubicBezTo>
                  <a:pt x="617" y="425"/>
                  <a:pt x="619" y="423"/>
                  <a:pt x="619" y="423"/>
                </a:cubicBezTo>
                <a:close/>
              </a:path>
            </a:pathLst>
          </a:custGeom>
          <a:solidFill>
            <a:srgbClr val="CC0000"/>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31" name="Freeform 155">
            <a:extLst>
              <a:ext uri="{FF2B5EF4-FFF2-40B4-BE49-F238E27FC236}">
                <a16:creationId xmlns:a16="http://schemas.microsoft.com/office/drawing/2014/main" id="{6B3D5A6D-7D4A-D55B-7D76-7564D18D33D4}"/>
              </a:ext>
            </a:extLst>
          </p:cNvPr>
          <p:cNvSpPr/>
          <p:nvPr>
            <p:custDataLst>
              <p:tags r:id="rId13"/>
            </p:custDataLst>
          </p:nvPr>
        </p:nvSpPr>
        <p:spPr bwMode="auto">
          <a:xfrm>
            <a:off x="6835773" y="3333842"/>
            <a:ext cx="5006" cy="6006"/>
          </a:xfrm>
          <a:custGeom>
            <a:avLst/>
            <a:gdLst>
              <a:gd name="T0" fmla="*/ 2 w 4"/>
              <a:gd name="T1" fmla="*/ 2 h 5"/>
              <a:gd name="T2" fmla="*/ 1 w 4"/>
              <a:gd name="T3" fmla="*/ 4 h 5"/>
              <a:gd name="T4" fmla="*/ 3 w 4"/>
              <a:gd name="T5" fmla="*/ 4 h 5"/>
              <a:gd name="T6" fmla="*/ 2 w 4"/>
              <a:gd name="T7" fmla="*/ 3 h 5"/>
              <a:gd name="T8" fmla="*/ 2 w 4"/>
              <a:gd name="T9" fmla="*/ 2 h 5"/>
              <a:gd name="T10" fmla="*/ 2 w 4"/>
              <a:gd name="T11" fmla="*/ 2 h 5"/>
            </a:gdLst>
            <a:ahLst/>
            <a:cxnLst>
              <a:cxn ang="0">
                <a:pos x="T0" y="T1"/>
              </a:cxn>
              <a:cxn ang="0">
                <a:pos x="T2" y="T3"/>
              </a:cxn>
              <a:cxn ang="0">
                <a:pos x="T4" y="T5"/>
              </a:cxn>
              <a:cxn ang="0">
                <a:pos x="T6" y="T7"/>
              </a:cxn>
              <a:cxn ang="0">
                <a:pos x="T8" y="T9"/>
              </a:cxn>
              <a:cxn ang="0">
                <a:pos x="T10" y="T11"/>
              </a:cxn>
            </a:cxnLst>
            <a:rect l="0" t="0" r="r" b="b"/>
            <a:pathLst>
              <a:path w="4" h="5">
                <a:moveTo>
                  <a:pt x="2" y="2"/>
                </a:moveTo>
                <a:cubicBezTo>
                  <a:pt x="2" y="3"/>
                  <a:pt x="0" y="3"/>
                  <a:pt x="1" y="4"/>
                </a:cubicBezTo>
                <a:cubicBezTo>
                  <a:pt x="1" y="5"/>
                  <a:pt x="2" y="4"/>
                  <a:pt x="3" y="4"/>
                </a:cubicBezTo>
                <a:cubicBezTo>
                  <a:pt x="4" y="2"/>
                  <a:pt x="2" y="0"/>
                  <a:pt x="2" y="3"/>
                </a:cubicBezTo>
                <a:cubicBezTo>
                  <a:pt x="2" y="2"/>
                  <a:pt x="2" y="2"/>
                  <a:pt x="2" y="2"/>
                </a:cubicBezTo>
                <a:cubicBezTo>
                  <a:pt x="2" y="3"/>
                  <a:pt x="2" y="2"/>
                  <a:pt x="2" y="2"/>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32" name="Freeform 165">
            <a:extLst>
              <a:ext uri="{FF2B5EF4-FFF2-40B4-BE49-F238E27FC236}">
                <a16:creationId xmlns:a16="http://schemas.microsoft.com/office/drawing/2014/main" id="{E5EC4139-A23B-7AF0-4346-0A801707E19F}"/>
              </a:ext>
            </a:extLst>
          </p:cNvPr>
          <p:cNvSpPr/>
          <p:nvPr>
            <p:custDataLst>
              <p:tags r:id="rId14"/>
            </p:custDataLst>
          </p:nvPr>
        </p:nvSpPr>
        <p:spPr bwMode="auto">
          <a:xfrm>
            <a:off x="6838776" y="3342851"/>
            <a:ext cx="4004" cy="4004"/>
          </a:xfrm>
          <a:custGeom>
            <a:avLst/>
            <a:gdLst>
              <a:gd name="T0" fmla="*/ 1 w 3"/>
              <a:gd name="T1" fmla="*/ 0 h 3"/>
              <a:gd name="T2" fmla="*/ 0 w 3"/>
              <a:gd name="T3" fmla="*/ 2 h 3"/>
              <a:gd name="T4" fmla="*/ 2 w 3"/>
              <a:gd name="T5" fmla="*/ 2 h 3"/>
              <a:gd name="T6" fmla="*/ 2 w 3"/>
              <a:gd name="T7" fmla="*/ 0 h 3"/>
              <a:gd name="T8" fmla="*/ 1 w 3"/>
              <a:gd name="T9" fmla="*/ 1 h 3"/>
              <a:gd name="T10" fmla="*/ 1 w 3"/>
              <a:gd name="T11" fmla="*/ 0 h 3"/>
              <a:gd name="T12" fmla="*/ 1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1" y="0"/>
                </a:moveTo>
                <a:cubicBezTo>
                  <a:pt x="1" y="1"/>
                  <a:pt x="0" y="1"/>
                  <a:pt x="0" y="2"/>
                </a:cubicBezTo>
                <a:cubicBezTo>
                  <a:pt x="0" y="3"/>
                  <a:pt x="1" y="2"/>
                  <a:pt x="2" y="2"/>
                </a:cubicBezTo>
                <a:cubicBezTo>
                  <a:pt x="2" y="1"/>
                  <a:pt x="3" y="0"/>
                  <a:pt x="2" y="0"/>
                </a:cubicBezTo>
                <a:cubicBezTo>
                  <a:pt x="2" y="0"/>
                  <a:pt x="1" y="0"/>
                  <a:pt x="1" y="1"/>
                </a:cubicBezTo>
                <a:cubicBezTo>
                  <a:pt x="1" y="0"/>
                  <a:pt x="1" y="0"/>
                  <a:pt x="1" y="0"/>
                </a:cubicBezTo>
                <a:cubicBezTo>
                  <a:pt x="1" y="1"/>
                  <a:pt x="1" y="0"/>
                  <a:pt x="1" y="0"/>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33" name="Freeform 168">
            <a:extLst>
              <a:ext uri="{FF2B5EF4-FFF2-40B4-BE49-F238E27FC236}">
                <a16:creationId xmlns:a16="http://schemas.microsoft.com/office/drawing/2014/main" id="{C209D279-DF4E-DE16-AEF3-A07D3AE22B47}"/>
              </a:ext>
            </a:extLst>
          </p:cNvPr>
          <p:cNvSpPr/>
          <p:nvPr>
            <p:custDataLst>
              <p:tags r:id="rId15"/>
            </p:custDataLst>
          </p:nvPr>
        </p:nvSpPr>
        <p:spPr bwMode="auto">
          <a:xfrm>
            <a:off x="6802737" y="3242742"/>
            <a:ext cx="40044" cy="72079"/>
          </a:xfrm>
          <a:custGeom>
            <a:avLst/>
            <a:gdLst>
              <a:gd name="T0" fmla="*/ 0 w 34"/>
              <a:gd name="T1" fmla="*/ 39 h 62"/>
              <a:gd name="T2" fmla="*/ 4 w 34"/>
              <a:gd name="T3" fmla="*/ 47 h 62"/>
              <a:gd name="T4" fmla="*/ 6 w 34"/>
              <a:gd name="T5" fmla="*/ 51 h 62"/>
              <a:gd name="T6" fmla="*/ 8 w 34"/>
              <a:gd name="T7" fmla="*/ 54 h 62"/>
              <a:gd name="T8" fmla="*/ 11 w 34"/>
              <a:gd name="T9" fmla="*/ 60 h 62"/>
              <a:gd name="T10" fmla="*/ 13 w 34"/>
              <a:gd name="T11" fmla="*/ 59 h 62"/>
              <a:gd name="T12" fmla="*/ 13 w 34"/>
              <a:gd name="T13" fmla="*/ 55 h 62"/>
              <a:gd name="T14" fmla="*/ 17 w 34"/>
              <a:gd name="T15" fmla="*/ 48 h 62"/>
              <a:gd name="T16" fmla="*/ 20 w 34"/>
              <a:gd name="T17" fmla="*/ 41 h 62"/>
              <a:gd name="T18" fmla="*/ 24 w 34"/>
              <a:gd name="T19" fmla="*/ 33 h 62"/>
              <a:gd name="T20" fmla="*/ 26 w 34"/>
              <a:gd name="T21" fmla="*/ 26 h 62"/>
              <a:gd name="T22" fmla="*/ 28 w 34"/>
              <a:gd name="T23" fmla="*/ 22 h 62"/>
              <a:gd name="T24" fmla="*/ 29 w 34"/>
              <a:gd name="T25" fmla="*/ 17 h 62"/>
              <a:gd name="T26" fmla="*/ 30 w 34"/>
              <a:gd name="T27" fmla="*/ 13 h 62"/>
              <a:gd name="T28" fmla="*/ 30 w 34"/>
              <a:gd name="T29" fmla="*/ 10 h 62"/>
              <a:gd name="T30" fmla="*/ 31 w 34"/>
              <a:gd name="T31" fmla="*/ 4 h 62"/>
              <a:gd name="T32" fmla="*/ 28 w 34"/>
              <a:gd name="T33" fmla="*/ 2 h 62"/>
              <a:gd name="T34" fmla="*/ 25 w 34"/>
              <a:gd name="T35" fmla="*/ 0 h 62"/>
              <a:gd name="T36" fmla="*/ 22 w 34"/>
              <a:gd name="T37" fmla="*/ 2 h 62"/>
              <a:gd name="T38" fmla="*/ 19 w 34"/>
              <a:gd name="T39" fmla="*/ 4 h 62"/>
              <a:gd name="T40" fmla="*/ 14 w 34"/>
              <a:gd name="T41" fmla="*/ 9 h 62"/>
              <a:gd name="T42" fmla="*/ 9 w 34"/>
              <a:gd name="T43" fmla="*/ 15 h 62"/>
              <a:gd name="T44" fmla="*/ 6 w 34"/>
              <a:gd name="T45" fmla="*/ 21 h 62"/>
              <a:gd name="T46" fmla="*/ 4 w 34"/>
              <a:gd name="T47" fmla="*/ 24 h 62"/>
              <a:gd name="T48" fmla="*/ 2 w 34"/>
              <a:gd name="T49" fmla="*/ 27 h 62"/>
              <a:gd name="T50" fmla="*/ 1 w 34"/>
              <a:gd name="T51" fmla="*/ 31 h 62"/>
              <a:gd name="T52" fmla="*/ 1 w 34"/>
              <a:gd name="T53" fmla="*/ 34 h 62"/>
              <a:gd name="T54" fmla="*/ 0 w 34"/>
              <a:gd name="T55" fmla="*/ 38 h 62"/>
              <a:gd name="T56" fmla="*/ 1 w 34"/>
              <a:gd name="T57" fmla="*/ 40 h 62"/>
              <a:gd name="T58" fmla="*/ 0 w 34"/>
              <a:gd name="T59" fmla="*/ 39 h 62"/>
              <a:gd name="T60" fmla="*/ 0 w 34"/>
              <a:gd name="T61" fmla="*/ 3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 h="62">
                <a:moveTo>
                  <a:pt x="0" y="39"/>
                </a:moveTo>
                <a:cubicBezTo>
                  <a:pt x="1" y="42"/>
                  <a:pt x="3" y="44"/>
                  <a:pt x="4" y="47"/>
                </a:cubicBezTo>
                <a:cubicBezTo>
                  <a:pt x="5" y="48"/>
                  <a:pt x="5" y="49"/>
                  <a:pt x="6" y="51"/>
                </a:cubicBezTo>
                <a:cubicBezTo>
                  <a:pt x="6" y="52"/>
                  <a:pt x="8" y="53"/>
                  <a:pt x="8" y="54"/>
                </a:cubicBezTo>
                <a:cubicBezTo>
                  <a:pt x="9" y="56"/>
                  <a:pt x="10" y="59"/>
                  <a:pt x="11" y="60"/>
                </a:cubicBezTo>
                <a:cubicBezTo>
                  <a:pt x="12" y="62"/>
                  <a:pt x="12" y="60"/>
                  <a:pt x="13" y="59"/>
                </a:cubicBezTo>
                <a:cubicBezTo>
                  <a:pt x="13" y="58"/>
                  <a:pt x="13" y="56"/>
                  <a:pt x="13" y="55"/>
                </a:cubicBezTo>
                <a:cubicBezTo>
                  <a:pt x="13" y="53"/>
                  <a:pt x="16" y="50"/>
                  <a:pt x="17" y="48"/>
                </a:cubicBezTo>
                <a:cubicBezTo>
                  <a:pt x="18" y="46"/>
                  <a:pt x="19" y="43"/>
                  <a:pt x="20" y="41"/>
                </a:cubicBezTo>
                <a:cubicBezTo>
                  <a:pt x="21" y="38"/>
                  <a:pt x="23" y="36"/>
                  <a:pt x="24" y="33"/>
                </a:cubicBezTo>
                <a:cubicBezTo>
                  <a:pt x="25" y="31"/>
                  <a:pt x="26" y="28"/>
                  <a:pt x="26" y="26"/>
                </a:cubicBezTo>
                <a:cubicBezTo>
                  <a:pt x="26" y="24"/>
                  <a:pt x="27" y="23"/>
                  <a:pt x="28" y="22"/>
                </a:cubicBezTo>
                <a:cubicBezTo>
                  <a:pt x="28" y="20"/>
                  <a:pt x="28" y="19"/>
                  <a:pt x="29" y="17"/>
                </a:cubicBezTo>
                <a:cubicBezTo>
                  <a:pt x="29" y="16"/>
                  <a:pt x="30" y="15"/>
                  <a:pt x="30" y="13"/>
                </a:cubicBezTo>
                <a:cubicBezTo>
                  <a:pt x="30" y="12"/>
                  <a:pt x="30" y="11"/>
                  <a:pt x="30" y="10"/>
                </a:cubicBezTo>
                <a:cubicBezTo>
                  <a:pt x="31" y="8"/>
                  <a:pt x="34" y="5"/>
                  <a:pt x="31" y="4"/>
                </a:cubicBezTo>
                <a:cubicBezTo>
                  <a:pt x="30" y="4"/>
                  <a:pt x="29" y="3"/>
                  <a:pt x="28" y="2"/>
                </a:cubicBezTo>
                <a:cubicBezTo>
                  <a:pt x="27" y="1"/>
                  <a:pt x="26" y="0"/>
                  <a:pt x="25" y="0"/>
                </a:cubicBezTo>
                <a:cubicBezTo>
                  <a:pt x="24" y="0"/>
                  <a:pt x="23" y="1"/>
                  <a:pt x="22" y="2"/>
                </a:cubicBezTo>
                <a:cubicBezTo>
                  <a:pt x="21" y="3"/>
                  <a:pt x="20" y="4"/>
                  <a:pt x="19" y="4"/>
                </a:cubicBezTo>
                <a:cubicBezTo>
                  <a:pt x="16" y="5"/>
                  <a:pt x="15" y="6"/>
                  <a:pt x="14" y="9"/>
                </a:cubicBezTo>
                <a:cubicBezTo>
                  <a:pt x="13" y="11"/>
                  <a:pt x="11" y="13"/>
                  <a:pt x="9" y="15"/>
                </a:cubicBezTo>
                <a:cubicBezTo>
                  <a:pt x="8" y="16"/>
                  <a:pt x="6" y="19"/>
                  <a:pt x="6" y="21"/>
                </a:cubicBezTo>
                <a:cubicBezTo>
                  <a:pt x="5" y="22"/>
                  <a:pt x="5" y="23"/>
                  <a:pt x="4" y="24"/>
                </a:cubicBezTo>
                <a:cubicBezTo>
                  <a:pt x="4" y="25"/>
                  <a:pt x="3" y="26"/>
                  <a:pt x="2" y="27"/>
                </a:cubicBezTo>
                <a:cubicBezTo>
                  <a:pt x="2" y="28"/>
                  <a:pt x="1" y="29"/>
                  <a:pt x="1" y="31"/>
                </a:cubicBezTo>
                <a:cubicBezTo>
                  <a:pt x="1" y="32"/>
                  <a:pt x="1" y="33"/>
                  <a:pt x="1" y="34"/>
                </a:cubicBezTo>
                <a:cubicBezTo>
                  <a:pt x="1" y="36"/>
                  <a:pt x="0" y="37"/>
                  <a:pt x="0" y="38"/>
                </a:cubicBezTo>
                <a:cubicBezTo>
                  <a:pt x="0" y="39"/>
                  <a:pt x="1" y="39"/>
                  <a:pt x="1" y="40"/>
                </a:cubicBezTo>
                <a:cubicBezTo>
                  <a:pt x="1" y="40"/>
                  <a:pt x="1" y="39"/>
                  <a:pt x="0" y="39"/>
                </a:cubicBezTo>
                <a:cubicBezTo>
                  <a:pt x="1" y="42"/>
                  <a:pt x="0" y="39"/>
                  <a:pt x="0" y="39"/>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34" name="Freeform 175">
            <a:extLst>
              <a:ext uri="{FF2B5EF4-FFF2-40B4-BE49-F238E27FC236}">
                <a16:creationId xmlns:a16="http://schemas.microsoft.com/office/drawing/2014/main" id="{F6937D1A-905C-154F-75AF-9D517F4DDCF7}"/>
              </a:ext>
            </a:extLst>
          </p:cNvPr>
          <p:cNvSpPr/>
          <p:nvPr>
            <p:custDataLst>
              <p:tags r:id="rId16"/>
            </p:custDataLst>
          </p:nvPr>
        </p:nvSpPr>
        <p:spPr bwMode="auto">
          <a:xfrm>
            <a:off x="6991943" y="3054538"/>
            <a:ext cx="49053" cy="66072"/>
          </a:xfrm>
          <a:custGeom>
            <a:avLst/>
            <a:gdLst>
              <a:gd name="T0" fmla="*/ 1 w 42"/>
              <a:gd name="T1" fmla="*/ 14 h 57"/>
              <a:gd name="T2" fmla="*/ 5 w 42"/>
              <a:gd name="T3" fmla="*/ 19 h 57"/>
              <a:gd name="T4" fmla="*/ 6 w 42"/>
              <a:gd name="T5" fmla="*/ 20 h 57"/>
              <a:gd name="T6" fmla="*/ 4 w 42"/>
              <a:gd name="T7" fmla="*/ 21 h 57"/>
              <a:gd name="T8" fmla="*/ 4 w 42"/>
              <a:gd name="T9" fmla="*/ 24 h 57"/>
              <a:gd name="T10" fmla="*/ 9 w 42"/>
              <a:gd name="T11" fmla="*/ 22 h 57"/>
              <a:gd name="T12" fmla="*/ 11 w 42"/>
              <a:gd name="T13" fmla="*/ 19 h 57"/>
              <a:gd name="T14" fmla="*/ 10 w 42"/>
              <a:gd name="T15" fmla="*/ 17 h 57"/>
              <a:gd name="T16" fmla="*/ 13 w 42"/>
              <a:gd name="T17" fmla="*/ 17 h 57"/>
              <a:gd name="T18" fmla="*/ 15 w 42"/>
              <a:gd name="T19" fmla="*/ 19 h 57"/>
              <a:gd name="T20" fmla="*/ 17 w 42"/>
              <a:gd name="T21" fmla="*/ 21 h 57"/>
              <a:gd name="T22" fmla="*/ 16 w 42"/>
              <a:gd name="T23" fmla="*/ 25 h 57"/>
              <a:gd name="T24" fmla="*/ 18 w 42"/>
              <a:gd name="T25" fmla="*/ 27 h 57"/>
              <a:gd name="T26" fmla="*/ 15 w 42"/>
              <a:gd name="T27" fmla="*/ 29 h 57"/>
              <a:gd name="T28" fmla="*/ 14 w 42"/>
              <a:gd name="T29" fmla="*/ 32 h 57"/>
              <a:gd name="T30" fmla="*/ 12 w 42"/>
              <a:gd name="T31" fmla="*/ 34 h 57"/>
              <a:gd name="T32" fmla="*/ 10 w 42"/>
              <a:gd name="T33" fmla="*/ 36 h 57"/>
              <a:gd name="T34" fmla="*/ 11 w 42"/>
              <a:gd name="T35" fmla="*/ 43 h 57"/>
              <a:gd name="T36" fmla="*/ 11 w 42"/>
              <a:gd name="T37" fmla="*/ 47 h 57"/>
              <a:gd name="T38" fmla="*/ 9 w 42"/>
              <a:gd name="T39" fmla="*/ 49 h 57"/>
              <a:gd name="T40" fmla="*/ 12 w 42"/>
              <a:gd name="T41" fmla="*/ 50 h 57"/>
              <a:gd name="T42" fmla="*/ 15 w 42"/>
              <a:gd name="T43" fmla="*/ 51 h 57"/>
              <a:gd name="T44" fmla="*/ 17 w 42"/>
              <a:gd name="T45" fmla="*/ 49 h 57"/>
              <a:gd name="T46" fmla="*/ 17 w 42"/>
              <a:gd name="T47" fmla="*/ 43 h 57"/>
              <a:gd name="T48" fmla="*/ 20 w 42"/>
              <a:gd name="T49" fmla="*/ 43 h 57"/>
              <a:gd name="T50" fmla="*/ 20 w 42"/>
              <a:gd name="T51" fmla="*/ 47 h 57"/>
              <a:gd name="T52" fmla="*/ 20 w 42"/>
              <a:gd name="T53" fmla="*/ 52 h 57"/>
              <a:gd name="T54" fmla="*/ 18 w 42"/>
              <a:gd name="T55" fmla="*/ 56 h 57"/>
              <a:gd name="T56" fmla="*/ 22 w 42"/>
              <a:gd name="T57" fmla="*/ 53 h 57"/>
              <a:gd name="T58" fmla="*/ 27 w 42"/>
              <a:gd name="T59" fmla="*/ 49 h 57"/>
              <a:gd name="T60" fmla="*/ 27 w 42"/>
              <a:gd name="T61" fmla="*/ 47 h 57"/>
              <a:gd name="T62" fmla="*/ 29 w 42"/>
              <a:gd name="T63" fmla="*/ 48 h 57"/>
              <a:gd name="T64" fmla="*/ 32 w 42"/>
              <a:gd name="T65" fmla="*/ 43 h 57"/>
              <a:gd name="T66" fmla="*/ 34 w 42"/>
              <a:gd name="T67" fmla="*/ 40 h 57"/>
              <a:gd name="T68" fmla="*/ 35 w 42"/>
              <a:gd name="T69" fmla="*/ 36 h 57"/>
              <a:gd name="T70" fmla="*/ 36 w 42"/>
              <a:gd name="T71" fmla="*/ 32 h 57"/>
              <a:gd name="T72" fmla="*/ 37 w 42"/>
              <a:gd name="T73" fmla="*/ 27 h 57"/>
              <a:gd name="T74" fmla="*/ 38 w 42"/>
              <a:gd name="T75" fmla="*/ 24 h 57"/>
              <a:gd name="T76" fmla="*/ 41 w 42"/>
              <a:gd name="T77" fmla="*/ 22 h 57"/>
              <a:gd name="T78" fmla="*/ 41 w 42"/>
              <a:gd name="T79" fmla="*/ 18 h 57"/>
              <a:gd name="T80" fmla="*/ 40 w 42"/>
              <a:gd name="T81" fmla="*/ 15 h 57"/>
              <a:gd name="T82" fmla="*/ 35 w 42"/>
              <a:gd name="T83" fmla="*/ 13 h 57"/>
              <a:gd name="T84" fmla="*/ 33 w 42"/>
              <a:gd name="T85" fmla="*/ 10 h 57"/>
              <a:gd name="T86" fmla="*/ 34 w 42"/>
              <a:gd name="T87" fmla="*/ 6 h 57"/>
              <a:gd name="T88" fmla="*/ 27 w 42"/>
              <a:gd name="T89" fmla="*/ 7 h 57"/>
              <a:gd name="T90" fmla="*/ 24 w 42"/>
              <a:gd name="T91" fmla="*/ 4 h 57"/>
              <a:gd name="T92" fmla="*/ 23 w 42"/>
              <a:gd name="T93" fmla="*/ 2 h 57"/>
              <a:gd name="T94" fmla="*/ 20 w 42"/>
              <a:gd name="T95" fmla="*/ 1 h 57"/>
              <a:gd name="T96" fmla="*/ 16 w 42"/>
              <a:gd name="T97" fmla="*/ 3 h 57"/>
              <a:gd name="T98" fmla="*/ 13 w 42"/>
              <a:gd name="T99" fmla="*/ 6 h 57"/>
              <a:gd name="T100" fmla="*/ 11 w 42"/>
              <a:gd name="T101" fmla="*/ 7 h 57"/>
              <a:gd name="T102" fmla="*/ 9 w 42"/>
              <a:gd name="T103" fmla="*/ 9 h 57"/>
              <a:gd name="T104" fmla="*/ 4 w 42"/>
              <a:gd name="T105" fmla="*/ 9 h 57"/>
              <a:gd name="T106" fmla="*/ 4 w 42"/>
              <a:gd name="T107" fmla="*/ 12 h 57"/>
              <a:gd name="T108" fmla="*/ 1 w 42"/>
              <a:gd name="T109" fmla="*/ 12 h 57"/>
              <a:gd name="T110" fmla="*/ 1 w 42"/>
              <a:gd name="T111" fmla="*/ 14 h 57"/>
              <a:gd name="T112" fmla="*/ 1 w 42"/>
              <a:gd name="T113" fmla="*/ 14 h 57"/>
              <a:gd name="T114" fmla="*/ 1 w 42"/>
              <a:gd name="T115" fmla="*/ 1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 h="57">
                <a:moveTo>
                  <a:pt x="1" y="14"/>
                </a:moveTo>
                <a:cubicBezTo>
                  <a:pt x="1" y="16"/>
                  <a:pt x="3" y="18"/>
                  <a:pt x="5" y="19"/>
                </a:cubicBezTo>
                <a:cubicBezTo>
                  <a:pt x="6" y="19"/>
                  <a:pt x="7" y="20"/>
                  <a:pt x="6" y="20"/>
                </a:cubicBezTo>
                <a:cubicBezTo>
                  <a:pt x="6" y="22"/>
                  <a:pt x="5" y="21"/>
                  <a:pt x="4" y="21"/>
                </a:cubicBezTo>
                <a:cubicBezTo>
                  <a:pt x="2" y="21"/>
                  <a:pt x="3" y="23"/>
                  <a:pt x="4" y="24"/>
                </a:cubicBezTo>
                <a:cubicBezTo>
                  <a:pt x="6" y="26"/>
                  <a:pt x="8" y="23"/>
                  <a:pt x="9" y="22"/>
                </a:cubicBezTo>
                <a:cubicBezTo>
                  <a:pt x="9" y="21"/>
                  <a:pt x="11" y="20"/>
                  <a:pt x="11" y="19"/>
                </a:cubicBezTo>
                <a:cubicBezTo>
                  <a:pt x="11" y="18"/>
                  <a:pt x="10" y="18"/>
                  <a:pt x="10" y="17"/>
                </a:cubicBezTo>
                <a:cubicBezTo>
                  <a:pt x="10" y="15"/>
                  <a:pt x="13" y="15"/>
                  <a:pt x="13" y="17"/>
                </a:cubicBezTo>
                <a:cubicBezTo>
                  <a:pt x="14" y="17"/>
                  <a:pt x="14" y="18"/>
                  <a:pt x="15" y="19"/>
                </a:cubicBezTo>
                <a:cubicBezTo>
                  <a:pt x="16" y="19"/>
                  <a:pt x="17" y="20"/>
                  <a:pt x="17" y="21"/>
                </a:cubicBezTo>
                <a:cubicBezTo>
                  <a:pt x="17" y="22"/>
                  <a:pt x="16" y="24"/>
                  <a:pt x="16" y="25"/>
                </a:cubicBezTo>
                <a:cubicBezTo>
                  <a:pt x="17" y="25"/>
                  <a:pt x="18" y="26"/>
                  <a:pt x="18" y="27"/>
                </a:cubicBezTo>
                <a:cubicBezTo>
                  <a:pt x="17" y="27"/>
                  <a:pt x="16" y="28"/>
                  <a:pt x="15" y="29"/>
                </a:cubicBezTo>
                <a:cubicBezTo>
                  <a:pt x="15" y="30"/>
                  <a:pt x="14" y="31"/>
                  <a:pt x="14" y="32"/>
                </a:cubicBezTo>
                <a:cubicBezTo>
                  <a:pt x="13" y="33"/>
                  <a:pt x="13" y="34"/>
                  <a:pt x="12" y="34"/>
                </a:cubicBezTo>
                <a:cubicBezTo>
                  <a:pt x="11" y="35"/>
                  <a:pt x="10" y="35"/>
                  <a:pt x="10" y="36"/>
                </a:cubicBezTo>
                <a:cubicBezTo>
                  <a:pt x="9" y="39"/>
                  <a:pt x="10" y="41"/>
                  <a:pt x="11" y="43"/>
                </a:cubicBezTo>
                <a:cubicBezTo>
                  <a:pt x="12" y="45"/>
                  <a:pt x="13" y="47"/>
                  <a:pt x="11" y="47"/>
                </a:cubicBezTo>
                <a:cubicBezTo>
                  <a:pt x="10" y="47"/>
                  <a:pt x="7" y="48"/>
                  <a:pt x="9" y="49"/>
                </a:cubicBezTo>
                <a:cubicBezTo>
                  <a:pt x="10" y="49"/>
                  <a:pt x="11" y="50"/>
                  <a:pt x="12" y="50"/>
                </a:cubicBezTo>
                <a:cubicBezTo>
                  <a:pt x="13" y="50"/>
                  <a:pt x="14" y="51"/>
                  <a:pt x="15" y="51"/>
                </a:cubicBezTo>
                <a:cubicBezTo>
                  <a:pt x="18" y="52"/>
                  <a:pt x="17" y="50"/>
                  <a:pt x="17" y="49"/>
                </a:cubicBezTo>
                <a:cubicBezTo>
                  <a:pt x="16" y="47"/>
                  <a:pt x="15" y="43"/>
                  <a:pt x="17" y="43"/>
                </a:cubicBezTo>
                <a:cubicBezTo>
                  <a:pt x="18" y="42"/>
                  <a:pt x="21" y="41"/>
                  <a:pt x="20" y="43"/>
                </a:cubicBezTo>
                <a:cubicBezTo>
                  <a:pt x="20" y="44"/>
                  <a:pt x="20" y="46"/>
                  <a:pt x="20" y="47"/>
                </a:cubicBezTo>
                <a:cubicBezTo>
                  <a:pt x="20" y="49"/>
                  <a:pt x="20" y="50"/>
                  <a:pt x="20" y="52"/>
                </a:cubicBezTo>
                <a:cubicBezTo>
                  <a:pt x="20" y="53"/>
                  <a:pt x="17" y="56"/>
                  <a:pt x="18" y="56"/>
                </a:cubicBezTo>
                <a:cubicBezTo>
                  <a:pt x="19" y="57"/>
                  <a:pt x="22" y="54"/>
                  <a:pt x="22" y="53"/>
                </a:cubicBezTo>
                <a:cubicBezTo>
                  <a:pt x="24" y="52"/>
                  <a:pt x="26" y="52"/>
                  <a:pt x="27" y="49"/>
                </a:cubicBezTo>
                <a:cubicBezTo>
                  <a:pt x="27" y="49"/>
                  <a:pt x="26" y="47"/>
                  <a:pt x="27" y="47"/>
                </a:cubicBezTo>
                <a:cubicBezTo>
                  <a:pt x="28" y="47"/>
                  <a:pt x="29" y="48"/>
                  <a:pt x="29" y="48"/>
                </a:cubicBezTo>
                <a:cubicBezTo>
                  <a:pt x="33" y="50"/>
                  <a:pt x="31" y="45"/>
                  <a:pt x="32" y="43"/>
                </a:cubicBezTo>
                <a:cubicBezTo>
                  <a:pt x="33" y="42"/>
                  <a:pt x="33" y="41"/>
                  <a:pt x="34" y="40"/>
                </a:cubicBezTo>
                <a:cubicBezTo>
                  <a:pt x="34" y="39"/>
                  <a:pt x="35" y="37"/>
                  <a:pt x="35" y="36"/>
                </a:cubicBezTo>
                <a:cubicBezTo>
                  <a:pt x="35" y="35"/>
                  <a:pt x="35" y="33"/>
                  <a:pt x="36" y="32"/>
                </a:cubicBezTo>
                <a:cubicBezTo>
                  <a:pt x="36" y="30"/>
                  <a:pt x="37" y="29"/>
                  <a:pt x="37" y="27"/>
                </a:cubicBezTo>
                <a:cubicBezTo>
                  <a:pt x="38" y="26"/>
                  <a:pt x="38" y="25"/>
                  <a:pt x="38" y="24"/>
                </a:cubicBezTo>
                <a:cubicBezTo>
                  <a:pt x="39" y="23"/>
                  <a:pt x="40" y="22"/>
                  <a:pt x="41" y="22"/>
                </a:cubicBezTo>
                <a:cubicBezTo>
                  <a:pt x="42" y="21"/>
                  <a:pt x="42" y="20"/>
                  <a:pt x="41" y="18"/>
                </a:cubicBezTo>
                <a:cubicBezTo>
                  <a:pt x="40" y="17"/>
                  <a:pt x="40" y="17"/>
                  <a:pt x="40" y="15"/>
                </a:cubicBezTo>
                <a:cubicBezTo>
                  <a:pt x="39" y="13"/>
                  <a:pt x="36" y="13"/>
                  <a:pt x="35" y="13"/>
                </a:cubicBezTo>
                <a:cubicBezTo>
                  <a:pt x="33" y="14"/>
                  <a:pt x="31" y="11"/>
                  <a:pt x="33" y="10"/>
                </a:cubicBezTo>
                <a:cubicBezTo>
                  <a:pt x="34" y="10"/>
                  <a:pt x="36" y="8"/>
                  <a:pt x="34" y="6"/>
                </a:cubicBezTo>
                <a:cubicBezTo>
                  <a:pt x="33" y="5"/>
                  <a:pt x="29" y="7"/>
                  <a:pt x="27" y="7"/>
                </a:cubicBezTo>
                <a:cubicBezTo>
                  <a:pt x="26" y="7"/>
                  <a:pt x="26" y="5"/>
                  <a:pt x="24" y="4"/>
                </a:cubicBezTo>
                <a:cubicBezTo>
                  <a:pt x="23" y="3"/>
                  <a:pt x="23" y="3"/>
                  <a:pt x="23" y="2"/>
                </a:cubicBezTo>
                <a:cubicBezTo>
                  <a:pt x="22" y="1"/>
                  <a:pt x="21" y="1"/>
                  <a:pt x="20" y="1"/>
                </a:cubicBezTo>
                <a:cubicBezTo>
                  <a:pt x="18" y="0"/>
                  <a:pt x="17" y="1"/>
                  <a:pt x="16" y="3"/>
                </a:cubicBezTo>
                <a:cubicBezTo>
                  <a:pt x="16" y="4"/>
                  <a:pt x="15" y="6"/>
                  <a:pt x="13" y="6"/>
                </a:cubicBezTo>
                <a:cubicBezTo>
                  <a:pt x="12" y="6"/>
                  <a:pt x="12" y="6"/>
                  <a:pt x="11" y="7"/>
                </a:cubicBezTo>
                <a:cubicBezTo>
                  <a:pt x="10" y="7"/>
                  <a:pt x="10" y="9"/>
                  <a:pt x="9" y="9"/>
                </a:cubicBezTo>
                <a:cubicBezTo>
                  <a:pt x="8" y="10"/>
                  <a:pt x="6" y="7"/>
                  <a:pt x="4" y="9"/>
                </a:cubicBezTo>
                <a:cubicBezTo>
                  <a:pt x="4" y="9"/>
                  <a:pt x="5" y="12"/>
                  <a:pt x="4" y="12"/>
                </a:cubicBezTo>
                <a:cubicBezTo>
                  <a:pt x="3" y="12"/>
                  <a:pt x="2" y="12"/>
                  <a:pt x="1" y="12"/>
                </a:cubicBezTo>
                <a:cubicBezTo>
                  <a:pt x="0" y="12"/>
                  <a:pt x="1" y="14"/>
                  <a:pt x="1" y="14"/>
                </a:cubicBezTo>
                <a:cubicBezTo>
                  <a:pt x="1" y="14"/>
                  <a:pt x="1" y="14"/>
                  <a:pt x="1" y="14"/>
                </a:cubicBezTo>
                <a:cubicBezTo>
                  <a:pt x="1" y="16"/>
                  <a:pt x="1" y="14"/>
                  <a:pt x="1" y="14"/>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35" name="Freeform 177">
            <a:extLst>
              <a:ext uri="{FF2B5EF4-FFF2-40B4-BE49-F238E27FC236}">
                <a16:creationId xmlns:a16="http://schemas.microsoft.com/office/drawing/2014/main" id="{1E059DF1-BEF5-FCF9-8415-4EC0E997EC31}"/>
              </a:ext>
            </a:extLst>
          </p:cNvPr>
          <p:cNvSpPr>
            <a:spLocks noEditPoints="1"/>
          </p:cNvSpPr>
          <p:nvPr>
            <p:custDataLst>
              <p:tags r:id="rId17"/>
            </p:custDataLst>
          </p:nvPr>
        </p:nvSpPr>
        <p:spPr bwMode="auto">
          <a:xfrm>
            <a:off x="6921866" y="2950425"/>
            <a:ext cx="98107" cy="120131"/>
          </a:xfrm>
          <a:custGeom>
            <a:avLst/>
            <a:gdLst>
              <a:gd name="T0" fmla="*/ 7 w 84"/>
              <a:gd name="T1" fmla="*/ 36 h 103"/>
              <a:gd name="T2" fmla="*/ 9 w 84"/>
              <a:gd name="T3" fmla="*/ 47 h 103"/>
              <a:gd name="T4" fmla="*/ 11 w 84"/>
              <a:gd name="T5" fmla="*/ 54 h 103"/>
              <a:gd name="T6" fmla="*/ 8 w 84"/>
              <a:gd name="T7" fmla="*/ 60 h 103"/>
              <a:gd name="T8" fmla="*/ 5 w 84"/>
              <a:gd name="T9" fmla="*/ 66 h 103"/>
              <a:gd name="T10" fmla="*/ 10 w 84"/>
              <a:gd name="T11" fmla="*/ 73 h 103"/>
              <a:gd name="T12" fmla="*/ 6 w 84"/>
              <a:gd name="T13" fmla="*/ 75 h 103"/>
              <a:gd name="T14" fmla="*/ 10 w 84"/>
              <a:gd name="T15" fmla="*/ 79 h 103"/>
              <a:gd name="T16" fmla="*/ 20 w 84"/>
              <a:gd name="T17" fmla="*/ 74 h 103"/>
              <a:gd name="T18" fmla="*/ 25 w 84"/>
              <a:gd name="T19" fmla="*/ 72 h 103"/>
              <a:gd name="T20" fmla="*/ 29 w 84"/>
              <a:gd name="T21" fmla="*/ 70 h 103"/>
              <a:gd name="T22" fmla="*/ 35 w 84"/>
              <a:gd name="T23" fmla="*/ 69 h 103"/>
              <a:gd name="T24" fmla="*/ 41 w 84"/>
              <a:gd name="T25" fmla="*/ 69 h 103"/>
              <a:gd name="T26" fmla="*/ 45 w 84"/>
              <a:gd name="T27" fmla="*/ 65 h 103"/>
              <a:gd name="T28" fmla="*/ 51 w 84"/>
              <a:gd name="T29" fmla="*/ 65 h 103"/>
              <a:gd name="T30" fmla="*/ 57 w 84"/>
              <a:gd name="T31" fmla="*/ 58 h 103"/>
              <a:gd name="T32" fmla="*/ 55 w 84"/>
              <a:gd name="T33" fmla="*/ 44 h 103"/>
              <a:gd name="T34" fmla="*/ 56 w 84"/>
              <a:gd name="T35" fmla="*/ 30 h 103"/>
              <a:gd name="T36" fmla="*/ 51 w 84"/>
              <a:gd name="T37" fmla="*/ 19 h 103"/>
              <a:gd name="T38" fmla="*/ 41 w 84"/>
              <a:gd name="T39" fmla="*/ 0 h 103"/>
              <a:gd name="T40" fmla="*/ 22 w 84"/>
              <a:gd name="T41" fmla="*/ 6 h 103"/>
              <a:gd name="T42" fmla="*/ 10 w 84"/>
              <a:gd name="T43" fmla="*/ 15 h 103"/>
              <a:gd name="T44" fmla="*/ 12 w 84"/>
              <a:gd name="T45" fmla="*/ 20 h 103"/>
              <a:gd name="T46" fmla="*/ 13 w 84"/>
              <a:gd name="T47" fmla="*/ 29 h 103"/>
              <a:gd name="T48" fmla="*/ 15 w 84"/>
              <a:gd name="T49" fmla="*/ 34 h 103"/>
              <a:gd name="T50" fmla="*/ 9 w 84"/>
              <a:gd name="T51" fmla="*/ 31 h 103"/>
              <a:gd name="T52" fmla="*/ 4 w 84"/>
              <a:gd name="T53" fmla="*/ 32 h 103"/>
              <a:gd name="T54" fmla="*/ 5 w 84"/>
              <a:gd name="T55" fmla="*/ 34 h 103"/>
              <a:gd name="T56" fmla="*/ 62 w 84"/>
              <a:gd name="T57" fmla="*/ 94 h 103"/>
              <a:gd name="T58" fmla="*/ 62 w 84"/>
              <a:gd name="T59" fmla="*/ 92 h 103"/>
              <a:gd name="T60" fmla="*/ 63 w 84"/>
              <a:gd name="T61" fmla="*/ 94 h 103"/>
              <a:gd name="T62" fmla="*/ 62 w 84"/>
              <a:gd name="T63" fmla="*/ 94 h 103"/>
              <a:gd name="T64" fmla="*/ 83 w 84"/>
              <a:gd name="T65" fmla="*/ 21 h 103"/>
              <a:gd name="T66" fmla="*/ 81 w 84"/>
              <a:gd name="T67" fmla="*/ 19 h 103"/>
              <a:gd name="T68" fmla="*/ 22 w 84"/>
              <a:gd name="T69" fmla="*/ 79 h 103"/>
              <a:gd name="T70" fmla="*/ 21 w 84"/>
              <a:gd name="T71" fmla="*/ 76 h 103"/>
              <a:gd name="T72" fmla="*/ 22 w 84"/>
              <a:gd name="T73" fmla="*/ 79 h 103"/>
              <a:gd name="T74" fmla="*/ 33 w 84"/>
              <a:gd name="T75" fmla="*/ 75 h 103"/>
              <a:gd name="T76" fmla="*/ 34 w 84"/>
              <a:gd name="T77" fmla="*/ 74 h 103"/>
              <a:gd name="T78" fmla="*/ 33 w 84"/>
              <a:gd name="T79" fmla="*/ 75 h 103"/>
              <a:gd name="T80" fmla="*/ 7 w 84"/>
              <a:gd name="T81" fmla="*/ 103 h 103"/>
              <a:gd name="T82" fmla="*/ 14 w 84"/>
              <a:gd name="T83" fmla="*/ 98 h 103"/>
              <a:gd name="T84" fmla="*/ 9 w 84"/>
              <a:gd name="T85" fmla="*/ 97 h 103"/>
              <a:gd name="T86" fmla="*/ 3 w 84"/>
              <a:gd name="T87" fmla="*/ 103 h 103"/>
              <a:gd name="T88" fmla="*/ 2 w 84"/>
              <a:gd name="T89" fmla="*/ 102 h 103"/>
              <a:gd name="T90" fmla="*/ 8 w 84"/>
              <a:gd name="T91" fmla="*/ 19 h 103"/>
              <a:gd name="T92" fmla="*/ 6 w 84"/>
              <a:gd name="T93" fmla="*/ 17 h 103"/>
              <a:gd name="T94" fmla="*/ 6 w 84"/>
              <a:gd name="T95" fmla="*/ 17 h 103"/>
              <a:gd name="T96" fmla="*/ 43 w 84"/>
              <a:gd name="T97" fmla="*/ 71 h 103"/>
              <a:gd name="T98" fmla="*/ 43 w 84"/>
              <a:gd name="T99" fmla="*/ 74 h 103"/>
              <a:gd name="T100" fmla="*/ 43 w 84"/>
              <a:gd name="T101" fmla="*/ 74 h 103"/>
              <a:gd name="T102" fmla="*/ 56 w 84"/>
              <a:gd name="T103" fmla="*/ 80 h 103"/>
              <a:gd name="T104" fmla="*/ 55 w 84"/>
              <a:gd name="T105" fmla="*/ 76 h 103"/>
              <a:gd name="T106" fmla="*/ 54 w 84"/>
              <a:gd name="T107" fmla="*/ 84 h 103"/>
              <a:gd name="T108" fmla="*/ 55 w 84"/>
              <a:gd name="T109" fmla="*/ 8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 h="103">
                <a:moveTo>
                  <a:pt x="5" y="34"/>
                </a:moveTo>
                <a:cubicBezTo>
                  <a:pt x="5" y="35"/>
                  <a:pt x="6" y="35"/>
                  <a:pt x="7" y="36"/>
                </a:cubicBezTo>
                <a:cubicBezTo>
                  <a:pt x="8" y="36"/>
                  <a:pt x="8" y="38"/>
                  <a:pt x="8" y="39"/>
                </a:cubicBezTo>
                <a:cubicBezTo>
                  <a:pt x="7" y="41"/>
                  <a:pt x="6" y="45"/>
                  <a:pt x="9" y="47"/>
                </a:cubicBezTo>
                <a:cubicBezTo>
                  <a:pt x="10" y="47"/>
                  <a:pt x="14" y="47"/>
                  <a:pt x="12" y="49"/>
                </a:cubicBezTo>
                <a:cubicBezTo>
                  <a:pt x="10" y="51"/>
                  <a:pt x="13" y="53"/>
                  <a:pt x="11" y="54"/>
                </a:cubicBezTo>
                <a:cubicBezTo>
                  <a:pt x="9" y="55"/>
                  <a:pt x="11" y="57"/>
                  <a:pt x="11" y="59"/>
                </a:cubicBezTo>
                <a:cubicBezTo>
                  <a:pt x="10" y="60"/>
                  <a:pt x="9" y="60"/>
                  <a:pt x="8" y="60"/>
                </a:cubicBezTo>
                <a:cubicBezTo>
                  <a:pt x="7" y="61"/>
                  <a:pt x="6" y="61"/>
                  <a:pt x="5" y="63"/>
                </a:cubicBezTo>
                <a:cubicBezTo>
                  <a:pt x="5" y="64"/>
                  <a:pt x="5" y="65"/>
                  <a:pt x="5" y="66"/>
                </a:cubicBezTo>
                <a:cubicBezTo>
                  <a:pt x="6" y="67"/>
                  <a:pt x="5" y="68"/>
                  <a:pt x="5" y="69"/>
                </a:cubicBezTo>
                <a:cubicBezTo>
                  <a:pt x="5" y="72"/>
                  <a:pt x="10" y="71"/>
                  <a:pt x="10" y="73"/>
                </a:cubicBezTo>
                <a:cubicBezTo>
                  <a:pt x="9" y="74"/>
                  <a:pt x="9" y="75"/>
                  <a:pt x="9" y="75"/>
                </a:cubicBezTo>
                <a:cubicBezTo>
                  <a:pt x="8" y="76"/>
                  <a:pt x="7" y="75"/>
                  <a:pt x="6" y="75"/>
                </a:cubicBezTo>
                <a:cubicBezTo>
                  <a:pt x="4" y="74"/>
                  <a:pt x="4" y="77"/>
                  <a:pt x="5" y="78"/>
                </a:cubicBezTo>
                <a:cubicBezTo>
                  <a:pt x="7" y="80"/>
                  <a:pt x="9" y="81"/>
                  <a:pt x="10" y="79"/>
                </a:cubicBezTo>
                <a:cubicBezTo>
                  <a:pt x="12" y="77"/>
                  <a:pt x="14" y="75"/>
                  <a:pt x="16" y="74"/>
                </a:cubicBezTo>
                <a:cubicBezTo>
                  <a:pt x="18" y="74"/>
                  <a:pt x="19" y="74"/>
                  <a:pt x="20" y="74"/>
                </a:cubicBezTo>
                <a:cubicBezTo>
                  <a:pt x="21" y="73"/>
                  <a:pt x="21" y="72"/>
                  <a:pt x="22" y="72"/>
                </a:cubicBezTo>
                <a:cubicBezTo>
                  <a:pt x="23" y="71"/>
                  <a:pt x="24" y="71"/>
                  <a:pt x="25" y="72"/>
                </a:cubicBezTo>
                <a:cubicBezTo>
                  <a:pt x="26" y="73"/>
                  <a:pt x="26" y="74"/>
                  <a:pt x="27" y="75"/>
                </a:cubicBezTo>
                <a:cubicBezTo>
                  <a:pt x="28" y="76"/>
                  <a:pt x="29" y="70"/>
                  <a:pt x="29" y="70"/>
                </a:cubicBezTo>
                <a:cubicBezTo>
                  <a:pt x="30" y="69"/>
                  <a:pt x="31" y="68"/>
                  <a:pt x="32" y="67"/>
                </a:cubicBezTo>
                <a:cubicBezTo>
                  <a:pt x="33" y="67"/>
                  <a:pt x="34" y="68"/>
                  <a:pt x="35" y="69"/>
                </a:cubicBezTo>
                <a:cubicBezTo>
                  <a:pt x="36" y="69"/>
                  <a:pt x="38" y="71"/>
                  <a:pt x="39" y="70"/>
                </a:cubicBezTo>
                <a:cubicBezTo>
                  <a:pt x="40" y="70"/>
                  <a:pt x="40" y="69"/>
                  <a:pt x="41" y="69"/>
                </a:cubicBezTo>
                <a:cubicBezTo>
                  <a:pt x="42" y="69"/>
                  <a:pt x="43" y="69"/>
                  <a:pt x="44" y="69"/>
                </a:cubicBezTo>
                <a:cubicBezTo>
                  <a:pt x="45" y="68"/>
                  <a:pt x="44" y="66"/>
                  <a:pt x="45" y="65"/>
                </a:cubicBezTo>
                <a:cubicBezTo>
                  <a:pt x="46" y="65"/>
                  <a:pt x="47" y="65"/>
                  <a:pt x="48" y="65"/>
                </a:cubicBezTo>
                <a:cubicBezTo>
                  <a:pt x="49" y="65"/>
                  <a:pt x="49" y="65"/>
                  <a:pt x="51" y="65"/>
                </a:cubicBezTo>
                <a:cubicBezTo>
                  <a:pt x="52" y="65"/>
                  <a:pt x="54" y="66"/>
                  <a:pt x="55" y="64"/>
                </a:cubicBezTo>
                <a:cubicBezTo>
                  <a:pt x="56" y="62"/>
                  <a:pt x="56" y="60"/>
                  <a:pt x="57" y="58"/>
                </a:cubicBezTo>
                <a:cubicBezTo>
                  <a:pt x="58" y="55"/>
                  <a:pt x="61" y="51"/>
                  <a:pt x="58" y="48"/>
                </a:cubicBezTo>
                <a:cubicBezTo>
                  <a:pt x="56" y="47"/>
                  <a:pt x="55" y="46"/>
                  <a:pt x="55" y="44"/>
                </a:cubicBezTo>
                <a:cubicBezTo>
                  <a:pt x="55" y="42"/>
                  <a:pt x="55" y="39"/>
                  <a:pt x="55" y="37"/>
                </a:cubicBezTo>
                <a:cubicBezTo>
                  <a:pt x="56" y="35"/>
                  <a:pt x="56" y="32"/>
                  <a:pt x="56" y="30"/>
                </a:cubicBezTo>
                <a:cubicBezTo>
                  <a:pt x="57" y="28"/>
                  <a:pt x="56" y="26"/>
                  <a:pt x="55" y="24"/>
                </a:cubicBezTo>
                <a:cubicBezTo>
                  <a:pt x="54" y="22"/>
                  <a:pt x="52" y="20"/>
                  <a:pt x="51" y="19"/>
                </a:cubicBezTo>
                <a:cubicBezTo>
                  <a:pt x="50" y="17"/>
                  <a:pt x="49" y="14"/>
                  <a:pt x="48" y="12"/>
                </a:cubicBezTo>
                <a:cubicBezTo>
                  <a:pt x="46" y="8"/>
                  <a:pt x="44" y="4"/>
                  <a:pt x="41" y="0"/>
                </a:cubicBezTo>
                <a:cubicBezTo>
                  <a:pt x="39" y="3"/>
                  <a:pt x="37" y="6"/>
                  <a:pt x="34" y="7"/>
                </a:cubicBezTo>
                <a:cubicBezTo>
                  <a:pt x="30" y="8"/>
                  <a:pt x="26" y="6"/>
                  <a:pt x="22" y="6"/>
                </a:cubicBezTo>
                <a:cubicBezTo>
                  <a:pt x="18" y="6"/>
                  <a:pt x="16" y="8"/>
                  <a:pt x="13" y="11"/>
                </a:cubicBezTo>
                <a:cubicBezTo>
                  <a:pt x="13" y="12"/>
                  <a:pt x="10" y="14"/>
                  <a:pt x="10" y="15"/>
                </a:cubicBezTo>
                <a:cubicBezTo>
                  <a:pt x="11" y="16"/>
                  <a:pt x="12" y="16"/>
                  <a:pt x="12" y="17"/>
                </a:cubicBezTo>
                <a:cubicBezTo>
                  <a:pt x="12" y="18"/>
                  <a:pt x="12" y="19"/>
                  <a:pt x="12" y="20"/>
                </a:cubicBezTo>
                <a:cubicBezTo>
                  <a:pt x="12" y="21"/>
                  <a:pt x="13" y="22"/>
                  <a:pt x="13" y="24"/>
                </a:cubicBezTo>
                <a:cubicBezTo>
                  <a:pt x="13" y="26"/>
                  <a:pt x="12" y="27"/>
                  <a:pt x="13" y="29"/>
                </a:cubicBezTo>
                <a:cubicBezTo>
                  <a:pt x="14" y="30"/>
                  <a:pt x="15" y="30"/>
                  <a:pt x="16" y="31"/>
                </a:cubicBezTo>
                <a:cubicBezTo>
                  <a:pt x="17" y="32"/>
                  <a:pt x="17" y="33"/>
                  <a:pt x="15" y="34"/>
                </a:cubicBezTo>
                <a:cubicBezTo>
                  <a:pt x="14" y="34"/>
                  <a:pt x="13" y="33"/>
                  <a:pt x="13" y="32"/>
                </a:cubicBezTo>
                <a:cubicBezTo>
                  <a:pt x="12" y="31"/>
                  <a:pt x="10" y="30"/>
                  <a:pt x="9" y="31"/>
                </a:cubicBezTo>
                <a:cubicBezTo>
                  <a:pt x="8" y="31"/>
                  <a:pt x="7" y="31"/>
                  <a:pt x="7" y="31"/>
                </a:cubicBezTo>
                <a:cubicBezTo>
                  <a:pt x="6" y="32"/>
                  <a:pt x="5" y="32"/>
                  <a:pt x="4" y="32"/>
                </a:cubicBezTo>
                <a:cubicBezTo>
                  <a:pt x="3" y="33"/>
                  <a:pt x="5" y="34"/>
                  <a:pt x="5" y="35"/>
                </a:cubicBezTo>
                <a:cubicBezTo>
                  <a:pt x="5" y="35"/>
                  <a:pt x="5" y="35"/>
                  <a:pt x="5" y="34"/>
                </a:cubicBezTo>
                <a:cubicBezTo>
                  <a:pt x="5" y="36"/>
                  <a:pt x="5" y="34"/>
                  <a:pt x="5" y="34"/>
                </a:cubicBezTo>
                <a:close/>
                <a:moveTo>
                  <a:pt x="62" y="94"/>
                </a:moveTo>
                <a:cubicBezTo>
                  <a:pt x="63" y="93"/>
                  <a:pt x="63" y="92"/>
                  <a:pt x="63" y="91"/>
                </a:cubicBezTo>
                <a:cubicBezTo>
                  <a:pt x="63" y="91"/>
                  <a:pt x="62" y="91"/>
                  <a:pt x="62" y="92"/>
                </a:cubicBezTo>
                <a:cubicBezTo>
                  <a:pt x="61" y="92"/>
                  <a:pt x="60" y="92"/>
                  <a:pt x="61" y="93"/>
                </a:cubicBezTo>
                <a:cubicBezTo>
                  <a:pt x="61" y="94"/>
                  <a:pt x="62" y="94"/>
                  <a:pt x="63" y="94"/>
                </a:cubicBezTo>
                <a:cubicBezTo>
                  <a:pt x="62" y="94"/>
                  <a:pt x="62" y="94"/>
                  <a:pt x="62" y="94"/>
                </a:cubicBezTo>
                <a:cubicBezTo>
                  <a:pt x="63" y="93"/>
                  <a:pt x="62" y="94"/>
                  <a:pt x="62" y="94"/>
                </a:cubicBezTo>
                <a:close/>
                <a:moveTo>
                  <a:pt x="81" y="19"/>
                </a:moveTo>
                <a:cubicBezTo>
                  <a:pt x="80" y="20"/>
                  <a:pt x="82" y="21"/>
                  <a:pt x="83" y="21"/>
                </a:cubicBezTo>
                <a:cubicBezTo>
                  <a:pt x="84" y="20"/>
                  <a:pt x="82" y="18"/>
                  <a:pt x="81" y="19"/>
                </a:cubicBezTo>
                <a:cubicBezTo>
                  <a:pt x="81" y="19"/>
                  <a:pt x="81" y="19"/>
                  <a:pt x="81" y="19"/>
                </a:cubicBezTo>
                <a:cubicBezTo>
                  <a:pt x="80" y="20"/>
                  <a:pt x="81" y="19"/>
                  <a:pt x="81" y="19"/>
                </a:cubicBezTo>
                <a:close/>
                <a:moveTo>
                  <a:pt x="22" y="79"/>
                </a:moveTo>
                <a:cubicBezTo>
                  <a:pt x="23" y="79"/>
                  <a:pt x="24" y="78"/>
                  <a:pt x="24" y="77"/>
                </a:cubicBezTo>
                <a:cubicBezTo>
                  <a:pt x="23" y="76"/>
                  <a:pt x="22" y="76"/>
                  <a:pt x="21" y="76"/>
                </a:cubicBezTo>
                <a:cubicBezTo>
                  <a:pt x="18" y="78"/>
                  <a:pt x="21" y="80"/>
                  <a:pt x="23" y="79"/>
                </a:cubicBezTo>
                <a:cubicBezTo>
                  <a:pt x="22" y="79"/>
                  <a:pt x="22" y="79"/>
                  <a:pt x="22" y="79"/>
                </a:cubicBezTo>
                <a:cubicBezTo>
                  <a:pt x="23" y="79"/>
                  <a:pt x="22" y="79"/>
                  <a:pt x="22" y="79"/>
                </a:cubicBezTo>
                <a:close/>
                <a:moveTo>
                  <a:pt x="33" y="75"/>
                </a:moveTo>
                <a:cubicBezTo>
                  <a:pt x="35" y="73"/>
                  <a:pt x="31" y="70"/>
                  <a:pt x="31" y="72"/>
                </a:cubicBezTo>
                <a:cubicBezTo>
                  <a:pt x="31" y="74"/>
                  <a:pt x="32" y="76"/>
                  <a:pt x="34" y="74"/>
                </a:cubicBezTo>
                <a:cubicBezTo>
                  <a:pt x="33" y="75"/>
                  <a:pt x="33" y="75"/>
                  <a:pt x="33" y="75"/>
                </a:cubicBezTo>
                <a:cubicBezTo>
                  <a:pt x="34" y="74"/>
                  <a:pt x="33" y="75"/>
                  <a:pt x="33" y="75"/>
                </a:cubicBezTo>
                <a:close/>
                <a:moveTo>
                  <a:pt x="2" y="102"/>
                </a:moveTo>
                <a:cubicBezTo>
                  <a:pt x="4" y="103"/>
                  <a:pt x="5" y="103"/>
                  <a:pt x="7" y="103"/>
                </a:cubicBezTo>
                <a:cubicBezTo>
                  <a:pt x="9" y="102"/>
                  <a:pt x="10" y="101"/>
                  <a:pt x="11" y="100"/>
                </a:cubicBezTo>
                <a:cubicBezTo>
                  <a:pt x="12" y="100"/>
                  <a:pt x="15" y="98"/>
                  <a:pt x="14" y="98"/>
                </a:cubicBezTo>
                <a:cubicBezTo>
                  <a:pt x="13" y="98"/>
                  <a:pt x="12" y="98"/>
                  <a:pt x="12" y="98"/>
                </a:cubicBezTo>
                <a:cubicBezTo>
                  <a:pt x="11" y="98"/>
                  <a:pt x="10" y="97"/>
                  <a:pt x="9" y="97"/>
                </a:cubicBezTo>
                <a:cubicBezTo>
                  <a:pt x="8" y="97"/>
                  <a:pt x="6" y="97"/>
                  <a:pt x="5" y="98"/>
                </a:cubicBezTo>
                <a:cubicBezTo>
                  <a:pt x="4" y="100"/>
                  <a:pt x="0" y="101"/>
                  <a:pt x="3" y="103"/>
                </a:cubicBezTo>
                <a:cubicBezTo>
                  <a:pt x="3" y="103"/>
                  <a:pt x="2" y="103"/>
                  <a:pt x="2" y="102"/>
                </a:cubicBezTo>
                <a:cubicBezTo>
                  <a:pt x="3" y="103"/>
                  <a:pt x="2" y="102"/>
                  <a:pt x="2" y="102"/>
                </a:cubicBezTo>
                <a:close/>
                <a:moveTo>
                  <a:pt x="6" y="17"/>
                </a:moveTo>
                <a:cubicBezTo>
                  <a:pt x="5" y="17"/>
                  <a:pt x="7" y="19"/>
                  <a:pt x="8" y="19"/>
                </a:cubicBezTo>
                <a:cubicBezTo>
                  <a:pt x="9" y="18"/>
                  <a:pt x="7" y="17"/>
                  <a:pt x="7" y="17"/>
                </a:cubicBezTo>
                <a:cubicBezTo>
                  <a:pt x="7" y="16"/>
                  <a:pt x="6" y="16"/>
                  <a:pt x="6" y="17"/>
                </a:cubicBezTo>
                <a:cubicBezTo>
                  <a:pt x="6" y="17"/>
                  <a:pt x="6" y="17"/>
                  <a:pt x="6" y="17"/>
                </a:cubicBezTo>
                <a:cubicBezTo>
                  <a:pt x="5" y="17"/>
                  <a:pt x="6" y="17"/>
                  <a:pt x="6" y="17"/>
                </a:cubicBezTo>
                <a:close/>
                <a:moveTo>
                  <a:pt x="43" y="74"/>
                </a:moveTo>
                <a:cubicBezTo>
                  <a:pt x="44" y="74"/>
                  <a:pt x="46" y="70"/>
                  <a:pt x="43" y="71"/>
                </a:cubicBezTo>
                <a:cubicBezTo>
                  <a:pt x="43" y="72"/>
                  <a:pt x="42" y="72"/>
                  <a:pt x="42" y="73"/>
                </a:cubicBezTo>
                <a:cubicBezTo>
                  <a:pt x="42" y="74"/>
                  <a:pt x="42" y="74"/>
                  <a:pt x="43" y="74"/>
                </a:cubicBezTo>
                <a:cubicBezTo>
                  <a:pt x="43" y="74"/>
                  <a:pt x="43" y="74"/>
                  <a:pt x="43" y="74"/>
                </a:cubicBezTo>
                <a:cubicBezTo>
                  <a:pt x="44" y="74"/>
                  <a:pt x="43" y="74"/>
                  <a:pt x="43" y="74"/>
                </a:cubicBezTo>
                <a:close/>
                <a:moveTo>
                  <a:pt x="55" y="84"/>
                </a:moveTo>
                <a:cubicBezTo>
                  <a:pt x="55" y="83"/>
                  <a:pt x="56" y="81"/>
                  <a:pt x="56" y="80"/>
                </a:cubicBezTo>
                <a:cubicBezTo>
                  <a:pt x="57" y="79"/>
                  <a:pt x="58" y="78"/>
                  <a:pt x="58" y="77"/>
                </a:cubicBezTo>
                <a:cubicBezTo>
                  <a:pt x="58" y="75"/>
                  <a:pt x="56" y="75"/>
                  <a:pt x="55" y="76"/>
                </a:cubicBezTo>
                <a:cubicBezTo>
                  <a:pt x="54" y="78"/>
                  <a:pt x="54" y="80"/>
                  <a:pt x="53" y="81"/>
                </a:cubicBezTo>
                <a:cubicBezTo>
                  <a:pt x="53" y="82"/>
                  <a:pt x="53" y="83"/>
                  <a:pt x="54" y="84"/>
                </a:cubicBezTo>
                <a:cubicBezTo>
                  <a:pt x="54" y="85"/>
                  <a:pt x="55" y="83"/>
                  <a:pt x="55" y="83"/>
                </a:cubicBezTo>
                <a:cubicBezTo>
                  <a:pt x="55" y="83"/>
                  <a:pt x="55" y="83"/>
                  <a:pt x="55" y="84"/>
                </a:cubicBezTo>
                <a:cubicBezTo>
                  <a:pt x="55" y="83"/>
                  <a:pt x="55" y="84"/>
                  <a:pt x="55" y="84"/>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36" name="Freeform 181">
            <a:extLst>
              <a:ext uri="{FF2B5EF4-FFF2-40B4-BE49-F238E27FC236}">
                <a16:creationId xmlns:a16="http://schemas.microsoft.com/office/drawing/2014/main" id="{708ECE5B-032E-5AAF-FF46-9342F9F8D240}"/>
              </a:ext>
            </a:extLst>
          </p:cNvPr>
          <p:cNvSpPr/>
          <p:nvPr>
            <p:custDataLst>
              <p:tags r:id="rId18"/>
            </p:custDataLst>
          </p:nvPr>
        </p:nvSpPr>
        <p:spPr bwMode="auto">
          <a:xfrm>
            <a:off x="4227938" y="2866333"/>
            <a:ext cx="63069" cy="119129"/>
          </a:xfrm>
          <a:custGeom>
            <a:avLst/>
            <a:gdLst>
              <a:gd name="T0" fmla="*/ 36 w 54"/>
              <a:gd name="T1" fmla="*/ 83 h 102"/>
              <a:gd name="T2" fmla="*/ 39 w 54"/>
              <a:gd name="T3" fmla="*/ 81 h 102"/>
              <a:gd name="T4" fmla="*/ 41 w 54"/>
              <a:gd name="T5" fmla="*/ 79 h 102"/>
              <a:gd name="T6" fmla="*/ 36 w 54"/>
              <a:gd name="T7" fmla="*/ 75 h 102"/>
              <a:gd name="T8" fmla="*/ 37 w 54"/>
              <a:gd name="T9" fmla="*/ 67 h 102"/>
              <a:gd name="T10" fmla="*/ 40 w 54"/>
              <a:gd name="T11" fmla="*/ 62 h 102"/>
              <a:gd name="T12" fmla="*/ 37 w 54"/>
              <a:gd name="T13" fmla="*/ 58 h 102"/>
              <a:gd name="T14" fmla="*/ 32 w 54"/>
              <a:gd name="T15" fmla="*/ 51 h 102"/>
              <a:gd name="T16" fmla="*/ 36 w 54"/>
              <a:gd name="T17" fmla="*/ 48 h 102"/>
              <a:gd name="T18" fmla="*/ 39 w 54"/>
              <a:gd name="T19" fmla="*/ 48 h 102"/>
              <a:gd name="T20" fmla="*/ 41 w 54"/>
              <a:gd name="T21" fmla="*/ 47 h 102"/>
              <a:gd name="T22" fmla="*/ 42 w 54"/>
              <a:gd name="T23" fmla="*/ 39 h 102"/>
              <a:gd name="T24" fmla="*/ 44 w 54"/>
              <a:gd name="T25" fmla="*/ 29 h 102"/>
              <a:gd name="T26" fmla="*/ 46 w 54"/>
              <a:gd name="T27" fmla="*/ 17 h 102"/>
              <a:gd name="T28" fmla="*/ 52 w 54"/>
              <a:gd name="T29" fmla="*/ 14 h 102"/>
              <a:gd name="T30" fmla="*/ 51 w 54"/>
              <a:gd name="T31" fmla="*/ 9 h 102"/>
              <a:gd name="T32" fmla="*/ 48 w 54"/>
              <a:gd name="T33" fmla="*/ 4 h 102"/>
              <a:gd name="T34" fmla="*/ 42 w 54"/>
              <a:gd name="T35" fmla="*/ 4 h 102"/>
              <a:gd name="T36" fmla="*/ 34 w 54"/>
              <a:gd name="T37" fmla="*/ 5 h 102"/>
              <a:gd name="T38" fmla="*/ 30 w 54"/>
              <a:gd name="T39" fmla="*/ 5 h 102"/>
              <a:gd name="T40" fmla="*/ 27 w 54"/>
              <a:gd name="T41" fmla="*/ 7 h 102"/>
              <a:gd name="T42" fmla="*/ 21 w 54"/>
              <a:gd name="T43" fmla="*/ 6 h 102"/>
              <a:gd name="T44" fmla="*/ 21 w 54"/>
              <a:gd name="T45" fmla="*/ 0 h 102"/>
              <a:gd name="T46" fmla="*/ 15 w 54"/>
              <a:gd name="T47" fmla="*/ 3 h 102"/>
              <a:gd name="T48" fmla="*/ 12 w 54"/>
              <a:gd name="T49" fmla="*/ 5 h 102"/>
              <a:gd name="T50" fmla="*/ 11 w 54"/>
              <a:gd name="T51" fmla="*/ 8 h 102"/>
              <a:gd name="T52" fmla="*/ 12 w 54"/>
              <a:gd name="T53" fmla="*/ 11 h 102"/>
              <a:gd name="T54" fmla="*/ 12 w 54"/>
              <a:gd name="T55" fmla="*/ 15 h 102"/>
              <a:gd name="T56" fmla="*/ 13 w 54"/>
              <a:gd name="T57" fmla="*/ 18 h 102"/>
              <a:gd name="T58" fmla="*/ 14 w 54"/>
              <a:gd name="T59" fmla="*/ 22 h 102"/>
              <a:gd name="T60" fmla="*/ 14 w 54"/>
              <a:gd name="T61" fmla="*/ 25 h 102"/>
              <a:gd name="T62" fmla="*/ 14 w 54"/>
              <a:gd name="T63" fmla="*/ 28 h 102"/>
              <a:gd name="T64" fmla="*/ 11 w 54"/>
              <a:gd name="T65" fmla="*/ 36 h 102"/>
              <a:gd name="T66" fmla="*/ 9 w 54"/>
              <a:gd name="T67" fmla="*/ 44 h 102"/>
              <a:gd name="T68" fmla="*/ 6 w 54"/>
              <a:gd name="T69" fmla="*/ 53 h 102"/>
              <a:gd name="T70" fmla="*/ 3 w 54"/>
              <a:gd name="T71" fmla="*/ 56 h 102"/>
              <a:gd name="T72" fmla="*/ 2 w 54"/>
              <a:gd name="T73" fmla="*/ 59 h 102"/>
              <a:gd name="T74" fmla="*/ 1 w 54"/>
              <a:gd name="T75" fmla="*/ 63 h 102"/>
              <a:gd name="T76" fmla="*/ 0 w 54"/>
              <a:gd name="T77" fmla="*/ 66 h 102"/>
              <a:gd name="T78" fmla="*/ 4 w 54"/>
              <a:gd name="T79" fmla="*/ 68 h 102"/>
              <a:gd name="T80" fmla="*/ 9 w 54"/>
              <a:gd name="T81" fmla="*/ 64 h 102"/>
              <a:gd name="T82" fmla="*/ 8 w 54"/>
              <a:gd name="T83" fmla="*/ 68 h 102"/>
              <a:gd name="T84" fmla="*/ 4 w 54"/>
              <a:gd name="T85" fmla="*/ 72 h 102"/>
              <a:gd name="T86" fmla="*/ 7 w 54"/>
              <a:gd name="T87" fmla="*/ 73 h 102"/>
              <a:gd name="T88" fmla="*/ 11 w 54"/>
              <a:gd name="T89" fmla="*/ 70 h 102"/>
              <a:gd name="T90" fmla="*/ 12 w 54"/>
              <a:gd name="T91" fmla="*/ 73 h 102"/>
              <a:gd name="T92" fmla="*/ 11 w 54"/>
              <a:gd name="T93" fmla="*/ 78 h 102"/>
              <a:gd name="T94" fmla="*/ 12 w 54"/>
              <a:gd name="T95" fmla="*/ 84 h 102"/>
              <a:gd name="T96" fmla="*/ 11 w 54"/>
              <a:gd name="T97" fmla="*/ 92 h 102"/>
              <a:gd name="T98" fmla="*/ 9 w 54"/>
              <a:gd name="T99" fmla="*/ 98 h 102"/>
              <a:gd name="T100" fmla="*/ 12 w 54"/>
              <a:gd name="T101" fmla="*/ 101 h 102"/>
              <a:gd name="T102" fmla="*/ 18 w 54"/>
              <a:gd name="T103" fmla="*/ 99 h 102"/>
              <a:gd name="T104" fmla="*/ 25 w 54"/>
              <a:gd name="T105" fmla="*/ 102 h 102"/>
              <a:gd name="T106" fmla="*/ 31 w 54"/>
              <a:gd name="T107" fmla="*/ 100 h 102"/>
              <a:gd name="T108" fmla="*/ 33 w 54"/>
              <a:gd name="T109" fmla="*/ 99 h 102"/>
              <a:gd name="T110" fmla="*/ 33 w 54"/>
              <a:gd name="T111" fmla="*/ 96 h 102"/>
              <a:gd name="T112" fmla="*/ 32 w 54"/>
              <a:gd name="T113" fmla="*/ 88 h 102"/>
              <a:gd name="T114" fmla="*/ 36 w 54"/>
              <a:gd name="T115" fmla="*/ 83 h 102"/>
              <a:gd name="T116" fmla="*/ 36 w 54"/>
              <a:gd name="T117" fmla="*/ 83 h 102"/>
              <a:gd name="T118" fmla="*/ 36 w 54"/>
              <a:gd name="T119" fmla="*/ 8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 h="102">
                <a:moveTo>
                  <a:pt x="36" y="83"/>
                </a:moveTo>
                <a:cubicBezTo>
                  <a:pt x="37" y="82"/>
                  <a:pt x="38" y="82"/>
                  <a:pt x="39" y="81"/>
                </a:cubicBezTo>
                <a:cubicBezTo>
                  <a:pt x="39" y="81"/>
                  <a:pt x="42" y="79"/>
                  <a:pt x="41" y="79"/>
                </a:cubicBezTo>
                <a:cubicBezTo>
                  <a:pt x="39" y="78"/>
                  <a:pt x="37" y="78"/>
                  <a:pt x="36" y="75"/>
                </a:cubicBezTo>
                <a:cubicBezTo>
                  <a:pt x="35" y="72"/>
                  <a:pt x="35" y="70"/>
                  <a:pt x="37" y="67"/>
                </a:cubicBezTo>
                <a:cubicBezTo>
                  <a:pt x="38" y="65"/>
                  <a:pt x="40" y="64"/>
                  <a:pt x="40" y="62"/>
                </a:cubicBezTo>
                <a:cubicBezTo>
                  <a:pt x="41" y="60"/>
                  <a:pt x="38" y="59"/>
                  <a:pt x="37" y="58"/>
                </a:cubicBezTo>
                <a:cubicBezTo>
                  <a:pt x="35" y="56"/>
                  <a:pt x="33" y="54"/>
                  <a:pt x="32" y="51"/>
                </a:cubicBezTo>
                <a:cubicBezTo>
                  <a:pt x="32" y="49"/>
                  <a:pt x="34" y="48"/>
                  <a:pt x="36" y="48"/>
                </a:cubicBezTo>
                <a:cubicBezTo>
                  <a:pt x="37" y="48"/>
                  <a:pt x="38" y="48"/>
                  <a:pt x="39" y="48"/>
                </a:cubicBezTo>
                <a:cubicBezTo>
                  <a:pt x="40" y="49"/>
                  <a:pt x="41" y="49"/>
                  <a:pt x="41" y="47"/>
                </a:cubicBezTo>
                <a:cubicBezTo>
                  <a:pt x="41" y="44"/>
                  <a:pt x="42" y="42"/>
                  <a:pt x="42" y="39"/>
                </a:cubicBezTo>
                <a:cubicBezTo>
                  <a:pt x="43" y="36"/>
                  <a:pt x="44" y="32"/>
                  <a:pt x="44" y="29"/>
                </a:cubicBezTo>
                <a:cubicBezTo>
                  <a:pt x="43" y="24"/>
                  <a:pt x="40" y="20"/>
                  <a:pt x="46" y="17"/>
                </a:cubicBezTo>
                <a:cubicBezTo>
                  <a:pt x="48" y="16"/>
                  <a:pt x="50" y="15"/>
                  <a:pt x="52" y="14"/>
                </a:cubicBezTo>
                <a:cubicBezTo>
                  <a:pt x="54" y="12"/>
                  <a:pt x="53" y="10"/>
                  <a:pt x="51" y="9"/>
                </a:cubicBezTo>
                <a:cubicBezTo>
                  <a:pt x="49" y="8"/>
                  <a:pt x="48" y="7"/>
                  <a:pt x="48" y="4"/>
                </a:cubicBezTo>
                <a:cubicBezTo>
                  <a:pt x="48" y="2"/>
                  <a:pt x="44" y="3"/>
                  <a:pt x="42" y="4"/>
                </a:cubicBezTo>
                <a:cubicBezTo>
                  <a:pt x="40" y="5"/>
                  <a:pt x="37" y="5"/>
                  <a:pt x="34" y="5"/>
                </a:cubicBezTo>
                <a:cubicBezTo>
                  <a:pt x="33" y="5"/>
                  <a:pt x="32" y="5"/>
                  <a:pt x="30" y="5"/>
                </a:cubicBezTo>
                <a:cubicBezTo>
                  <a:pt x="29" y="6"/>
                  <a:pt x="28" y="7"/>
                  <a:pt x="27" y="7"/>
                </a:cubicBezTo>
                <a:cubicBezTo>
                  <a:pt x="26" y="8"/>
                  <a:pt x="22" y="8"/>
                  <a:pt x="21" y="6"/>
                </a:cubicBezTo>
                <a:cubicBezTo>
                  <a:pt x="21" y="4"/>
                  <a:pt x="24" y="1"/>
                  <a:pt x="21" y="0"/>
                </a:cubicBezTo>
                <a:cubicBezTo>
                  <a:pt x="19" y="0"/>
                  <a:pt x="17" y="2"/>
                  <a:pt x="15" y="3"/>
                </a:cubicBezTo>
                <a:cubicBezTo>
                  <a:pt x="14" y="4"/>
                  <a:pt x="13" y="5"/>
                  <a:pt x="12" y="5"/>
                </a:cubicBezTo>
                <a:cubicBezTo>
                  <a:pt x="11" y="6"/>
                  <a:pt x="10" y="6"/>
                  <a:pt x="11" y="8"/>
                </a:cubicBezTo>
                <a:cubicBezTo>
                  <a:pt x="11" y="9"/>
                  <a:pt x="12" y="10"/>
                  <a:pt x="12" y="11"/>
                </a:cubicBezTo>
                <a:cubicBezTo>
                  <a:pt x="12" y="12"/>
                  <a:pt x="11" y="14"/>
                  <a:pt x="12" y="15"/>
                </a:cubicBezTo>
                <a:cubicBezTo>
                  <a:pt x="12" y="16"/>
                  <a:pt x="13" y="17"/>
                  <a:pt x="13" y="18"/>
                </a:cubicBezTo>
                <a:cubicBezTo>
                  <a:pt x="14" y="19"/>
                  <a:pt x="14" y="20"/>
                  <a:pt x="14" y="22"/>
                </a:cubicBezTo>
                <a:cubicBezTo>
                  <a:pt x="14" y="23"/>
                  <a:pt x="13" y="24"/>
                  <a:pt x="14" y="25"/>
                </a:cubicBezTo>
                <a:cubicBezTo>
                  <a:pt x="14" y="26"/>
                  <a:pt x="14" y="27"/>
                  <a:pt x="14" y="28"/>
                </a:cubicBezTo>
                <a:cubicBezTo>
                  <a:pt x="12" y="31"/>
                  <a:pt x="11" y="33"/>
                  <a:pt x="11" y="36"/>
                </a:cubicBezTo>
                <a:cubicBezTo>
                  <a:pt x="10" y="39"/>
                  <a:pt x="10" y="42"/>
                  <a:pt x="9" y="44"/>
                </a:cubicBezTo>
                <a:cubicBezTo>
                  <a:pt x="7" y="47"/>
                  <a:pt x="7" y="50"/>
                  <a:pt x="6" y="53"/>
                </a:cubicBezTo>
                <a:cubicBezTo>
                  <a:pt x="5" y="54"/>
                  <a:pt x="4" y="55"/>
                  <a:pt x="3" y="56"/>
                </a:cubicBezTo>
                <a:cubicBezTo>
                  <a:pt x="2" y="57"/>
                  <a:pt x="2" y="58"/>
                  <a:pt x="2" y="59"/>
                </a:cubicBezTo>
                <a:cubicBezTo>
                  <a:pt x="1" y="60"/>
                  <a:pt x="1" y="61"/>
                  <a:pt x="1" y="63"/>
                </a:cubicBezTo>
                <a:cubicBezTo>
                  <a:pt x="1" y="64"/>
                  <a:pt x="0" y="65"/>
                  <a:pt x="0" y="66"/>
                </a:cubicBezTo>
                <a:cubicBezTo>
                  <a:pt x="0" y="69"/>
                  <a:pt x="3" y="69"/>
                  <a:pt x="4" y="68"/>
                </a:cubicBezTo>
                <a:cubicBezTo>
                  <a:pt x="6" y="66"/>
                  <a:pt x="6" y="63"/>
                  <a:pt x="9" y="64"/>
                </a:cubicBezTo>
                <a:cubicBezTo>
                  <a:pt x="10" y="65"/>
                  <a:pt x="9" y="67"/>
                  <a:pt x="8" y="68"/>
                </a:cubicBezTo>
                <a:cubicBezTo>
                  <a:pt x="6" y="69"/>
                  <a:pt x="4" y="69"/>
                  <a:pt x="4" y="72"/>
                </a:cubicBezTo>
                <a:cubicBezTo>
                  <a:pt x="4" y="73"/>
                  <a:pt x="6" y="74"/>
                  <a:pt x="7" y="73"/>
                </a:cubicBezTo>
                <a:cubicBezTo>
                  <a:pt x="8" y="71"/>
                  <a:pt x="9" y="70"/>
                  <a:pt x="11" y="70"/>
                </a:cubicBezTo>
                <a:cubicBezTo>
                  <a:pt x="13" y="71"/>
                  <a:pt x="14" y="72"/>
                  <a:pt x="12" y="73"/>
                </a:cubicBezTo>
                <a:cubicBezTo>
                  <a:pt x="11" y="75"/>
                  <a:pt x="11" y="76"/>
                  <a:pt x="11" y="78"/>
                </a:cubicBezTo>
                <a:cubicBezTo>
                  <a:pt x="12" y="80"/>
                  <a:pt x="11" y="82"/>
                  <a:pt x="12" y="84"/>
                </a:cubicBezTo>
                <a:cubicBezTo>
                  <a:pt x="12" y="87"/>
                  <a:pt x="12" y="89"/>
                  <a:pt x="11" y="92"/>
                </a:cubicBezTo>
                <a:cubicBezTo>
                  <a:pt x="11" y="94"/>
                  <a:pt x="10" y="96"/>
                  <a:pt x="9" y="98"/>
                </a:cubicBezTo>
                <a:cubicBezTo>
                  <a:pt x="8" y="100"/>
                  <a:pt x="10" y="101"/>
                  <a:pt x="12" y="101"/>
                </a:cubicBezTo>
                <a:cubicBezTo>
                  <a:pt x="14" y="100"/>
                  <a:pt x="15" y="98"/>
                  <a:pt x="18" y="99"/>
                </a:cubicBezTo>
                <a:cubicBezTo>
                  <a:pt x="20" y="100"/>
                  <a:pt x="22" y="101"/>
                  <a:pt x="25" y="102"/>
                </a:cubicBezTo>
                <a:cubicBezTo>
                  <a:pt x="28" y="102"/>
                  <a:pt x="29" y="100"/>
                  <a:pt x="31" y="100"/>
                </a:cubicBezTo>
                <a:cubicBezTo>
                  <a:pt x="32" y="99"/>
                  <a:pt x="33" y="99"/>
                  <a:pt x="33" y="99"/>
                </a:cubicBezTo>
                <a:cubicBezTo>
                  <a:pt x="34" y="98"/>
                  <a:pt x="33" y="97"/>
                  <a:pt x="33" y="96"/>
                </a:cubicBezTo>
                <a:cubicBezTo>
                  <a:pt x="32" y="94"/>
                  <a:pt x="32" y="91"/>
                  <a:pt x="32" y="88"/>
                </a:cubicBezTo>
                <a:cubicBezTo>
                  <a:pt x="33" y="86"/>
                  <a:pt x="35" y="84"/>
                  <a:pt x="36" y="83"/>
                </a:cubicBezTo>
                <a:cubicBezTo>
                  <a:pt x="36" y="83"/>
                  <a:pt x="36" y="83"/>
                  <a:pt x="36" y="83"/>
                </a:cubicBezTo>
                <a:cubicBezTo>
                  <a:pt x="37" y="82"/>
                  <a:pt x="36" y="83"/>
                  <a:pt x="36" y="83"/>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37" name="Freeform 183">
            <a:extLst>
              <a:ext uri="{FF2B5EF4-FFF2-40B4-BE49-F238E27FC236}">
                <a16:creationId xmlns:a16="http://schemas.microsoft.com/office/drawing/2014/main" id="{44D8B9BC-C2FA-A628-B321-9DC7A3AF8FB5}"/>
              </a:ext>
            </a:extLst>
          </p:cNvPr>
          <p:cNvSpPr/>
          <p:nvPr>
            <p:custDataLst>
              <p:tags r:id="rId19"/>
            </p:custDataLst>
          </p:nvPr>
        </p:nvSpPr>
        <p:spPr bwMode="auto">
          <a:xfrm>
            <a:off x="4230942" y="2826290"/>
            <a:ext cx="250272" cy="181197"/>
          </a:xfrm>
          <a:custGeom>
            <a:avLst/>
            <a:gdLst>
              <a:gd name="T0" fmla="*/ 51 w 214"/>
              <a:gd name="T1" fmla="*/ 145 h 155"/>
              <a:gd name="T2" fmla="*/ 55 w 214"/>
              <a:gd name="T3" fmla="*/ 151 h 155"/>
              <a:gd name="T4" fmla="*/ 67 w 214"/>
              <a:gd name="T5" fmla="*/ 151 h 155"/>
              <a:gd name="T6" fmla="*/ 78 w 214"/>
              <a:gd name="T7" fmla="*/ 144 h 155"/>
              <a:gd name="T8" fmla="*/ 100 w 214"/>
              <a:gd name="T9" fmla="*/ 141 h 155"/>
              <a:gd name="T10" fmla="*/ 112 w 214"/>
              <a:gd name="T11" fmla="*/ 142 h 155"/>
              <a:gd name="T12" fmla="*/ 119 w 214"/>
              <a:gd name="T13" fmla="*/ 140 h 155"/>
              <a:gd name="T14" fmla="*/ 126 w 214"/>
              <a:gd name="T15" fmla="*/ 134 h 155"/>
              <a:gd name="T16" fmla="*/ 135 w 214"/>
              <a:gd name="T17" fmla="*/ 128 h 155"/>
              <a:gd name="T18" fmla="*/ 144 w 214"/>
              <a:gd name="T19" fmla="*/ 125 h 155"/>
              <a:gd name="T20" fmla="*/ 145 w 214"/>
              <a:gd name="T21" fmla="*/ 117 h 155"/>
              <a:gd name="T22" fmla="*/ 153 w 214"/>
              <a:gd name="T23" fmla="*/ 109 h 155"/>
              <a:gd name="T24" fmla="*/ 159 w 214"/>
              <a:gd name="T25" fmla="*/ 104 h 155"/>
              <a:gd name="T26" fmla="*/ 159 w 214"/>
              <a:gd name="T27" fmla="*/ 99 h 155"/>
              <a:gd name="T28" fmla="*/ 154 w 214"/>
              <a:gd name="T29" fmla="*/ 92 h 155"/>
              <a:gd name="T30" fmla="*/ 155 w 214"/>
              <a:gd name="T31" fmla="*/ 82 h 155"/>
              <a:gd name="T32" fmla="*/ 170 w 214"/>
              <a:gd name="T33" fmla="*/ 61 h 155"/>
              <a:gd name="T34" fmla="*/ 183 w 214"/>
              <a:gd name="T35" fmla="*/ 53 h 155"/>
              <a:gd name="T36" fmla="*/ 208 w 214"/>
              <a:gd name="T37" fmla="*/ 41 h 155"/>
              <a:gd name="T38" fmla="*/ 212 w 214"/>
              <a:gd name="T39" fmla="*/ 33 h 155"/>
              <a:gd name="T40" fmla="*/ 214 w 214"/>
              <a:gd name="T41" fmla="*/ 28 h 155"/>
              <a:gd name="T42" fmla="*/ 192 w 214"/>
              <a:gd name="T43" fmla="*/ 27 h 155"/>
              <a:gd name="T44" fmla="*/ 175 w 214"/>
              <a:gd name="T45" fmla="*/ 22 h 155"/>
              <a:gd name="T46" fmla="*/ 170 w 214"/>
              <a:gd name="T47" fmla="*/ 20 h 155"/>
              <a:gd name="T48" fmla="*/ 166 w 214"/>
              <a:gd name="T49" fmla="*/ 24 h 155"/>
              <a:gd name="T50" fmla="*/ 153 w 214"/>
              <a:gd name="T51" fmla="*/ 20 h 155"/>
              <a:gd name="T52" fmla="*/ 137 w 214"/>
              <a:gd name="T53" fmla="*/ 16 h 155"/>
              <a:gd name="T54" fmla="*/ 132 w 214"/>
              <a:gd name="T55" fmla="*/ 11 h 155"/>
              <a:gd name="T56" fmla="*/ 128 w 214"/>
              <a:gd name="T57" fmla="*/ 7 h 155"/>
              <a:gd name="T58" fmla="*/ 123 w 214"/>
              <a:gd name="T59" fmla="*/ 8 h 155"/>
              <a:gd name="T60" fmla="*/ 111 w 214"/>
              <a:gd name="T61" fmla="*/ 6 h 155"/>
              <a:gd name="T62" fmla="*/ 100 w 214"/>
              <a:gd name="T63" fmla="*/ 6 h 155"/>
              <a:gd name="T64" fmla="*/ 89 w 214"/>
              <a:gd name="T65" fmla="*/ 6 h 155"/>
              <a:gd name="T66" fmla="*/ 71 w 214"/>
              <a:gd name="T67" fmla="*/ 5 h 155"/>
              <a:gd name="T68" fmla="*/ 53 w 214"/>
              <a:gd name="T69" fmla="*/ 3 h 155"/>
              <a:gd name="T70" fmla="*/ 38 w 214"/>
              <a:gd name="T71" fmla="*/ 5 h 155"/>
              <a:gd name="T72" fmla="*/ 27 w 214"/>
              <a:gd name="T73" fmla="*/ 1 h 155"/>
              <a:gd name="T74" fmla="*/ 17 w 214"/>
              <a:gd name="T75" fmla="*/ 4 h 155"/>
              <a:gd name="T76" fmla="*/ 13 w 214"/>
              <a:gd name="T77" fmla="*/ 9 h 155"/>
              <a:gd name="T78" fmla="*/ 3 w 214"/>
              <a:gd name="T79" fmla="*/ 13 h 155"/>
              <a:gd name="T80" fmla="*/ 4 w 214"/>
              <a:gd name="T81" fmla="*/ 22 h 155"/>
              <a:gd name="T82" fmla="*/ 8 w 214"/>
              <a:gd name="T83" fmla="*/ 21 h 155"/>
              <a:gd name="T84" fmla="*/ 10 w 214"/>
              <a:gd name="T85" fmla="*/ 27 h 155"/>
              <a:gd name="T86" fmla="*/ 8 w 214"/>
              <a:gd name="T87" fmla="*/ 34 h 155"/>
              <a:gd name="T88" fmla="*/ 14 w 214"/>
              <a:gd name="T89" fmla="*/ 33 h 155"/>
              <a:gd name="T90" fmla="*/ 21 w 214"/>
              <a:gd name="T91" fmla="*/ 39 h 155"/>
              <a:gd name="T92" fmla="*/ 26 w 214"/>
              <a:gd name="T93" fmla="*/ 37 h 155"/>
              <a:gd name="T94" fmla="*/ 42 w 214"/>
              <a:gd name="T95" fmla="*/ 35 h 155"/>
              <a:gd name="T96" fmla="*/ 48 w 214"/>
              <a:gd name="T97" fmla="*/ 40 h 155"/>
              <a:gd name="T98" fmla="*/ 52 w 214"/>
              <a:gd name="T99" fmla="*/ 48 h 155"/>
              <a:gd name="T100" fmla="*/ 41 w 214"/>
              <a:gd name="T101" fmla="*/ 55 h 155"/>
              <a:gd name="T102" fmla="*/ 41 w 214"/>
              <a:gd name="T103" fmla="*/ 71 h 155"/>
              <a:gd name="T104" fmla="*/ 39 w 214"/>
              <a:gd name="T105" fmla="*/ 84 h 155"/>
              <a:gd name="T106" fmla="*/ 32 w 214"/>
              <a:gd name="T107" fmla="*/ 84 h 155"/>
              <a:gd name="T108" fmla="*/ 36 w 214"/>
              <a:gd name="T109" fmla="*/ 91 h 155"/>
              <a:gd name="T110" fmla="*/ 36 w 214"/>
              <a:gd name="T111" fmla="*/ 103 h 155"/>
              <a:gd name="T112" fmla="*/ 40 w 214"/>
              <a:gd name="T113" fmla="*/ 112 h 155"/>
              <a:gd name="T114" fmla="*/ 32 w 214"/>
              <a:gd name="T115" fmla="*/ 122 h 155"/>
              <a:gd name="T116" fmla="*/ 39 w 214"/>
              <a:gd name="T117" fmla="*/ 130 h 155"/>
              <a:gd name="T118" fmla="*/ 43 w 214"/>
              <a:gd name="T119" fmla="*/ 135 h 155"/>
              <a:gd name="T120" fmla="*/ 50 w 214"/>
              <a:gd name="T121" fmla="*/ 138 h 155"/>
              <a:gd name="T122" fmla="*/ 50 w 214"/>
              <a:gd name="T123" fmla="*/ 14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 h="155">
                <a:moveTo>
                  <a:pt x="50" y="140"/>
                </a:moveTo>
                <a:cubicBezTo>
                  <a:pt x="49" y="142"/>
                  <a:pt x="50" y="144"/>
                  <a:pt x="51" y="145"/>
                </a:cubicBezTo>
                <a:cubicBezTo>
                  <a:pt x="52" y="146"/>
                  <a:pt x="53" y="147"/>
                  <a:pt x="53" y="147"/>
                </a:cubicBezTo>
                <a:cubicBezTo>
                  <a:pt x="54" y="149"/>
                  <a:pt x="54" y="150"/>
                  <a:pt x="55" y="151"/>
                </a:cubicBezTo>
                <a:cubicBezTo>
                  <a:pt x="56" y="153"/>
                  <a:pt x="59" y="153"/>
                  <a:pt x="61" y="154"/>
                </a:cubicBezTo>
                <a:cubicBezTo>
                  <a:pt x="64" y="155"/>
                  <a:pt x="66" y="153"/>
                  <a:pt x="67" y="151"/>
                </a:cubicBezTo>
                <a:cubicBezTo>
                  <a:pt x="69" y="149"/>
                  <a:pt x="72" y="148"/>
                  <a:pt x="74" y="147"/>
                </a:cubicBezTo>
                <a:cubicBezTo>
                  <a:pt x="75" y="146"/>
                  <a:pt x="76" y="145"/>
                  <a:pt x="78" y="144"/>
                </a:cubicBezTo>
                <a:cubicBezTo>
                  <a:pt x="79" y="144"/>
                  <a:pt x="80" y="143"/>
                  <a:pt x="81" y="142"/>
                </a:cubicBezTo>
                <a:cubicBezTo>
                  <a:pt x="87" y="140"/>
                  <a:pt x="94" y="141"/>
                  <a:pt x="100" y="141"/>
                </a:cubicBezTo>
                <a:cubicBezTo>
                  <a:pt x="103" y="141"/>
                  <a:pt x="105" y="141"/>
                  <a:pt x="108" y="142"/>
                </a:cubicBezTo>
                <a:cubicBezTo>
                  <a:pt x="110" y="142"/>
                  <a:pt x="111" y="142"/>
                  <a:pt x="112" y="142"/>
                </a:cubicBezTo>
                <a:cubicBezTo>
                  <a:pt x="114" y="142"/>
                  <a:pt x="114" y="141"/>
                  <a:pt x="116" y="140"/>
                </a:cubicBezTo>
                <a:cubicBezTo>
                  <a:pt x="117" y="140"/>
                  <a:pt x="118" y="139"/>
                  <a:pt x="119" y="140"/>
                </a:cubicBezTo>
                <a:cubicBezTo>
                  <a:pt x="120" y="140"/>
                  <a:pt x="121" y="141"/>
                  <a:pt x="122" y="141"/>
                </a:cubicBezTo>
                <a:cubicBezTo>
                  <a:pt x="124" y="141"/>
                  <a:pt x="125" y="136"/>
                  <a:pt x="126" y="134"/>
                </a:cubicBezTo>
                <a:cubicBezTo>
                  <a:pt x="127" y="132"/>
                  <a:pt x="129" y="130"/>
                  <a:pt x="131" y="129"/>
                </a:cubicBezTo>
                <a:cubicBezTo>
                  <a:pt x="132" y="128"/>
                  <a:pt x="133" y="128"/>
                  <a:pt x="135" y="128"/>
                </a:cubicBezTo>
                <a:cubicBezTo>
                  <a:pt x="136" y="127"/>
                  <a:pt x="138" y="126"/>
                  <a:pt x="139" y="126"/>
                </a:cubicBezTo>
                <a:cubicBezTo>
                  <a:pt x="140" y="126"/>
                  <a:pt x="143" y="126"/>
                  <a:pt x="144" y="125"/>
                </a:cubicBezTo>
                <a:cubicBezTo>
                  <a:pt x="145" y="124"/>
                  <a:pt x="144" y="122"/>
                  <a:pt x="144" y="121"/>
                </a:cubicBezTo>
                <a:cubicBezTo>
                  <a:pt x="144" y="120"/>
                  <a:pt x="145" y="119"/>
                  <a:pt x="145" y="117"/>
                </a:cubicBezTo>
                <a:cubicBezTo>
                  <a:pt x="147" y="115"/>
                  <a:pt x="148" y="113"/>
                  <a:pt x="150" y="111"/>
                </a:cubicBezTo>
                <a:cubicBezTo>
                  <a:pt x="151" y="110"/>
                  <a:pt x="152" y="110"/>
                  <a:pt x="153" y="109"/>
                </a:cubicBezTo>
                <a:cubicBezTo>
                  <a:pt x="154" y="108"/>
                  <a:pt x="155" y="107"/>
                  <a:pt x="156" y="106"/>
                </a:cubicBezTo>
                <a:cubicBezTo>
                  <a:pt x="157" y="105"/>
                  <a:pt x="158" y="104"/>
                  <a:pt x="159" y="104"/>
                </a:cubicBezTo>
                <a:cubicBezTo>
                  <a:pt x="160" y="103"/>
                  <a:pt x="161" y="103"/>
                  <a:pt x="161" y="101"/>
                </a:cubicBezTo>
                <a:cubicBezTo>
                  <a:pt x="161" y="100"/>
                  <a:pt x="160" y="99"/>
                  <a:pt x="159" y="99"/>
                </a:cubicBezTo>
                <a:cubicBezTo>
                  <a:pt x="158" y="98"/>
                  <a:pt x="156" y="96"/>
                  <a:pt x="156" y="95"/>
                </a:cubicBezTo>
                <a:cubicBezTo>
                  <a:pt x="155" y="94"/>
                  <a:pt x="155" y="93"/>
                  <a:pt x="154" y="92"/>
                </a:cubicBezTo>
                <a:cubicBezTo>
                  <a:pt x="153" y="91"/>
                  <a:pt x="153" y="90"/>
                  <a:pt x="153" y="89"/>
                </a:cubicBezTo>
                <a:cubicBezTo>
                  <a:pt x="152" y="86"/>
                  <a:pt x="154" y="84"/>
                  <a:pt x="155" y="82"/>
                </a:cubicBezTo>
                <a:cubicBezTo>
                  <a:pt x="159" y="77"/>
                  <a:pt x="162" y="72"/>
                  <a:pt x="166" y="68"/>
                </a:cubicBezTo>
                <a:cubicBezTo>
                  <a:pt x="167" y="66"/>
                  <a:pt x="169" y="64"/>
                  <a:pt x="170" y="61"/>
                </a:cubicBezTo>
                <a:cubicBezTo>
                  <a:pt x="172" y="59"/>
                  <a:pt x="173" y="57"/>
                  <a:pt x="176" y="55"/>
                </a:cubicBezTo>
                <a:cubicBezTo>
                  <a:pt x="178" y="54"/>
                  <a:pt x="181" y="54"/>
                  <a:pt x="183" y="53"/>
                </a:cubicBezTo>
                <a:cubicBezTo>
                  <a:pt x="186" y="53"/>
                  <a:pt x="189" y="52"/>
                  <a:pt x="192" y="50"/>
                </a:cubicBezTo>
                <a:cubicBezTo>
                  <a:pt x="197" y="47"/>
                  <a:pt x="203" y="45"/>
                  <a:pt x="208" y="41"/>
                </a:cubicBezTo>
                <a:cubicBezTo>
                  <a:pt x="211" y="40"/>
                  <a:pt x="213" y="39"/>
                  <a:pt x="212" y="36"/>
                </a:cubicBezTo>
                <a:cubicBezTo>
                  <a:pt x="212" y="35"/>
                  <a:pt x="211" y="34"/>
                  <a:pt x="212" y="33"/>
                </a:cubicBezTo>
                <a:cubicBezTo>
                  <a:pt x="212" y="31"/>
                  <a:pt x="213" y="30"/>
                  <a:pt x="214" y="29"/>
                </a:cubicBezTo>
                <a:cubicBezTo>
                  <a:pt x="214" y="29"/>
                  <a:pt x="214" y="28"/>
                  <a:pt x="214" y="28"/>
                </a:cubicBezTo>
                <a:cubicBezTo>
                  <a:pt x="210" y="29"/>
                  <a:pt x="206" y="29"/>
                  <a:pt x="202" y="30"/>
                </a:cubicBezTo>
                <a:cubicBezTo>
                  <a:pt x="198" y="31"/>
                  <a:pt x="195" y="29"/>
                  <a:pt x="192" y="27"/>
                </a:cubicBezTo>
                <a:cubicBezTo>
                  <a:pt x="188" y="25"/>
                  <a:pt x="184" y="26"/>
                  <a:pt x="181" y="24"/>
                </a:cubicBezTo>
                <a:cubicBezTo>
                  <a:pt x="179" y="24"/>
                  <a:pt x="177" y="23"/>
                  <a:pt x="175" y="22"/>
                </a:cubicBezTo>
                <a:cubicBezTo>
                  <a:pt x="174" y="21"/>
                  <a:pt x="173" y="21"/>
                  <a:pt x="173" y="21"/>
                </a:cubicBezTo>
                <a:cubicBezTo>
                  <a:pt x="172" y="21"/>
                  <a:pt x="171" y="20"/>
                  <a:pt x="170" y="20"/>
                </a:cubicBezTo>
                <a:cubicBezTo>
                  <a:pt x="170" y="20"/>
                  <a:pt x="169" y="22"/>
                  <a:pt x="169" y="22"/>
                </a:cubicBezTo>
                <a:cubicBezTo>
                  <a:pt x="168" y="23"/>
                  <a:pt x="167" y="23"/>
                  <a:pt x="166" y="24"/>
                </a:cubicBezTo>
                <a:cubicBezTo>
                  <a:pt x="164" y="24"/>
                  <a:pt x="161" y="24"/>
                  <a:pt x="159" y="23"/>
                </a:cubicBezTo>
                <a:cubicBezTo>
                  <a:pt x="157" y="22"/>
                  <a:pt x="155" y="20"/>
                  <a:pt x="153" y="20"/>
                </a:cubicBezTo>
                <a:cubicBezTo>
                  <a:pt x="150" y="20"/>
                  <a:pt x="147" y="19"/>
                  <a:pt x="144" y="18"/>
                </a:cubicBezTo>
                <a:cubicBezTo>
                  <a:pt x="142" y="17"/>
                  <a:pt x="139" y="17"/>
                  <a:pt x="137" y="16"/>
                </a:cubicBezTo>
                <a:cubicBezTo>
                  <a:pt x="136" y="16"/>
                  <a:pt x="134" y="15"/>
                  <a:pt x="134" y="15"/>
                </a:cubicBezTo>
                <a:cubicBezTo>
                  <a:pt x="133" y="14"/>
                  <a:pt x="133" y="12"/>
                  <a:pt x="132" y="11"/>
                </a:cubicBezTo>
                <a:cubicBezTo>
                  <a:pt x="131" y="10"/>
                  <a:pt x="131" y="9"/>
                  <a:pt x="130" y="8"/>
                </a:cubicBezTo>
                <a:cubicBezTo>
                  <a:pt x="129" y="8"/>
                  <a:pt x="129" y="7"/>
                  <a:pt x="128" y="7"/>
                </a:cubicBezTo>
                <a:cubicBezTo>
                  <a:pt x="128" y="7"/>
                  <a:pt x="128" y="7"/>
                  <a:pt x="127" y="8"/>
                </a:cubicBezTo>
                <a:cubicBezTo>
                  <a:pt x="126" y="8"/>
                  <a:pt x="124" y="8"/>
                  <a:pt x="123" y="8"/>
                </a:cubicBezTo>
                <a:cubicBezTo>
                  <a:pt x="121" y="9"/>
                  <a:pt x="120" y="9"/>
                  <a:pt x="118" y="9"/>
                </a:cubicBezTo>
                <a:cubicBezTo>
                  <a:pt x="115" y="8"/>
                  <a:pt x="114" y="6"/>
                  <a:pt x="111" y="6"/>
                </a:cubicBezTo>
                <a:cubicBezTo>
                  <a:pt x="108" y="6"/>
                  <a:pt x="106" y="8"/>
                  <a:pt x="103" y="7"/>
                </a:cubicBezTo>
                <a:cubicBezTo>
                  <a:pt x="102" y="7"/>
                  <a:pt x="101" y="6"/>
                  <a:pt x="100" y="6"/>
                </a:cubicBezTo>
                <a:cubicBezTo>
                  <a:pt x="99" y="5"/>
                  <a:pt x="98" y="5"/>
                  <a:pt x="97" y="5"/>
                </a:cubicBezTo>
                <a:cubicBezTo>
                  <a:pt x="94" y="5"/>
                  <a:pt x="91" y="6"/>
                  <a:pt x="89" y="6"/>
                </a:cubicBezTo>
                <a:cubicBezTo>
                  <a:pt x="86" y="7"/>
                  <a:pt x="83" y="7"/>
                  <a:pt x="80" y="7"/>
                </a:cubicBezTo>
                <a:cubicBezTo>
                  <a:pt x="77" y="7"/>
                  <a:pt x="74" y="6"/>
                  <a:pt x="71" y="5"/>
                </a:cubicBezTo>
                <a:cubicBezTo>
                  <a:pt x="68" y="5"/>
                  <a:pt x="65" y="5"/>
                  <a:pt x="62" y="4"/>
                </a:cubicBezTo>
                <a:cubicBezTo>
                  <a:pt x="59" y="3"/>
                  <a:pt x="57" y="2"/>
                  <a:pt x="53" y="3"/>
                </a:cubicBezTo>
                <a:cubicBezTo>
                  <a:pt x="51" y="3"/>
                  <a:pt x="48" y="4"/>
                  <a:pt x="45" y="4"/>
                </a:cubicBezTo>
                <a:cubicBezTo>
                  <a:pt x="43" y="4"/>
                  <a:pt x="41" y="5"/>
                  <a:pt x="38" y="5"/>
                </a:cubicBezTo>
                <a:cubicBezTo>
                  <a:pt x="36" y="4"/>
                  <a:pt x="33" y="2"/>
                  <a:pt x="31" y="1"/>
                </a:cubicBezTo>
                <a:cubicBezTo>
                  <a:pt x="30" y="1"/>
                  <a:pt x="29" y="0"/>
                  <a:pt x="27" y="1"/>
                </a:cubicBezTo>
                <a:cubicBezTo>
                  <a:pt x="26" y="1"/>
                  <a:pt x="25" y="1"/>
                  <a:pt x="24" y="1"/>
                </a:cubicBezTo>
                <a:cubicBezTo>
                  <a:pt x="22" y="0"/>
                  <a:pt x="19" y="2"/>
                  <a:pt x="17" y="4"/>
                </a:cubicBezTo>
                <a:cubicBezTo>
                  <a:pt x="16" y="5"/>
                  <a:pt x="19" y="7"/>
                  <a:pt x="17" y="8"/>
                </a:cubicBezTo>
                <a:cubicBezTo>
                  <a:pt x="16" y="8"/>
                  <a:pt x="15" y="8"/>
                  <a:pt x="13" y="9"/>
                </a:cubicBezTo>
                <a:cubicBezTo>
                  <a:pt x="11" y="11"/>
                  <a:pt x="10" y="8"/>
                  <a:pt x="8" y="8"/>
                </a:cubicBezTo>
                <a:cubicBezTo>
                  <a:pt x="5" y="9"/>
                  <a:pt x="4" y="11"/>
                  <a:pt x="3" y="13"/>
                </a:cubicBezTo>
                <a:cubicBezTo>
                  <a:pt x="1" y="14"/>
                  <a:pt x="0" y="15"/>
                  <a:pt x="1" y="18"/>
                </a:cubicBezTo>
                <a:cubicBezTo>
                  <a:pt x="2" y="19"/>
                  <a:pt x="3" y="20"/>
                  <a:pt x="4" y="22"/>
                </a:cubicBezTo>
                <a:cubicBezTo>
                  <a:pt x="4" y="23"/>
                  <a:pt x="5" y="23"/>
                  <a:pt x="6" y="23"/>
                </a:cubicBezTo>
                <a:cubicBezTo>
                  <a:pt x="7" y="23"/>
                  <a:pt x="8" y="22"/>
                  <a:pt x="8" y="21"/>
                </a:cubicBezTo>
                <a:cubicBezTo>
                  <a:pt x="10" y="20"/>
                  <a:pt x="10" y="23"/>
                  <a:pt x="9" y="24"/>
                </a:cubicBezTo>
                <a:cubicBezTo>
                  <a:pt x="8" y="25"/>
                  <a:pt x="8" y="26"/>
                  <a:pt x="10" y="27"/>
                </a:cubicBezTo>
                <a:cubicBezTo>
                  <a:pt x="12" y="27"/>
                  <a:pt x="11" y="31"/>
                  <a:pt x="10" y="31"/>
                </a:cubicBezTo>
                <a:cubicBezTo>
                  <a:pt x="9" y="32"/>
                  <a:pt x="8" y="33"/>
                  <a:pt x="8" y="34"/>
                </a:cubicBezTo>
                <a:cubicBezTo>
                  <a:pt x="7" y="35"/>
                  <a:pt x="7" y="36"/>
                  <a:pt x="7" y="38"/>
                </a:cubicBezTo>
                <a:cubicBezTo>
                  <a:pt x="10" y="36"/>
                  <a:pt x="11" y="34"/>
                  <a:pt x="14" y="33"/>
                </a:cubicBezTo>
                <a:cubicBezTo>
                  <a:pt x="16" y="32"/>
                  <a:pt x="20" y="31"/>
                  <a:pt x="21" y="34"/>
                </a:cubicBezTo>
                <a:cubicBezTo>
                  <a:pt x="22" y="35"/>
                  <a:pt x="22" y="37"/>
                  <a:pt x="21" y="39"/>
                </a:cubicBezTo>
                <a:cubicBezTo>
                  <a:pt x="21" y="40"/>
                  <a:pt x="22" y="39"/>
                  <a:pt x="22" y="39"/>
                </a:cubicBezTo>
                <a:cubicBezTo>
                  <a:pt x="24" y="39"/>
                  <a:pt x="25" y="38"/>
                  <a:pt x="26" y="37"/>
                </a:cubicBezTo>
                <a:cubicBezTo>
                  <a:pt x="28" y="36"/>
                  <a:pt x="31" y="37"/>
                  <a:pt x="34" y="37"/>
                </a:cubicBezTo>
                <a:cubicBezTo>
                  <a:pt x="37" y="37"/>
                  <a:pt x="39" y="35"/>
                  <a:pt x="42" y="35"/>
                </a:cubicBezTo>
                <a:cubicBezTo>
                  <a:pt x="44" y="35"/>
                  <a:pt x="47" y="35"/>
                  <a:pt x="47" y="37"/>
                </a:cubicBezTo>
                <a:cubicBezTo>
                  <a:pt x="47" y="38"/>
                  <a:pt x="47" y="39"/>
                  <a:pt x="48" y="40"/>
                </a:cubicBezTo>
                <a:cubicBezTo>
                  <a:pt x="48" y="41"/>
                  <a:pt x="49" y="42"/>
                  <a:pt x="50" y="42"/>
                </a:cubicBezTo>
                <a:cubicBezTo>
                  <a:pt x="52" y="44"/>
                  <a:pt x="53" y="46"/>
                  <a:pt x="52" y="48"/>
                </a:cubicBezTo>
                <a:cubicBezTo>
                  <a:pt x="50" y="50"/>
                  <a:pt x="48" y="51"/>
                  <a:pt x="46" y="52"/>
                </a:cubicBezTo>
                <a:cubicBezTo>
                  <a:pt x="44" y="53"/>
                  <a:pt x="42" y="53"/>
                  <a:pt x="41" y="55"/>
                </a:cubicBezTo>
                <a:cubicBezTo>
                  <a:pt x="41" y="58"/>
                  <a:pt x="43" y="60"/>
                  <a:pt x="43" y="62"/>
                </a:cubicBezTo>
                <a:cubicBezTo>
                  <a:pt x="43" y="65"/>
                  <a:pt x="42" y="68"/>
                  <a:pt x="41" y="71"/>
                </a:cubicBezTo>
                <a:cubicBezTo>
                  <a:pt x="41" y="74"/>
                  <a:pt x="41" y="77"/>
                  <a:pt x="40" y="80"/>
                </a:cubicBezTo>
                <a:cubicBezTo>
                  <a:pt x="40" y="81"/>
                  <a:pt x="40" y="83"/>
                  <a:pt x="39" y="84"/>
                </a:cubicBezTo>
                <a:cubicBezTo>
                  <a:pt x="38" y="84"/>
                  <a:pt x="37" y="84"/>
                  <a:pt x="36" y="84"/>
                </a:cubicBezTo>
                <a:cubicBezTo>
                  <a:pt x="35" y="84"/>
                  <a:pt x="34" y="84"/>
                  <a:pt x="32" y="84"/>
                </a:cubicBezTo>
                <a:cubicBezTo>
                  <a:pt x="31" y="84"/>
                  <a:pt x="31" y="85"/>
                  <a:pt x="32" y="86"/>
                </a:cubicBezTo>
                <a:cubicBezTo>
                  <a:pt x="33" y="88"/>
                  <a:pt x="35" y="89"/>
                  <a:pt x="36" y="91"/>
                </a:cubicBezTo>
                <a:cubicBezTo>
                  <a:pt x="38" y="92"/>
                  <a:pt x="40" y="94"/>
                  <a:pt x="40" y="96"/>
                </a:cubicBezTo>
                <a:cubicBezTo>
                  <a:pt x="39" y="98"/>
                  <a:pt x="37" y="101"/>
                  <a:pt x="36" y="103"/>
                </a:cubicBezTo>
                <a:cubicBezTo>
                  <a:pt x="34" y="105"/>
                  <a:pt x="34" y="108"/>
                  <a:pt x="36" y="110"/>
                </a:cubicBezTo>
                <a:cubicBezTo>
                  <a:pt x="37" y="111"/>
                  <a:pt x="39" y="111"/>
                  <a:pt x="40" y="112"/>
                </a:cubicBezTo>
                <a:cubicBezTo>
                  <a:pt x="42" y="114"/>
                  <a:pt x="38" y="116"/>
                  <a:pt x="37" y="117"/>
                </a:cubicBezTo>
                <a:cubicBezTo>
                  <a:pt x="35" y="118"/>
                  <a:pt x="33" y="120"/>
                  <a:pt x="32" y="122"/>
                </a:cubicBezTo>
                <a:cubicBezTo>
                  <a:pt x="31" y="125"/>
                  <a:pt x="32" y="129"/>
                  <a:pt x="33" y="131"/>
                </a:cubicBezTo>
                <a:cubicBezTo>
                  <a:pt x="34" y="131"/>
                  <a:pt x="37" y="129"/>
                  <a:pt x="39" y="130"/>
                </a:cubicBezTo>
                <a:cubicBezTo>
                  <a:pt x="40" y="130"/>
                  <a:pt x="40" y="132"/>
                  <a:pt x="40" y="133"/>
                </a:cubicBezTo>
                <a:cubicBezTo>
                  <a:pt x="41" y="134"/>
                  <a:pt x="42" y="135"/>
                  <a:pt x="43" y="135"/>
                </a:cubicBezTo>
                <a:cubicBezTo>
                  <a:pt x="44" y="136"/>
                  <a:pt x="45" y="136"/>
                  <a:pt x="46" y="137"/>
                </a:cubicBezTo>
                <a:cubicBezTo>
                  <a:pt x="47" y="138"/>
                  <a:pt x="48" y="138"/>
                  <a:pt x="50" y="138"/>
                </a:cubicBezTo>
                <a:cubicBezTo>
                  <a:pt x="53" y="138"/>
                  <a:pt x="50" y="140"/>
                  <a:pt x="50" y="141"/>
                </a:cubicBezTo>
                <a:cubicBezTo>
                  <a:pt x="50" y="141"/>
                  <a:pt x="50" y="140"/>
                  <a:pt x="50" y="140"/>
                </a:cubicBezTo>
                <a:cubicBezTo>
                  <a:pt x="48" y="143"/>
                  <a:pt x="50" y="140"/>
                  <a:pt x="50" y="140"/>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38" name="Freeform 189">
            <a:extLst>
              <a:ext uri="{FF2B5EF4-FFF2-40B4-BE49-F238E27FC236}">
                <a16:creationId xmlns:a16="http://schemas.microsoft.com/office/drawing/2014/main" id="{E099C1E7-9BF4-D4AF-C7F5-340A194EE757}"/>
              </a:ext>
            </a:extLst>
          </p:cNvPr>
          <p:cNvSpPr/>
          <p:nvPr>
            <p:custDataLst>
              <p:tags r:id="rId20"/>
            </p:custDataLst>
          </p:nvPr>
        </p:nvSpPr>
        <p:spPr bwMode="auto">
          <a:xfrm>
            <a:off x="4244957" y="2982459"/>
            <a:ext cx="406442" cy="389423"/>
          </a:xfrm>
          <a:custGeom>
            <a:avLst/>
            <a:gdLst>
              <a:gd name="T0" fmla="*/ 64 w 348"/>
              <a:gd name="T1" fmla="*/ 128 h 333"/>
              <a:gd name="T2" fmla="*/ 52 w 348"/>
              <a:gd name="T3" fmla="*/ 139 h 333"/>
              <a:gd name="T4" fmla="*/ 37 w 348"/>
              <a:gd name="T5" fmla="*/ 140 h 333"/>
              <a:gd name="T6" fmla="*/ 33 w 348"/>
              <a:gd name="T7" fmla="*/ 144 h 333"/>
              <a:gd name="T8" fmla="*/ 16 w 348"/>
              <a:gd name="T9" fmla="*/ 148 h 333"/>
              <a:gd name="T10" fmla="*/ 2 w 348"/>
              <a:gd name="T11" fmla="*/ 158 h 333"/>
              <a:gd name="T12" fmla="*/ 0 w 348"/>
              <a:gd name="T13" fmla="*/ 166 h 333"/>
              <a:gd name="T14" fmla="*/ 2 w 348"/>
              <a:gd name="T15" fmla="*/ 186 h 333"/>
              <a:gd name="T16" fmla="*/ 14 w 348"/>
              <a:gd name="T17" fmla="*/ 194 h 333"/>
              <a:gd name="T18" fmla="*/ 163 w 348"/>
              <a:gd name="T19" fmla="*/ 294 h 333"/>
              <a:gd name="T20" fmla="*/ 169 w 348"/>
              <a:gd name="T21" fmla="*/ 304 h 333"/>
              <a:gd name="T22" fmla="*/ 179 w 348"/>
              <a:gd name="T23" fmla="*/ 311 h 333"/>
              <a:gd name="T24" fmla="*/ 195 w 348"/>
              <a:gd name="T25" fmla="*/ 315 h 333"/>
              <a:gd name="T26" fmla="*/ 204 w 348"/>
              <a:gd name="T27" fmla="*/ 332 h 333"/>
              <a:gd name="T28" fmla="*/ 232 w 348"/>
              <a:gd name="T29" fmla="*/ 328 h 333"/>
              <a:gd name="T30" fmla="*/ 271 w 348"/>
              <a:gd name="T31" fmla="*/ 301 h 333"/>
              <a:gd name="T32" fmla="*/ 348 w 348"/>
              <a:gd name="T33" fmla="*/ 253 h 333"/>
              <a:gd name="T34" fmla="*/ 339 w 348"/>
              <a:gd name="T35" fmla="*/ 240 h 333"/>
              <a:gd name="T36" fmla="*/ 329 w 348"/>
              <a:gd name="T37" fmla="*/ 236 h 333"/>
              <a:gd name="T38" fmla="*/ 319 w 348"/>
              <a:gd name="T39" fmla="*/ 235 h 333"/>
              <a:gd name="T40" fmla="*/ 314 w 348"/>
              <a:gd name="T41" fmla="*/ 219 h 333"/>
              <a:gd name="T42" fmla="*/ 306 w 348"/>
              <a:gd name="T43" fmla="*/ 206 h 333"/>
              <a:gd name="T44" fmla="*/ 311 w 348"/>
              <a:gd name="T45" fmla="*/ 193 h 333"/>
              <a:gd name="T46" fmla="*/ 313 w 348"/>
              <a:gd name="T47" fmla="*/ 176 h 333"/>
              <a:gd name="T48" fmla="*/ 312 w 348"/>
              <a:gd name="T49" fmla="*/ 158 h 333"/>
              <a:gd name="T50" fmla="*/ 308 w 348"/>
              <a:gd name="T51" fmla="*/ 141 h 333"/>
              <a:gd name="T52" fmla="*/ 304 w 348"/>
              <a:gd name="T53" fmla="*/ 134 h 333"/>
              <a:gd name="T54" fmla="*/ 307 w 348"/>
              <a:gd name="T55" fmla="*/ 130 h 333"/>
              <a:gd name="T56" fmla="*/ 305 w 348"/>
              <a:gd name="T57" fmla="*/ 119 h 333"/>
              <a:gd name="T58" fmla="*/ 288 w 348"/>
              <a:gd name="T59" fmla="*/ 89 h 333"/>
              <a:gd name="T60" fmla="*/ 281 w 348"/>
              <a:gd name="T61" fmla="*/ 75 h 333"/>
              <a:gd name="T62" fmla="*/ 283 w 348"/>
              <a:gd name="T63" fmla="*/ 47 h 333"/>
              <a:gd name="T64" fmla="*/ 286 w 348"/>
              <a:gd name="T65" fmla="*/ 17 h 333"/>
              <a:gd name="T66" fmla="*/ 285 w 348"/>
              <a:gd name="T67" fmla="*/ 10 h 333"/>
              <a:gd name="T68" fmla="*/ 282 w 348"/>
              <a:gd name="T69" fmla="*/ 4 h 333"/>
              <a:gd name="T70" fmla="*/ 268 w 348"/>
              <a:gd name="T71" fmla="*/ 2 h 333"/>
              <a:gd name="T72" fmla="*/ 261 w 348"/>
              <a:gd name="T73" fmla="*/ 3 h 333"/>
              <a:gd name="T74" fmla="*/ 251 w 348"/>
              <a:gd name="T75" fmla="*/ 4 h 333"/>
              <a:gd name="T76" fmla="*/ 243 w 348"/>
              <a:gd name="T77" fmla="*/ 7 h 333"/>
              <a:gd name="T78" fmla="*/ 232 w 348"/>
              <a:gd name="T79" fmla="*/ 7 h 333"/>
              <a:gd name="T80" fmla="*/ 216 w 348"/>
              <a:gd name="T81" fmla="*/ 4 h 333"/>
              <a:gd name="T82" fmla="*/ 198 w 348"/>
              <a:gd name="T83" fmla="*/ 6 h 333"/>
              <a:gd name="T84" fmla="*/ 182 w 348"/>
              <a:gd name="T85" fmla="*/ 10 h 333"/>
              <a:gd name="T86" fmla="*/ 156 w 348"/>
              <a:gd name="T87" fmla="*/ 16 h 333"/>
              <a:gd name="T88" fmla="*/ 145 w 348"/>
              <a:gd name="T89" fmla="*/ 25 h 333"/>
              <a:gd name="T90" fmla="*/ 132 w 348"/>
              <a:gd name="T91" fmla="*/ 26 h 333"/>
              <a:gd name="T92" fmla="*/ 119 w 348"/>
              <a:gd name="T93" fmla="*/ 36 h 333"/>
              <a:gd name="T94" fmla="*/ 111 w 348"/>
              <a:gd name="T95" fmla="*/ 39 h 333"/>
              <a:gd name="T96" fmla="*/ 116 w 348"/>
              <a:gd name="T97" fmla="*/ 48 h 333"/>
              <a:gd name="T98" fmla="*/ 119 w 348"/>
              <a:gd name="T99" fmla="*/ 60 h 333"/>
              <a:gd name="T100" fmla="*/ 122 w 348"/>
              <a:gd name="T101" fmla="*/ 75 h 333"/>
              <a:gd name="T102" fmla="*/ 128 w 348"/>
              <a:gd name="T103" fmla="*/ 88 h 333"/>
              <a:gd name="T104" fmla="*/ 126 w 348"/>
              <a:gd name="T105" fmla="*/ 96 h 333"/>
              <a:gd name="T106" fmla="*/ 109 w 348"/>
              <a:gd name="T107" fmla="*/ 96 h 333"/>
              <a:gd name="T108" fmla="*/ 95 w 348"/>
              <a:gd name="T109" fmla="*/ 101 h 333"/>
              <a:gd name="T110" fmla="*/ 86 w 348"/>
              <a:gd name="T111" fmla="*/ 105 h 333"/>
              <a:gd name="T112" fmla="*/ 82 w 348"/>
              <a:gd name="T113" fmla="*/ 107 h 333"/>
              <a:gd name="T114" fmla="*/ 83 w 348"/>
              <a:gd name="T115" fmla="*/ 113 h 333"/>
              <a:gd name="T116" fmla="*/ 81 w 348"/>
              <a:gd name="T117" fmla="*/ 12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8" h="333">
                <a:moveTo>
                  <a:pt x="81" y="120"/>
                </a:moveTo>
                <a:cubicBezTo>
                  <a:pt x="76" y="123"/>
                  <a:pt x="70" y="125"/>
                  <a:pt x="64" y="128"/>
                </a:cubicBezTo>
                <a:cubicBezTo>
                  <a:pt x="61" y="129"/>
                  <a:pt x="60" y="131"/>
                  <a:pt x="58" y="133"/>
                </a:cubicBezTo>
                <a:cubicBezTo>
                  <a:pt x="56" y="135"/>
                  <a:pt x="54" y="138"/>
                  <a:pt x="52" y="139"/>
                </a:cubicBezTo>
                <a:cubicBezTo>
                  <a:pt x="49" y="140"/>
                  <a:pt x="46" y="140"/>
                  <a:pt x="44" y="140"/>
                </a:cubicBezTo>
                <a:cubicBezTo>
                  <a:pt x="42" y="140"/>
                  <a:pt x="39" y="139"/>
                  <a:pt x="37" y="140"/>
                </a:cubicBezTo>
                <a:cubicBezTo>
                  <a:pt x="37" y="141"/>
                  <a:pt x="36" y="142"/>
                  <a:pt x="36" y="143"/>
                </a:cubicBezTo>
                <a:cubicBezTo>
                  <a:pt x="35" y="144"/>
                  <a:pt x="34" y="144"/>
                  <a:pt x="33" y="144"/>
                </a:cubicBezTo>
                <a:cubicBezTo>
                  <a:pt x="30" y="145"/>
                  <a:pt x="27" y="145"/>
                  <a:pt x="24" y="145"/>
                </a:cubicBezTo>
                <a:cubicBezTo>
                  <a:pt x="21" y="146"/>
                  <a:pt x="19" y="146"/>
                  <a:pt x="16" y="148"/>
                </a:cubicBezTo>
                <a:cubicBezTo>
                  <a:pt x="14" y="149"/>
                  <a:pt x="11" y="151"/>
                  <a:pt x="9" y="153"/>
                </a:cubicBezTo>
                <a:cubicBezTo>
                  <a:pt x="7" y="155"/>
                  <a:pt x="4" y="156"/>
                  <a:pt x="2" y="158"/>
                </a:cubicBezTo>
                <a:cubicBezTo>
                  <a:pt x="1" y="159"/>
                  <a:pt x="0" y="160"/>
                  <a:pt x="0" y="161"/>
                </a:cubicBezTo>
                <a:cubicBezTo>
                  <a:pt x="0" y="162"/>
                  <a:pt x="0" y="164"/>
                  <a:pt x="0" y="166"/>
                </a:cubicBezTo>
                <a:cubicBezTo>
                  <a:pt x="0" y="172"/>
                  <a:pt x="0" y="178"/>
                  <a:pt x="0" y="184"/>
                </a:cubicBezTo>
                <a:cubicBezTo>
                  <a:pt x="0" y="185"/>
                  <a:pt x="1" y="186"/>
                  <a:pt x="2" y="186"/>
                </a:cubicBezTo>
                <a:cubicBezTo>
                  <a:pt x="3" y="187"/>
                  <a:pt x="4" y="188"/>
                  <a:pt x="5" y="189"/>
                </a:cubicBezTo>
                <a:cubicBezTo>
                  <a:pt x="8" y="191"/>
                  <a:pt x="11" y="192"/>
                  <a:pt x="14" y="194"/>
                </a:cubicBezTo>
                <a:cubicBezTo>
                  <a:pt x="58" y="224"/>
                  <a:pt x="102" y="253"/>
                  <a:pt x="146" y="283"/>
                </a:cubicBezTo>
                <a:cubicBezTo>
                  <a:pt x="152" y="286"/>
                  <a:pt x="157" y="290"/>
                  <a:pt x="163" y="294"/>
                </a:cubicBezTo>
                <a:cubicBezTo>
                  <a:pt x="165" y="295"/>
                  <a:pt x="167" y="296"/>
                  <a:pt x="167" y="299"/>
                </a:cubicBezTo>
                <a:cubicBezTo>
                  <a:pt x="168" y="301"/>
                  <a:pt x="167" y="304"/>
                  <a:pt x="169" y="304"/>
                </a:cubicBezTo>
                <a:cubicBezTo>
                  <a:pt x="171" y="305"/>
                  <a:pt x="173" y="305"/>
                  <a:pt x="175" y="306"/>
                </a:cubicBezTo>
                <a:cubicBezTo>
                  <a:pt x="176" y="308"/>
                  <a:pt x="176" y="310"/>
                  <a:pt x="179" y="311"/>
                </a:cubicBezTo>
                <a:cubicBezTo>
                  <a:pt x="181" y="311"/>
                  <a:pt x="184" y="310"/>
                  <a:pt x="186" y="311"/>
                </a:cubicBezTo>
                <a:cubicBezTo>
                  <a:pt x="189" y="312"/>
                  <a:pt x="192" y="314"/>
                  <a:pt x="195" y="315"/>
                </a:cubicBezTo>
                <a:cubicBezTo>
                  <a:pt x="199" y="318"/>
                  <a:pt x="203" y="321"/>
                  <a:pt x="203" y="327"/>
                </a:cubicBezTo>
                <a:cubicBezTo>
                  <a:pt x="202" y="329"/>
                  <a:pt x="201" y="332"/>
                  <a:pt x="204" y="332"/>
                </a:cubicBezTo>
                <a:cubicBezTo>
                  <a:pt x="207" y="333"/>
                  <a:pt x="210" y="333"/>
                  <a:pt x="213" y="332"/>
                </a:cubicBezTo>
                <a:cubicBezTo>
                  <a:pt x="220" y="331"/>
                  <a:pt x="226" y="329"/>
                  <a:pt x="232" y="328"/>
                </a:cubicBezTo>
                <a:cubicBezTo>
                  <a:pt x="238" y="326"/>
                  <a:pt x="245" y="325"/>
                  <a:pt x="249" y="321"/>
                </a:cubicBezTo>
                <a:cubicBezTo>
                  <a:pt x="256" y="314"/>
                  <a:pt x="263" y="308"/>
                  <a:pt x="271" y="301"/>
                </a:cubicBezTo>
                <a:cubicBezTo>
                  <a:pt x="278" y="295"/>
                  <a:pt x="287" y="291"/>
                  <a:pt x="295" y="285"/>
                </a:cubicBezTo>
                <a:cubicBezTo>
                  <a:pt x="313" y="274"/>
                  <a:pt x="330" y="264"/>
                  <a:pt x="348" y="253"/>
                </a:cubicBezTo>
                <a:cubicBezTo>
                  <a:pt x="346" y="251"/>
                  <a:pt x="345" y="248"/>
                  <a:pt x="344" y="246"/>
                </a:cubicBezTo>
                <a:cubicBezTo>
                  <a:pt x="343" y="243"/>
                  <a:pt x="341" y="241"/>
                  <a:pt x="339" y="240"/>
                </a:cubicBezTo>
                <a:cubicBezTo>
                  <a:pt x="337" y="238"/>
                  <a:pt x="335" y="238"/>
                  <a:pt x="332" y="237"/>
                </a:cubicBezTo>
                <a:cubicBezTo>
                  <a:pt x="331" y="237"/>
                  <a:pt x="330" y="236"/>
                  <a:pt x="329" y="236"/>
                </a:cubicBezTo>
                <a:cubicBezTo>
                  <a:pt x="327" y="236"/>
                  <a:pt x="326" y="237"/>
                  <a:pt x="325" y="238"/>
                </a:cubicBezTo>
                <a:cubicBezTo>
                  <a:pt x="323" y="238"/>
                  <a:pt x="320" y="236"/>
                  <a:pt x="319" y="235"/>
                </a:cubicBezTo>
                <a:cubicBezTo>
                  <a:pt x="317" y="233"/>
                  <a:pt x="317" y="230"/>
                  <a:pt x="316" y="227"/>
                </a:cubicBezTo>
                <a:cubicBezTo>
                  <a:pt x="316" y="225"/>
                  <a:pt x="315" y="222"/>
                  <a:pt x="314" y="219"/>
                </a:cubicBezTo>
                <a:cubicBezTo>
                  <a:pt x="313" y="217"/>
                  <a:pt x="311" y="215"/>
                  <a:pt x="309" y="212"/>
                </a:cubicBezTo>
                <a:cubicBezTo>
                  <a:pt x="307" y="210"/>
                  <a:pt x="305" y="208"/>
                  <a:pt x="306" y="206"/>
                </a:cubicBezTo>
                <a:cubicBezTo>
                  <a:pt x="306" y="203"/>
                  <a:pt x="309" y="202"/>
                  <a:pt x="311" y="200"/>
                </a:cubicBezTo>
                <a:cubicBezTo>
                  <a:pt x="313" y="198"/>
                  <a:pt x="312" y="196"/>
                  <a:pt x="311" y="193"/>
                </a:cubicBezTo>
                <a:cubicBezTo>
                  <a:pt x="311" y="190"/>
                  <a:pt x="310" y="187"/>
                  <a:pt x="311" y="184"/>
                </a:cubicBezTo>
                <a:cubicBezTo>
                  <a:pt x="311" y="181"/>
                  <a:pt x="313" y="179"/>
                  <a:pt x="313" y="176"/>
                </a:cubicBezTo>
                <a:cubicBezTo>
                  <a:pt x="314" y="173"/>
                  <a:pt x="312" y="170"/>
                  <a:pt x="312" y="167"/>
                </a:cubicBezTo>
                <a:cubicBezTo>
                  <a:pt x="311" y="164"/>
                  <a:pt x="312" y="161"/>
                  <a:pt x="312" y="158"/>
                </a:cubicBezTo>
                <a:cubicBezTo>
                  <a:pt x="312" y="155"/>
                  <a:pt x="312" y="151"/>
                  <a:pt x="311" y="148"/>
                </a:cubicBezTo>
                <a:cubicBezTo>
                  <a:pt x="311" y="146"/>
                  <a:pt x="309" y="144"/>
                  <a:pt x="308" y="141"/>
                </a:cubicBezTo>
                <a:cubicBezTo>
                  <a:pt x="307" y="140"/>
                  <a:pt x="306" y="139"/>
                  <a:pt x="306" y="138"/>
                </a:cubicBezTo>
                <a:cubicBezTo>
                  <a:pt x="305" y="137"/>
                  <a:pt x="305" y="135"/>
                  <a:pt x="304" y="134"/>
                </a:cubicBezTo>
                <a:cubicBezTo>
                  <a:pt x="304" y="133"/>
                  <a:pt x="304" y="132"/>
                  <a:pt x="305" y="131"/>
                </a:cubicBezTo>
                <a:cubicBezTo>
                  <a:pt x="306" y="131"/>
                  <a:pt x="306" y="131"/>
                  <a:pt x="307" y="130"/>
                </a:cubicBezTo>
                <a:cubicBezTo>
                  <a:pt x="308" y="130"/>
                  <a:pt x="307" y="129"/>
                  <a:pt x="307" y="129"/>
                </a:cubicBezTo>
                <a:cubicBezTo>
                  <a:pt x="306" y="125"/>
                  <a:pt x="306" y="122"/>
                  <a:pt x="305" y="119"/>
                </a:cubicBezTo>
                <a:cubicBezTo>
                  <a:pt x="303" y="113"/>
                  <a:pt x="302" y="107"/>
                  <a:pt x="300" y="101"/>
                </a:cubicBezTo>
                <a:cubicBezTo>
                  <a:pt x="298" y="95"/>
                  <a:pt x="292" y="93"/>
                  <a:pt x="288" y="89"/>
                </a:cubicBezTo>
                <a:cubicBezTo>
                  <a:pt x="286" y="87"/>
                  <a:pt x="286" y="85"/>
                  <a:pt x="286" y="83"/>
                </a:cubicBezTo>
                <a:cubicBezTo>
                  <a:pt x="286" y="80"/>
                  <a:pt x="283" y="77"/>
                  <a:pt x="281" y="75"/>
                </a:cubicBezTo>
                <a:cubicBezTo>
                  <a:pt x="277" y="71"/>
                  <a:pt x="273" y="67"/>
                  <a:pt x="273" y="61"/>
                </a:cubicBezTo>
                <a:cubicBezTo>
                  <a:pt x="274" y="55"/>
                  <a:pt x="279" y="51"/>
                  <a:pt x="283" y="47"/>
                </a:cubicBezTo>
                <a:cubicBezTo>
                  <a:pt x="287" y="43"/>
                  <a:pt x="289" y="38"/>
                  <a:pt x="288" y="32"/>
                </a:cubicBezTo>
                <a:cubicBezTo>
                  <a:pt x="287" y="27"/>
                  <a:pt x="283" y="22"/>
                  <a:pt x="286" y="17"/>
                </a:cubicBezTo>
                <a:cubicBezTo>
                  <a:pt x="286" y="15"/>
                  <a:pt x="287" y="15"/>
                  <a:pt x="286" y="13"/>
                </a:cubicBezTo>
                <a:cubicBezTo>
                  <a:pt x="286" y="12"/>
                  <a:pt x="285" y="12"/>
                  <a:pt x="285" y="10"/>
                </a:cubicBezTo>
                <a:cubicBezTo>
                  <a:pt x="285" y="8"/>
                  <a:pt x="289" y="5"/>
                  <a:pt x="290" y="3"/>
                </a:cubicBezTo>
                <a:cubicBezTo>
                  <a:pt x="288" y="3"/>
                  <a:pt x="285" y="4"/>
                  <a:pt x="282" y="4"/>
                </a:cubicBezTo>
                <a:cubicBezTo>
                  <a:pt x="279" y="4"/>
                  <a:pt x="277" y="2"/>
                  <a:pt x="275" y="1"/>
                </a:cubicBezTo>
                <a:cubicBezTo>
                  <a:pt x="272" y="0"/>
                  <a:pt x="270" y="0"/>
                  <a:pt x="268" y="2"/>
                </a:cubicBezTo>
                <a:cubicBezTo>
                  <a:pt x="267" y="2"/>
                  <a:pt x="266" y="3"/>
                  <a:pt x="265" y="4"/>
                </a:cubicBezTo>
                <a:cubicBezTo>
                  <a:pt x="264" y="5"/>
                  <a:pt x="262" y="3"/>
                  <a:pt x="261" y="3"/>
                </a:cubicBezTo>
                <a:cubicBezTo>
                  <a:pt x="258" y="2"/>
                  <a:pt x="256" y="0"/>
                  <a:pt x="254" y="2"/>
                </a:cubicBezTo>
                <a:cubicBezTo>
                  <a:pt x="253" y="3"/>
                  <a:pt x="252" y="4"/>
                  <a:pt x="251" y="4"/>
                </a:cubicBezTo>
                <a:cubicBezTo>
                  <a:pt x="250" y="5"/>
                  <a:pt x="248" y="5"/>
                  <a:pt x="247" y="6"/>
                </a:cubicBezTo>
                <a:cubicBezTo>
                  <a:pt x="246" y="6"/>
                  <a:pt x="244" y="6"/>
                  <a:pt x="243" y="7"/>
                </a:cubicBezTo>
                <a:cubicBezTo>
                  <a:pt x="242" y="7"/>
                  <a:pt x="241" y="8"/>
                  <a:pt x="240" y="9"/>
                </a:cubicBezTo>
                <a:cubicBezTo>
                  <a:pt x="238" y="10"/>
                  <a:pt x="234" y="8"/>
                  <a:pt x="232" y="7"/>
                </a:cubicBezTo>
                <a:cubicBezTo>
                  <a:pt x="230" y="6"/>
                  <a:pt x="228" y="5"/>
                  <a:pt x="225" y="4"/>
                </a:cubicBezTo>
                <a:cubicBezTo>
                  <a:pt x="222" y="4"/>
                  <a:pt x="219" y="3"/>
                  <a:pt x="216" y="4"/>
                </a:cubicBezTo>
                <a:cubicBezTo>
                  <a:pt x="213" y="4"/>
                  <a:pt x="210" y="5"/>
                  <a:pt x="208" y="6"/>
                </a:cubicBezTo>
                <a:cubicBezTo>
                  <a:pt x="205" y="6"/>
                  <a:pt x="201" y="6"/>
                  <a:pt x="198" y="6"/>
                </a:cubicBezTo>
                <a:cubicBezTo>
                  <a:pt x="196" y="6"/>
                  <a:pt x="193" y="7"/>
                  <a:pt x="191" y="9"/>
                </a:cubicBezTo>
                <a:cubicBezTo>
                  <a:pt x="188" y="10"/>
                  <a:pt x="185" y="10"/>
                  <a:pt x="182" y="10"/>
                </a:cubicBezTo>
                <a:cubicBezTo>
                  <a:pt x="176" y="10"/>
                  <a:pt x="170" y="12"/>
                  <a:pt x="164" y="13"/>
                </a:cubicBezTo>
                <a:cubicBezTo>
                  <a:pt x="161" y="14"/>
                  <a:pt x="159" y="15"/>
                  <a:pt x="156" y="16"/>
                </a:cubicBezTo>
                <a:cubicBezTo>
                  <a:pt x="154" y="17"/>
                  <a:pt x="151" y="18"/>
                  <a:pt x="150" y="20"/>
                </a:cubicBezTo>
                <a:cubicBezTo>
                  <a:pt x="148" y="21"/>
                  <a:pt x="147" y="24"/>
                  <a:pt x="145" y="25"/>
                </a:cubicBezTo>
                <a:cubicBezTo>
                  <a:pt x="143" y="26"/>
                  <a:pt x="141" y="23"/>
                  <a:pt x="139" y="24"/>
                </a:cubicBezTo>
                <a:cubicBezTo>
                  <a:pt x="136" y="24"/>
                  <a:pt x="134" y="25"/>
                  <a:pt x="132" y="26"/>
                </a:cubicBezTo>
                <a:cubicBezTo>
                  <a:pt x="129" y="28"/>
                  <a:pt x="127" y="29"/>
                  <a:pt x="125" y="31"/>
                </a:cubicBezTo>
                <a:cubicBezTo>
                  <a:pt x="124" y="34"/>
                  <a:pt x="121" y="35"/>
                  <a:pt x="119" y="36"/>
                </a:cubicBezTo>
                <a:cubicBezTo>
                  <a:pt x="117" y="36"/>
                  <a:pt x="116" y="36"/>
                  <a:pt x="115" y="37"/>
                </a:cubicBezTo>
                <a:cubicBezTo>
                  <a:pt x="114" y="37"/>
                  <a:pt x="113" y="38"/>
                  <a:pt x="111" y="39"/>
                </a:cubicBezTo>
                <a:cubicBezTo>
                  <a:pt x="113" y="40"/>
                  <a:pt x="116" y="42"/>
                  <a:pt x="117" y="45"/>
                </a:cubicBezTo>
                <a:cubicBezTo>
                  <a:pt x="117" y="46"/>
                  <a:pt x="116" y="48"/>
                  <a:pt x="116" y="48"/>
                </a:cubicBezTo>
                <a:cubicBezTo>
                  <a:pt x="117" y="49"/>
                  <a:pt x="118" y="50"/>
                  <a:pt x="119" y="52"/>
                </a:cubicBezTo>
                <a:cubicBezTo>
                  <a:pt x="119" y="54"/>
                  <a:pt x="119" y="57"/>
                  <a:pt x="119" y="60"/>
                </a:cubicBezTo>
                <a:cubicBezTo>
                  <a:pt x="118" y="63"/>
                  <a:pt x="117" y="65"/>
                  <a:pt x="118" y="68"/>
                </a:cubicBezTo>
                <a:cubicBezTo>
                  <a:pt x="119" y="71"/>
                  <a:pt x="120" y="73"/>
                  <a:pt x="122" y="75"/>
                </a:cubicBezTo>
                <a:cubicBezTo>
                  <a:pt x="123" y="78"/>
                  <a:pt x="123" y="80"/>
                  <a:pt x="124" y="83"/>
                </a:cubicBezTo>
                <a:cubicBezTo>
                  <a:pt x="125" y="85"/>
                  <a:pt x="128" y="86"/>
                  <a:pt x="128" y="88"/>
                </a:cubicBezTo>
                <a:cubicBezTo>
                  <a:pt x="128" y="90"/>
                  <a:pt x="127" y="91"/>
                  <a:pt x="127" y="92"/>
                </a:cubicBezTo>
                <a:cubicBezTo>
                  <a:pt x="126" y="93"/>
                  <a:pt x="126" y="95"/>
                  <a:pt x="126" y="96"/>
                </a:cubicBezTo>
                <a:cubicBezTo>
                  <a:pt x="125" y="99"/>
                  <a:pt x="121" y="98"/>
                  <a:pt x="119" y="98"/>
                </a:cubicBezTo>
                <a:cubicBezTo>
                  <a:pt x="116" y="97"/>
                  <a:pt x="112" y="97"/>
                  <a:pt x="109" y="96"/>
                </a:cubicBezTo>
                <a:cubicBezTo>
                  <a:pt x="106" y="96"/>
                  <a:pt x="104" y="97"/>
                  <a:pt x="101" y="97"/>
                </a:cubicBezTo>
                <a:cubicBezTo>
                  <a:pt x="98" y="97"/>
                  <a:pt x="97" y="99"/>
                  <a:pt x="95" y="101"/>
                </a:cubicBezTo>
                <a:cubicBezTo>
                  <a:pt x="94" y="103"/>
                  <a:pt x="92" y="104"/>
                  <a:pt x="90" y="105"/>
                </a:cubicBezTo>
                <a:cubicBezTo>
                  <a:pt x="88" y="105"/>
                  <a:pt x="87" y="105"/>
                  <a:pt x="86" y="105"/>
                </a:cubicBezTo>
                <a:cubicBezTo>
                  <a:pt x="85" y="105"/>
                  <a:pt x="83" y="104"/>
                  <a:pt x="82" y="105"/>
                </a:cubicBezTo>
                <a:cubicBezTo>
                  <a:pt x="81" y="105"/>
                  <a:pt x="81" y="107"/>
                  <a:pt x="82" y="107"/>
                </a:cubicBezTo>
                <a:cubicBezTo>
                  <a:pt x="83" y="108"/>
                  <a:pt x="84" y="109"/>
                  <a:pt x="84" y="110"/>
                </a:cubicBezTo>
                <a:cubicBezTo>
                  <a:pt x="84" y="111"/>
                  <a:pt x="83" y="113"/>
                  <a:pt x="83" y="113"/>
                </a:cubicBezTo>
                <a:cubicBezTo>
                  <a:pt x="84" y="115"/>
                  <a:pt x="85" y="115"/>
                  <a:pt x="85" y="117"/>
                </a:cubicBezTo>
                <a:cubicBezTo>
                  <a:pt x="84" y="118"/>
                  <a:pt x="83" y="119"/>
                  <a:pt x="81" y="120"/>
                </a:cubicBezTo>
                <a:cubicBezTo>
                  <a:pt x="75" y="123"/>
                  <a:pt x="81" y="120"/>
                  <a:pt x="81" y="120"/>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9" name="Freeform 190">
            <a:extLst>
              <a:ext uri="{FF2B5EF4-FFF2-40B4-BE49-F238E27FC236}">
                <a16:creationId xmlns:a16="http://schemas.microsoft.com/office/drawing/2014/main" id="{D2CBBAC7-CA50-0886-3517-72B0950B4A7E}"/>
              </a:ext>
            </a:extLst>
          </p:cNvPr>
          <p:cNvSpPr/>
          <p:nvPr>
            <p:custDataLst>
              <p:tags r:id="rId21"/>
            </p:custDataLst>
          </p:nvPr>
        </p:nvSpPr>
        <p:spPr bwMode="auto">
          <a:xfrm>
            <a:off x="4077775" y="3201697"/>
            <a:ext cx="235256" cy="259282"/>
          </a:xfrm>
          <a:custGeom>
            <a:avLst/>
            <a:gdLst>
              <a:gd name="T0" fmla="*/ 10 w 201"/>
              <a:gd name="T1" fmla="*/ 192 h 222"/>
              <a:gd name="T2" fmla="*/ 27 w 201"/>
              <a:gd name="T3" fmla="*/ 189 h 222"/>
              <a:gd name="T4" fmla="*/ 45 w 201"/>
              <a:gd name="T5" fmla="*/ 188 h 222"/>
              <a:gd name="T6" fmla="*/ 57 w 201"/>
              <a:gd name="T7" fmla="*/ 196 h 222"/>
              <a:gd name="T8" fmla="*/ 63 w 201"/>
              <a:gd name="T9" fmla="*/ 203 h 222"/>
              <a:gd name="T10" fmla="*/ 79 w 201"/>
              <a:gd name="T11" fmla="*/ 219 h 222"/>
              <a:gd name="T12" fmla="*/ 84 w 201"/>
              <a:gd name="T13" fmla="*/ 221 h 222"/>
              <a:gd name="T14" fmla="*/ 89 w 201"/>
              <a:gd name="T15" fmla="*/ 207 h 222"/>
              <a:gd name="T16" fmla="*/ 101 w 201"/>
              <a:gd name="T17" fmla="*/ 211 h 222"/>
              <a:gd name="T18" fmla="*/ 105 w 201"/>
              <a:gd name="T19" fmla="*/ 212 h 222"/>
              <a:gd name="T20" fmla="*/ 119 w 201"/>
              <a:gd name="T21" fmla="*/ 209 h 222"/>
              <a:gd name="T22" fmla="*/ 128 w 201"/>
              <a:gd name="T23" fmla="*/ 206 h 222"/>
              <a:gd name="T24" fmla="*/ 137 w 201"/>
              <a:gd name="T25" fmla="*/ 208 h 222"/>
              <a:gd name="T26" fmla="*/ 167 w 201"/>
              <a:gd name="T27" fmla="*/ 207 h 222"/>
              <a:gd name="T28" fmla="*/ 193 w 201"/>
              <a:gd name="T29" fmla="*/ 207 h 222"/>
              <a:gd name="T30" fmla="*/ 195 w 201"/>
              <a:gd name="T31" fmla="*/ 192 h 222"/>
              <a:gd name="T32" fmla="*/ 190 w 201"/>
              <a:gd name="T33" fmla="*/ 164 h 222"/>
              <a:gd name="T34" fmla="*/ 177 w 201"/>
              <a:gd name="T35" fmla="*/ 47 h 222"/>
              <a:gd name="T36" fmla="*/ 181 w 201"/>
              <a:gd name="T37" fmla="*/ 39 h 222"/>
              <a:gd name="T38" fmla="*/ 143 w 201"/>
              <a:gd name="T39" fmla="*/ 0 h 222"/>
              <a:gd name="T40" fmla="*/ 142 w 201"/>
              <a:gd name="T41" fmla="*/ 20 h 222"/>
              <a:gd name="T42" fmla="*/ 130 w 201"/>
              <a:gd name="T43" fmla="*/ 23 h 222"/>
              <a:gd name="T44" fmla="*/ 87 w 201"/>
              <a:gd name="T45" fmla="*/ 23 h 222"/>
              <a:gd name="T46" fmla="*/ 86 w 201"/>
              <a:gd name="T47" fmla="*/ 36 h 222"/>
              <a:gd name="T48" fmla="*/ 86 w 201"/>
              <a:gd name="T49" fmla="*/ 65 h 222"/>
              <a:gd name="T50" fmla="*/ 70 w 201"/>
              <a:gd name="T51" fmla="*/ 76 h 222"/>
              <a:gd name="T52" fmla="*/ 68 w 201"/>
              <a:gd name="T53" fmla="*/ 98 h 222"/>
              <a:gd name="T54" fmla="*/ 66 w 201"/>
              <a:gd name="T55" fmla="*/ 107 h 222"/>
              <a:gd name="T56" fmla="*/ 0 w 201"/>
              <a:gd name="T57" fmla="*/ 107 h 222"/>
              <a:gd name="T58" fmla="*/ 6 w 201"/>
              <a:gd name="T59" fmla="*/ 118 h 222"/>
              <a:gd name="T60" fmla="*/ 12 w 201"/>
              <a:gd name="T61" fmla="*/ 121 h 222"/>
              <a:gd name="T62" fmla="*/ 14 w 201"/>
              <a:gd name="T63" fmla="*/ 126 h 222"/>
              <a:gd name="T64" fmla="*/ 11 w 201"/>
              <a:gd name="T65" fmla="*/ 137 h 222"/>
              <a:gd name="T66" fmla="*/ 12 w 201"/>
              <a:gd name="T67" fmla="*/ 146 h 222"/>
              <a:gd name="T68" fmla="*/ 15 w 201"/>
              <a:gd name="T69" fmla="*/ 163 h 222"/>
              <a:gd name="T70" fmla="*/ 15 w 201"/>
              <a:gd name="T71" fmla="*/ 175 h 222"/>
              <a:gd name="T72" fmla="*/ 12 w 201"/>
              <a:gd name="T73" fmla="*/ 18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1" h="221">
                <a:moveTo>
                  <a:pt x="12" y="185"/>
                </a:moveTo>
                <a:cubicBezTo>
                  <a:pt x="11" y="188"/>
                  <a:pt x="10" y="190"/>
                  <a:pt x="10" y="192"/>
                </a:cubicBezTo>
                <a:cubicBezTo>
                  <a:pt x="12" y="191"/>
                  <a:pt x="15" y="190"/>
                  <a:pt x="17" y="190"/>
                </a:cubicBezTo>
                <a:cubicBezTo>
                  <a:pt x="20" y="190"/>
                  <a:pt x="23" y="190"/>
                  <a:pt x="27" y="189"/>
                </a:cubicBezTo>
                <a:cubicBezTo>
                  <a:pt x="30" y="189"/>
                  <a:pt x="33" y="188"/>
                  <a:pt x="36" y="188"/>
                </a:cubicBezTo>
                <a:cubicBezTo>
                  <a:pt x="39" y="188"/>
                  <a:pt x="42" y="187"/>
                  <a:pt x="45" y="188"/>
                </a:cubicBezTo>
                <a:cubicBezTo>
                  <a:pt x="47" y="189"/>
                  <a:pt x="48" y="191"/>
                  <a:pt x="50" y="193"/>
                </a:cubicBezTo>
                <a:cubicBezTo>
                  <a:pt x="52" y="195"/>
                  <a:pt x="54" y="196"/>
                  <a:pt x="57" y="196"/>
                </a:cubicBezTo>
                <a:cubicBezTo>
                  <a:pt x="59" y="196"/>
                  <a:pt x="61" y="197"/>
                  <a:pt x="62" y="199"/>
                </a:cubicBezTo>
                <a:cubicBezTo>
                  <a:pt x="62" y="200"/>
                  <a:pt x="62" y="202"/>
                  <a:pt x="63" y="203"/>
                </a:cubicBezTo>
                <a:cubicBezTo>
                  <a:pt x="64" y="204"/>
                  <a:pt x="65" y="205"/>
                  <a:pt x="66" y="206"/>
                </a:cubicBezTo>
                <a:cubicBezTo>
                  <a:pt x="70" y="210"/>
                  <a:pt x="75" y="215"/>
                  <a:pt x="79" y="219"/>
                </a:cubicBezTo>
                <a:cubicBezTo>
                  <a:pt x="79" y="220"/>
                  <a:pt x="81" y="222"/>
                  <a:pt x="81" y="222"/>
                </a:cubicBezTo>
                <a:cubicBezTo>
                  <a:pt x="82" y="222"/>
                  <a:pt x="83" y="221"/>
                  <a:pt x="84" y="221"/>
                </a:cubicBezTo>
                <a:cubicBezTo>
                  <a:pt x="86" y="219"/>
                  <a:pt x="87" y="217"/>
                  <a:pt x="88" y="214"/>
                </a:cubicBezTo>
                <a:cubicBezTo>
                  <a:pt x="88" y="212"/>
                  <a:pt x="88" y="209"/>
                  <a:pt x="89" y="207"/>
                </a:cubicBezTo>
                <a:cubicBezTo>
                  <a:pt x="90" y="205"/>
                  <a:pt x="93" y="205"/>
                  <a:pt x="95" y="206"/>
                </a:cubicBezTo>
                <a:cubicBezTo>
                  <a:pt x="97" y="207"/>
                  <a:pt x="99" y="209"/>
                  <a:pt x="101" y="211"/>
                </a:cubicBezTo>
                <a:cubicBezTo>
                  <a:pt x="102" y="212"/>
                  <a:pt x="102" y="213"/>
                  <a:pt x="103" y="213"/>
                </a:cubicBezTo>
                <a:cubicBezTo>
                  <a:pt x="104" y="214"/>
                  <a:pt x="105" y="212"/>
                  <a:pt x="105" y="212"/>
                </a:cubicBezTo>
                <a:cubicBezTo>
                  <a:pt x="106" y="210"/>
                  <a:pt x="107" y="208"/>
                  <a:pt x="109" y="208"/>
                </a:cubicBezTo>
                <a:cubicBezTo>
                  <a:pt x="113" y="208"/>
                  <a:pt x="116" y="209"/>
                  <a:pt x="119" y="209"/>
                </a:cubicBezTo>
                <a:cubicBezTo>
                  <a:pt x="121" y="209"/>
                  <a:pt x="124" y="209"/>
                  <a:pt x="127" y="208"/>
                </a:cubicBezTo>
                <a:cubicBezTo>
                  <a:pt x="127" y="208"/>
                  <a:pt x="127" y="207"/>
                  <a:pt x="128" y="206"/>
                </a:cubicBezTo>
                <a:cubicBezTo>
                  <a:pt x="129" y="205"/>
                  <a:pt x="130" y="205"/>
                  <a:pt x="131" y="205"/>
                </a:cubicBezTo>
                <a:cubicBezTo>
                  <a:pt x="134" y="206"/>
                  <a:pt x="135" y="208"/>
                  <a:pt x="137" y="208"/>
                </a:cubicBezTo>
                <a:cubicBezTo>
                  <a:pt x="141" y="207"/>
                  <a:pt x="144" y="208"/>
                  <a:pt x="147" y="208"/>
                </a:cubicBezTo>
                <a:cubicBezTo>
                  <a:pt x="154" y="207"/>
                  <a:pt x="161" y="207"/>
                  <a:pt x="167" y="207"/>
                </a:cubicBezTo>
                <a:cubicBezTo>
                  <a:pt x="174" y="207"/>
                  <a:pt x="180" y="207"/>
                  <a:pt x="187" y="207"/>
                </a:cubicBezTo>
                <a:cubicBezTo>
                  <a:pt x="189" y="207"/>
                  <a:pt x="192" y="208"/>
                  <a:pt x="193" y="207"/>
                </a:cubicBezTo>
                <a:cubicBezTo>
                  <a:pt x="195" y="206"/>
                  <a:pt x="195" y="201"/>
                  <a:pt x="195" y="200"/>
                </a:cubicBezTo>
                <a:cubicBezTo>
                  <a:pt x="196" y="197"/>
                  <a:pt x="196" y="194"/>
                  <a:pt x="195" y="192"/>
                </a:cubicBezTo>
                <a:cubicBezTo>
                  <a:pt x="193" y="190"/>
                  <a:pt x="193" y="186"/>
                  <a:pt x="192" y="183"/>
                </a:cubicBezTo>
                <a:cubicBezTo>
                  <a:pt x="192" y="177"/>
                  <a:pt x="191" y="170"/>
                  <a:pt x="190" y="164"/>
                </a:cubicBezTo>
                <a:cubicBezTo>
                  <a:pt x="187" y="138"/>
                  <a:pt x="184" y="112"/>
                  <a:pt x="181" y="86"/>
                </a:cubicBezTo>
                <a:cubicBezTo>
                  <a:pt x="180" y="73"/>
                  <a:pt x="178" y="60"/>
                  <a:pt x="177" y="47"/>
                </a:cubicBezTo>
                <a:cubicBezTo>
                  <a:pt x="176" y="45"/>
                  <a:pt x="176" y="44"/>
                  <a:pt x="176" y="42"/>
                </a:cubicBezTo>
                <a:cubicBezTo>
                  <a:pt x="176" y="39"/>
                  <a:pt x="179" y="39"/>
                  <a:pt x="181" y="39"/>
                </a:cubicBezTo>
                <a:cubicBezTo>
                  <a:pt x="187" y="39"/>
                  <a:pt x="194" y="39"/>
                  <a:pt x="201" y="39"/>
                </a:cubicBezTo>
                <a:cubicBezTo>
                  <a:pt x="181" y="26"/>
                  <a:pt x="162" y="13"/>
                  <a:pt x="143" y="0"/>
                </a:cubicBezTo>
                <a:cubicBezTo>
                  <a:pt x="143" y="4"/>
                  <a:pt x="143" y="7"/>
                  <a:pt x="143" y="10"/>
                </a:cubicBezTo>
                <a:cubicBezTo>
                  <a:pt x="143" y="13"/>
                  <a:pt x="143" y="17"/>
                  <a:pt x="142" y="20"/>
                </a:cubicBezTo>
                <a:cubicBezTo>
                  <a:pt x="142" y="22"/>
                  <a:pt x="141" y="23"/>
                  <a:pt x="139" y="23"/>
                </a:cubicBezTo>
                <a:cubicBezTo>
                  <a:pt x="136" y="23"/>
                  <a:pt x="133" y="23"/>
                  <a:pt x="130" y="23"/>
                </a:cubicBezTo>
                <a:cubicBezTo>
                  <a:pt x="117" y="23"/>
                  <a:pt x="103" y="23"/>
                  <a:pt x="90" y="23"/>
                </a:cubicBezTo>
                <a:cubicBezTo>
                  <a:pt x="89" y="23"/>
                  <a:pt x="87" y="23"/>
                  <a:pt x="87" y="23"/>
                </a:cubicBezTo>
                <a:cubicBezTo>
                  <a:pt x="86" y="24"/>
                  <a:pt x="86" y="25"/>
                  <a:pt x="86" y="26"/>
                </a:cubicBezTo>
                <a:cubicBezTo>
                  <a:pt x="86" y="29"/>
                  <a:pt x="86" y="33"/>
                  <a:pt x="86" y="36"/>
                </a:cubicBezTo>
                <a:cubicBezTo>
                  <a:pt x="86" y="43"/>
                  <a:pt x="86" y="49"/>
                  <a:pt x="86" y="56"/>
                </a:cubicBezTo>
                <a:cubicBezTo>
                  <a:pt x="86" y="59"/>
                  <a:pt x="86" y="62"/>
                  <a:pt x="86" y="65"/>
                </a:cubicBezTo>
                <a:cubicBezTo>
                  <a:pt x="86" y="67"/>
                  <a:pt x="86" y="69"/>
                  <a:pt x="84" y="69"/>
                </a:cubicBezTo>
                <a:cubicBezTo>
                  <a:pt x="79" y="71"/>
                  <a:pt x="73" y="72"/>
                  <a:pt x="70" y="76"/>
                </a:cubicBezTo>
                <a:cubicBezTo>
                  <a:pt x="67" y="79"/>
                  <a:pt x="67" y="82"/>
                  <a:pt x="67" y="86"/>
                </a:cubicBezTo>
                <a:cubicBezTo>
                  <a:pt x="67" y="90"/>
                  <a:pt x="68" y="94"/>
                  <a:pt x="68" y="98"/>
                </a:cubicBezTo>
                <a:cubicBezTo>
                  <a:pt x="68" y="100"/>
                  <a:pt x="69" y="102"/>
                  <a:pt x="69" y="104"/>
                </a:cubicBezTo>
                <a:cubicBezTo>
                  <a:pt x="69" y="105"/>
                  <a:pt x="68" y="107"/>
                  <a:pt x="66" y="107"/>
                </a:cubicBezTo>
                <a:cubicBezTo>
                  <a:pt x="62" y="107"/>
                  <a:pt x="58" y="107"/>
                  <a:pt x="53" y="107"/>
                </a:cubicBezTo>
                <a:cubicBezTo>
                  <a:pt x="36" y="107"/>
                  <a:pt x="18" y="107"/>
                  <a:pt x="0" y="107"/>
                </a:cubicBezTo>
                <a:cubicBezTo>
                  <a:pt x="1" y="111"/>
                  <a:pt x="4" y="114"/>
                  <a:pt x="5" y="117"/>
                </a:cubicBezTo>
                <a:cubicBezTo>
                  <a:pt x="5" y="117"/>
                  <a:pt x="6" y="118"/>
                  <a:pt x="6" y="118"/>
                </a:cubicBezTo>
                <a:cubicBezTo>
                  <a:pt x="6" y="119"/>
                  <a:pt x="7" y="118"/>
                  <a:pt x="8" y="118"/>
                </a:cubicBezTo>
                <a:cubicBezTo>
                  <a:pt x="10" y="119"/>
                  <a:pt x="11" y="120"/>
                  <a:pt x="12" y="121"/>
                </a:cubicBezTo>
                <a:cubicBezTo>
                  <a:pt x="12" y="122"/>
                  <a:pt x="12" y="123"/>
                  <a:pt x="12" y="124"/>
                </a:cubicBezTo>
                <a:cubicBezTo>
                  <a:pt x="13" y="125"/>
                  <a:pt x="13" y="125"/>
                  <a:pt x="14" y="126"/>
                </a:cubicBezTo>
                <a:cubicBezTo>
                  <a:pt x="14" y="128"/>
                  <a:pt x="14" y="130"/>
                  <a:pt x="13" y="132"/>
                </a:cubicBezTo>
                <a:cubicBezTo>
                  <a:pt x="12" y="134"/>
                  <a:pt x="11" y="135"/>
                  <a:pt x="11" y="137"/>
                </a:cubicBezTo>
                <a:cubicBezTo>
                  <a:pt x="11" y="139"/>
                  <a:pt x="10" y="140"/>
                  <a:pt x="9" y="142"/>
                </a:cubicBezTo>
                <a:cubicBezTo>
                  <a:pt x="9" y="144"/>
                  <a:pt x="11" y="145"/>
                  <a:pt x="12" y="146"/>
                </a:cubicBezTo>
                <a:cubicBezTo>
                  <a:pt x="14" y="147"/>
                  <a:pt x="14" y="149"/>
                  <a:pt x="14" y="151"/>
                </a:cubicBezTo>
                <a:cubicBezTo>
                  <a:pt x="14" y="155"/>
                  <a:pt x="15" y="159"/>
                  <a:pt x="15" y="163"/>
                </a:cubicBezTo>
                <a:cubicBezTo>
                  <a:pt x="16" y="165"/>
                  <a:pt x="16" y="167"/>
                  <a:pt x="16" y="169"/>
                </a:cubicBezTo>
                <a:cubicBezTo>
                  <a:pt x="16" y="171"/>
                  <a:pt x="15" y="173"/>
                  <a:pt x="15" y="175"/>
                </a:cubicBezTo>
                <a:cubicBezTo>
                  <a:pt x="14" y="179"/>
                  <a:pt x="12" y="183"/>
                  <a:pt x="11" y="187"/>
                </a:cubicBezTo>
                <a:cubicBezTo>
                  <a:pt x="11" y="186"/>
                  <a:pt x="12" y="186"/>
                  <a:pt x="12" y="185"/>
                </a:cubicBezTo>
                <a:cubicBezTo>
                  <a:pt x="11" y="188"/>
                  <a:pt x="12" y="185"/>
                  <a:pt x="12" y="185"/>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40" name="Freeform 198">
            <a:extLst>
              <a:ext uri="{FF2B5EF4-FFF2-40B4-BE49-F238E27FC236}">
                <a16:creationId xmlns:a16="http://schemas.microsoft.com/office/drawing/2014/main" id="{54FAE4A6-8F46-0A7A-6C05-68B5143B1268}"/>
              </a:ext>
            </a:extLst>
          </p:cNvPr>
          <p:cNvSpPr/>
          <p:nvPr>
            <p:custDataLst>
              <p:tags r:id="rId22"/>
            </p:custDataLst>
          </p:nvPr>
        </p:nvSpPr>
        <p:spPr bwMode="auto">
          <a:xfrm>
            <a:off x="4934706" y="2868335"/>
            <a:ext cx="58063" cy="41045"/>
          </a:xfrm>
          <a:custGeom>
            <a:avLst/>
            <a:gdLst>
              <a:gd name="T0" fmla="*/ 10 w 50"/>
              <a:gd name="T1" fmla="*/ 28 h 35"/>
              <a:gd name="T2" fmla="*/ 5 w 50"/>
              <a:gd name="T3" fmla="*/ 31 h 35"/>
              <a:gd name="T4" fmla="*/ 3 w 50"/>
              <a:gd name="T5" fmla="*/ 34 h 35"/>
              <a:gd name="T6" fmla="*/ 6 w 50"/>
              <a:gd name="T7" fmla="*/ 34 h 35"/>
              <a:gd name="T8" fmla="*/ 10 w 50"/>
              <a:gd name="T9" fmla="*/ 30 h 35"/>
              <a:gd name="T10" fmla="*/ 16 w 50"/>
              <a:gd name="T11" fmla="*/ 28 h 35"/>
              <a:gd name="T12" fmla="*/ 20 w 50"/>
              <a:gd name="T13" fmla="*/ 24 h 35"/>
              <a:gd name="T14" fmla="*/ 25 w 50"/>
              <a:gd name="T15" fmla="*/ 21 h 35"/>
              <a:gd name="T16" fmla="*/ 31 w 50"/>
              <a:gd name="T17" fmla="*/ 19 h 35"/>
              <a:gd name="T18" fmla="*/ 37 w 50"/>
              <a:gd name="T19" fmla="*/ 19 h 35"/>
              <a:gd name="T20" fmla="*/ 43 w 50"/>
              <a:gd name="T21" fmla="*/ 20 h 35"/>
              <a:gd name="T22" fmla="*/ 48 w 50"/>
              <a:gd name="T23" fmla="*/ 15 h 35"/>
              <a:gd name="T24" fmla="*/ 44 w 50"/>
              <a:gd name="T25" fmla="*/ 13 h 35"/>
              <a:gd name="T26" fmla="*/ 39 w 50"/>
              <a:gd name="T27" fmla="*/ 10 h 35"/>
              <a:gd name="T28" fmla="*/ 35 w 50"/>
              <a:gd name="T29" fmla="*/ 8 h 35"/>
              <a:gd name="T30" fmla="*/ 33 w 50"/>
              <a:gd name="T31" fmla="*/ 2 h 35"/>
              <a:gd name="T32" fmla="*/ 25 w 50"/>
              <a:gd name="T33" fmla="*/ 2 h 35"/>
              <a:gd name="T34" fmla="*/ 19 w 50"/>
              <a:gd name="T35" fmla="*/ 0 h 35"/>
              <a:gd name="T36" fmla="*/ 12 w 50"/>
              <a:gd name="T37" fmla="*/ 2 h 35"/>
              <a:gd name="T38" fmla="*/ 8 w 50"/>
              <a:gd name="T39" fmla="*/ 5 h 35"/>
              <a:gd name="T40" fmla="*/ 10 w 50"/>
              <a:gd name="T41" fmla="*/ 8 h 35"/>
              <a:gd name="T42" fmla="*/ 11 w 50"/>
              <a:gd name="T43" fmla="*/ 11 h 35"/>
              <a:gd name="T44" fmla="*/ 8 w 50"/>
              <a:gd name="T45" fmla="*/ 15 h 35"/>
              <a:gd name="T46" fmla="*/ 6 w 50"/>
              <a:gd name="T47" fmla="*/ 17 h 35"/>
              <a:gd name="T48" fmla="*/ 5 w 50"/>
              <a:gd name="T49" fmla="*/ 21 h 35"/>
              <a:gd name="T50" fmla="*/ 0 w 50"/>
              <a:gd name="T51" fmla="*/ 27 h 35"/>
              <a:gd name="T52" fmla="*/ 4 w 50"/>
              <a:gd name="T53" fmla="*/ 27 h 35"/>
              <a:gd name="T54" fmla="*/ 8 w 50"/>
              <a:gd name="T55" fmla="*/ 27 h 35"/>
              <a:gd name="T56" fmla="*/ 11 w 50"/>
              <a:gd name="T57" fmla="*/ 27 h 35"/>
              <a:gd name="T58" fmla="*/ 10 w 50"/>
              <a:gd name="T59" fmla="*/ 28 h 35"/>
              <a:gd name="T60" fmla="*/ 10 w 50"/>
              <a:gd name="T61" fmla="*/ 28 h 35"/>
              <a:gd name="T62" fmla="*/ 10 w 50"/>
              <a:gd name="T63"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 h="35">
                <a:moveTo>
                  <a:pt x="10" y="28"/>
                </a:moveTo>
                <a:cubicBezTo>
                  <a:pt x="9" y="29"/>
                  <a:pt x="6" y="30"/>
                  <a:pt x="5" y="31"/>
                </a:cubicBezTo>
                <a:cubicBezTo>
                  <a:pt x="5" y="32"/>
                  <a:pt x="2" y="34"/>
                  <a:pt x="3" y="34"/>
                </a:cubicBezTo>
                <a:cubicBezTo>
                  <a:pt x="4" y="35"/>
                  <a:pt x="5" y="34"/>
                  <a:pt x="6" y="34"/>
                </a:cubicBezTo>
                <a:cubicBezTo>
                  <a:pt x="8" y="32"/>
                  <a:pt x="9" y="31"/>
                  <a:pt x="10" y="30"/>
                </a:cubicBezTo>
                <a:cubicBezTo>
                  <a:pt x="12" y="29"/>
                  <a:pt x="14" y="29"/>
                  <a:pt x="16" y="28"/>
                </a:cubicBezTo>
                <a:cubicBezTo>
                  <a:pt x="17" y="27"/>
                  <a:pt x="19" y="26"/>
                  <a:pt x="20" y="24"/>
                </a:cubicBezTo>
                <a:cubicBezTo>
                  <a:pt x="22" y="23"/>
                  <a:pt x="24" y="22"/>
                  <a:pt x="25" y="21"/>
                </a:cubicBezTo>
                <a:cubicBezTo>
                  <a:pt x="27" y="20"/>
                  <a:pt x="28" y="19"/>
                  <a:pt x="31" y="19"/>
                </a:cubicBezTo>
                <a:cubicBezTo>
                  <a:pt x="33" y="19"/>
                  <a:pt x="35" y="19"/>
                  <a:pt x="37" y="19"/>
                </a:cubicBezTo>
                <a:cubicBezTo>
                  <a:pt x="39" y="19"/>
                  <a:pt x="41" y="20"/>
                  <a:pt x="43" y="20"/>
                </a:cubicBezTo>
                <a:cubicBezTo>
                  <a:pt x="45" y="20"/>
                  <a:pt x="50" y="18"/>
                  <a:pt x="48" y="15"/>
                </a:cubicBezTo>
                <a:cubicBezTo>
                  <a:pt x="46" y="14"/>
                  <a:pt x="45" y="14"/>
                  <a:pt x="44" y="13"/>
                </a:cubicBezTo>
                <a:cubicBezTo>
                  <a:pt x="42" y="13"/>
                  <a:pt x="41" y="11"/>
                  <a:pt x="39" y="10"/>
                </a:cubicBezTo>
                <a:cubicBezTo>
                  <a:pt x="38" y="9"/>
                  <a:pt x="36" y="10"/>
                  <a:pt x="35" y="8"/>
                </a:cubicBezTo>
                <a:cubicBezTo>
                  <a:pt x="34" y="7"/>
                  <a:pt x="33" y="3"/>
                  <a:pt x="33" y="2"/>
                </a:cubicBezTo>
                <a:cubicBezTo>
                  <a:pt x="31" y="2"/>
                  <a:pt x="28" y="3"/>
                  <a:pt x="25" y="2"/>
                </a:cubicBezTo>
                <a:cubicBezTo>
                  <a:pt x="23" y="2"/>
                  <a:pt x="21" y="0"/>
                  <a:pt x="19" y="0"/>
                </a:cubicBezTo>
                <a:cubicBezTo>
                  <a:pt x="17" y="0"/>
                  <a:pt x="14" y="1"/>
                  <a:pt x="12" y="2"/>
                </a:cubicBezTo>
                <a:cubicBezTo>
                  <a:pt x="11" y="3"/>
                  <a:pt x="9" y="4"/>
                  <a:pt x="8" y="5"/>
                </a:cubicBezTo>
                <a:cubicBezTo>
                  <a:pt x="8" y="6"/>
                  <a:pt x="10" y="8"/>
                  <a:pt x="10" y="8"/>
                </a:cubicBezTo>
                <a:cubicBezTo>
                  <a:pt x="10" y="9"/>
                  <a:pt x="11" y="10"/>
                  <a:pt x="11" y="11"/>
                </a:cubicBezTo>
                <a:cubicBezTo>
                  <a:pt x="12" y="13"/>
                  <a:pt x="10" y="14"/>
                  <a:pt x="8" y="15"/>
                </a:cubicBezTo>
                <a:cubicBezTo>
                  <a:pt x="7" y="16"/>
                  <a:pt x="7" y="16"/>
                  <a:pt x="6" y="17"/>
                </a:cubicBezTo>
                <a:cubicBezTo>
                  <a:pt x="5" y="18"/>
                  <a:pt x="5" y="20"/>
                  <a:pt x="5" y="21"/>
                </a:cubicBezTo>
                <a:cubicBezTo>
                  <a:pt x="4" y="23"/>
                  <a:pt x="2" y="25"/>
                  <a:pt x="0" y="27"/>
                </a:cubicBezTo>
                <a:cubicBezTo>
                  <a:pt x="2" y="28"/>
                  <a:pt x="3" y="27"/>
                  <a:pt x="4" y="27"/>
                </a:cubicBezTo>
                <a:cubicBezTo>
                  <a:pt x="5" y="27"/>
                  <a:pt x="7" y="27"/>
                  <a:pt x="8" y="27"/>
                </a:cubicBezTo>
                <a:cubicBezTo>
                  <a:pt x="9" y="27"/>
                  <a:pt x="11" y="26"/>
                  <a:pt x="11" y="27"/>
                </a:cubicBezTo>
                <a:cubicBezTo>
                  <a:pt x="11" y="28"/>
                  <a:pt x="10" y="28"/>
                  <a:pt x="10" y="28"/>
                </a:cubicBezTo>
                <a:cubicBezTo>
                  <a:pt x="10" y="28"/>
                  <a:pt x="10" y="28"/>
                  <a:pt x="10" y="28"/>
                </a:cubicBezTo>
                <a:cubicBezTo>
                  <a:pt x="9" y="29"/>
                  <a:pt x="10" y="28"/>
                  <a:pt x="10" y="28"/>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41" name="Freeform 202">
            <a:extLst>
              <a:ext uri="{FF2B5EF4-FFF2-40B4-BE49-F238E27FC236}">
                <a16:creationId xmlns:a16="http://schemas.microsoft.com/office/drawing/2014/main" id="{4F840D3A-4CF2-39B5-B21D-9A416AF12CE2}"/>
              </a:ext>
            </a:extLst>
          </p:cNvPr>
          <p:cNvSpPr/>
          <p:nvPr>
            <p:custDataLst>
              <p:tags r:id="rId23"/>
            </p:custDataLst>
          </p:nvPr>
        </p:nvSpPr>
        <p:spPr bwMode="auto">
          <a:xfrm>
            <a:off x="5114902" y="3038520"/>
            <a:ext cx="26028" cy="33037"/>
          </a:xfrm>
          <a:custGeom>
            <a:avLst/>
            <a:gdLst>
              <a:gd name="T0" fmla="*/ 6 w 23"/>
              <a:gd name="T1" fmla="*/ 15 h 28"/>
              <a:gd name="T2" fmla="*/ 3 w 23"/>
              <a:gd name="T3" fmla="*/ 21 h 28"/>
              <a:gd name="T4" fmla="*/ 0 w 23"/>
              <a:gd name="T5" fmla="*/ 28 h 28"/>
              <a:gd name="T6" fmla="*/ 8 w 23"/>
              <a:gd name="T7" fmla="*/ 26 h 28"/>
              <a:gd name="T8" fmla="*/ 14 w 23"/>
              <a:gd name="T9" fmla="*/ 20 h 28"/>
              <a:gd name="T10" fmla="*/ 15 w 23"/>
              <a:gd name="T11" fmla="*/ 17 h 28"/>
              <a:gd name="T12" fmla="*/ 16 w 23"/>
              <a:gd name="T13" fmla="*/ 14 h 28"/>
              <a:gd name="T14" fmla="*/ 19 w 23"/>
              <a:gd name="T15" fmla="*/ 11 h 28"/>
              <a:gd name="T16" fmla="*/ 22 w 23"/>
              <a:gd name="T17" fmla="*/ 9 h 28"/>
              <a:gd name="T18" fmla="*/ 19 w 23"/>
              <a:gd name="T19" fmla="*/ 1 h 28"/>
              <a:gd name="T20" fmla="*/ 15 w 23"/>
              <a:gd name="T21" fmla="*/ 0 h 28"/>
              <a:gd name="T22" fmla="*/ 12 w 23"/>
              <a:gd name="T23" fmla="*/ 2 h 28"/>
              <a:gd name="T24" fmla="*/ 8 w 23"/>
              <a:gd name="T25" fmla="*/ 8 h 28"/>
              <a:gd name="T26" fmla="*/ 8 w 23"/>
              <a:gd name="T27" fmla="*/ 13 h 28"/>
              <a:gd name="T28" fmla="*/ 6 w 23"/>
              <a:gd name="T29" fmla="*/ 16 h 28"/>
              <a:gd name="T30" fmla="*/ 6 w 23"/>
              <a:gd name="T31" fmla="*/ 15 h 28"/>
              <a:gd name="T32" fmla="*/ 6 w 23"/>
              <a:gd name="T33"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8">
                <a:moveTo>
                  <a:pt x="6" y="15"/>
                </a:moveTo>
                <a:cubicBezTo>
                  <a:pt x="5" y="17"/>
                  <a:pt x="5" y="19"/>
                  <a:pt x="3" y="21"/>
                </a:cubicBezTo>
                <a:cubicBezTo>
                  <a:pt x="2" y="23"/>
                  <a:pt x="1" y="25"/>
                  <a:pt x="0" y="28"/>
                </a:cubicBezTo>
                <a:cubicBezTo>
                  <a:pt x="2" y="28"/>
                  <a:pt x="7" y="28"/>
                  <a:pt x="8" y="26"/>
                </a:cubicBezTo>
                <a:cubicBezTo>
                  <a:pt x="9" y="23"/>
                  <a:pt x="11" y="22"/>
                  <a:pt x="14" y="20"/>
                </a:cubicBezTo>
                <a:cubicBezTo>
                  <a:pt x="14" y="20"/>
                  <a:pt x="16" y="19"/>
                  <a:pt x="15" y="17"/>
                </a:cubicBezTo>
                <a:cubicBezTo>
                  <a:pt x="15" y="16"/>
                  <a:pt x="15" y="15"/>
                  <a:pt x="16" y="14"/>
                </a:cubicBezTo>
                <a:cubicBezTo>
                  <a:pt x="16" y="13"/>
                  <a:pt x="18" y="12"/>
                  <a:pt x="19" y="11"/>
                </a:cubicBezTo>
                <a:cubicBezTo>
                  <a:pt x="20" y="11"/>
                  <a:pt x="21" y="10"/>
                  <a:pt x="22" y="9"/>
                </a:cubicBezTo>
                <a:cubicBezTo>
                  <a:pt x="23" y="7"/>
                  <a:pt x="21" y="2"/>
                  <a:pt x="19" y="1"/>
                </a:cubicBezTo>
                <a:cubicBezTo>
                  <a:pt x="18" y="1"/>
                  <a:pt x="16" y="0"/>
                  <a:pt x="15" y="0"/>
                </a:cubicBezTo>
                <a:cubicBezTo>
                  <a:pt x="13" y="0"/>
                  <a:pt x="13" y="0"/>
                  <a:pt x="12" y="2"/>
                </a:cubicBezTo>
                <a:cubicBezTo>
                  <a:pt x="12" y="4"/>
                  <a:pt x="9" y="6"/>
                  <a:pt x="8" y="8"/>
                </a:cubicBezTo>
                <a:cubicBezTo>
                  <a:pt x="8" y="10"/>
                  <a:pt x="8" y="11"/>
                  <a:pt x="8" y="13"/>
                </a:cubicBezTo>
                <a:cubicBezTo>
                  <a:pt x="7" y="14"/>
                  <a:pt x="7" y="15"/>
                  <a:pt x="6" y="16"/>
                </a:cubicBezTo>
                <a:cubicBezTo>
                  <a:pt x="6" y="16"/>
                  <a:pt x="6" y="16"/>
                  <a:pt x="6" y="15"/>
                </a:cubicBezTo>
                <a:cubicBezTo>
                  <a:pt x="5" y="17"/>
                  <a:pt x="6" y="15"/>
                  <a:pt x="6" y="15"/>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42" name="Freeform 203">
            <a:extLst>
              <a:ext uri="{FF2B5EF4-FFF2-40B4-BE49-F238E27FC236}">
                <a16:creationId xmlns:a16="http://schemas.microsoft.com/office/drawing/2014/main" id="{E0FBB9F2-63D5-CB4E-267C-66326BBB3BB1}"/>
              </a:ext>
            </a:extLst>
          </p:cNvPr>
          <p:cNvSpPr/>
          <p:nvPr>
            <p:custDataLst>
              <p:tags r:id="rId24"/>
            </p:custDataLst>
          </p:nvPr>
        </p:nvSpPr>
        <p:spPr bwMode="auto">
          <a:xfrm>
            <a:off x="4908678" y="3105593"/>
            <a:ext cx="220240" cy="211230"/>
          </a:xfrm>
          <a:custGeom>
            <a:avLst/>
            <a:gdLst>
              <a:gd name="T0" fmla="*/ 5 w 188"/>
              <a:gd name="T1" fmla="*/ 2 h 181"/>
              <a:gd name="T2" fmla="*/ 3 w 188"/>
              <a:gd name="T3" fmla="*/ 14 h 181"/>
              <a:gd name="T4" fmla="*/ 1 w 188"/>
              <a:gd name="T5" fmla="*/ 30 h 181"/>
              <a:gd name="T6" fmla="*/ 4 w 188"/>
              <a:gd name="T7" fmla="*/ 49 h 181"/>
              <a:gd name="T8" fmla="*/ 4 w 188"/>
              <a:gd name="T9" fmla="*/ 149 h 181"/>
              <a:gd name="T10" fmla="*/ 84 w 188"/>
              <a:gd name="T11" fmla="*/ 173 h 181"/>
              <a:gd name="T12" fmla="*/ 107 w 188"/>
              <a:gd name="T13" fmla="*/ 173 h 181"/>
              <a:gd name="T14" fmla="*/ 114 w 188"/>
              <a:gd name="T15" fmla="*/ 172 h 181"/>
              <a:gd name="T16" fmla="*/ 120 w 188"/>
              <a:gd name="T17" fmla="*/ 175 h 181"/>
              <a:gd name="T18" fmla="*/ 134 w 188"/>
              <a:gd name="T19" fmla="*/ 175 h 181"/>
              <a:gd name="T20" fmla="*/ 148 w 188"/>
              <a:gd name="T21" fmla="*/ 179 h 181"/>
              <a:gd name="T22" fmla="*/ 157 w 188"/>
              <a:gd name="T23" fmla="*/ 178 h 181"/>
              <a:gd name="T24" fmla="*/ 170 w 188"/>
              <a:gd name="T25" fmla="*/ 168 h 181"/>
              <a:gd name="T26" fmla="*/ 178 w 188"/>
              <a:gd name="T27" fmla="*/ 158 h 181"/>
              <a:gd name="T28" fmla="*/ 184 w 188"/>
              <a:gd name="T29" fmla="*/ 152 h 181"/>
              <a:gd name="T30" fmla="*/ 183 w 188"/>
              <a:gd name="T31" fmla="*/ 144 h 181"/>
              <a:gd name="T32" fmla="*/ 184 w 188"/>
              <a:gd name="T33" fmla="*/ 138 h 181"/>
              <a:gd name="T34" fmla="*/ 169 w 188"/>
              <a:gd name="T35" fmla="*/ 116 h 181"/>
              <a:gd name="T36" fmla="*/ 156 w 188"/>
              <a:gd name="T37" fmla="*/ 92 h 181"/>
              <a:gd name="T38" fmla="*/ 156 w 188"/>
              <a:gd name="T39" fmla="*/ 83 h 181"/>
              <a:gd name="T40" fmla="*/ 143 w 188"/>
              <a:gd name="T41" fmla="*/ 63 h 181"/>
              <a:gd name="T42" fmla="*/ 137 w 188"/>
              <a:gd name="T43" fmla="*/ 54 h 181"/>
              <a:gd name="T44" fmla="*/ 131 w 188"/>
              <a:gd name="T45" fmla="*/ 43 h 181"/>
              <a:gd name="T46" fmla="*/ 130 w 188"/>
              <a:gd name="T47" fmla="*/ 33 h 181"/>
              <a:gd name="T48" fmla="*/ 134 w 188"/>
              <a:gd name="T49" fmla="*/ 35 h 181"/>
              <a:gd name="T50" fmla="*/ 140 w 188"/>
              <a:gd name="T51" fmla="*/ 46 h 181"/>
              <a:gd name="T52" fmla="*/ 143 w 188"/>
              <a:gd name="T53" fmla="*/ 53 h 181"/>
              <a:gd name="T54" fmla="*/ 156 w 188"/>
              <a:gd name="T55" fmla="*/ 69 h 181"/>
              <a:gd name="T56" fmla="*/ 163 w 188"/>
              <a:gd name="T57" fmla="*/ 67 h 181"/>
              <a:gd name="T58" fmla="*/ 169 w 188"/>
              <a:gd name="T59" fmla="*/ 48 h 181"/>
              <a:gd name="T60" fmla="*/ 169 w 188"/>
              <a:gd name="T61" fmla="*/ 38 h 181"/>
              <a:gd name="T62" fmla="*/ 160 w 188"/>
              <a:gd name="T63" fmla="*/ 5 h 181"/>
              <a:gd name="T64" fmla="*/ 150 w 188"/>
              <a:gd name="T65" fmla="*/ 9 h 181"/>
              <a:gd name="T66" fmla="*/ 145 w 188"/>
              <a:gd name="T67" fmla="*/ 10 h 181"/>
              <a:gd name="T68" fmla="*/ 142 w 188"/>
              <a:gd name="T69" fmla="*/ 8 h 181"/>
              <a:gd name="T70" fmla="*/ 136 w 188"/>
              <a:gd name="T71" fmla="*/ 11 h 181"/>
              <a:gd name="T72" fmla="*/ 124 w 188"/>
              <a:gd name="T73" fmla="*/ 5 h 181"/>
              <a:gd name="T74" fmla="*/ 126 w 188"/>
              <a:gd name="T75" fmla="*/ 10 h 181"/>
              <a:gd name="T76" fmla="*/ 120 w 188"/>
              <a:gd name="T77" fmla="*/ 5 h 181"/>
              <a:gd name="T78" fmla="*/ 112 w 188"/>
              <a:gd name="T79" fmla="*/ 2 h 181"/>
              <a:gd name="T80" fmla="*/ 101 w 188"/>
              <a:gd name="T81" fmla="*/ 2 h 181"/>
              <a:gd name="T82" fmla="*/ 94 w 188"/>
              <a:gd name="T83" fmla="*/ 5 h 181"/>
              <a:gd name="T84" fmla="*/ 92 w 188"/>
              <a:gd name="T85" fmla="*/ 8 h 181"/>
              <a:gd name="T86" fmla="*/ 77 w 188"/>
              <a:gd name="T87" fmla="*/ 14 h 181"/>
              <a:gd name="T88" fmla="*/ 59 w 188"/>
              <a:gd name="T89" fmla="*/ 10 h 181"/>
              <a:gd name="T90" fmla="*/ 28 w 188"/>
              <a:gd name="T91" fmla="*/ 1 h 181"/>
              <a:gd name="T92" fmla="*/ 7 w 188"/>
              <a:gd name="T93" fmla="*/ 1 h 181"/>
              <a:gd name="T94" fmla="*/ 7 w 188"/>
              <a:gd name="T95" fmla="*/ 2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81">
                <a:moveTo>
                  <a:pt x="7" y="2"/>
                </a:moveTo>
                <a:cubicBezTo>
                  <a:pt x="6" y="1"/>
                  <a:pt x="6" y="1"/>
                  <a:pt x="5" y="2"/>
                </a:cubicBezTo>
                <a:cubicBezTo>
                  <a:pt x="4" y="3"/>
                  <a:pt x="3" y="4"/>
                  <a:pt x="3" y="5"/>
                </a:cubicBezTo>
                <a:cubicBezTo>
                  <a:pt x="3" y="8"/>
                  <a:pt x="3" y="11"/>
                  <a:pt x="3" y="14"/>
                </a:cubicBezTo>
                <a:cubicBezTo>
                  <a:pt x="3" y="17"/>
                  <a:pt x="3" y="19"/>
                  <a:pt x="2" y="22"/>
                </a:cubicBezTo>
                <a:cubicBezTo>
                  <a:pt x="1" y="25"/>
                  <a:pt x="0" y="27"/>
                  <a:pt x="1" y="30"/>
                </a:cubicBezTo>
                <a:cubicBezTo>
                  <a:pt x="2" y="33"/>
                  <a:pt x="2" y="36"/>
                  <a:pt x="3" y="38"/>
                </a:cubicBezTo>
                <a:cubicBezTo>
                  <a:pt x="4" y="42"/>
                  <a:pt x="4" y="45"/>
                  <a:pt x="4" y="49"/>
                </a:cubicBezTo>
                <a:cubicBezTo>
                  <a:pt x="4" y="55"/>
                  <a:pt x="4" y="62"/>
                  <a:pt x="4" y="69"/>
                </a:cubicBezTo>
                <a:cubicBezTo>
                  <a:pt x="4" y="95"/>
                  <a:pt x="4" y="122"/>
                  <a:pt x="4" y="149"/>
                </a:cubicBezTo>
                <a:cubicBezTo>
                  <a:pt x="4" y="157"/>
                  <a:pt x="4" y="166"/>
                  <a:pt x="4" y="174"/>
                </a:cubicBezTo>
                <a:cubicBezTo>
                  <a:pt x="31" y="174"/>
                  <a:pt x="57" y="174"/>
                  <a:pt x="84" y="173"/>
                </a:cubicBezTo>
                <a:cubicBezTo>
                  <a:pt x="90" y="173"/>
                  <a:pt x="97" y="173"/>
                  <a:pt x="103" y="173"/>
                </a:cubicBezTo>
                <a:cubicBezTo>
                  <a:pt x="105" y="173"/>
                  <a:pt x="106" y="173"/>
                  <a:pt x="107" y="173"/>
                </a:cubicBezTo>
                <a:cubicBezTo>
                  <a:pt x="108" y="172"/>
                  <a:pt x="110" y="171"/>
                  <a:pt x="111" y="171"/>
                </a:cubicBezTo>
                <a:cubicBezTo>
                  <a:pt x="112" y="171"/>
                  <a:pt x="113" y="171"/>
                  <a:pt x="114" y="172"/>
                </a:cubicBezTo>
                <a:cubicBezTo>
                  <a:pt x="114" y="173"/>
                  <a:pt x="115" y="174"/>
                  <a:pt x="116" y="175"/>
                </a:cubicBezTo>
                <a:cubicBezTo>
                  <a:pt x="117" y="175"/>
                  <a:pt x="119" y="175"/>
                  <a:pt x="120" y="175"/>
                </a:cubicBezTo>
                <a:cubicBezTo>
                  <a:pt x="121" y="175"/>
                  <a:pt x="123" y="175"/>
                  <a:pt x="124" y="175"/>
                </a:cubicBezTo>
                <a:cubicBezTo>
                  <a:pt x="128" y="175"/>
                  <a:pt x="131" y="175"/>
                  <a:pt x="134" y="175"/>
                </a:cubicBezTo>
                <a:cubicBezTo>
                  <a:pt x="137" y="175"/>
                  <a:pt x="140" y="175"/>
                  <a:pt x="142" y="175"/>
                </a:cubicBezTo>
                <a:cubicBezTo>
                  <a:pt x="145" y="175"/>
                  <a:pt x="146" y="177"/>
                  <a:pt x="148" y="179"/>
                </a:cubicBezTo>
                <a:cubicBezTo>
                  <a:pt x="150" y="180"/>
                  <a:pt x="152" y="181"/>
                  <a:pt x="155" y="180"/>
                </a:cubicBezTo>
                <a:cubicBezTo>
                  <a:pt x="156" y="179"/>
                  <a:pt x="157" y="179"/>
                  <a:pt x="157" y="178"/>
                </a:cubicBezTo>
                <a:cubicBezTo>
                  <a:pt x="158" y="176"/>
                  <a:pt x="158" y="175"/>
                  <a:pt x="158" y="174"/>
                </a:cubicBezTo>
                <a:cubicBezTo>
                  <a:pt x="159" y="169"/>
                  <a:pt x="168" y="172"/>
                  <a:pt x="170" y="168"/>
                </a:cubicBezTo>
                <a:cubicBezTo>
                  <a:pt x="172" y="166"/>
                  <a:pt x="172" y="164"/>
                  <a:pt x="172" y="162"/>
                </a:cubicBezTo>
                <a:cubicBezTo>
                  <a:pt x="173" y="160"/>
                  <a:pt x="175" y="159"/>
                  <a:pt x="178" y="158"/>
                </a:cubicBezTo>
                <a:cubicBezTo>
                  <a:pt x="179" y="157"/>
                  <a:pt x="185" y="156"/>
                  <a:pt x="185" y="155"/>
                </a:cubicBezTo>
                <a:cubicBezTo>
                  <a:pt x="185" y="154"/>
                  <a:pt x="184" y="153"/>
                  <a:pt x="184" y="152"/>
                </a:cubicBezTo>
                <a:cubicBezTo>
                  <a:pt x="184" y="151"/>
                  <a:pt x="184" y="150"/>
                  <a:pt x="183" y="148"/>
                </a:cubicBezTo>
                <a:cubicBezTo>
                  <a:pt x="183" y="147"/>
                  <a:pt x="183" y="145"/>
                  <a:pt x="183" y="144"/>
                </a:cubicBezTo>
                <a:cubicBezTo>
                  <a:pt x="183" y="142"/>
                  <a:pt x="184" y="142"/>
                  <a:pt x="186" y="141"/>
                </a:cubicBezTo>
                <a:cubicBezTo>
                  <a:pt x="188" y="141"/>
                  <a:pt x="185" y="138"/>
                  <a:pt x="184" y="138"/>
                </a:cubicBezTo>
                <a:cubicBezTo>
                  <a:pt x="181" y="136"/>
                  <a:pt x="179" y="134"/>
                  <a:pt x="178" y="132"/>
                </a:cubicBezTo>
                <a:cubicBezTo>
                  <a:pt x="174" y="127"/>
                  <a:pt x="171" y="122"/>
                  <a:pt x="169" y="116"/>
                </a:cubicBezTo>
                <a:cubicBezTo>
                  <a:pt x="166" y="111"/>
                  <a:pt x="163" y="105"/>
                  <a:pt x="160" y="99"/>
                </a:cubicBezTo>
                <a:cubicBezTo>
                  <a:pt x="159" y="97"/>
                  <a:pt x="157" y="95"/>
                  <a:pt x="156" y="92"/>
                </a:cubicBezTo>
                <a:cubicBezTo>
                  <a:pt x="156" y="91"/>
                  <a:pt x="156" y="89"/>
                  <a:pt x="156" y="88"/>
                </a:cubicBezTo>
                <a:cubicBezTo>
                  <a:pt x="157" y="86"/>
                  <a:pt x="156" y="85"/>
                  <a:pt x="156" y="83"/>
                </a:cubicBezTo>
                <a:cubicBezTo>
                  <a:pt x="154" y="78"/>
                  <a:pt x="152" y="73"/>
                  <a:pt x="148" y="69"/>
                </a:cubicBezTo>
                <a:cubicBezTo>
                  <a:pt x="147" y="66"/>
                  <a:pt x="145" y="64"/>
                  <a:pt x="143" y="63"/>
                </a:cubicBezTo>
                <a:cubicBezTo>
                  <a:pt x="141" y="61"/>
                  <a:pt x="138" y="60"/>
                  <a:pt x="137" y="58"/>
                </a:cubicBezTo>
                <a:cubicBezTo>
                  <a:pt x="137" y="57"/>
                  <a:pt x="137" y="55"/>
                  <a:pt x="137" y="54"/>
                </a:cubicBezTo>
                <a:cubicBezTo>
                  <a:pt x="137" y="53"/>
                  <a:pt x="136" y="52"/>
                  <a:pt x="136" y="51"/>
                </a:cubicBezTo>
                <a:cubicBezTo>
                  <a:pt x="134" y="48"/>
                  <a:pt x="132" y="46"/>
                  <a:pt x="131" y="43"/>
                </a:cubicBezTo>
                <a:cubicBezTo>
                  <a:pt x="130" y="41"/>
                  <a:pt x="129" y="39"/>
                  <a:pt x="129" y="36"/>
                </a:cubicBezTo>
                <a:cubicBezTo>
                  <a:pt x="129" y="35"/>
                  <a:pt x="130" y="34"/>
                  <a:pt x="130" y="33"/>
                </a:cubicBezTo>
                <a:cubicBezTo>
                  <a:pt x="131" y="32"/>
                  <a:pt x="132" y="31"/>
                  <a:pt x="133" y="32"/>
                </a:cubicBezTo>
                <a:cubicBezTo>
                  <a:pt x="134" y="33"/>
                  <a:pt x="134" y="34"/>
                  <a:pt x="134" y="35"/>
                </a:cubicBezTo>
                <a:cubicBezTo>
                  <a:pt x="135" y="36"/>
                  <a:pt x="135" y="38"/>
                  <a:pt x="136" y="39"/>
                </a:cubicBezTo>
                <a:cubicBezTo>
                  <a:pt x="136" y="42"/>
                  <a:pt x="137" y="44"/>
                  <a:pt x="140" y="46"/>
                </a:cubicBezTo>
                <a:cubicBezTo>
                  <a:pt x="141" y="47"/>
                  <a:pt x="144" y="48"/>
                  <a:pt x="144" y="50"/>
                </a:cubicBezTo>
                <a:cubicBezTo>
                  <a:pt x="144" y="51"/>
                  <a:pt x="143" y="52"/>
                  <a:pt x="143" y="53"/>
                </a:cubicBezTo>
                <a:cubicBezTo>
                  <a:pt x="143" y="55"/>
                  <a:pt x="144" y="56"/>
                  <a:pt x="144" y="57"/>
                </a:cubicBezTo>
                <a:cubicBezTo>
                  <a:pt x="146" y="62"/>
                  <a:pt x="152" y="66"/>
                  <a:pt x="156" y="69"/>
                </a:cubicBezTo>
                <a:cubicBezTo>
                  <a:pt x="157" y="69"/>
                  <a:pt x="160" y="73"/>
                  <a:pt x="162" y="72"/>
                </a:cubicBezTo>
                <a:cubicBezTo>
                  <a:pt x="163" y="71"/>
                  <a:pt x="163" y="69"/>
                  <a:pt x="163" y="67"/>
                </a:cubicBezTo>
                <a:cubicBezTo>
                  <a:pt x="164" y="64"/>
                  <a:pt x="164" y="61"/>
                  <a:pt x="165" y="57"/>
                </a:cubicBezTo>
                <a:cubicBezTo>
                  <a:pt x="166" y="54"/>
                  <a:pt x="168" y="51"/>
                  <a:pt x="169" y="48"/>
                </a:cubicBezTo>
                <a:cubicBezTo>
                  <a:pt x="169" y="46"/>
                  <a:pt x="170" y="45"/>
                  <a:pt x="170" y="43"/>
                </a:cubicBezTo>
                <a:cubicBezTo>
                  <a:pt x="170" y="41"/>
                  <a:pt x="169" y="40"/>
                  <a:pt x="169" y="38"/>
                </a:cubicBezTo>
                <a:cubicBezTo>
                  <a:pt x="168" y="34"/>
                  <a:pt x="167" y="31"/>
                  <a:pt x="166" y="27"/>
                </a:cubicBezTo>
                <a:cubicBezTo>
                  <a:pt x="164" y="20"/>
                  <a:pt x="162" y="12"/>
                  <a:pt x="160" y="5"/>
                </a:cubicBezTo>
                <a:cubicBezTo>
                  <a:pt x="159" y="7"/>
                  <a:pt x="156" y="8"/>
                  <a:pt x="153" y="9"/>
                </a:cubicBezTo>
                <a:cubicBezTo>
                  <a:pt x="152" y="9"/>
                  <a:pt x="151" y="9"/>
                  <a:pt x="150" y="9"/>
                </a:cubicBezTo>
                <a:cubicBezTo>
                  <a:pt x="149" y="8"/>
                  <a:pt x="146" y="8"/>
                  <a:pt x="145" y="8"/>
                </a:cubicBezTo>
                <a:cubicBezTo>
                  <a:pt x="145" y="9"/>
                  <a:pt x="146" y="10"/>
                  <a:pt x="145" y="10"/>
                </a:cubicBezTo>
                <a:cubicBezTo>
                  <a:pt x="144" y="11"/>
                  <a:pt x="143" y="10"/>
                  <a:pt x="143" y="10"/>
                </a:cubicBezTo>
                <a:cubicBezTo>
                  <a:pt x="141" y="9"/>
                  <a:pt x="145" y="8"/>
                  <a:pt x="142" y="8"/>
                </a:cubicBezTo>
                <a:cubicBezTo>
                  <a:pt x="141" y="8"/>
                  <a:pt x="139" y="8"/>
                  <a:pt x="139" y="9"/>
                </a:cubicBezTo>
                <a:cubicBezTo>
                  <a:pt x="138" y="10"/>
                  <a:pt x="137" y="10"/>
                  <a:pt x="136" y="11"/>
                </a:cubicBezTo>
                <a:cubicBezTo>
                  <a:pt x="133" y="11"/>
                  <a:pt x="131" y="9"/>
                  <a:pt x="129" y="7"/>
                </a:cubicBezTo>
                <a:cubicBezTo>
                  <a:pt x="129" y="7"/>
                  <a:pt x="124" y="4"/>
                  <a:pt x="124" y="5"/>
                </a:cubicBezTo>
                <a:cubicBezTo>
                  <a:pt x="123" y="6"/>
                  <a:pt x="127" y="7"/>
                  <a:pt x="127" y="8"/>
                </a:cubicBezTo>
                <a:cubicBezTo>
                  <a:pt x="128" y="8"/>
                  <a:pt x="126" y="9"/>
                  <a:pt x="126" y="10"/>
                </a:cubicBezTo>
                <a:cubicBezTo>
                  <a:pt x="125" y="10"/>
                  <a:pt x="124" y="10"/>
                  <a:pt x="123" y="9"/>
                </a:cubicBezTo>
                <a:cubicBezTo>
                  <a:pt x="121" y="8"/>
                  <a:pt x="120" y="7"/>
                  <a:pt x="120" y="5"/>
                </a:cubicBezTo>
                <a:cubicBezTo>
                  <a:pt x="120" y="2"/>
                  <a:pt x="117" y="4"/>
                  <a:pt x="116" y="4"/>
                </a:cubicBezTo>
                <a:cubicBezTo>
                  <a:pt x="114" y="4"/>
                  <a:pt x="113" y="2"/>
                  <a:pt x="112" y="2"/>
                </a:cubicBezTo>
                <a:cubicBezTo>
                  <a:pt x="111" y="1"/>
                  <a:pt x="109" y="1"/>
                  <a:pt x="108" y="0"/>
                </a:cubicBezTo>
                <a:cubicBezTo>
                  <a:pt x="105" y="0"/>
                  <a:pt x="103" y="1"/>
                  <a:pt x="101" y="2"/>
                </a:cubicBezTo>
                <a:cubicBezTo>
                  <a:pt x="100" y="3"/>
                  <a:pt x="98" y="3"/>
                  <a:pt x="97" y="4"/>
                </a:cubicBezTo>
                <a:cubicBezTo>
                  <a:pt x="96" y="4"/>
                  <a:pt x="94" y="4"/>
                  <a:pt x="94" y="5"/>
                </a:cubicBezTo>
                <a:cubicBezTo>
                  <a:pt x="94" y="6"/>
                  <a:pt x="95" y="7"/>
                  <a:pt x="94" y="8"/>
                </a:cubicBezTo>
                <a:cubicBezTo>
                  <a:pt x="93" y="8"/>
                  <a:pt x="93" y="8"/>
                  <a:pt x="92" y="8"/>
                </a:cubicBezTo>
                <a:cubicBezTo>
                  <a:pt x="89" y="7"/>
                  <a:pt x="87" y="8"/>
                  <a:pt x="84" y="10"/>
                </a:cubicBezTo>
                <a:cubicBezTo>
                  <a:pt x="82" y="11"/>
                  <a:pt x="80" y="13"/>
                  <a:pt x="77" y="14"/>
                </a:cubicBezTo>
                <a:cubicBezTo>
                  <a:pt x="74" y="15"/>
                  <a:pt x="71" y="15"/>
                  <a:pt x="69" y="13"/>
                </a:cubicBezTo>
                <a:cubicBezTo>
                  <a:pt x="66" y="11"/>
                  <a:pt x="63" y="11"/>
                  <a:pt x="59" y="10"/>
                </a:cubicBezTo>
                <a:cubicBezTo>
                  <a:pt x="56" y="10"/>
                  <a:pt x="52" y="9"/>
                  <a:pt x="48" y="8"/>
                </a:cubicBezTo>
                <a:cubicBezTo>
                  <a:pt x="41" y="6"/>
                  <a:pt x="35" y="2"/>
                  <a:pt x="28" y="1"/>
                </a:cubicBezTo>
                <a:cubicBezTo>
                  <a:pt x="24" y="0"/>
                  <a:pt x="21" y="0"/>
                  <a:pt x="17" y="0"/>
                </a:cubicBezTo>
                <a:cubicBezTo>
                  <a:pt x="14" y="1"/>
                  <a:pt x="10" y="2"/>
                  <a:pt x="7" y="1"/>
                </a:cubicBezTo>
                <a:cubicBezTo>
                  <a:pt x="7" y="2"/>
                  <a:pt x="7" y="2"/>
                  <a:pt x="7" y="2"/>
                </a:cubicBezTo>
                <a:cubicBezTo>
                  <a:pt x="7" y="1"/>
                  <a:pt x="7" y="2"/>
                  <a:pt x="7" y="2"/>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43" name="Freeform 204">
            <a:extLst>
              <a:ext uri="{FF2B5EF4-FFF2-40B4-BE49-F238E27FC236}">
                <a16:creationId xmlns:a16="http://schemas.microsoft.com/office/drawing/2014/main" id="{7D2C0C8B-7051-6135-440F-3EA3D90F204D}"/>
              </a:ext>
            </a:extLst>
          </p:cNvPr>
          <p:cNvSpPr/>
          <p:nvPr>
            <p:custDataLst>
              <p:tags r:id="rId25"/>
            </p:custDataLst>
          </p:nvPr>
        </p:nvSpPr>
        <p:spPr bwMode="auto">
          <a:xfrm>
            <a:off x="5123912" y="2979456"/>
            <a:ext cx="134146" cy="110120"/>
          </a:xfrm>
          <a:custGeom>
            <a:avLst/>
            <a:gdLst>
              <a:gd name="T0" fmla="*/ 13 w 115"/>
              <a:gd name="T1" fmla="*/ 24 h 94"/>
              <a:gd name="T2" fmla="*/ 7 w 115"/>
              <a:gd name="T3" fmla="*/ 28 h 94"/>
              <a:gd name="T4" fmla="*/ 4 w 115"/>
              <a:gd name="T5" fmla="*/ 28 h 94"/>
              <a:gd name="T6" fmla="*/ 2 w 115"/>
              <a:gd name="T7" fmla="*/ 32 h 94"/>
              <a:gd name="T8" fmla="*/ 5 w 115"/>
              <a:gd name="T9" fmla="*/ 39 h 94"/>
              <a:gd name="T10" fmla="*/ 5 w 115"/>
              <a:gd name="T11" fmla="*/ 43 h 94"/>
              <a:gd name="T12" fmla="*/ 5 w 115"/>
              <a:gd name="T13" fmla="*/ 49 h 94"/>
              <a:gd name="T14" fmla="*/ 13 w 115"/>
              <a:gd name="T15" fmla="*/ 51 h 94"/>
              <a:gd name="T16" fmla="*/ 16 w 115"/>
              <a:gd name="T17" fmla="*/ 58 h 94"/>
              <a:gd name="T18" fmla="*/ 12 w 115"/>
              <a:gd name="T19" fmla="*/ 64 h 94"/>
              <a:gd name="T20" fmla="*/ 9 w 115"/>
              <a:gd name="T21" fmla="*/ 68 h 94"/>
              <a:gd name="T22" fmla="*/ 6 w 115"/>
              <a:gd name="T23" fmla="*/ 74 h 94"/>
              <a:gd name="T24" fmla="*/ 3 w 115"/>
              <a:gd name="T25" fmla="*/ 76 h 94"/>
              <a:gd name="T26" fmla="*/ 1 w 115"/>
              <a:gd name="T27" fmla="*/ 79 h 94"/>
              <a:gd name="T28" fmla="*/ 0 w 115"/>
              <a:gd name="T29" fmla="*/ 85 h 94"/>
              <a:gd name="T30" fmla="*/ 3 w 115"/>
              <a:gd name="T31" fmla="*/ 87 h 94"/>
              <a:gd name="T32" fmla="*/ 7 w 115"/>
              <a:gd name="T33" fmla="*/ 89 h 94"/>
              <a:gd name="T34" fmla="*/ 24 w 115"/>
              <a:gd name="T35" fmla="*/ 92 h 94"/>
              <a:gd name="T36" fmla="*/ 40 w 115"/>
              <a:gd name="T37" fmla="*/ 82 h 94"/>
              <a:gd name="T38" fmla="*/ 47 w 115"/>
              <a:gd name="T39" fmla="*/ 77 h 94"/>
              <a:gd name="T40" fmla="*/ 51 w 115"/>
              <a:gd name="T41" fmla="*/ 76 h 94"/>
              <a:gd name="T42" fmla="*/ 54 w 115"/>
              <a:gd name="T43" fmla="*/ 75 h 94"/>
              <a:gd name="T44" fmla="*/ 60 w 115"/>
              <a:gd name="T45" fmla="*/ 70 h 94"/>
              <a:gd name="T46" fmla="*/ 69 w 115"/>
              <a:gd name="T47" fmla="*/ 65 h 94"/>
              <a:gd name="T48" fmla="*/ 79 w 115"/>
              <a:gd name="T49" fmla="*/ 60 h 94"/>
              <a:gd name="T50" fmla="*/ 84 w 115"/>
              <a:gd name="T51" fmla="*/ 57 h 94"/>
              <a:gd name="T52" fmla="*/ 89 w 115"/>
              <a:gd name="T53" fmla="*/ 54 h 94"/>
              <a:gd name="T54" fmla="*/ 94 w 115"/>
              <a:gd name="T55" fmla="*/ 47 h 94"/>
              <a:gd name="T56" fmla="*/ 94 w 115"/>
              <a:gd name="T57" fmla="*/ 42 h 94"/>
              <a:gd name="T58" fmla="*/ 95 w 115"/>
              <a:gd name="T59" fmla="*/ 36 h 94"/>
              <a:gd name="T60" fmla="*/ 98 w 115"/>
              <a:gd name="T61" fmla="*/ 14 h 94"/>
              <a:gd name="T62" fmla="*/ 107 w 115"/>
              <a:gd name="T63" fmla="*/ 10 h 94"/>
              <a:gd name="T64" fmla="*/ 115 w 115"/>
              <a:gd name="T65" fmla="*/ 2 h 94"/>
              <a:gd name="T66" fmla="*/ 108 w 115"/>
              <a:gd name="T67" fmla="*/ 1 h 94"/>
              <a:gd name="T68" fmla="*/ 101 w 115"/>
              <a:gd name="T69" fmla="*/ 3 h 94"/>
              <a:gd name="T70" fmla="*/ 85 w 115"/>
              <a:gd name="T71" fmla="*/ 5 h 94"/>
              <a:gd name="T72" fmla="*/ 69 w 115"/>
              <a:gd name="T73" fmla="*/ 10 h 94"/>
              <a:gd name="T74" fmla="*/ 54 w 115"/>
              <a:gd name="T75" fmla="*/ 10 h 94"/>
              <a:gd name="T76" fmla="*/ 40 w 115"/>
              <a:gd name="T77" fmla="*/ 9 h 94"/>
              <a:gd name="T78" fmla="*/ 25 w 115"/>
              <a:gd name="T79" fmla="*/ 13 h 94"/>
              <a:gd name="T80" fmla="*/ 17 w 115"/>
              <a:gd name="T81" fmla="*/ 13 h 94"/>
              <a:gd name="T82" fmla="*/ 17 w 115"/>
              <a:gd name="T83" fmla="*/ 19 h 94"/>
              <a:gd name="T84" fmla="*/ 13 w 115"/>
              <a:gd name="T85" fmla="*/ 25 h 94"/>
              <a:gd name="T86" fmla="*/ 13 w 115"/>
              <a:gd name="T87" fmla="*/ 24 h 94"/>
              <a:gd name="T88" fmla="*/ 13 w 115"/>
              <a:gd name="T89" fmla="*/ 2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5" h="94">
                <a:moveTo>
                  <a:pt x="13" y="24"/>
                </a:moveTo>
                <a:cubicBezTo>
                  <a:pt x="12" y="26"/>
                  <a:pt x="10" y="28"/>
                  <a:pt x="7" y="28"/>
                </a:cubicBezTo>
                <a:cubicBezTo>
                  <a:pt x="6" y="29"/>
                  <a:pt x="5" y="28"/>
                  <a:pt x="4" y="28"/>
                </a:cubicBezTo>
                <a:cubicBezTo>
                  <a:pt x="2" y="28"/>
                  <a:pt x="2" y="31"/>
                  <a:pt x="2" y="32"/>
                </a:cubicBezTo>
                <a:cubicBezTo>
                  <a:pt x="3" y="34"/>
                  <a:pt x="5" y="36"/>
                  <a:pt x="5" y="39"/>
                </a:cubicBezTo>
                <a:cubicBezTo>
                  <a:pt x="6" y="40"/>
                  <a:pt x="5" y="42"/>
                  <a:pt x="5" y="43"/>
                </a:cubicBezTo>
                <a:cubicBezTo>
                  <a:pt x="5" y="45"/>
                  <a:pt x="5" y="47"/>
                  <a:pt x="5" y="49"/>
                </a:cubicBezTo>
                <a:cubicBezTo>
                  <a:pt x="7" y="49"/>
                  <a:pt x="11" y="49"/>
                  <a:pt x="13" y="51"/>
                </a:cubicBezTo>
                <a:cubicBezTo>
                  <a:pt x="15" y="52"/>
                  <a:pt x="16" y="56"/>
                  <a:pt x="16" y="58"/>
                </a:cubicBezTo>
                <a:cubicBezTo>
                  <a:pt x="16" y="61"/>
                  <a:pt x="15" y="63"/>
                  <a:pt x="12" y="64"/>
                </a:cubicBezTo>
                <a:cubicBezTo>
                  <a:pt x="11" y="65"/>
                  <a:pt x="8" y="66"/>
                  <a:pt x="9" y="68"/>
                </a:cubicBezTo>
                <a:cubicBezTo>
                  <a:pt x="10" y="71"/>
                  <a:pt x="8" y="72"/>
                  <a:pt x="6" y="74"/>
                </a:cubicBezTo>
                <a:cubicBezTo>
                  <a:pt x="5" y="74"/>
                  <a:pt x="4" y="75"/>
                  <a:pt x="3" y="76"/>
                </a:cubicBezTo>
                <a:cubicBezTo>
                  <a:pt x="2" y="77"/>
                  <a:pt x="2" y="78"/>
                  <a:pt x="1" y="79"/>
                </a:cubicBezTo>
                <a:cubicBezTo>
                  <a:pt x="0" y="79"/>
                  <a:pt x="0" y="84"/>
                  <a:pt x="0" y="85"/>
                </a:cubicBezTo>
                <a:cubicBezTo>
                  <a:pt x="1" y="86"/>
                  <a:pt x="2" y="86"/>
                  <a:pt x="3" y="87"/>
                </a:cubicBezTo>
                <a:cubicBezTo>
                  <a:pt x="5" y="87"/>
                  <a:pt x="6" y="88"/>
                  <a:pt x="7" y="89"/>
                </a:cubicBezTo>
                <a:cubicBezTo>
                  <a:pt x="12" y="92"/>
                  <a:pt x="19" y="94"/>
                  <a:pt x="24" y="92"/>
                </a:cubicBezTo>
                <a:cubicBezTo>
                  <a:pt x="29" y="89"/>
                  <a:pt x="34" y="86"/>
                  <a:pt x="40" y="82"/>
                </a:cubicBezTo>
                <a:cubicBezTo>
                  <a:pt x="42" y="80"/>
                  <a:pt x="44" y="79"/>
                  <a:pt x="47" y="77"/>
                </a:cubicBezTo>
                <a:cubicBezTo>
                  <a:pt x="48" y="77"/>
                  <a:pt x="50" y="76"/>
                  <a:pt x="51" y="76"/>
                </a:cubicBezTo>
                <a:cubicBezTo>
                  <a:pt x="52" y="76"/>
                  <a:pt x="53" y="76"/>
                  <a:pt x="54" y="75"/>
                </a:cubicBezTo>
                <a:cubicBezTo>
                  <a:pt x="55" y="73"/>
                  <a:pt x="58" y="71"/>
                  <a:pt x="60" y="70"/>
                </a:cubicBezTo>
                <a:cubicBezTo>
                  <a:pt x="63" y="69"/>
                  <a:pt x="66" y="67"/>
                  <a:pt x="69" y="65"/>
                </a:cubicBezTo>
                <a:cubicBezTo>
                  <a:pt x="72" y="64"/>
                  <a:pt x="76" y="62"/>
                  <a:pt x="79" y="60"/>
                </a:cubicBezTo>
                <a:cubicBezTo>
                  <a:pt x="81" y="59"/>
                  <a:pt x="82" y="58"/>
                  <a:pt x="84" y="57"/>
                </a:cubicBezTo>
                <a:cubicBezTo>
                  <a:pt x="85" y="56"/>
                  <a:pt x="87" y="55"/>
                  <a:pt x="89" y="54"/>
                </a:cubicBezTo>
                <a:cubicBezTo>
                  <a:pt x="92" y="53"/>
                  <a:pt x="93" y="50"/>
                  <a:pt x="94" y="47"/>
                </a:cubicBezTo>
                <a:cubicBezTo>
                  <a:pt x="94" y="46"/>
                  <a:pt x="94" y="44"/>
                  <a:pt x="94" y="42"/>
                </a:cubicBezTo>
                <a:cubicBezTo>
                  <a:pt x="94" y="40"/>
                  <a:pt x="95" y="38"/>
                  <a:pt x="95" y="36"/>
                </a:cubicBezTo>
                <a:cubicBezTo>
                  <a:pt x="98" y="29"/>
                  <a:pt x="92" y="20"/>
                  <a:pt x="98" y="14"/>
                </a:cubicBezTo>
                <a:cubicBezTo>
                  <a:pt x="101" y="12"/>
                  <a:pt x="104" y="13"/>
                  <a:pt x="107" y="10"/>
                </a:cubicBezTo>
                <a:cubicBezTo>
                  <a:pt x="110" y="8"/>
                  <a:pt x="113" y="5"/>
                  <a:pt x="115" y="2"/>
                </a:cubicBezTo>
                <a:cubicBezTo>
                  <a:pt x="113" y="1"/>
                  <a:pt x="111" y="0"/>
                  <a:pt x="108" y="1"/>
                </a:cubicBezTo>
                <a:cubicBezTo>
                  <a:pt x="105" y="2"/>
                  <a:pt x="103" y="3"/>
                  <a:pt x="101" y="3"/>
                </a:cubicBezTo>
                <a:cubicBezTo>
                  <a:pt x="95" y="4"/>
                  <a:pt x="90" y="3"/>
                  <a:pt x="85" y="5"/>
                </a:cubicBezTo>
                <a:cubicBezTo>
                  <a:pt x="80" y="6"/>
                  <a:pt x="75" y="9"/>
                  <a:pt x="69" y="10"/>
                </a:cubicBezTo>
                <a:cubicBezTo>
                  <a:pt x="64" y="12"/>
                  <a:pt x="59" y="12"/>
                  <a:pt x="54" y="10"/>
                </a:cubicBezTo>
                <a:cubicBezTo>
                  <a:pt x="49" y="9"/>
                  <a:pt x="44" y="7"/>
                  <a:pt x="40" y="9"/>
                </a:cubicBezTo>
                <a:cubicBezTo>
                  <a:pt x="35" y="10"/>
                  <a:pt x="30" y="14"/>
                  <a:pt x="25" y="13"/>
                </a:cubicBezTo>
                <a:cubicBezTo>
                  <a:pt x="23" y="13"/>
                  <a:pt x="18" y="8"/>
                  <a:pt x="17" y="13"/>
                </a:cubicBezTo>
                <a:cubicBezTo>
                  <a:pt x="17" y="15"/>
                  <a:pt x="17" y="17"/>
                  <a:pt x="17" y="19"/>
                </a:cubicBezTo>
                <a:cubicBezTo>
                  <a:pt x="16" y="22"/>
                  <a:pt x="14" y="23"/>
                  <a:pt x="13" y="25"/>
                </a:cubicBezTo>
                <a:cubicBezTo>
                  <a:pt x="13" y="25"/>
                  <a:pt x="13" y="24"/>
                  <a:pt x="13" y="24"/>
                </a:cubicBezTo>
                <a:cubicBezTo>
                  <a:pt x="12" y="26"/>
                  <a:pt x="13" y="24"/>
                  <a:pt x="13" y="24"/>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44" name="Freeform 208">
            <a:extLst>
              <a:ext uri="{FF2B5EF4-FFF2-40B4-BE49-F238E27FC236}">
                <a16:creationId xmlns:a16="http://schemas.microsoft.com/office/drawing/2014/main" id="{B20117C1-5A84-53C3-175F-DF53E7A2CF04}"/>
              </a:ext>
            </a:extLst>
          </p:cNvPr>
          <p:cNvSpPr/>
          <p:nvPr>
            <p:custDataLst>
              <p:tags r:id="rId26"/>
            </p:custDataLst>
          </p:nvPr>
        </p:nvSpPr>
        <p:spPr bwMode="auto">
          <a:xfrm>
            <a:off x="4832595" y="2494930"/>
            <a:ext cx="111121" cy="69075"/>
          </a:xfrm>
          <a:custGeom>
            <a:avLst/>
            <a:gdLst>
              <a:gd name="T0" fmla="*/ 59 w 95"/>
              <a:gd name="T1" fmla="*/ 4 h 59"/>
              <a:gd name="T2" fmla="*/ 43 w 95"/>
              <a:gd name="T3" fmla="*/ 3 h 59"/>
              <a:gd name="T4" fmla="*/ 35 w 95"/>
              <a:gd name="T5" fmla="*/ 3 h 59"/>
              <a:gd name="T6" fmla="*/ 28 w 95"/>
              <a:gd name="T7" fmla="*/ 3 h 59"/>
              <a:gd name="T8" fmla="*/ 20 w 95"/>
              <a:gd name="T9" fmla="*/ 2 h 59"/>
              <a:gd name="T10" fmla="*/ 13 w 95"/>
              <a:gd name="T11" fmla="*/ 4 h 59"/>
              <a:gd name="T12" fmla="*/ 6 w 95"/>
              <a:gd name="T13" fmla="*/ 8 h 59"/>
              <a:gd name="T14" fmla="*/ 2 w 95"/>
              <a:gd name="T15" fmla="*/ 9 h 59"/>
              <a:gd name="T16" fmla="*/ 0 w 95"/>
              <a:gd name="T17" fmla="*/ 11 h 59"/>
              <a:gd name="T18" fmla="*/ 5 w 95"/>
              <a:gd name="T19" fmla="*/ 27 h 59"/>
              <a:gd name="T20" fmla="*/ 12 w 95"/>
              <a:gd name="T21" fmla="*/ 29 h 59"/>
              <a:gd name="T22" fmla="*/ 19 w 95"/>
              <a:gd name="T23" fmla="*/ 32 h 59"/>
              <a:gd name="T24" fmla="*/ 31 w 95"/>
              <a:gd name="T25" fmla="*/ 34 h 59"/>
              <a:gd name="T26" fmla="*/ 33 w 95"/>
              <a:gd name="T27" fmla="*/ 41 h 59"/>
              <a:gd name="T28" fmla="*/ 31 w 95"/>
              <a:gd name="T29" fmla="*/ 44 h 59"/>
              <a:gd name="T30" fmla="*/ 31 w 95"/>
              <a:gd name="T31" fmla="*/ 48 h 59"/>
              <a:gd name="T32" fmla="*/ 42 w 95"/>
              <a:gd name="T33" fmla="*/ 57 h 59"/>
              <a:gd name="T34" fmla="*/ 44 w 95"/>
              <a:gd name="T35" fmla="*/ 57 h 59"/>
              <a:gd name="T36" fmla="*/ 49 w 95"/>
              <a:gd name="T37" fmla="*/ 58 h 59"/>
              <a:gd name="T38" fmla="*/ 58 w 95"/>
              <a:gd name="T39" fmla="*/ 59 h 59"/>
              <a:gd name="T40" fmla="*/ 64 w 95"/>
              <a:gd name="T41" fmla="*/ 58 h 59"/>
              <a:gd name="T42" fmla="*/ 68 w 95"/>
              <a:gd name="T43" fmla="*/ 53 h 59"/>
              <a:gd name="T44" fmla="*/ 74 w 95"/>
              <a:gd name="T45" fmla="*/ 52 h 59"/>
              <a:gd name="T46" fmla="*/ 78 w 95"/>
              <a:gd name="T47" fmla="*/ 52 h 59"/>
              <a:gd name="T48" fmla="*/ 79 w 95"/>
              <a:gd name="T49" fmla="*/ 50 h 59"/>
              <a:gd name="T50" fmla="*/ 83 w 95"/>
              <a:gd name="T51" fmla="*/ 36 h 59"/>
              <a:gd name="T52" fmla="*/ 89 w 95"/>
              <a:gd name="T53" fmla="*/ 33 h 59"/>
              <a:gd name="T54" fmla="*/ 93 w 95"/>
              <a:gd name="T55" fmla="*/ 28 h 59"/>
              <a:gd name="T56" fmla="*/ 94 w 95"/>
              <a:gd name="T57" fmla="*/ 21 h 59"/>
              <a:gd name="T58" fmla="*/ 94 w 95"/>
              <a:gd name="T59" fmla="*/ 19 h 59"/>
              <a:gd name="T60" fmla="*/ 90 w 95"/>
              <a:gd name="T61" fmla="*/ 16 h 59"/>
              <a:gd name="T62" fmla="*/ 84 w 95"/>
              <a:gd name="T63" fmla="*/ 11 h 59"/>
              <a:gd name="T64" fmla="*/ 76 w 95"/>
              <a:gd name="T65" fmla="*/ 7 h 59"/>
              <a:gd name="T66" fmla="*/ 67 w 95"/>
              <a:gd name="T67" fmla="*/ 3 h 59"/>
              <a:gd name="T68" fmla="*/ 58 w 95"/>
              <a:gd name="T69" fmla="*/ 4 h 59"/>
              <a:gd name="T70" fmla="*/ 59 w 95"/>
              <a:gd name="T71" fmla="*/ 4 h 59"/>
              <a:gd name="T72" fmla="*/ 59 w 95"/>
              <a:gd name="T73" fmla="*/ 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5" h="59">
                <a:moveTo>
                  <a:pt x="59" y="4"/>
                </a:moveTo>
                <a:cubicBezTo>
                  <a:pt x="54" y="6"/>
                  <a:pt x="49" y="3"/>
                  <a:pt x="43" y="3"/>
                </a:cubicBezTo>
                <a:cubicBezTo>
                  <a:pt x="41" y="3"/>
                  <a:pt x="38" y="4"/>
                  <a:pt x="35" y="3"/>
                </a:cubicBezTo>
                <a:cubicBezTo>
                  <a:pt x="33" y="3"/>
                  <a:pt x="30" y="3"/>
                  <a:pt x="28" y="3"/>
                </a:cubicBezTo>
                <a:cubicBezTo>
                  <a:pt x="25" y="3"/>
                  <a:pt x="23" y="2"/>
                  <a:pt x="20" y="2"/>
                </a:cubicBezTo>
                <a:cubicBezTo>
                  <a:pt x="18" y="3"/>
                  <a:pt x="15" y="3"/>
                  <a:pt x="13" y="4"/>
                </a:cubicBezTo>
                <a:cubicBezTo>
                  <a:pt x="11" y="5"/>
                  <a:pt x="8" y="6"/>
                  <a:pt x="6" y="8"/>
                </a:cubicBezTo>
                <a:cubicBezTo>
                  <a:pt x="4" y="8"/>
                  <a:pt x="3" y="9"/>
                  <a:pt x="2" y="9"/>
                </a:cubicBezTo>
                <a:cubicBezTo>
                  <a:pt x="0" y="10"/>
                  <a:pt x="0" y="10"/>
                  <a:pt x="0" y="11"/>
                </a:cubicBezTo>
                <a:cubicBezTo>
                  <a:pt x="1" y="17"/>
                  <a:pt x="5" y="21"/>
                  <a:pt x="5" y="27"/>
                </a:cubicBezTo>
                <a:cubicBezTo>
                  <a:pt x="7" y="27"/>
                  <a:pt x="10" y="28"/>
                  <a:pt x="12" y="29"/>
                </a:cubicBezTo>
                <a:cubicBezTo>
                  <a:pt x="14" y="30"/>
                  <a:pt x="16" y="32"/>
                  <a:pt x="19" y="32"/>
                </a:cubicBezTo>
                <a:cubicBezTo>
                  <a:pt x="23" y="32"/>
                  <a:pt x="28" y="30"/>
                  <a:pt x="31" y="34"/>
                </a:cubicBezTo>
                <a:cubicBezTo>
                  <a:pt x="32" y="36"/>
                  <a:pt x="33" y="39"/>
                  <a:pt x="33" y="41"/>
                </a:cubicBezTo>
                <a:cubicBezTo>
                  <a:pt x="32" y="42"/>
                  <a:pt x="32" y="43"/>
                  <a:pt x="31" y="44"/>
                </a:cubicBezTo>
                <a:cubicBezTo>
                  <a:pt x="31" y="46"/>
                  <a:pt x="31" y="47"/>
                  <a:pt x="31" y="48"/>
                </a:cubicBezTo>
                <a:cubicBezTo>
                  <a:pt x="37" y="48"/>
                  <a:pt x="41" y="51"/>
                  <a:pt x="42" y="57"/>
                </a:cubicBezTo>
                <a:cubicBezTo>
                  <a:pt x="43" y="58"/>
                  <a:pt x="43" y="57"/>
                  <a:pt x="44" y="57"/>
                </a:cubicBezTo>
                <a:cubicBezTo>
                  <a:pt x="46" y="58"/>
                  <a:pt x="47" y="58"/>
                  <a:pt x="49" y="58"/>
                </a:cubicBezTo>
                <a:cubicBezTo>
                  <a:pt x="52" y="58"/>
                  <a:pt x="55" y="59"/>
                  <a:pt x="58" y="59"/>
                </a:cubicBezTo>
                <a:cubicBezTo>
                  <a:pt x="60" y="59"/>
                  <a:pt x="62" y="59"/>
                  <a:pt x="64" y="58"/>
                </a:cubicBezTo>
                <a:cubicBezTo>
                  <a:pt x="65" y="56"/>
                  <a:pt x="65" y="54"/>
                  <a:pt x="68" y="53"/>
                </a:cubicBezTo>
                <a:cubicBezTo>
                  <a:pt x="70" y="53"/>
                  <a:pt x="72" y="53"/>
                  <a:pt x="74" y="52"/>
                </a:cubicBezTo>
                <a:cubicBezTo>
                  <a:pt x="76" y="52"/>
                  <a:pt x="77" y="52"/>
                  <a:pt x="78" y="52"/>
                </a:cubicBezTo>
                <a:cubicBezTo>
                  <a:pt x="80" y="52"/>
                  <a:pt x="79" y="51"/>
                  <a:pt x="79" y="50"/>
                </a:cubicBezTo>
                <a:cubicBezTo>
                  <a:pt x="79" y="45"/>
                  <a:pt x="77" y="39"/>
                  <a:pt x="83" y="36"/>
                </a:cubicBezTo>
                <a:cubicBezTo>
                  <a:pt x="85" y="35"/>
                  <a:pt x="87" y="34"/>
                  <a:pt x="89" y="33"/>
                </a:cubicBezTo>
                <a:cubicBezTo>
                  <a:pt x="91" y="32"/>
                  <a:pt x="95" y="31"/>
                  <a:pt x="93" y="28"/>
                </a:cubicBezTo>
                <a:cubicBezTo>
                  <a:pt x="92" y="26"/>
                  <a:pt x="93" y="23"/>
                  <a:pt x="94" y="21"/>
                </a:cubicBezTo>
                <a:cubicBezTo>
                  <a:pt x="94" y="20"/>
                  <a:pt x="95" y="20"/>
                  <a:pt x="94" y="19"/>
                </a:cubicBezTo>
                <a:cubicBezTo>
                  <a:pt x="93" y="18"/>
                  <a:pt x="92" y="17"/>
                  <a:pt x="90" y="16"/>
                </a:cubicBezTo>
                <a:cubicBezTo>
                  <a:pt x="88" y="15"/>
                  <a:pt x="86" y="13"/>
                  <a:pt x="84" y="11"/>
                </a:cubicBezTo>
                <a:cubicBezTo>
                  <a:pt x="81" y="9"/>
                  <a:pt x="79" y="8"/>
                  <a:pt x="76" y="7"/>
                </a:cubicBezTo>
                <a:cubicBezTo>
                  <a:pt x="73" y="7"/>
                  <a:pt x="69" y="7"/>
                  <a:pt x="67" y="3"/>
                </a:cubicBezTo>
                <a:cubicBezTo>
                  <a:pt x="65" y="0"/>
                  <a:pt x="61" y="4"/>
                  <a:pt x="58" y="4"/>
                </a:cubicBezTo>
                <a:cubicBezTo>
                  <a:pt x="59" y="4"/>
                  <a:pt x="59" y="4"/>
                  <a:pt x="59" y="4"/>
                </a:cubicBezTo>
                <a:cubicBezTo>
                  <a:pt x="55" y="5"/>
                  <a:pt x="59" y="4"/>
                  <a:pt x="59" y="4"/>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45" name="Freeform 209">
            <a:extLst>
              <a:ext uri="{FF2B5EF4-FFF2-40B4-BE49-F238E27FC236}">
                <a16:creationId xmlns:a16="http://schemas.microsoft.com/office/drawing/2014/main" id="{9F8CE07C-E1FC-F93E-6035-2FF6607E62D5}"/>
              </a:ext>
            </a:extLst>
          </p:cNvPr>
          <p:cNvSpPr/>
          <p:nvPr>
            <p:custDataLst>
              <p:tags r:id="rId27"/>
            </p:custDataLst>
          </p:nvPr>
        </p:nvSpPr>
        <p:spPr bwMode="auto">
          <a:xfrm>
            <a:off x="4532268" y="2666116"/>
            <a:ext cx="11013" cy="17018"/>
          </a:xfrm>
          <a:custGeom>
            <a:avLst/>
            <a:gdLst>
              <a:gd name="T0" fmla="*/ 1 w 9"/>
              <a:gd name="T1" fmla="*/ 13 h 15"/>
              <a:gd name="T2" fmla="*/ 8 w 9"/>
              <a:gd name="T3" fmla="*/ 14 h 15"/>
              <a:gd name="T4" fmla="*/ 9 w 9"/>
              <a:gd name="T5" fmla="*/ 8 h 15"/>
              <a:gd name="T6" fmla="*/ 6 w 9"/>
              <a:gd name="T7" fmla="*/ 5 h 15"/>
              <a:gd name="T8" fmla="*/ 3 w 9"/>
              <a:gd name="T9" fmla="*/ 0 h 15"/>
              <a:gd name="T10" fmla="*/ 0 w 9"/>
              <a:gd name="T11" fmla="*/ 6 h 15"/>
              <a:gd name="T12" fmla="*/ 1 w 9"/>
              <a:gd name="T13" fmla="*/ 11 h 15"/>
              <a:gd name="T14" fmla="*/ 2 w 9"/>
              <a:gd name="T15" fmla="*/ 14 h 15"/>
              <a:gd name="T16" fmla="*/ 1 w 9"/>
              <a:gd name="T17" fmla="*/ 13 h 15"/>
              <a:gd name="T18" fmla="*/ 1 w 9"/>
              <a:gd name="T19"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5">
                <a:moveTo>
                  <a:pt x="1" y="13"/>
                </a:moveTo>
                <a:cubicBezTo>
                  <a:pt x="2" y="14"/>
                  <a:pt x="6" y="15"/>
                  <a:pt x="8" y="14"/>
                </a:cubicBezTo>
                <a:cubicBezTo>
                  <a:pt x="9" y="13"/>
                  <a:pt x="9" y="10"/>
                  <a:pt x="9" y="8"/>
                </a:cubicBezTo>
                <a:cubicBezTo>
                  <a:pt x="9" y="6"/>
                  <a:pt x="7" y="6"/>
                  <a:pt x="6" y="5"/>
                </a:cubicBezTo>
                <a:cubicBezTo>
                  <a:pt x="4" y="4"/>
                  <a:pt x="3" y="2"/>
                  <a:pt x="3" y="0"/>
                </a:cubicBezTo>
                <a:cubicBezTo>
                  <a:pt x="0" y="0"/>
                  <a:pt x="0" y="4"/>
                  <a:pt x="0" y="6"/>
                </a:cubicBezTo>
                <a:cubicBezTo>
                  <a:pt x="0" y="8"/>
                  <a:pt x="1" y="9"/>
                  <a:pt x="1" y="11"/>
                </a:cubicBezTo>
                <a:cubicBezTo>
                  <a:pt x="1" y="13"/>
                  <a:pt x="0" y="13"/>
                  <a:pt x="2" y="14"/>
                </a:cubicBezTo>
                <a:cubicBezTo>
                  <a:pt x="2" y="14"/>
                  <a:pt x="1" y="14"/>
                  <a:pt x="1" y="13"/>
                </a:cubicBezTo>
                <a:cubicBezTo>
                  <a:pt x="3" y="14"/>
                  <a:pt x="1" y="13"/>
                  <a:pt x="1" y="13"/>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46" name="Freeform 210">
            <a:extLst>
              <a:ext uri="{FF2B5EF4-FFF2-40B4-BE49-F238E27FC236}">
                <a16:creationId xmlns:a16="http://schemas.microsoft.com/office/drawing/2014/main" id="{B0A626B5-3737-D513-A9C5-DEA0D85AFA0D}"/>
              </a:ext>
            </a:extLst>
          </p:cNvPr>
          <p:cNvSpPr/>
          <p:nvPr>
            <p:custDataLst>
              <p:tags r:id="rId28"/>
            </p:custDataLst>
          </p:nvPr>
        </p:nvSpPr>
        <p:spPr bwMode="auto">
          <a:xfrm>
            <a:off x="4579320" y="2457890"/>
            <a:ext cx="48052" cy="30032"/>
          </a:xfrm>
          <a:custGeom>
            <a:avLst/>
            <a:gdLst>
              <a:gd name="T0" fmla="*/ 41 w 41"/>
              <a:gd name="T1" fmla="*/ 1 h 26"/>
              <a:gd name="T2" fmla="*/ 39 w 41"/>
              <a:gd name="T3" fmla="*/ 1 h 26"/>
              <a:gd name="T4" fmla="*/ 37 w 41"/>
              <a:gd name="T5" fmla="*/ 3 h 26"/>
              <a:gd name="T6" fmla="*/ 30 w 41"/>
              <a:gd name="T7" fmla="*/ 5 h 26"/>
              <a:gd name="T8" fmla="*/ 24 w 41"/>
              <a:gd name="T9" fmla="*/ 10 h 26"/>
              <a:gd name="T10" fmla="*/ 19 w 41"/>
              <a:gd name="T11" fmla="*/ 14 h 26"/>
              <a:gd name="T12" fmla="*/ 11 w 41"/>
              <a:gd name="T13" fmla="*/ 14 h 26"/>
              <a:gd name="T14" fmla="*/ 5 w 41"/>
              <a:gd name="T15" fmla="*/ 18 h 26"/>
              <a:gd name="T16" fmla="*/ 3 w 41"/>
              <a:gd name="T17" fmla="*/ 19 h 26"/>
              <a:gd name="T18" fmla="*/ 2 w 41"/>
              <a:gd name="T19" fmla="*/ 22 h 26"/>
              <a:gd name="T20" fmla="*/ 3 w 41"/>
              <a:gd name="T21" fmla="*/ 26 h 26"/>
              <a:gd name="T22" fmla="*/ 4 w 41"/>
              <a:gd name="T23" fmla="*/ 25 h 26"/>
              <a:gd name="T24" fmla="*/ 7 w 41"/>
              <a:gd name="T25" fmla="*/ 22 h 26"/>
              <a:gd name="T26" fmla="*/ 9 w 41"/>
              <a:gd name="T27" fmla="*/ 19 h 26"/>
              <a:gd name="T28" fmla="*/ 13 w 41"/>
              <a:gd name="T29" fmla="*/ 18 h 26"/>
              <a:gd name="T30" fmla="*/ 16 w 41"/>
              <a:gd name="T31" fmla="*/ 17 h 26"/>
              <a:gd name="T32" fmla="*/ 19 w 41"/>
              <a:gd name="T33" fmla="*/ 17 h 26"/>
              <a:gd name="T34" fmla="*/ 22 w 41"/>
              <a:gd name="T35" fmla="*/ 16 h 26"/>
              <a:gd name="T36" fmla="*/ 26 w 41"/>
              <a:gd name="T37" fmla="*/ 16 h 26"/>
              <a:gd name="T38" fmla="*/ 29 w 41"/>
              <a:gd name="T39" fmla="*/ 16 h 26"/>
              <a:gd name="T40" fmla="*/ 32 w 41"/>
              <a:gd name="T41" fmla="*/ 17 h 26"/>
              <a:gd name="T42" fmla="*/ 35 w 41"/>
              <a:gd name="T43" fmla="*/ 15 h 26"/>
              <a:gd name="T44" fmla="*/ 38 w 41"/>
              <a:gd name="T45" fmla="*/ 13 h 26"/>
              <a:gd name="T46" fmla="*/ 38 w 41"/>
              <a:gd name="T47" fmla="*/ 10 h 26"/>
              <a:gd name="T48" fmla="*/ 37 w 41"/>
              <a:gd name="T49" fmla="*/ 6 h 26"/>
              <a:gd name="T50" fmla="*/ 41 w 41"/>
              <a:gd name="T51" fmla="*/ 1 h 26"/>
              <a:gd name="T52" fmla="*/ 41 w 41"/>
              <a:gd name="T53" fmla="*/ 1 h 26"/>
              <a:gd name="T54" fmla="*/ 41 w 41"/>
              <a:gd name="T55"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 h="26">
                <a:moveTo>
                  <a:pt x="41" y="1"/>
                </a:moveTo>
                <a:cubicBezTo>
                  <a:pt x="41" y="0"/>
                  <a:pt x="39" y="0"/>
                  <a:pt x="39" y="1"/>
                </a:cubicBezTo>
                <a:cubicBezTo>
                  <a:pt x="38" y="2"/>
                  <a:pt x="38" y="2"/>
                  <a:pt x="37" y="3"/>
                </a:cubicBezTo>
                <a:cubicBezTo>
                  <a:pt x="34" y="3"/>
                  <a:pt x="32" y="3"/>
                  <a:pt x="30" y="5"/>
                </a:cubicBezTo>
                <a:cubicBezTo>
                  <a:pt x="28" y="6"/>
                  <a:pt x="26" y="8"/>
                  <a:pt x="24" y="10"/>
                </a:cubicBezTo>
                <a:cubicBezTo>
                  <a:pt x="23" y="12"/>
                  <a:pt x="22" y="15"/>
                  <a:pt x="19" y="14"/>
                </a:cubicBezTo>
                <a:cubicBezTo>
                  <a:pt x="16" y="14"/>
                  <a:pt x="14" y="14"/>
                  <a:pt x="11" y="14"/>
                </a:cubicBezTo>
                <a:cubicBezTo>
                  <a:pt x="9" y="15"/>
                  <a:pt x="7" y="16"/>
                  <a:pt x="5" y="18"/>
                </a:cubicBezTo>
                <a:cubicBezTo>
                  <a:pt x="4" y="18"/>
                  <a:pt x="3" y="18"/>
                  <a:pt x="3" y="19"/>
                </a:cubicBezTo>
                <a:cubicBezTo>
                  <a:pt x="2" y="20"/>
                  <a:pt x="3" y="21"/>
                  <a:pt x="2" y="22"/>
                </a:cubicBezTo>
                <a:cubicBezTo>
                  <a:pt x="1" y="23"/>
                  <a:pt x="0" y="25"/>
                  <a:pt x="3" y="26"/>
                </a:cubicBezTo>
                <a:cubicBezTo>
                  <a:pt x="4" y="26"/>
                  <a:pt x="4" y="25"/>
                  <a:pt x="4" y="25"/>
                </a:cubicBezTo>
                <a:cubicBezTo>
                  <a:pt x="5" y="23"/>
                  <a:pt x="5" y="22"/>
                  <a:pt x="7" y="22"/>
                </a:cubicBezTo>
                <a:cubicBezTo>
                  <a:pt x="7" y="21"/>
                  <a:pt x="8" y="20"/>
                  <a:pt x="9" y="19"/>
                </a:cubicBezTo>
                <a:cubicBezTo>
                  <a:pt x="10" y="19"/>
                  <a:pt x="12" y="19"/>
                  <a:pt x="13" y="18"/>
                </a:cubicBezTo>
                <a:cubicBezTo>
                  <a:pt x="14" y="18"/>
                  <a:pt x="15" y="17"/>
                  <a:pt x="16" y="17"/>
                </a:cubicBezTo>
                <a:cubicBezTo>
                  <a:pt x="17" y="16"/>
                  <a:pt x="18" y="16"/>
                  <a:pt x="19" y="17"/>
                </a:cubicBezTo>
                <a:cubicBezTo>
                  <a:pt x="20" y="17"/>
                  <a:pt x="21" y="16"/>
                  <a:pt x="22" y="16"/>
                </a:cubicBezTo>
                <a:cubicBezTo>
                  <a:pt x="23" y="15"/>
                  <a:pt x="24" y="16"/>
                  <a:pt x="26" y="16"/>
                </a:cubicBezTo>
                <a:cubicBezTo>
                  <a:pt x="27" y="16"/>
                  <a:pt x="28" y="16"/>
                  <a:pt x="29" y="16"/>
                </a:cubicBezTo>
                <a:cubicBezTo>
                  <a:pt x="30" y="16"/>
                  <a:pt x="31" y="17"/>
                  <a:pt x="32" y="17"/>
                </a:cubicBezTo>
                <a:cubicBezTo>
                  <a:pt x="33" y="16"/>
                  <a:pt x="34" y="16"/>
                  <a:pt x="35" y="15"/>
                </a:cubicBezTo>
                <a:cubicBezTo>
                  <a:pt x="36" y="15"/>
                  <a:pt x="37" y="14"/>
                  <a:pt x="38" y="13"/>
                </a:cubicBezTo>
                <a:cubicBezTo>
                  <a:pt x="38" y="12"/>
                  <a:pt x="38" y="11"/>
                  <a:pt x="38" y="10"/>
                </a:cubicBezTo>
                <a:cubicBezTo>
                  <a:pt x="37" y="8"/>
                  <a:pt x="37" y="7"/>
                  <a:pt x="37" y="6"/>
                </a:cubicBezTo>
                <a:cubicBezTo>
                  <a:pt x="38" y="4"/>
                  <a:pt x="40" y="3"/>
                  <a:pt x="41" y="1"/>
                </a:cubicBezTo>
                <a:cubicBezTo>
                  <a:pt x="41" y="1"/>
                  <a:pt x="41" y="1"/>
                  <a:pt x="41" y="1"/>
                </a:cubicBezTo>
                <a:cubicBezTo>
                  <a:pt x="41" y="1"/>
                  <a:pt x="41" y="1"/>
                  <a:pt x="41" y="1"/>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47" name="Freeform 213">
            <a:extLst>
              <a:ext uri="{FF2B5EF4-FFF2-40B4-BE49-F238E27FC236}">
                <a16:creationId xmlns:a16="http://schemas.microsoft.com/office/drawing/2014/main" id="{F3AA1664-B680-0CD1-7DCA-680C8CDD8152}"/>
              </a:ext>
            </a:extLst>
          </p:cNvPr>
          <p:cNvSpPr/>
          <p:nvPr>
            <p:custDataLst>
              <p:tags r:id="rId29"/>
            </p:custDataLst>
          </p:nvPr>
        </p:nvSpPr>
        <p:spPr bwMode="auto">
          <a:xfrm>
            <a:off x="4587329" y="2481916"/>
            <a:ext cx="7008" cy="6006"/>
          </a:xfrm>
          <a:custGeom>
            <a:avLst/>
            <a:gdLst>
              <a:gd name="T0" fmla="*/ 2 w 6"/>
              <a:gd name="T1" fmla="*/ 1 h 5"/>
              <a:gd name="T2" fmla="*/ 0 w 6"/>
              <a:gd name="T3" fmla="*/ 3 h 5"/>
              <a:gd name="T4" fmla="*/ 1 w 6"/>
              <a:gd name="T5" fmla="*/ 5 h 5"/>
              <a:gd name="T6" fmla="*/ 3 w 6"/>
              <a:gd name="T7" fmla="*/ 3 h 5"/>
              <a:gd name="T8" fmla="*/ 4 w 6"/>
              <a:gd name="T9" fmla="*/ 0 h 5"/>
              <a:gd name="T10" fmla="*/ 1 w 6"/>
              <a:gd name="T11" fmla="*/ 2 h 5"/>
              <a:gd name="T12" fmla="*/ 2 w 6"/>
              <a:gd name="T13" fmla="*/ 1 h 5"/>
              <a:gd name="T14" fmla="*/ 2 w 6"/>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5">
                <a:moveTo>
                  <a:pt x="2" y="1"/>
                </a:moveTo>
                <a:cubicBezTo>
                  <a:pt x="1" y="2"/>
                  <a:pt x="0" y="2"/>
                  <a:pt x="0" y="3"/>
                </a:cubicBezTo>
                <a:cubicBezTo>
                  <a:pt x="0" y="4"/>
                  <a:pt x="1" y="5"/>
                  <a:pt x="1" y="5"/>
                </a:cubicBezTo>
                <a:cubicBezTo>
                  <a:pt x="2" y="5"/>
                  <a:pt x="3" y="3"/>
                  <a:pt x="3" y="3"/>
                </a:cubicBezTo>
                <a:cubicBezTo>
                  <a:pt x="4" y="2"/>
                  <a:pt x="6" y="0"/>
                  <a:pt x="4" y="0"/>
                </a:cubicBezTo>
                <a:cubicBezTo>
                  <a:pt x="3" y="0"/>
                  <a:pt x="2" y="1"/>
                  <a:pt x="1" y="2"/>
                </a:cubicBezTo>
                <a:cubicBezTo>
                  <a:pt x="1" y="2"/>
                  <a:pt x="1" y="1"/>
                  <a:pt x="2" y="1"/>
                </a:cubicBezTo>
                <a:cubicBezTo>
                  <a:pt x="0" y="2"/>
                  <a:pt x="2" y="1"/>
                  <a:pt x="2" y="1"/>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48" name="Freeform 215">
            <a:extLst>
              <a:ext uri="{FF2B5EF4-FFF2-40B4-BE49-F238E27FC236}">
                <a16:creationId xmlns:a16="http://schemas.microsoft.com/office/drawing/2014/main" id="{F879273F-BF52-BDBB-8B27-47B790808521}"/>
              </a:ext>
            </a:extLst>
          </p:cNvPr>
          <p:cNvSpPr>
            <a:spLocks noEditPoints="1"/>
          </p:cNvSpPr>
          <p:nvPr>
            <p:custDataLst>
              <p:tags r:id="rId30"/>
            </p:custDataLst>
          </p:nvPr>
        </p:nvSpPr>
        <p:spPr bwMode="auto">
          <a:xfrm>
            <a:off x="4577318" y="2478913"/>
            <a:ext cx="89097" cy="71078"/>
          </a:xfrm>
          <a:custGeom>
            <a:avLst/>
            <a:gdLst>
              <a:gd name="T0" fmla="*/ 1 w 77"/>
              <a:gd name="T1" fmla="*/ 21 h 61"/>
              <a:gd name="T2" fmla="*/ 1 w 77"/>
              <a:gd name="T3" fmla="*/ 32 h 61"/>
              <a:gd name="T4" fmla="*/ 8 w 77"/>
              <a:gd name="T5" fmla="*/ 46 h 61"/>
              <a:gd name="T6" fmla="*/ 20 w 77"/>
              <a:gd name="T7" fmla="*/ 50 h 61"/>
              <a:gd name="T8" fmla="*/ 27 w 77"/>
              <a:gd name="T9" fmla="*/ 50 h 61"/>
              <a:gd name="T10" fmla="*/ 27 w 77"/>
              <a:gd name="T11" fmla="*/ 43 h 61"/>
              <a:gd name="T12" fmla="*/ 26 w 77"/>
              <a:gd name="T13" fmla="*/ 32 h 61"/>
              <a:gd name="T14" fmla="*/ 35 w 77"/>
              <a:gd name="T15" fmla="*/ 27 h 61"/>
              <a:gd name="T16" fmla="*/ 39 w 77"/>
              <a:gd name="T17" fmla="*/ 18 h 61"/>
              <a:gd name="T18" fmla="*/ 45 w 77"/>
              <a:gd name="T19" fmla="*/ 18 h 61"/>
              <a:gd name="T20" fmla="*/ 39 w 77"/>
              <a:gd name="T21" fmla="*/ 12 h 61"/>
              <a:gd name="T22" fmla="*/ 35 w 77"/>
              <a:gd name="T23" fmla="*/ 9 h 61"/>
              <a:gd name="T24" fmla="*/ 33 w 77"/>
              <a:gd name="T25" fmla="*/ 7 h 61"/>
              <a:gd name="T26" fmla="*/ 29 w 77"/>
              <a:gd name="T27" fmla="*/ 1 h 61"/>
              <a:gd name="T28" fmla="*/ 19 w 77"/>
              <a:gd name="T29" fmla="*/ 4 h 61"/>
              <a:gd name="T30" fmla="*/ 18 w 77"/>
              <a:gd name="T31" fmla="*/ 11 h 61"/>
              <a:gd name="T32" fmla="*/ 13 w 77"/>
              <a:gd name="T33" fmla="*/ 8 h 61"/>
              <a:gd name="T34" fmla="*/ 1 w 77"/>
              <a:gd name="T35" fmla="*/ 10 h 61"/>
              <a:gd name="T36" fmla="*/ 69 w 77"/>
              <a:gd name="T37" fmla="*/ 34 h 61"/>
              <a:gd name="T38" fmla="*/ 74 w 77"/>
              <a:gd name="T39" fmla="*/ 25 h 61"/>
              <a:gd name="T40" fmla="*/ 67 w 77"/>
              <a:gd name="T41" fmla="*/ 28 h 61"/>
              <a:gd name="T42" fmla="*/ 58 w 77"/>
              <a:gd name="T43" fmla="*/ 26 h 61"/>
              <a:gd name="T44" fmla="*/ 50 w 77"/>
              <a:gd name="T45" fmla="*/ 33 h 61"/>
              <a:gd name="T46" fmla="*/ 57 w 77"/>
              <a:gd name="T47" fmla="*/ 42 h 61"/>
              <a:gd name="T48" fmla="*/ 62 w 77"/>
              <a:gd name="T49" fmla="*/ 46 h 61"/>
              <a:gd name="T50" fmla="*/ 67 w 77"/>
              <a:gd name="T51" fmla="*/ 45 h 61"/>
              <a:gd name="T52" fmla="*/ 73 w 77"/>
              <a:gd name="T53" fmla="*/ 42 h 61"/>
              <a:gd name="T54" fmla="*/ 70 w 77"/>
              <a:gd name="T55" fmla="*/ 34 h 61"/>
              <a:gd name="T56" fmla="*/ 70 w 77"/>
              <a:gd name="T57" fmla="*/ 47 h 61"/>
              <a:gd name="T58" fmla="*/ 70 w 77"/>
              <a:gd name="T59" fmla="*/ 47 h 61"/>
              <a:gd name="T60" fmla="*/ 66 w 77"/>
              <a:gd name="T61" fmla="*/ 51 h 61"/>
              <a:gd name="T62" fmla="*/ 65 w 77"/>
              <a:gd name="T63" fmla="*/ 55 h 61"/>
              <a:gd name="T64" fmla="*/ 66 w 77"/>
              <a:gd name="T65" fmla="*/ 51 h 61"/>
              <a:gd name="T66" fmla="*/ 45 w 77"/>
              <a:gd name="T67" fmla="*/ 50 h 61"/>
              <a:gd name="T68" fmla="*/ 46 w 77"/>
              <a:gd name="T69" fmla="*/ 50 h 61"/>
              <a:gd name="T70" fmla="*/ 47 w 77"/>
              <a:gd name="T71" fmla="*/ 47 h 61"/>
              <a:gd name="T72" fmla="*/ 59 w 77"/>
              <a:gd name="T73" fmla="*/ 55 h 61"/>
              <a:gd name="T74" fmla="*/ 57 w 77"/>
              <a:gd name="T75" fmla="*/ 52 h 61"/>
              <a:gd name="T76" fmla="*/ 53 w 77"/>
              <a:gd name="T77" fmla="*/ 54 h 61"/>
              <a:gd name="T78" fmla="*/ 56 w 77"/>
              <a:gd name="T79" fmla="*/ 56 h 61"/>
              <a:gd name="T80" fmla="*/ 53 w 77"/>
              <a:gd name="T81" fmla="*/ 61 h 61"/>
              <a:gd name="T82" fmla="*/ 51 w 77"/>
              <a:gd name="T83" fmla="*/ 59 h 61"/>
              <a:gd name="T84" fmla="*/ 30 w 77"/>
              <a:gd name="T85" fmla="*/ 51 h 61"/>
              <a:gd name="T86" fmla="*/ 28 w 77"/>
              <a:gd name="T87" fmla="*/ 48 h 61"/>
              <a:gd name="T88" fmla="*/ 35 w 77"/>
              <a:gd name="T89" fmla="*/ 44 h 61"/>
              <a:gd name="T90" fmla="*/ 44 w 77"/>
              <a:gd name="T91" fmla="*/ 36 h 61"/>
              <a:gd name="T92" fmla="*/ 34 w 77"/>
              <a:gd name="T93" fmla="*/ 35 h 61"/>
              <a:gd name="T94" fmla="*/ 30 w 77"/>
              <a:gd name="T95" fmla="*/ 40 h 61"/>
              <a:gd name="T96" fmla="*/ 35 w 77"/>
              <a:gd name="T97" fmla="*/ 4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7" h="61">
                <a:moveTo>
                  <a:pt x="2" y="10"/>
                </a:moveTo>
                <a:cubicBezTo>
                  <a:pt x="0" y="11"/>
                  <a:pt x="1" y="14"/>
                  <a:pt x="1" y="16"/>
                </a:cubicBezTo>
                <a:cubicBezTo>
                  <a:pt x="1" y="17"/>
                  <a:pt x="1" y="19"/>
                  <a:pt x="1" y="21"/>
                </a:cubicBezTo>
                <a:cubicBezTo>
                  <a:pt x="2" y="22"/>
                  <a:pt x="3" y="24"/>
                  <a:pt x="4" y="25"/>
                </a:cubicBezTo>
                <a:cubicBezTo>
                  <a:pt x="4" y="26"/>
                  <a:pt x="4" y="28"/>
                  <a:pt x="3" y="29"/>
                </a:cubicBezTo>
                <a:cubicBezTo>
                  <a:pt x="3" y="30"/>
                  <a:pt x="1" y="31"/>
                  <a:pt x="1" y="32"/>
                </a:cubicBezTo>
                <a:cubicBezTo>
                  <a:pt x="1" y="35"/>
                  <a:pt x="4" y="35"/>
                  <a:pt x="6" y="35"/>
                </a:cubicBezTo>
                <a:cubicBezTo>
                  <a:pt x="9" y="36"/>
                  <a:pt x="9" y="40"/>
                  <a:pt x="8" y="42"/>
                </a:cubicBezTo>
                <a:cubicBezTo>
                  <a:pt x="8" y="43"/>
                  <a:pt x="8" y="44"/>
                  <a:pt x="8" y="46"/>
                </a:cubicBezTo>
                <a:cubicBezTo>
                  <a:pt x="9" y="47"/>
                  <a:pt x="9" y="47"/>
                  <a:pt x="9" y="48"/>
                </a:cubicBezTo>
                <a:cubicBezTo>
                  <a:pt x="9" y="49"/>
                  <a:pt x="9" y="49"/>
                  <a:pt x="10" y="49"/>
                </a:cubicBezTo>
                <a:cubicBezTo>
                  <a:pt x="13" y="50"/>
                  <a:pt x="17" y="49"/>
                  <a:pt x="20" y="50"/>
                </a:cubicBezTo>
                <a:cubicBezTo>
                  <a:pt x="23" y="51"/>
                  <a:pt x="26" y="53"/>
                  <a:pt x="29" y="53"/>
                </a:cubicBezTo>
                <a:cubicBezTo>
                  <a:pt x="29" y="53"/>
                  <a:pt x="28" y="53"/>
                  <a:pt x="27" y="52"/>
                </a:cubicBezTo>
                <a:cubicBezTo>
                  <a:pt x="27" y="52"/>
                  <a:pt x="27" y="51"/>
                  <a:pt x="27" y="50"/>
                </a:cubicBezTo>
                <a:cubicBezTo>
                  <a:pt x="26" y="49"/>
                  <a:pt x="25" y="49"/>
                  <a:pt x="25" y="49"/>
                </a:cubicBezTo>
                <a:cubicBezTo>
                  <a:pt x="23" y="48"/>
                  <a:pt x="23" y="47"/>
                  <a:pt x="23" y="46"/>
                </a:cubicBezTo>
                <a:cubicBezTo>
                  <a:pt x="23" y="44"/>
                  <a:pt x="26" y="45"/>
                  <a:pt x="27" y="43"/>
                </a:cubicBezTo>
                <a:cubicBezTo>
                  <a:pt x="27" y="41"/>
                  <a:pt x="25" y="40"/>
                  <a:pt x="25" y="38"/>
                </a:cubicBezTo>
                <a:cubicBezTo>
                  <a:pt x="25" y="37"/>
                  <a:pt x="25" y="36"/>
                  <a:pt x="26" y="35"/>
                </a:cubicBezTo>
                <a:cubicBezTo>
                  <a:pt x="27" y="34"/>
                  <a:pt x="26" y="34"/>
                  <a:pt x="26" y="32"/>
                </a:cubicBezTo>
                <a:cubicBezTo>
                  <a:pt x="26" y="31"/>
                  <a:pt x="31" y="31"/>
                  <a:pt x="31" y="31"/>
                </a:cubicBezTo>
                <a:cubicBezTo>
                  <a:pt x="32" y="30"/>
                  <a:pt x="32" y="29"/>
                  <a:pt x="33" y="28"/>
                </a:cubicBezTo>
                <a:cubicBezTo>
                  <a:pt x="34" y="27"/>
                  <a:pt x="35" y="27"/>
                  <a:pt x="35" y="27"/>
                </a:cubicBezTo>
                <a:cubicBezTo>
                  <a:pt x="36" y="26"/>
                  <a:pt x="36" y="25"/>
                  <a:pt x="36" y="24"/>
                </a:cubicBezTo>
                <a:cubicBezTo>
                  <a:pt x="35" y="22"/>
                  <a:pt x="37" y="23"/>
                  <a:pt x="37" y="22"/>
                </a:cubicBezTo>
                <a:cubicBezTo>
                  <a:pt x="38" y="20"/>
                  <a:pt x="37" y="18"/>
                  <a:pt x="39" y="18"/>
                </a:cubicBezTo>
                <a:cubicBezTo>
                  <a:pt x="41" y="17"/>
                  <a:pt x="39" y="21"/>
                  <a:pt x="41" y="21"/>
                </a:cubicBezTo>
                <a:cubicBezTo>
                  <a:pt x="42" y="22"/>
                  <a:pt x="42" y="20"/>
                  <a:pt x="43" y="19"/>
                </a:cubicBezTo>
                <a:cubicBezTo>
                  <a:pt x="43" y="19"/>
                  <a:pt x="44" y="19"/>
                  <a:pt x="45" y="18"/>
                </a:cubicBezTo>
                <a:cubicBezTo>
                  <a:pt x="47" y="16"/>
                  <a:pt x="47" y="14"/>
                  <a:pt x="44" y="14"/>
                </a:cubicBezTo>
                <a:cubicBezTo>
                  <a:pt x="43" y="14"/>
                  <a:pt x="42" y="14"/>
                  <a:pt x="41" y="13"/>
                </a:cubicBezTo>
                <a:cubicBezTo>
                  <a:pt x="41" y="12"/>
                  <a:pt x="40" y="11"/>
                  <a:pt x="39" y="12"/>
                </a:cubicBezTo>
                <a:cubicBezTo>
                  <a:pt x="38" y="13"/>
                  <a:pt x="38" y="14"/>
                  <a:pt x="37" y="14"/>
                </a:cubicBezTo>
                <a:cubicBezTo>
                  <a:pt x="37" y="14"/>
                  <a:pt x="36" y="14"/>
                  <a:pt x="35" y="14"/>
                </a:cubicBezTo>
                <a:cubicBezTo>
                  <a:pt x="34" y="13"/>
                  <a:pt x="37" y="10"/>
                  <a:pt x="35" y="9"/>
                </a:cubicBezTo>
                <a:cubicBezTo>
                  <a:pt x="34" y="9"/>
                  <a:pt x="32" y="10"/>
                  <a:pt x="31" y="10"/>
                </a:cubicBezTo>
                <a:cubicBezTo>
                  <a:pt x="30" y="10"/>
                  <a:pt x="30" y="11"/>
                  <a:pt x="29" y="10"/>
                </a:cubicBezTo>
                <a:cubicBezTo>
                  <a:pt x="29" y="7"/>
                  <a:pt x="31" y="7"/>
                  <a:pt x="33" y="7"/>
                </a:cubicBezTo>
                <a:cubicBezTo>
                  <a:pt x="35" y="7"/>
                  <a:pt x="37" y="7"/>
                  <a:pt x="37" y="5"/>
                </a:cubicBezTo>
                <a:cubicBezTo>
                  <a:pt x="38" y="4"/>
                  <a:pt x="38" y="1"/>
                  <a:pt x="37" y="1"/>
                </a:cubicBezTo>
                <a:cubicBezTo>
                  <a:pt x="34" y="0"/>
                  <a:pt x="32" y="0"/>
                  <a:pt x="29" y="1"/>
                </a:cubicBezTo>
                <a:cubicBezTo>
                  <a:pt x="28" y="1"/>
                  <a:pt x="27" y="1"/>
                  <a:pt x="26" y="1"/>
                </a:cubicBezTo>
                <a:cubicBezTo>
                  <a:pt x="25" y="1"/>
                  <a:pt x="24" y="1"/>
                  <a:pt x="23" y="1"/>
                </a:cubicBezTo>
                <a:cubicBezTo>
                  <a:pt x="21" y="1"/>
                  <a:pt x="20" y="3"/>
                  <a:pt x="19" y="4"/>
                </a:cubicBezTo>
                <a:cubicBezTo>
                  <a:pt x="18" y="6"/>
                  <a:pt x="20" y="7"/>
                  <a:pt x="21" y="8"/>
                </a:cubicBezTo>
                <a:cubicBezTo>
                  <a:pt x="22" y="9"/>
                  <a:pt x="23" y="12"/>
                  <a:pt x="21" y="12"/>
                </a:cubicBezTo>
                <a:cubicBezTo>
                  <a:pt x="20" y="12"/>
                  <a:pt x="19" y="11"/>
                  <a:pt x="18" y="11"/>
                </a:cubicBezTo>
                <a:cubicBezTo>
                  <a:pt x="17" y="11"/>
                  <a:pt x="16" y="11"/>
                  <a:pt x="15" y="10"/>
                </a:cubicBezTo>
                <a:cubicBezTo>
                  <a:pt x="15" y="10"/>
                  <a:pt x="18" y="9"/>
                  <a:pt x="17" y="8"/>
                </a:cubicBezTo>
                <a:cubicBezTo>
                  <a:pt x="15" y="7"/>
                  <a:pt x="13" y="7"/>
                  <a:pt x="13" y="8"/>
                </a:cubicBezTo>
                <a:cubicBezTo>
                  <a:pt x="11" y="9"/>
                  <a:pt x="12" y="12"/>
                  <a:pt x="11" y="13"/>
                </a:cubicBezTo>
                <a:cubicBezTo>
                  <a:pt x="10" y="13"/>
                  <a:pt x="7" y="12"/>
                  <a:pt x="6" y="12"/>
                </a:cubicBezTo>
                <a:cubicBezTo>
                  <a:pt x="5" y="11"/>
                  <a:pt x="3" y="9"/>
                  <a:pt x="1" y="10"/>
                </a:cubicBezTo>
                <a:cubicBezTo>
                  <a:pt x="2" y="10"/>
                  <a:pt x="2" y="10"/>
                  <a:pt x="2" y="10"/>
                </a:cubicBezTo>
                <a:cubicBezTo>
                  <a:pt x="0" y="11"/>
                  <a:pt x="2" y="10"/>
                  <a:pt x="2" y="10"/>
                </a:cubicBezTo>
                <a:close/>
                <a:moveTo>
                  <a:pt x="69" y="34"/>
                </a:moveTo>
                <a:cubicBezTo>
                  <a:pt x="71" y="34"/>
                  <a:pt x="74" y="34"/>
                  <a:pt x="76" y="32"/>
                </a:cubicBezTo>
                <a:cubicBezTo>
                  <a:pt x="77" y="30"/>
                  <a:pt x="75" y="29"/>
                  <a:pt x="74" y="27"/>
                </a:cubicBezTo>
                <a:cubicBezTo>
                  <a:pt x="73" y="26"/>
                  <a:pt x="74" y="26"/>
                  <a:pt x="74" y="25"/>
                </a:cubicBezTo>
                <a:cubicBezTo>
                  <a:pt x="74" y="24"/>
                  <a:pt x="72" y="23"/>
                  <a:pt x="72" y="23"/>
                </a:cubicBezTo>
                <a:cubicBezTo>
                  <a:pt x="70" y="22"/>
                  <a:pt x="67" y="22"/>
                  <a:pt x="66" y="23"/>
                </a:cubicBezTo>
                <a:cubicBezTo>
                  <a:pt x="64" y="25"/>
                  <a:pt x="66" y="27"/>
                  <a:pt x="67" y="28"/>
                </a:cubicBezTo>
                <a:cubicBezTo>
                  <a:pt x="67" y="31"/>
                  <a:pt x="66" y="33"/>
                  <a:pt x="63" y="32"/>
                </a:cubicBezTo>
                <a:cubicBezTo>
                  <a:pt x="61" y="31"/>
                  <a:pt x="63" y="29"/>
                  <a:pt x="63" y="28"/>
                </a:cubicBezTo>
                <a:cubicBezTo>
                  <a:pt x="63" y="25"/>
                  <a:pt x="59" y="26"/>
                  <a:pt x="58" y="26"/>
                </a:cubicBezTo>
                <a:cubicBezTo>
                  <a:pt x="55" y="26"/>
                  <a:pt x="56" y="27"/>
                  <a:pt x="57" y="29"/>
                </a:cubicBezTo>
                <a:cubicBezTo>
                  <a:pt x="57" y="31"/>
                  <a:pt x="54" y="31"/>
                  <a:pt x="53" y="31"/>
                </a:cubicBezTo>
                <a:cubicBezTo>
                  <a:pt x="52" y="31"/>
                  <a:pt x="49" y="31"/>
                  <a:pt x="50" y="33"/>
                </a:cubicBezTo>
                <a:cubicBezTo>
                  <a:pt x="51" y="35"/>
                  <a:pt x="54" y="36"/>
                  <a:pt x="52" y="38"/>
                </a:cubicBezTo>
                <a:cubicBezTo>
                  <a:pt x="51" y="39"/>
                  <a:pt x="50" y="40"/>
                  <a:pt x="52" y="41"/>
                </a:cubicBezTo>
                <a:cubicBezTo>
                  <a:pt x="53" y="42"/>
                  <a:pt x="55" y="42"/>
                  <a:pt x="57" y="42"/>
                </a:cubicBezTo>
                <a:cubicBezTo>
                  <a:pt x="58" y="42"/>
                  <a:pt x="58" y="42"/>
                  <a:pt x="59" y="42"/>
                </a:cubicBezTo>
                <a:cubicBezTo>
                  <a:pt x="60" y="42"/>
                  <a:pt x="60" y="43"/>
                  <a:pt x="61" y="44"/>
                </a:cubicBezTo>
                <a:cubicBezTo>
                  <a:pt x="61" y="45"/>
                  <a:pt x="62" y="44"/>
                  <a:pt x="62" y="46"/>
                </a:cubicBezTo>
                <a:cubicBezTo>
                  <a:pt x="62" y="47"/>
                  <a:pt x="63" y="47"/>
                  <a:pt x="64" y="48"/>
                </a:cubicBezTo>
                <a:cubicBezTo>
                  <a:pt x="65" y="48"/>
                  <a:pt x="65" y="49"/>
                  <a:pt x="66" y="48"/>
                </a:cubicBezTo>
                <a:cubicBezTo>
                  <a:pt x="67" y="47"/>
                  <a:pt x="68" y="46"/>
                  <a:pt x="67" y="45"/>
                </a:cubicBezTo>
                <a:cubicBezTo>
                  <a:pt x="67" y="45"/>
                  <a:pt x="66" y="44"/>
                  <a:pt x="67" y="43"/>
                </a:cubicBezTo>
                <a:cubicBezTo>
                  <a:pt x="68" y="43"/>
                  <a:pt x="69" y="43"/>
                  <a:pt x="71" y="43"/>
                </a:cubicBezTo>
                <a:cubicBezTo>
                  <a:pt x="72" y="43"/>
                  <a:pt x="73" y="43"/>
                  <a:pt x="73" y="42"/>
                </a:cubicBezTo>
                <a:cubicBezTo>
                  <a:pt x="74" y="40"/>
                  <a:pt x="73" y="40"/>
                  <a:pt x="71" y="39"/>
                </a:cubicBezTo>
                <a:cubicBezTo>
                  <a:pt x="70" y="39"/>
                  <a:pt x="70" y="38"/>
                  <a:pt x="69" y="36"/>
                </a:cubicBezTo>
                <a:cubicBezTo>
                  <a:pt x="68" y="35"/>
                  <a:pt x="69" y="35"/>
                  <a:pt x="70" y="34"/>
                </a:cubicBezTo>
                <a:cubicBezTo>
                  <a:pt x="70" y="34"/>
                  <a:pt x="69" y="34"/>
                  <a:pt x="69" y="34"/>
                </a:cubicBezTo>
                <a:cubicBezTo>
                  <a:pt x="71" y="34"/>
                  <a:pt x="69" y="34"/>
                  <a:pt x="69" y="34"/>
                </a:cubicBezTo>
                <a:close/>
                <a:moveTo>
                  <a:pt x="70" y="47"/>
                </a:moveTo>
                <a:cubicBezTo>
                  <a:pt x="70" y="48"/>
                  <a:pt x="69" y="49"/>
                  <a:pt x="69" y="50"/>
                </a:cubicBezTo>
                <a:cubicBezTo>
                  <a:pt x="70" y="51"/>
                  <a:pt x="72" y="50"/>
                  <a:pt x="73" y="50"/>
                </a:cubicBezTo>
                <a:cubicBezTo>
                  <a:pt x="76" y="49"/>
                  <a:pt x="71" y="45"/>
                  <a:pt x="70" y="47"/>
                </a:cubicBezTo>
                <a:cubicBezTo>
                  <a:pt x="70" y="47"/>
                  <a:pt x="70" y="47"/>
                  <a:pt x="70" y="47"/>
                </a:cubicBezTo>
                <a:cubicBezTo>
                  <a:pt x="70" y="47"/>
                  <a:pt x="70" y="47"/>
                  <a:pt x="70" y="47"/>
                </a:cubicBezTo>
                <a:close/>
                <a:moveTo>
                  <a:pt x="66" y="51"/>
                </a:moveTo>
                <a:cubicBezTo>
                  <a:pt x="65" y="51"/>
                  <a:pt x="64" y="49"/>
                  <a:pt x="63" y="50"/>
                </a:cubicBezTo>
                <a:cubicBezTo>
                  <a:pt x="63" y="50"/>
                  <a:pt x="63" y="51"/>
                  <a:pt x="64" y="52"/>
                </a:cubicBezTo>
                <a:cubicBezTo>
                  <a:pt x="64" y="53"/>
                  <a:pt x="64" y="54"/>
                  <a:pt x="65" y="55"/>
                </a:cubicBezTo>
                <a:cubicBezTo>
                  <a:pt x="66" y="56"/>
                  <a:pt x="68" y="53"/>
                  <a:pt x="68" y="52"/>
                </a:cubicBezTo>
                <a:cubicBezTo>
                  <a:pt x="69" y="51"/>
                  <a:pt x="66" y="51"/>
                  <a:pt x="65" y="51"/>
                </a:cubicBezTo>
                <a:cubicBezTo>
                  <a:pt x="66" y="51"/>
                  <a:pt x="66" y="51"/>
                  <a:pt x="66" y="51"/>
                </a:cubicBezTo>
                <a:cubicBezTo>
                  <a:pt x="65" y="51"/>
                  <a:pt x="66" y="51"/>
                  <a:pt x="66" y="51"/>
                </a:cubicBezTo>
                <a:close/>
                <a:moveTo>
                  <a:pt x="47" y="47"/>
                </a:moveTo>
                <a:cubicBezTo>
                  <a:pt x="46" y="48"/>
                  <a:pt x="46" y="49"/>
                  <a:pt x="45" y="50"/>
                </a:cubicBezTo>
                <a:cubicBezTo>
                  <a:pt x="44" y="50"/>
                  <a:pt x="43" y="51"/>
                  <a:pt x="43" y="52"/>
                </a:cubicBezTo>
                <a:cubicBezTo>
                  <a:pt x="42" y="53"/>
                  <a:pt x="44" y="56"/>
                  <a:pt x="45" y="55"/>
                </a:cubicBezTo>
                <a:cubicBezTo>
                  <a:pt x="46" y="53"/>
                  <a:pt x="45" y="51"/>
                  <a:pt x="46" y="50"/>
                </a:cubicBezTo>
                <a:cubicBezTo>
                  <a:pt x="47" y="49"/>
                  <a:pt x="48" y="48"/>
                  <a:pt x="48" y="47"/>
                </a:cubicBezTo>
                <a:cubicBezTo>
                  <a:pt x="48" y="46"/>
                  <a:pt x="47" y="47"/>
                  <a:pt x="47" y="47"/>
                </a:cubicBezTo>
                <a:cubicBezTo>
                  <a:pt x="47" y="47"/>
                  <a:pt x="47" y="47"/>
                  <a:pt x="47" y="47"/>
                </a:cubicBezTo>
                <a:cubicBezTo>
                  <a:pt x="46" y="48"/>
                  <a:pt x="47" y="47"/>
                  <a:pt x="47" y="47"/>
                </a:cubicBezTo>
                <a:close/>
                <a:moveTo>
                  <a:pt x="56" y="56"/>
                </a:moveTo>
                <a:cubicBezTo>
                  <a:pt x="58" y="57"/>
                  <a:pt x="58" y="55"/>
                  <a:pt x="59" y="55"/>
                </a:cubicBezTo>
                <a:cubicBezTo>
                  <a:pt x="60" y="55"/>
                  <a:pt x="61" y="55"/>
                  <a:pt x="62" y="54"/>
                </a:cubicBezTo>
                <a:cubicBezTo>
                  <a:pt x="63" y="54"/>
                  <a:pt x="62" y="53"/>
                  <a:pt x="61" y="53"/>
                </a:cubicBezTo>
                <a:cubicBezTo>
                  <a:pt x="59" y="53"/>
                  <a:pt x="58" y="53"/>
                  <a:pt x="57" y="52"/>
                </a:cubicBezTo>
                <a:cubicBezTo>
                  <a:pt x="56" y="51"/>
                  <a:pt x="54" y="51"/>
                  <a:pt x="53" y="52"/>
                </a:cubicBezTo>
                <a:cubicBezTo>
                  <a:pt x="53" y="52"/>
                  <a:pt x="49" y="53"/>
                  <a:pt x="50" y="54"/>
                </a:cubicBezTo>
                <a:cubicBezTo>
                  <a:pt x="51" y="55"/>
                  <a:pt x="52" y="54"/>
                  <a:pt x="53" y="54"/>
                </a:cubicBezTo>
                <a:cubicBezTo>
                  <a:pt x="54" y="55"/>
                  <a:pt x="55" y="56"/>
                  <a:pt x="57" y="56"/>
                </a:cubicBezTo>
                <a:cubicBezTo>
                  <a:pt x="57" y="56"/>
                  <a:pt x="56" y="56"/>
                  <a:pt x="56" y="56"/>
                </a:cubicBezTo>
                <a:cubicBezTo>
                  <a:pt x="58" y="57"/>
                  <a:pt x="56" y="56"/>
                  <a:pt x="56" y="56"/>
                </a:cubicBezTo>
                <a:close/>
                <a:moveTo>
                  <a:pt x="51" y="59"/>
                </a:moveTo>
                <a:cubicBezTo>
                  <a:pt x="50" y="60"/>
                  <a:pt x="51" y="60"/>
                  <a:pt x="52" y="60"/>
                </a:cubicBezTo>
                <a:cubicBezTo>
                  <a:pt x="52" y="61"/>
                  <a:pt x="52" y="61"/>
                  <a:pt x="53" y="61"/>
                </a:cubicBezTo>
                <a:cubicBezTo>
                  <a:pt x="56" y="60"/>
                  <a:pt x="52" y="58"/>
                  <a:pt x="51" y="59"/>
                </a:cubicBezTo>
                <a:cubicBezTo>
                  <a:pt x="51" y="59"/>
                  <a:pt x="51" y="59"/>
                  <a:pt x="51" y="59"/>
                </a:cubicBezTo>
                <a:cubicBezTo>
                  <a:pt x="50" y="60"/>
                  <a:pt x="51" y="59"/>
                  <a:pt x="51" y="59"/>
                </a:cubicBezTo>
                <a:close/>
                <a:moveTo>
                  <a:pt x="27" y="48"/>
                </a:moveTo>
                <a:cubicBezTo>
                  <a:pt x="28" y="48"/>
                  <a:pt x="28" y="48"/>
                  <a:pt x="29" y="48"/>
                </a:cubicBezTo>
                <a:cubicBezTo>
                  <a:pt x="29" y="49"/>
                  <a:pt x="29" y="50"/>
                  <a:pt x="30" y="51"/>
                </a:cubicBezTo>
                <a:cubicBezTo>
                  <a:pt x="30" y="51"/>
                  <a:pt x="31" y="49"/>
                  <a:pt x="31" y="49"/>
                </a:cubicBezTo>
                <a:cubicBezTo>
                  <a:pt x="31" y="47"/>
                  <a:pt x="30" y="47"/>
                  <a:pt x="28" y="46"/>
                </a:cubicBezTo>
                <a:cubicBezTo>
                  <a:pt x="27" y="46"/>
                  <a:pt x="27" y="47"/>
                  <a:pt x="28" y="48"/>
                </a:cubicBezTo>
                <a:cubicBezTo>
                  <a:pt x="27" y="48"/>
                  <a:pt x="27" y="48"/>
                  <a:pt x="27" y="48"/>
                </a:cubicBezTo>
                <a:cubicBezTo>
                  <a:pt x="28" y="48"/>
                  <a:pt x="27" y="48"/>
                  <a:pt x="27" y="48"/>
                </a:cubicBezTo>
                <a:close/>
                <a:moveTo>
                  <a:pt x="35" y="44"/>
                </a:moveTo>
                <a:cubicBezTo>
                  <a:pt x="36" y="46"/>
                  <a:pt x="38" y="47"/>
                  <a:pt x="40" y="47"/>
                </a:cubicBezTo>
                <a:cubicBezTo>
                  <a:pt x="41" y="48"/>
                  <a:pt x="45" y="46"/>
                  <a:pt x="45" y="44"/>
                </a:cubicBezTo>
                <a:cubicBezTo>
                  <a:pt x="46" y="41"/>
                  <a:pt x="45" y="39"/>
                  <a:pt x="44" y="36"/>
                </a:cubicBezTo>
                <a:cubicBezTo>
                  <a:pt x="43" y="35"/>
                  <a:pt x="42" y="37"/>
                  <a:pt x="41" y="37"/>
                </a:cubicBezTo>
                <a:cubicBezTo>
                  <a:pt x="40" y="39"/>
                  <a:pt x="39" y="36"/>
                  <a:pt x="38" y="35"/>
                </a:cubicBezTo>
                <a:cubicBezTo>
                  <a:pt x="37" y="35"/>
                  <a:pt x="36" y="35"/>
                  <a:pt x="34" y="35"/>
                </a:cubicBezTo>
                <a:cubicBezTo>
                  <a:pt x="33" y="36"/>
                  <a:pt x="31" y="35"/>
                  <a:pt x="30" y="35"/>
                </a:cubicBezTo>
                <a:cubicBezTo>
                  <a:pt x="29" y="35"/>
                  <a:pt x="27" y="36"/>
                  <a:pt x="28" y="37"/>
                </a:cubicBezTo>
                <a:cubicBezTo>
                  <a:pt x="28" y="38"/>
                  <a:pt x="30" y="39"/>
                  <a:pt x="30" y="40"/>
                </a:cubicBezTo>
                <a:cubicBezTo>
                  <a:pt x="31" y="41"/>
                  <a:pt x="31" y="43"/>
                  <a:pt x="32" y="43"/>
                </a:cubicBezTo>
                <a:cubicBezTo>
                  <a:pt x="34" y="44"/>
                  <a:pt x="34" y="44"/>
                  <a:pt x="35" y="45"/>
                </a:cubicBezTo>
                <a:cubicBezTo>
                  <a:pt x="35" y="45"/>
                  <a:pt x="35" y="44"/>
                  <a:pt x="35" y="44"/>
                </a:cubicBezTo>
                <a:cubicBezTo>
                  <a:pt x="36" y="46"/>
                  <a:pt x="35" y="44"/>
                  <a:pt x="35" y="44"/>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49" name="Freeform 217">
            <a:extLst>
              <a:ext uri="{FF2B5EF4-FFF2-40B4-BE49-F238E27FC236}">
                <a16:creationId xmlns:a16="http://schemas.microsoft.com/office/drawing/2014/main" id="{3BEDFB29-C903-87CA-68B5-189A13586867}"/>
              </a:ext>
            </a:extLst>
          </p:cNvPr>
          <p:cNvSpPr/>
          <p:nvPr>
            <p:custDataLst>
              <p:tags r:id="rId31"/>
            </p:custDataLst>
          </p:nvPr>
        </p:nvSpPr>
        <p:spPr bwMode="auto">
          <a:xfrm>
            <a:off x="4821583" y="2715169"/>
            <a:ext cx="184200" cy="112122"/>
          </a:xfrm>
          <a:custGeom>
            <a:avLst/>
            <a:gdLst>
              <a:gd name="T0" fmla="*/ 96 w 158"/>
              <a:gd name="T1" fmla="*/ 7 h 96"/>
              <a:gd name="T2" fmla="*/ 80 w 158"/>
              <a:gd name="T3" fmla="*/ 9 h 96"/>
              <a:gd name="T4" fmla="*/ 67 w 158"/>
              <a:gd name="T5" fmla="*/ 6 h 96"/>
              <a:gd name="T6" fmla="*/ 49 w 158"/>
              <a:gd name="T7" fmla="*/ 5 h 96"/>
              <a:gd name="T8" fmla="*/ 40 w 158"/>
              <a:gd name="T9" fmla="*/ 9 h 96"/>
              <a:gd name="T10" fmla="*/ 29 w 158"/>
              <a:gd name="T11" fmla="*/ 17 h 96"/>
              <a:gd name="T12" fmla="*/ 10 w 158"/>
              <a:gd name="T13" fmla="*/ 42 h 96"/>
              <a:gd name="T14" fmla="*/ 0 w 158"/>
              <a:gd name="T15" fmla="*/ 46 h 96"/>
              <a:gd name="T16" fmla="*/ 5 w 158"/>
              <a:gd name="T17" fmla="*/ 52 h 96"/>
              <a:gd name="T18" fmla="*/ 9 w 158"/>
              <a:gd name="T19" fmla="*/ 59 h 96"/>
              <a:gd name="T20" fmla="*/ 20 w 158"/>
              <a:gd name="T21" fmla="*/ 73 h 96"/>
              <a:gd name="T22" fmla="*/ 31 w 158"/>
              <a:gd name="T23" fmla="*/ 76 h 96"/>
              <a:gd name="T24" fmla="*/ 40 w 158"/>
              <a:gd name="T25" fmla="*/ 78 h 96"/>
              <a:gd name="T26" fmla="*/ 41 w 158"/>
              <a:gd name="T27" fmla="*/ 85 h 96"/>
              <a:gd name="T28" fmla="*/ 45 w 158"/>
              <a:gd name="T29" fmla="*/ 92 h 96"/>
              <a:gd name="T30" fmla="*/ 58 w 158"/>
              <a:gd name="T31" fmla="*/ 93 h 96"/>
              <a:gd name="T32" fmla="*/ 74 w 158"/>
              <a:gd name="T33" fmla="*/ 94 h 96"/>
              <a:gd name="T34" fmla="*/ 97 w 158"/>
              <a:gd name="T35" fmla="*/ 92 h 96"/>
              <a:gd name="T36" fmla="*/ 110 w 158"/>
              <a:gd name="T37" fmla="*/ 88 h 96"/>
              <a:gd name="T38" fmla="*/ 124 w 158"/>
              <a:gd name="T39" fmla="*/ 88 h 96"/>
              <a:gd name="T40" fmla="*/ 140 w 158"/>
              <a:gd name="T41" fmla="*/ 90 h 96"/>
              <a:gd name="T42" fmla="*/ 143 w 158"/>
              <a:gd name="T43" fmla="*/ 81 h 96"/>
              <a:gd name="T44" fmla="*/ 145 w 158"/>
              <a:gd name="T45" fmla="*/ 69 h 96"/>
              <a:gd name="T46" fmla="*/ 152 w 158"/>
              <a:gd name="T47" fmla="*/ 72 h 96"/>
              <a:gd name="T48" fmla="*/ 158 w 158"/>
              <a:gd name="T49" fmla="*/ 66 h 96"/>
              <a:gd name="T50" fmla="*/ 149 w 158"/>
              <a:gd name="T51" fmla="*/ 62 h 96"/>
              <a:gd name="T52" fmla="*/ 129 w 158"/>
              <a:gd name="T53" fmla="*/ 56 h 96"/>
              <a:gd name="T54" fmla="*/ 131 w 158"/>
              <a:gd name="T55" fmla="*/ 40 h 96"/>
              <a:gd name="T56" fmla="*/ 126 w 158"/>
              <a:gd name="T57" fmla="*/ 25 h 96"/>
              <a:gd name="T58" fmla="*/ 114 w 158"/>
              <a:gd name="T59" fmla="*/ 7 h 96"/>
              <a:gd name="T60" fmla="*/ 106 w 158"/>
              <a:gd name="T61" fmla="*/ 2 h 96"/>
              <a:gd name="T62" fmla="*/ 103 w 158"/>
              <a:gd name="T63"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8" h="96">
                <a:moveTo>
                  <a:pt x="103" y="3"/>
                </a:moveTo>
                <a:cubicBezTo>
                  <a:pt x="101" y="5"/>
                  <a:pt x="98" y="6"/>
                  <a:pt x="96" y="7"/>
                </a:cubicBezTo>
                <a:cubicBezTo>
                  <a:pt x="93" y="7"/>
                  <a:pt x="89" y="7"/>
                  <a:pt x="86" y="7"/>
                </a:cubicBezTo>
                <a:cubicBezTo>
                  <a:pt x="84" y="7"/>
                  <a:pt x="82" y="7"/>
                  <a:pt x="80" y="9"/>
                </a:cubicBezTo>
                <a:cubicBezTo>
                  <a:pt x="78" y="12"/>
                  <a:pt x="76" y="12"/>
                  <a:pt x="74" y="10"/>
                </a:cubicBezTo>
                <a:cubicBezTo>
                  <a:pt x="72" y="8"/>
                  <a:pt x="70" y="6"/>
                  <a:pt x="67" y="6"/>
                </a:cubicBezTo>
                <a:cubicBezTo>
                  <a:pt x="64" y="5"/>
                  <a:pt x="60" y="6"/>
                  <a:pt x="57" y="6"/>
                </a:cubicBezTo>
                <a:cubicBezTo>
                  <a:pt x="54" y="6"/>
                  <a:pt x="52" y="6"/>
                  <a:pt x="49" y="5"/>
                </a:cubicBezTo>
                <a:cubicBezTo>
                  <a:pt x="47" y="4"/>
                  <a:pt x="44" y="4"/>
                  <a:pt x="42" y="6"/>
                </a:cubicBezTo>
                <a:cubicBezTo>
                  <a:pt x="41" y="7"/>
                  <a:pt x="41" y="8"/>
                  <a:pt x="40" y="9"/>
                </a:cubicBezTo>
                <a:cubicBezTo>
                  <a:pt x="38" y="9"/>
                  <a:pt x="37" y="10"/>
                  <a:pt x="36" y="11"/>
                </a:cubicBezTo>
                <a:cubicBezTo>
                  <a:pt x="33" y="13"/>
                  <a:pt x="31" y="15"/>
                  <a:pt x="29" y="17"/>
                </a:cubicBezTo>
                <a:cubicBezTo>
                  <a:pt x="25" y="21"/>
                  <a:pt x="22" y="26"/>
                  <a:pt x="20" y="31"/>
                </a:cubicBezTo>
                <a:cubicBezTo>
                  <a:pt x="18" y="35"/>
                  <a:pt x="15" y="42"/>
                  <a:pt x="10" y="42"/>
                </a:cubicBezTo>
                <a:cubicBezTo>
                  <a:pt x="8" y="43"/>
                  <a:pt x="7" y="45"/>
                  <a:pt x="4" y="46"/>
                </a:cubicBezTo>
                <a:cubicBezTo>
                  <a:pt x="4" y="46"/>
                  <a:pt x="0" y="45"/>
                  <a:pt x="0" y="46"/>
                </a:cubicBezTo>
                <a:cubicBezTo>
                  <a:pt x="0" y="47"/>
                  <a:pt x="1" y="49"/>
                  <a:pt x="2" y="49"/>
                </a:cubicBezTo>
                <a:cubicBezTo>
                  <a:pt x="3" y="50"/>
                  <a:pt x="4" y="51"/>
                  <a:pt x="5" y="52"/>
                </a:cubicBezTo>
                <a:cubicBezTo>
                  <a:pt x="6" y="53"/>
                  <a:pt x="7" y="54"/>
                  <a:pt x="8" y="56"/>
                </a:cubicBezTo>
                <a:cubicBezTo>
                  <a:pt x="8" y="57"/>
                  <a:pt x="9" y="58"/>
                  <a:pt x="9" y="59"/>
                </a:cubicBezTo>
                <a:cubicBezTo>
                  <a:pt x="12" y="62"/>
                  <a:pt x="21" y="62"/>
                  <a:pt x="20" y="68"/>
                </a:cubicBezTo>
                <a:cubicBezTo>
                  <a:pt x="20" y="69"/>
                  <a:pt x="18" y="71"/>
                  <a:pt x="20" y="73"/>
                </a:cubicBezTo>
                <a:cubicBezTo>
                  <a:pt x="22" y="74"/>
                  <a:pt x="24" y="74"/>
                  <a:pt x="26" y="75"/>
                </a:cubicBezTo>
                <a:cubicBezTo>
                  <a:pt x="28" y="76"/>
                  <a:pt x="29" y="79"/>
                  <a:pt x="31" y="76"/>
                </a:cubicBezTo>
                <a:cubicBezTo>
                  <a:pt x="33" y="74"/>
                  <a:pt x="35" y="74"/>
                  <a:pt x="38" y="75"/>
                </a:cubicBezTo>
                <a:cubicBezTo>
                  <a:pt x="38" y="76"/>
                  <a:pt x="40" y="77"/>
                  <a:pt x="40" y="78"/>
                </a:cubicBezTo>
                <a:cubicBezTo>
                  <a:pt x="40" y="79"/>
                  <a:pt x="39" y="80"/>
                  <a:pt x="38" y="80"/>
                </a:cubicBezTo>
                <a:cubicBezTo>
                  <a:pt x="36" y="82"/>
                  <a:pt x="39" y="85"/>
                  <a:pt x="41" y="85"/>
                </a:cubicBezTo>
                <a:cubicBezTo>
                  <a:pt x="43" y="86"/>
                  <a:pt x="45" y="86"/>
                  <a:pt x="45" y="89"/>
                </a:cubicBezTo>
                <a:cubicBezTo>
                  <a:pt x="45" y="90"/>
                  <a:pt x="45" y="92"/>
                  <a:pt x="45" y="92"/>
                </a:cubicBezTo>
                <a:cubicBezTo>
                  <a:pt x="46" y="93"/>
                  <a:pt x="48" y="92"/>
                  <a:pt x="49" y="92"/>
                </a:cubicBezTo>
                <a:cubicBezTo>
                  <a:pt x="52" y="92"/>
                  <a:pt x="55" y="92"/>
                  <a:pt x="58" y="93"/>
                </a:cubicBezTo>
                <a:cubicBezTo>
                  <a:pt x="60" y="94"/>
                  <a:pt x="63" y="96"/>
                  <a:pt x="66" y="96"/>
                </a:cubicBezTo>
                <a:cubicBezTo>
                  <a:pt x="69" y="95"/>
                  <a:pt x="71" y="94"/>
                  <a:pt x="74" y="94"/>
                </a:cubicBezTo>
                <a:cubicBezTo>
                  <a:pt x="77" y="94"/>
                  <a:pt x="81" y="95"/>
                  <a:pt x="84" y="95"/>
                </a:cubicBezTo>
                <a:cubicBezTo>
                  <a:pt x="89" y="96"/>
                  <a:pt x="93" y="94"/>
                  <a:pt x="97" y="92"/>
                </a:cubicBezTo>
                <a:cubicBezTo>
                  <a:pt x="99" y="90"/>
                  <a:pt x="101" y="89"/>
                  <a:pt x="103" y="89"/>
                </a:cubicBezTo>
                <a:cubicBezTo>
                  <a:pt x="105" y="88"/>
                  <a:pt x="108" y="88"/>
                  <a:pt x="110" y="88"/>
                </a:cubicBezTo>
                <a:cubicBezTo>
                  <a:pt x="113" y="87"/>
                  <a:pt x="115" y="87"/>
                  <a:pt x="117" y="87"/>
                </a:cubicBezTo>
                <a:cubicBezTo>
                  <a:pt x="120" y="87"/>
                  <a:pt x="122" y="88"/>
                  <a:pt x="124" y="88"/>
                </a:cubicBezTo>
                <a:cubicBezTo>
                  <a:pt x="129" y="90"/>
                  <a:pt x="134" y="92"/>
                  <a:pt x="139" y="94"/>
                </a:cubicBezTo>
                <a:cubicBezTo>
                  <a:pt x="139" y="92"/>
                  <a:pt x="140" y="91"/>
                  <a:pt x="140" y="90"/>
                </a:cubicBezTo>
                <a:cubicBezTo>
                  <a:pt x="140" y="89"/>
                  <a:pt x="140" y="87"/>
                  <a:pt x="139" y="86"/>
                </a:cubicBezTo>
                <a:cubicBezTo>
                  <a:pt x="139" y="83"/>
                  <a:pt x="141" y="82"/>
                  <a:pt x="143" y="81"/>
                </a:cubicBezTo>
                <a:cubicBezTo>
                  <a:pt x="144" y="79"/>
                  <a:pt x="145" y="78"/>
                  <a:pt x="145" y="76"/>
                </a:cubicBezTo>
                <a:cubicBezTo>
                  <a:pt x="144" y="73"/>
                  <a:pt x="143" y="71"/>
                  <a:pt x="145" y="69"/>
                </a:cubicBezTo>
                <a:cubicBezTo>
                  <a:pt x="146" y="67"/>
                  <a:pt x="149" y="66"/>
                  <a:pt x="149" y="69"/>
                </a:cubicBezTo>
                <a:cubicBezTo>
                  <a:pt x="148" y="72"/>
                  <a:pt x="150" y="72"/>
                  <a:pt x="152" y="72"/>
                </a:cubicBezTo>
                <a:cubicBezTo>
                  <a:pt x="154" y="72"/>
                  <a:pt x="157" y="71"/>
                  <a:pt x="158" y="69"/>
                </a:cubicBezTo>
                <a:cubicBezTo>
                  <a:pt x="158" y="68"/>
                  <a:pt x="158" y="67"/>
                  <a:pt x="158" y="66"/>
                </a:cubicBezTo>
                <a:cubicBezTo>
                  <a:pt x="158" y="64"/>
                  <a:pt x="157" y="63"/>
                  <a:pt x="156" y="62"/>
                </a:cubicBezTo>
                <a:cubicBezTo>
                  <a:pt x="154" y="60"/>
                  <a:pt x="151" y="61"/>
                  <a:pt x="149" y="62"/>
                </a:cubicBezTo>
                <a:cubicBezTo>
                  <a:pt x="147" y="63"/>
                  <a:pt x="144" y="64"/>
                  <a:pt x="141" y="64"/>
                </a:cubicBezTo>
                <a:cubicBezTo>
                  <a:pt x="137" y="64"/>
                  <a:pt x="130" y="61"/>
                  <a:pt x="129" y="56"/>
                </a:cubicBezTo>
                <a:cubicBezTo>
                  <a:pt x="128" y="54"/>
                  <a:pt x="129" y="51"/>
                  <a:pt x="129" y="48"/>
                </a:cubicBezTo>
                <a:cubicBezTo>
                  <a:pt x="129" y="45"/>
                  <a:pt x="130" y="43"/>
                  <a:pt x="131" y="40"/>
                </a:cubicBezTo>
                <a:cubicBezTo>
                  <a:pt x="131" y="37"/>
                  <a:pt x="132" y="34"/>
                  <a:pt x="131" y="31"/>
                </a:cubicBezTo>
                <a:cubicBezTo>
                  <a:pt x="131" y="29"/>
                  <a:pt x="128" y="27"/>
                  <a:pt x="126" y="25"/>
                </a:cubicBezTo>
                <a:cubicBezTo>
                  <a:pt x="124" y="22"/>
                  <a:pt x="121" y="20"/>
                  <a:pt x="120" y="17"/>
                </a:cubicBezTo>
                <a:cubicBezTo>
                  <a:pt x="118" y="14"/>
                  <a:pt x="116" y="10"/>
                  <a:pt x="114" y="7"/>
                </a:cubicBezTo>
                <a:cubicBezTo>
                  <a:pt x="114" y="6"/>
                  <a:pt x="109" y="0"/>
                  <a:pt x="108" y="0"/>
                </a:cubicBezTo>
                <a:cubicBezTo>
                  <a:pt x="107" y="1"/>
                  <a:pt x="107" y="1"/>
                  <a:pt x="106" y="2"/>
                </a:cubicBezTo>
                <a:cubicBezTo>
                  <a:pt x="105" y="3"/>
                  <a:pt x="103" y="4"/>
                  <a:pt x="103" y="4"/>
                </a:cubicBezTo>
                <a:cubicBezTo>
                  <a:pt x="103" y="4"/>
                  <a:pt x="103" y="4"/>
                  <a:pt x="103" y="3"/>
                </a:cubicBezTo>
                <a:cubicBezTo>
                  <a:pt x="100" y="5"/>
                  <a:pt x="103" y="3"/>
                  <a:pt x="103" y="3"/>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50" name="Freeform 218">
            <a:extLst>
              <a:ext uri="{FF2B5EF4-FFF2-40B4-BE49-F238E27FC236}">
                <a16:creationId xmlns:a16="http://schemas.microsoft.com/office/drawing/2014/main" id="{A50BB8B6-7603-71AF-92E2-5CAB0A4B7D4E}"/>
              </a:ext>
            </a:extLst>
          </p:cNvPr>
          <p:cNvSpPr/>
          <p:nvPr>
            <p:custDataLst>
              <p:tags r:id="rId32"/>
            </p:custDataLst>
          </p:nvPr>
        </p:nvSpPr>
        <p:spPr bwMode="auto">
          <a:xfrm>
            <a:off x="4697448" y="2538977"/>
            <a:ext cx="196214" cy="154167"/>
          </a:xfrm>
          <a:custGeom>
            <a:avLst/>
            <a:gdLst>
              <a:gd name="T0" fmla="*/ 164 w 168"/>
              <a:gd name="T1" fmla="*/ 50 h 132"/>
              <a:gd name="T2" fmla="*/ 162 w 168"/>
              <a:gd name="T3" fmla="*/ 34 h 132"/>
              <a:gd name="T4" fmla="*/ 150 w 168"/>
              <a:gd name="T5" fmla="*/ 14 h 132"/>
              <a:gd name="T6" fmla="*/ 132 w 168"/>
              <a:gd name="T7" fmla="*/ 14 h 132"/>
              <a:gd name="T8" fmla="*/ 103 w 168"/>
              <a:gd name="T9" fmla="*/ 12 h 132"/>
              <a:gd name="T10" fmla="*/ 94 w 168"/>
              <a:gd name="T11" fmla="*/ 11 h 132"/>
              <a:gd name="T12" fmla="*/ 90 w 168"/>
              <a:gd name="T13" fmla="*/ 15 h 132"/>
              <a:gd name="T14" fmla="*/ 84 w 168"/>
              <a:gd name="T15" fmla="*/ 11 h 132"/>
              <a:gd name="T16" fmla="*/ 74 w 168"/>
              <a:gd name="T17" fmla="*/ 5 h 132"/>
              <a:gd name="T18" fmla="*/ 74 w 168"/>
              <a:gd name="T19" fmla="*/ 2 h 132"/>
              <a:gd name="T20" fmla="*/ 55 w 168"/>
              <a:gd name="T21" fmla="*/ 3 h 132"/>
              <a:gd name="T22" fmla="*/ 42 w 168"/>
              <a:gd name="T23" fmla="*/ 8 h 132"/>
              <a:gd name="T24" fmla="*/ 33 w 168"/>
              <a:gd name="T25" fmla="*/ 14 h 132"/>
              <a:gd name="T26" fmla="*/ 15 w 168"/>
              <a:gd name="T27" fmla="*/ 19 h 132"/>
              <a:gd name="T28" fmla="*/ 4 w 168"/>
              <a:gd name="T29" fmla="*/ 22 h 132"/>
              <a:gd name="T30" fmla="*/ 7 w 168"/>
              <a:gd name="T31" fmla="*/ 28 h 132"/>
              <a:gd name="T32" fmla="*/ 5 w 168"/>
              <a:gd name="T33" fmla="*/ 38 h 132"/>
              <a:gd name="T34" fmla="*/ 2 w 168"/>
              <a:gd name="T35" fmla="*/ 44 h 132"/>
              <a:gd name="T36" fmla="*/ 8 w 168"/>
              <a:gd name="T37" fmla="*/ 52 h 132"/>
              <a:gd name="T38" fmla="*/ 9 w 168"/>
              <a:gd name="T39" fmla="*/ 60 h 132"/>
              <a:gd name="T40" fmla="*/ 10 w 168"/>
              <a:gd name="T41" fmla="*/ 68 h 132"/>
              <a:gd name="T42" fmla="*/ 11 w 168"/>
              <a:gd name="T43" fmla="*/ 77 h 132"/>
              <a:gd name="T44" fmla="*/ 13 w 168"/>
              <a:gd name="T45" fmla="*/ 90 h 132"/>
              <a:gd name="T46" fmla="*/ 26 w 168"/>
              <a:gd name="T47" fmla="*/ 94 h 132"/>
              <a:gd name="T48" fmla="*/ 37 w 168"/>
              <a:gd name="T49" fmla="*/ 102 h 132"/>
              <a:gd name="T50" fmla="*/ 44 w 168"/>
              <a:gd name="T51" fmla="*/ 106 h 132"/>
              <a:gd name="T52" fmla="*/ 54 w 168"/>
              <a:gd name="T53" fmla="*/ 102 h 132"/>
              <a:gd name="T54" fmla="*/ 64 w 168"/>
              <a:gd name="T55" fmla="*/ 111 h 132"/>
              <a:gd name="T56" fmla="*/ 76 w 168"/>
              <a:gd name="T57" fmla="*/ 117 h 132"/>
              <a:gd name="T58" fmla="*/ 87 w 168"/>
              <a:gd name="T59" fmla="*/ 122 h 132"/>
              <a:gd name="T60" fmla="*/ 99 w 168"/>
              <a:gd name="T61" fmla="*/ 127 h 132"/>
              <a:gd name="T62" fmla="*/ 117 w 168"/>
              <a:gd name="T63" fmla="*/ 126 h 132"/>
              <a:gd name="T64" fmla="*/ 134 w 168"/>
              <a:gd name="T65" fmla="*/ 127 h 132"/>
              <a:gd name="T66" fmla="*/ 145 w 168"/>
              <a:gd name="T67" fmla="*/ 132 h 132"/>
              <a:gd name="T68" fmla="*/ 144 w 168"/>
              <a:gd name="T69" fmla="*/ 124 h 132"/>
              <a:gd name="T70" fmla="*/ 160 w 168"/>
              <a:gd name="T71" fmla="*/ 105 h 132"/>
              <a:gd name="T72" fmla="*/ 166 w 168"/>
              <a:gd name="T73" fmla="*/ 94 h 132"/>
              <a:gd name="T74" fmla="*/ 165 w 168"/>
              <a:gd name="T75" fmla="*/ 88 h 132"/>
              <a:gd name="T76" fmla="*/ 159 w 168"/>
              <a:gd name="T77" fmla="*/ 71 h 132"/>
              <a:gd name="T78" fmla="*/ 154 w 168"/>
              <a:gd name="T79" fmla="*/ 60 h 132"/>
              <a:gd name="T80" fmla="*/ 158 w 168"/>
              <a:gd name="T81" fmla="*/ 5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8" h="132">
                <a:moveTo>
                  <a:pt x="158" y="54"/>
                </a:moveTo>
                <a:cubicBezTo>
                  <a:pt x="160" y="53"/>
                  <a:pt x="162" y="52"/>
                  <a:pt x="164" y="50"/>
                </a:cubicBezTo>
                <a:cubicBezTo>
                  <a:pt x="165" y="47"/>
                  <a:pt x="165" y="44"/>
                  <a:pt x="165" y="41"/>
                </a:cubicBezTo>
                <a:cubicBezTo>
                  <a:pt x="165" y="38"/>
                  <a:pt x="163" y="36"/>
                  <a:pt x="162" y="34"/>
                </a:cubicBezTo>
                <a:cubicBezTo>
                  <a:pt x="160" y="32"/>
                  <a:pt x="159" y="29"/>
                  <a:pt x="158" y="26"/>
                </a:cubicBezTo>
                <a:cubicBezTo>
                  <a:pt x="156" y="22"/>
                  <a:pt x="156" y="15"/>
                  <a:pt x="150" y="14"/>
                </a:cubicBezTo>
                <a:cubicBezTo>
                  <a:pt x="148" y="13"/>
                  <a:pt x="145" y="14"/>
                  <a:pt x="142" y="14"/>
                </a:cubicBezTo>
                <a:cubicBezTo>
                  <a:pt x="139" y="14"/>
                  <a:pt x="135" y="14"/>
                  <a:pt x="132" y="14"/>
                </a:cubicBezTo>
                <a:cubicBezTo>
                  <a:pt x="125" y="14"/>
                  <a:pt x="118" y="14"/>
                  <a:pt x="112" y="13"/>
                </a:cubicBezTo>
                <a:cubicBezTo>
                  <a:pt x="109" y="13"/>
                  <a:pt x="106" y="13"/>
                  <a:pt x="103" y="12"/>
                </a:cubicBezTo>
                <a:cubicBezTo>
                  <a:pt x="101" y="12"/>
                  <a:pt x="100" y="12"/>
                  <a:pt x="98" y="11"/>
                </a:cubicBezTo>
                <a:cubicBezTo>
                  <a:pt x="98" y="11"/>
                  <a:pt x="95" y="10"/>
                  <a:pt x="94" y="11"/>
                </a:cubicBezTo>
                <a:cubicBezTo>
                  <a:pt x="94" y="11"/>
                  <a:pt x="94" y="13"/>
                  <a:pt x="93" y="13"/>
                </a:cubicBezTo>
                <a:cubicBezTo>
                  <a:pt x="92" y="14"/>
                  <a:pt x="91" y="15"/>
                  <a:pt x="90" y="15"/>
                </a:cubicBezTo>
                <a:cubicBezTo>
                  <a:pt x="87" y="16"/>
                  <a:pt x="88" y="14"/>
                  <a:pt x="88" y="12"/>
                </a:cubicBezTo>
                <a:cubicBezTo>
                  <a:pt x="88" y="11"/>
                  <a:pt x="85" y="11"/>
                  <a:pt x="84" y="11"/>
                </a:cubicBezTo>
                <a:cubicBezTo>
                  <a:pt x="82" y="11"/>
                  <a:pt x="80" y="13"/>
                  <a:pt x="77" y="11"/>
                </a:cubicBezTo>
                <a:cubicBezTo>
                  <a:pt x="76" y="10"/>
                  <a:pt x="74" y="8"/>
                  <a:pt x="74" y="5"/>
                </a:cubicBezTo>
                <a:cubicBezTo>
                  <a:pt x="74" y="2"/>
                  <a:pt x="76" y="6"/>
                  <a:pt x="77" y="5"/>
                </a:cubicBezTo>
                <a:cubicBezTo>
                  <a:pt x="78" y="4"/>
                  <a:pt x="75" y="2"/>
                  <a:pt x="74" y="2"/>
                </a:cubicBezTo>
                <a:cubicBezTo>
                  <a:pt x="73" y="1"/>
                  <a:pt x="71" y="0"/>
                  <a:pt x="69" y="0"/>
                </a:cubicBezTo>
                <a:cubicBezTo>
                  <a:pt x="64" y="0"/>
                  <a:pt x="60" y="2"/>
                  <a:pt x="55" y="3"/>
                </a:cubicBezTo>
                <a:cubicBezTo>
                  <a:pt x="53" y="4"/>
                  <a:pt x="51" y="5"/>
                  <a:pt x="48" y="6"/>
                </a:cubicBezTo>
                <a:cubicBezTo>
                  <a:pt x="46" y="7"/>
                  <a:pt x="44" y="7"/>
                  <a:pt x="42" y="8"/>
                </a:cubicBezTo>
                <a:cubicBezTo>
                  <a:pt x="40" y="9"/>
                  <a:pt x="39" y="10"/>
                  <a:pt x="37" y="11"/>
                </a:cubicBezTo>
                <a:cubicBezTo>
                  <a:pt x="36" y="13"/>
                  <a:pt x="34" y="14"/>
                  <a:pt x="33" y="14"/>
                </a:cubicBezTo>
                <a:cubicBezTo>
                  <a:pt x="29" y="16"/>
                  <a:pt x="25" y="15"/>
                  <a:pt x="21" y="17"/>
                </a:cubicBezTo>
                <a:cubicBezTo>
                  <a:pt x="19" y="18"/>
                  <a:pt x="17" y="19"/>
                  <a:pt x="15" y="19"/>
                </a:cubicBezTo>
                <a:cubicBezTo>
                  <a:pt x="13" y="19"/>
                  <a:pt x="10" y="19"/>
                  <a:pt x="8" y="19"/>
                </a:cubicBezTo>
                <a:cubicBezTo>
                  <a:pt x="7" y="20"/>
                  <a:pt x="4" y="21"/>
                  <a:pt x="4" y="22"/>
                </a:cubicBezTo>
                <a:cubicBezTo>
                  <a:pt x="2" y="23"/>
                  <a:pt x="5" y="24"/>
                  <a:pt x="6" y="24"/>
                </a:cubicBezTo>
                <a:cubicBezTo>
                  <a:pt x="8" y="25"/>
                  <a:pt x="8" y="26"/>
                  <a:pt x="7" y="28"/>
                </a:cubicBezTo>
                <a:cubicBezTo>
                  <a:pt x="7" y="30"/>
                  <a:pt x="5" y="29"/>
                  <a:pt x="4" y="29"/>
                </a:cubicBezTo>
                <a:cubicBezTo>
                  <a:pt x="4" y="32"/>
                  <a:pt x="5" y="35"/>
                  <a:pt x="5" y="38"/>
                </a:cubicBezTo>
                <a:cubicBezTo>
                  <a:pt x="5" y="40"/>
                  <a:pt x="5" y="41"/>
                  <a:pt x="4" y="42"/>
                </a:cubicBezTo>
                <a:cubicBezTo>
                  <a:pt x="3" y="43"/>
                  <a:pt x="2" y="44"/>
                  <a:pt x="2" y="44"/>
                </a:cubicBezTo>
                <a:cubicBezTo>
                  <a:pt x="0" y="46"/>
                  <a:pt x="4" y="48"/>
                  <a:pt x="5" y="49"/>
                </a:cubicBezTo>
                <a:cubicBezTo>
                  <a:pt x="6" y="50"/>
                  <a:pt x="7" y="51"/>
                  <a:pt x="8" y="52"/>
                </a:cubicBezTo>
                <a:cubicBezTo>
                  <a:pt x="9" y="54"/>
                  <a:pt x="8" y="55"/>
                  <a:pt x="8" y="56"/>
                </a:cubicBezTo>
                <a:cubicBezTo>
                  <a:pt x="7" y="58"/>
                  <a:pt x="8" y="59"/>
                  <a:pt x="9" y="60"/>
                </a:cubicBezTo>
                <a:cubicBezTo>
                  <a:pt x="10" y="61"/>
                  <a:pt x="10" y="63"/>
                  <a:pt x="10" y="64"/>
                </a:cubicBezTo>
                <a:cubicBezTo>
                  <a:pt x="10" y="65"/>
                  <a:pt x="10" y="67"/>
                  <a:pt x="10" y="68"/>
                </a:cubicBezTo>
                <a:cubicBezTo>
                  <a:pt x="9" y="70"/>
                  <a:pt x="9" y="71"/>
                  <a:pt x="10" y="73"/>
                </a:cubicBezTo>
                <a:cubicBezTo>
                  <a:pt x="10" y="75"/>
                  <a:pt x="10" y="76"/>
                  <a:pt x="11" y="77"/>
                </a:cubicBezTo>
                <a:cubicBezTo>
                  <a:pt x="12" y="78"/>
                  <a:pt x="13" y="79"/>
                  <a:pt x="14" y="80"/>
                </a:cubicBezTo>
                <a:cubicBezTo>
                  <a:pt x="16" y="83"/>
                  <a:pt x="14" y="87"/>
                  <a:pt x="13" y="90"/>
                </a:cubicBezTo>
                <a:cubicBezTo>
                  <a:pt x="16" y="90"/>
                  <a:pt x="18" y="89"/>
                  <a:pt x="19" y="92"/>
                </a:cubicBezTo>
                <a:cubicBezTo>
                  <a:pt x="21" y="94"/>
                  <a:pt x="24" y="94"/>
                  <a:pt x="26" y="94"/>
                </a:cubicBezTo>
                <a:cubicBezTo>
                  <a:pt x="29" y="95"/>
                  <a:pt x="40" y="95"/>
                  <a:pt x="39" y="99"/>
                </a:cubicBezTo>
                <a:cubicBezTo>
                  <a:pt x="38" y="100"/>
                  <a:pt x="37" y="101"/>
                  <a:pt x="37" y="102"/>
                </a:cubicBezTo>
                <a:cubicBezTo>
                  <a:pt x="37" y="103"/>
                  <a:pt x="38" y="104"/>
                  <a:pt x="39" y="105"/>
                </a:cubicBezTo>
                <a:cubicBezTo>
                  <a:pt x="40" y="106"/>
                  <a:pt x="42" y="107"/>
                  <a:pt x="44" y="106"/>
                </a:cubicBezTo>
                <a:cubicBezTo>
                  <a:pt x="46" y="105"/>
                  <a:pt x="46" y="103"/>
                  <a:pt x="48" y="103"/>
                </a:cubicBezTo>
                <a:cubicBezTo>
                  <a:pt x="50" y="102"/>
                  <a:pt x="53" y="102"/>
                  <a:pt x="54" y="102"/>
                </a:cubicBezTo>
                <a:cubicBezTo>
                  <a:pt x="56" y="103"/>
                  <a:pt x="59" y="104"/>
                  <a:pt x="60" y="105"/>
                </a:cubicBezTo>
                <a:cubicBezTo>
                  <a:pt x="61" y="107"/>
                  <a:pt x="61" y="111"/>
                  <a:pt x="64" y="111"/>
                </a:cubicBezTo>
                <a:cubicBezTo>
                  <a:pt x="66" y="111"/>
                  <a:pt x="68" y="110"/>
                  <a:pt x="70" y="111"/>
                </a:cubicBezTo>
                <a:cubicBezTo>
                  <a:pt x="73" y="112"/>
                  <a:pt x="75" y="114"/>
                  <a:pt x="76" y="117"/>
                </a:cubicBezTo>
                <a:cubicBezTo>
                  <a:pt x="78" y="118"/>
                  <a:pt x="79" y="121"/>
                  <a:pt x="81" y="123"/>
                </a:cubicBezTo>
                <a:cubicBezTo>
                  <a:pt x="82" y="124"/>
                  <a:pt x="85" y="123"/>
                  <a:pt x="87" y="122"/>
                </a:cubicBezTo>
                <a:cubicBezTo>
                  <a:pt x="89" y="122"/>
                  <a:pt x="91" y="121"/>
                  <a:pt x="93" y="122"/>
                </a:cubicBezTo>
                <a:cubicBezTo>
                  <a:pt x="95" y="124"/>
                  <a:pt x="96" y="127"/>
                  <a:pt x="99" y="127"/>
                </a:cubicBezTo>
                <a:cubicBezTo>
                  <a:pt x="102" y="127"/>
                  <a:pt x="104" y="125"/>
                  <a:pt x="107" y="125"/>
                </a:cubicBezTo>
                <a:cubicBezTo>
                  <a:pt x="110" y="125"/>
                  <a:pt x="113" y="127"/>
                  <a:pt x="117" y="126"/>
                </a:cubicBezTo>
                <a:cubicBezTo>
                  <a:pt x="120" y="126"/>
                  <a:pt x="122" y="124"/>
                  <a:pt x="125" y="124"/>
                </a:cubicBezTo>
                <a:cubicBezTo>
                  <a:pt x="128" y="124"/>
                  <a:pt x="131" y="125"/>
                  <a:pt x="134" y="127"/>
                </a:cubicBezTo>
                <a:cubicBezTo>
                  <a:pt x="136" y="128"/>
                  <a:pt x="138" y="129"/>
                  <a:pt x="141" y="130"/>
                </a:cubicBezTo>
                <a:cubicBezTo>
                  <a:pt x="142" y="131"/>
                  <a:pt x="144" y="131"/>
                  <a:pt x="145" y="132"/>
                </a:cubicBezTo>
                <a:cubicBezTo>
                  <a:pt x="146" y="132"/>
                  <a:pt x="145" y="131"/>
                  <a:pt x="145" y="131"/>
                </a:cubicBezTo>
                <a:cubicBezTo>
                  <a:pt x="144" y="129"/>
                  <a:pt x="144" y="126"/>
                  <a:pt x="144" y="124"/>
                </a:cubicBezTo>
                <a:cubicBezTo>
                  <a:pt x="144" y="121"/>
                  <a:pt x="145" y="120"/>
                  <a:pt x="147" y="118"/>
                </a:cubicBezTo>
                <a:cubicBezTo>
                  <a:pt x="152" y="114"/>
                  <a:pt x="155" y="109"/>
                  <a:pt x="160" y="105"/>
                </a:cubicBezTo>
                <a:cubicBezTo>
                  <a:pt x="162" y="104"/>
                  <a:pt x="165" y="103"/>
                  <a:pt x="166" y="102"/>
                </a:cubicBezTo>
                <a:cubicBezTo>
                  <a:pt x="168" y="99"/>
                  <a:pt x="166" y="96"/>
                  <a:pt x="166" y="94"/>
                </a:cubicBezTo>
                <a:cubicBezTo>
                  <a:pt x="166" y="93"/>
                  <a:pt x="167" y="92"/>
                  <a:pt x="167" y="91"/>
                </a:cubicBezTo>
                <a:cubicBezTo>
                  <a:pt x="166" y="89"/>
                  <a:pt x="165" y="89"/>
                  <a:pt x="165" y="88"/>
                </a:cubicBezTo>
                <a:cubicBezTo>
                  <a:pt x="163" y="85"/>
                  <a:pt x="161" y="83"/>
                  <a:pt x="160" y="80"/>
                </a:cubicBezTo>
                <a:cubicBezTo>
                  <a:pt x="159" y="77"/>
                  <a:pt x="159" y="74"/>
                  <a:pt x="159" y="71"/>
                </a:cubicBezTo>
                <a:cubicBezTo>
                  <a:pt x="159" y="69"/>
                  <a:pt x="159" y="66"/>
                  <a:pt x="158" y="64"/>
                </a:cubicBezTo>
                <a:cubicBezTo>
                  <a:pt x="156" y="63"/>
                  <a:pt x="154" y="62"/>
                  <a:pt x="154" y="60"/>
                </a:cubicBezTo>
                <a:cubicBezTo>
                  <a:pt x="153" y="57"/>
                  <a:pt x="157" y="55"/>
                  <a:pt x="159" y="54"/>
                </a:cubicBezTo>
                <a:cubicBezTo>
                  <a:pt x="158" y="54"/>
                  <a:pt x="158" y="54"/>
                  <a:pt x="158" y="54"/>
                </a:cubicBezTo>
                <a:cubicBezTo>
                  <a:pt x="161" y="53"/>
                  <a:pt x="158" y="54"/>
                  <a:pt x="158" y="54"/>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51" name="Freeform 221">
            <a:extLst>
              <a:ext uri="{FF2B5EF4-FFF2-40B4-BE49-F238E27FC236}">
                <a16:creationId xmlns:a16="http://schemas.microsoft.com/office/drawing/2014/main" id="{A3A26A44-FD7A-AE91-8EF4-D0FF740A913D}"/>
              </a:ext>
            </a:extLst>
          </p:cNvPr>
          <p:cNvSpPr/>
          <p:nvPr>
            <p:custDataLst>
              <p:tags r:id="rId33"/>
            </p:custDataLst>
          </p:nvPr>
        </p:nvSpPr>
        <p:spPr bwMode="auto">
          <a:xfrm>
            <a:off x="5103890" y="3094582"/>
            <a:ext cx="414450" cy="332361"/>
          </a:xfrm>
          <a:custGeom>
            <a:avLst/>
            <a:gdLst>
              <a:gd name="T0" fmla="*/ 242 w 355"/>
              <a:gd name="T1" fmla="*/ 82 h 284"/>
              <a:gd name="T2" fmla="*/ 236 w 355"/>
              <a:gd name="T3" fmla="*/ 68 h 284"/>
              <a:gd name="T4" fmla="*/ 224 w 355"/>
              <a:gd name="T5" fmla="*/ 69 h 284"/>
              <a:gd name="T6" fmla="*/ 204 w 355"/>
              <a:gd name="T7" fmla="*/ 59 h 284"/>
              <a:gd name="T8" fmla="*/ 167 w 355"/>
              <a:gd name="T9" fmla="*/ 53 h 284"/>
              <a:gd name="T10" fmla="*/ 106 w 355"/>
              <a:gd name="T11" fmla="*/ 8 h 284"/>
              <a:gd name="T12" fmla="*/ 82 w 355"/>
              <a:gd name="T13" fmla="*/ 1 h 284"/>
              <a:gd name="T14" fmla="*/ 56 w 355"/>
              <a:gd name="T15" fmla="*/ 9 h 284"/>
              <a:gd name="T16" fmla="*/ 44 w 355"/>
              <a:gd name="T17" fmla="*/ 14 h 284"/>
              <a:gd name="T18" fmla="*/ 49 w 355"/>
              <a:gd name="T19" fmla="*/ 40 h 284"/>
              <a:gd name="T20" fmla="*/ 31 w 355"/>
              <a:gd name="T21" fmla="*/ 49 h 284"/>
              <a:gd name="T22" fmla="*/ 8 w 355"/>
              <a:gd name="T23" fmla="*/ 54 h 284"/>
              <a:gd name="T24" fmla="*/ 4 w 355"/>
              <a:gd name="T25" fmla="*/ 59 h 284"/>
              <a:gd name="T26" fmla="*/ 1 w 355"/>
              <a:gd name="T27" fmla="*/ 72 h 284"/>
              <a:gd name="T28" fmla="*/ 11 w 355"/>
              <a:gd name="T29" fmla="*/ 77 h 284"/>
              <a:gd name="T30" fmla="*/ 26 w 355"/>
              <a:gd name="T31" fmla="*/ 101 h 284"/>
              <a:gd name="T32" fmla="*/ 37 w 355"/>
              <a:gd name="T33" fmla="*/ 112 h 284"/>
              <a:gd name="T34" fmla="*/ 46 w 355"/>
              <a:gd name="T35" fmla="*/ 131 h 284"/>
              <a:gd name="T36" fmla="*/ 65 w 355"/>
              <a:gd name="T37" fmla="*/ 153 h 284"/>
              <a:gd name="T38" fmla="*/ 76 w 355"/>
              <a:gd name="T39" fmla="*/ 179 h 284"/>
              <a:gd name="T40" fmla="*/ 79 w 355"/>
              <a:gd name="T41" fmla="*/ 201 h 284"/>
              <a:gd name="T42" fmla="*/ 95 w 355"/>
              <a:gd name="T43" fmla="*/ 217 h 284"/>
              <a:gd name="T44" fmla="*/ 120 w 355"/>
              <a:gd name="T45" fmla="*/ 255 h 284"/>
              <a:gd name="T46" fmla="*/ 134 w 355"/>
              <a:gd name="T47" fmla="*/ 275 h 284"/>
              <a:gd name="T48" fmla="*/ 145 w 355"/>
              <a:gd name="T49" fmla="*/ 280 h 284"/>
              <a:gd name="T50" fmla="*/ 148 w 355"/>
              <a:gd name="T51" fmla="*/ 265 h 284"/>
              <a:gd name="T52" fmla="*/ 193 w 355"/>
              <a:gd name="T53" fmla="*/ 266 h 284"/>
              <a:gd name="T54" fmla="*/ 208 w 355"/>
              <a:gd name="T55" fmla="*/ 271 h 284"/>
              <a:gd name="T56" fmla="*/ 225 w 355"/>
              <a:gd name="T57" fmla="*/ 260 h 284"/>
              <a:gd name="T58" fmla="*/ 245 w 355"/>
              <a:gd name="T59" fmla="*/ 245 h 284"/>
              <a:gd name="T60" fmla="*/ 283 w 355"/>
              <a:gd name="T61" fmla="*/ 240 h 284"/>
              <a:gd name="T62" fmla="*/ 319 w 355"/>
              <a:gd name="T63" fmla="*/ 230 h 284"/>
              <a:gd name="T64" fmla="*/ 345 w 355"/>
              <a:gd name="T65" fmla="*/ 220 h 284"/>
              <a:gd name="T66" fmla="*/ 354 w 355"/>
              <a:gd name="T67" fmla="*/ 194 h 284"/>
              <a:gd name="T68" fmla="*/ 349 w 355"/>
              <a:gd name="T69" fmla="*/ 174 h 284"/>
              <a:gd name="T70" fmla="*/ 319 w 355"/>
              <a:gd name="T71" fmla="*/ 171 h 284"/>
              <a:gd name="T72" fmla="*/ 293 w 355"/>
              <a:gd name="T73" fmla="*/ 155 h 284"/>
              <a:gd name="T74" fmla="*/ 286 w 355"/>
              <a:gd name="T75" fmla="*/ 144 h 284"/>
              <a:gd name="T76" fmla="*/ 271 w 355"/>
              <a:gd name="T77" fmla="*/ 127 h 284"/>
              <a:gd name="T78" fmla="*/ 262 w 355"/>
              <a:gd name="T79" fmla="*/ 115 h 284"/>
              <a:gd name="T80" fmla="*/ 265 w 355"/>
              <a:gd name="T81" fmla="*/ 106 h 284"/>
              <a:gd name="T82" fmla="*/ 256 w 355"/>
              <a:gd name="T83" fmla="*/ 94 h 284"/>
              <a:gd name="T84" fmla="*/ 249 w 355"/>
              <a:gd name="T85" fmla="*/ 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5" h="284">
                <a:moveTo>
                  <a:pt x="249" y="84"/>
                </a:moveTo>
                <a:cubicBezTo>
                  <a:pt x="248" y="83"/>
                  <a:pt x="245" y="84"/>
                  <a:pt x="244" y="83"/>
                </a:cubicBezTo>
                <a:cubicBezTo>
                  <a:pt x="244" y="83"/>
                  <a:pt x="242" y="83"/>
                  <a:pt x="242" y="82"/>
                </a:cubicBezTo>
                <a:cubicBezTo>
                  <a:pt x="242" y="81"/>
                  <a:pt x="241" y="80"/>
                  <a:pt x="240" y="78"/>
                </a:cubicBezTo>
                <a:cubicBezTo>
                  <a:pt x="239" y="76"/>
                  <a:pt x="239" y="73"/>
                  <a:pt x="237" y="70"/>
                </a:cubicBezTo>
                <a:cubicBezTo>
                  <a:pt x="237" y="70"/>
                  <a:pt x="237" y="69"/>
                  <a:pt x="236" y="68"/>
                </a:cubicBezTo>
                <a:cubicBezTo>
                  <a:pt x="236" y="68"/>
                  <a:pt x="235" y="68"/>
                  <a:pt x="235" y="68"/>
                </a:cubicBezTo>
                <a:cubicBezTo>
                  <a:pt x="233" y="68"/>
                  <a:pt x="232" y="68"/>
                  <a:pt x="230" y="69"/>
                </a:cubicBezTo>
                <a:cubicBezTo>
                  <a:pt x="228" y="69"/>
                  <a:pt x="226" y="69"/>
                  <a:pt x="224" y="69"/>
                </a:cubicBezTo>
                <a:cubicBezTo>
                  <a:pt x="221" y="68"/>
                  <a:pt x="221" y="66"/>
                  <a:pt x="220" y="64"/>
                </a:cubicBezTo>
                <a:cubicBezTo>
                  <a:pt x="219" y="61"/>
                  <a:pt x="216" y="61"/>
                  <a:pt x="214" y="61"/>
                </a:cubicBezTo>
                <a:cubicBezTo>
                  <a:pt x="210" y="60"/>
                  <a:pt x="207" y="59"/>
                  <a:pt x="204" y="59"/>
                </a:cubicBezTo>
                <a:cubicBezTo>
                  <a:pt x="197" y="58"/>
                  <a:pt x="191" y="58"/>
                  <a:pt x="184" y="58"/>
                </a:cubicBezTo>
                <a:cubicBezTo>
                  <a:pt x="181" y="58"/>
                  <a:pt x="178" y="58"/>
                  <a:pt x="175" y="57"/>
                </a:cubicBezTo>
                <a:cubicBezTo>
                  <a:pt x="172" y="56"/>
                  <a:pt x="170" y="54"/>
                  <a:pt x="167" y="53"/>
                </a:cubicBezTo>
                <a:cubicBezTo>
                  <a:pt x="157" y="45"/>
                  <a:pt x="147" y="37"/>
                  <a:pt x="137" y="29"/>
                </a:cubicBezTo>
                <a:cubicBezTo>
                  <a:pt x="132" y="25"/>
                  <a:pt x="128" y="21"/>
                  <a:pt x="123" y="18"/>
                </a:cubicBezTo>
                <a:cubicBezTo>
                  <a:pt x="117" y="14"/>
                  <a:pt x="112" y="11"/>
                  <a:pt x="106" y="8"/>
                </a:cubicBezTo>
                <a:cubicBezTo>
                  <a:pt x="104" y="7"/>
                  <a:pt x="101" y="5"/>
                  <a:pt x="99" y="4"/>
                </a:cubicBezTo>
                <a:cubicBezTo>
                  <a:pt x="96" y="3"/>
                  <a:pt x="93" y="2"/>
                  <a:pt x="90" y="2"/>
                </a:cubicBezTo>
                <a:cubicBezTo>
                  <a:pt x="87" y="2"/>
                  <a:pt x="85" y="1"/>
                  <a:pt x="82" y="1"/>
                </a:cubicBezTo>
                <a:cubicBezTo>
                  <a:pt x="81" y="0"/>
                  <a:pt x="79" y="0"/>
                  <a:pt x="78" y="0"/>
                </a:cubicBezTo>
                <a:cubicBezTo>
                  <a:pt x="77" y="1"/>
                  <a:pt x="75" y="1"/>
                  <a:pt x="73" y="2"/>
                </a:cubicBezTo>
                <a:cubicBezTo>
                  <a:pt x="67" y="4"/>
                  <a:pt x="62" y="6"/>
                  <a:pt x="56" y="9"/>
                </a:cubicBezTo>
                <a:cubicBezTo>
                  <a:pt x="53" y="10"/>
                  <a:pt x="50" y="11"/>
                  <a:pt x="47" y="11"/>
                </a:cubicBezTo>
                <a:cubicBezTo>
                  <a:pt x="46" y="11"/>
                  <a:pt x="44" y="11"/>
                  <a:pt x="43" y="12"/>
                </a:cubicBezTo>
                <a:cubicBezTo>
                  <a:pt x="42" y="12"/>
                  <a:pt x="44" y="14"/>
                  <a:pt x="44" y="14"/>
                </a:cubicBezTo>
                <a:cubicBezTo>
                  <a:pt x="48" y="19"/>
                  <a:pt x="52" y="23"/>
                  <a:pt x="56" y="28"/>
                </a:cubicBezTo>
                <a:cubicBezTo>
                  <a:pt x="58" y="30"/>
                  <a:pt x="58" y="32"/>
                  <a:pt x="56" y="34"/>
                </a:cubicBezTo>
                <a:cubicBezTo>
                  <a:pt x="54" y="36"/>
                  <a:pt x="51" y="38"/>
                  <a:pt x="49" y="40"/>
                </a:cubicBezTo>
                <a:cubicBezTo>
                  <a:pt x="47" y="42"/>
                  <a:pt x="45" y="42"/>
                  <a:pt x="43" y="42"/>
                </a:cubicBezTo>
                <a:cubicBezTo>
                  <a:pt x="40" y="42"/>
                  <a:pt x="38" y="43"/>
                  <a:pt x="36" y="44"/>
                </a:cubicBezTo>
                <a:cubicBezTo>
                  <a:pt x="34" y="45"/>
                  <a:pt x="33" y="47"/>
                  <a:pt x="31" y="49"/>
                </a:cubicBezTo>
                <a:cubicBezTo>
                  <a:pt x="30" y="50"/>
                  <a:pt x="28" y="53"/>
                  <a:pt x="26" y="54"/>
                </a:cubicBezTo>
                <a:cubicBezTo>
                  <a:pt x="23" y="56"/>
                  <a:pt x="19" y="55"/>
                  <a:pt x="15" y="54"/>
                </a:cubicBezTo>
                <a:cubicBezTo>
                  <a:pt x="13" y="54"/>
                  <a:pt x="10" y="53"/>
                  <a:pt x="8" y="54"/>
                </a:cubicBezTo>
                <a:cubicBezTo>
                  <a:pt x="7" y="54"/>
                  <a:pt x="6" y="54"/>
                  <a:pt x="5" y="55"/>
                </a:cubicBezTo>
                <a:cubicBezTo>
                  <a:pt x="5" y="56"/>
                  <a:pt x="5" y="57"/>
                  <a:pt x="5" y="58"/>
                </a:cubicBezTo>
                <a:cubicBezTo>
                  <a:pt x="5" y="56"/>
                  <a:pt x="4" y="58"/>
                  <a:pt x="4" y="59"/>
                </a:cubicBezTo>
                <a:cubicBezTo>
                  <a:pt x="4" y="59"/>
                  <a:pt x="3" y="60"/>
                  <a:pt x="3" y="61"/>
                </a:cubicBezTo>
                <a:cubicBezTo>
                  <a:pt x="3" y="62"/>
                  <a:pt x="2" y="63"/>
                  <a:pt x="2" y="65"/>
                </a:cubicBezTo>
                <a:cubicBezTo>
                  <a:pt x="1" y="67"/>
                  <a:pt x="0" y="69"/>
                  <a:pt x="1" y="72"/>
                </a:cubicBezTo>
                <a:cubicBezTo>
                  <a:pt x="1" y="73"/>
                  <a:pt x="1" y="74"/>
                  <a:pt x="2" y="74"/>
                </a:cubicBezTo>
                <a:cubicBezTo>
                  <a:pt x="3" y="75"/>
                  <a:pt x="3" y="74"/>
                  <a:pt x="4" y="74"/>
                </a:cubicBezTo>
                <a:cubicBezTo>
                  <a:pt x="7" y="74"/>
                  <a:pt x="10" y="76"/>
                  <a:pt x="11" y="77"/>
                </a:cubicBezTo>
                <a:cubicBezTo>
                  <a:pt x="13" y="79"/>
                  <a:pt x="15" y="82"/>
                  <a:pt x="16" y="84"/>
                </a:cubicBezTo>
                <a:cubicBezTo>
                  <a:pt x="17" y="87"/>
                  <a:pt x="19" y="90"/>
                  <a:pt x="21" y="93"/>
                </a:cubicBezTo>
                <a:cubicBezTo>
                  <a:pt x="22" y="95"/>
                  <a:pt x="24" y="98"/>
                  <a:pt x="26" y="101"/>
                </a:cubicBezTo>
                <a:cubicBezTo>
                  <a:pt x="26" y="102"/>
                  <a:pt x="27" y="103"/>
                  <a:pt x="28" y="105"/>
                </a:cubicBezTo>
                <a:cubicBezTo>
                  <a:pt x="28" y="106"/>
                  <a:pt x="29" y="107"/>
                  <a:pt x="30" y="108"/>
                </a:cubicBezTo>
                <a:cubicBezTo>
                  <a:pt x="32" y="110"/>
                  <a:pt x="35" y="110"/>
                  <a:pt x="37" y="112"/>
                </a:cubicBezTo>
                <a:cubicBezTo>
                  <a:pt x="39" y="114"/>
                  <a:pt x="37" y="117"/>
                  <a:pt x="38" y="120"/>
                </a:cubicBezTo>
                <a:cubicBezTo>
                  <a:pt x="38" y="122"/>
                  <a:pt x="40" y="123"/>
                  <a:pt x="41" y="124"/>
                </a:cubicBezTo>
                <a:cubicBezTo>
                  <a:pt x="43" y="126"/>
                  <a:pt x="45" y="129"/>
                  <a:pt x="46" y="131"/>
                </a:cubicBezTo>
                <a:cubicBezTo>
                  <a:pt x="48" y="135"/>
                  <a:pt x="47" y="141"/>
                  <a:pt x="51" y="144"/>
                </a:cubicBezTo>
                <a:cubicBezTo>
                  <a:pt x="53" y="146"/>
                  <a:pt x="56" y="145"/>
                  <a:pt x="59" y="147"/>
                </a:cubicBezTo>
                <a:cubicBezTo>
                  <a:pt x="61" y="148"/>
                  <a:pt x="63" y="151"/>
                  <a:pt x="65" y="153"/>
                </a:cubicBezTo>
                <a:cubicBezTo>
                  <a:pt x="69" y="158"/>
                  <a:pt x="71" y="163"/>
                  <a:pt x="73" y="169"/>
                </a:cubicBezTo>
                <a:cubicBezTo>
                  <a:pt x="74" y="172"/>
                  <a:pt x="76" y="174"/>
                  <a:pt x="77" y="177"/>
                </a:cubicBezTo>
                <a:cubicBezTo>
                  <a:pt x="77" y="178"/>
                  <a:pt x="77" y="178"/>
                  <a:pt x="76" y="179"/>
                </a:cubicBezTo>
                <a:cubicBezTo>
                  <a:pt x="75" y="180"/>
                  <a:pt x="75" y="182"/>
                  <a:pt x="75" y="183"/>
                </a:cubicBezTo>
                <a:cubicBezTo>
                  <a:pt x="76" y="186"/>
                  <a:pt x="76" y="189"/>
                  <a:pt x="77" y="192"/>
                </a:cubicBezTo>
                <a:cubicBezTo>
                  <a:pt x="77" y="195"/>
                  <a:pt x="77" y="198"/>
                  <a:pt x="79" y="201"/>
                </a:cubicBezTo>
                <a:cubicBezTo>
                  <a:pt x="80" y="204"/>
                  <a:pt x="81" y="206"/>
                  <a:pt x="83" y="209"/>
                </a:cubicBezTo>
                <a:cubicBezTo>
                  <a:pt x="85" y="211"/>
                  <a:pt x="87" y="213"/>
                  <a:pt x="89" y="215"/>
                </a:cubicBezTo>
                <a:cubicBezTo>
                  <a:pt x="91" y="215"/>
                  <a:pt x="94" y="215"/>
                  <a:pt x="95" y="217"/>
                </a:cubicBezTo>
                <a:cubicBezTo>
                  <a:pt x="97" y="219"/>
                  <a:pt x="99" y="221"/>
                  <a:pt x="101" y="224"/>
                </a:cubicBezTo>
                <a:cubicBezTo>
                  <a:pt x="104" y="229"/>
                  <a:pt x="107" y="234"/>
                  <a:pt x="110" y="239"/>
                </a:cubicBezTo>
                <a:cubicBezTo>
                  <a:pt x="113" y="245"/>
                  <a:pt x="117" y="250"/>
                  <a:pt x="120" y="255"/>
                </a:cubicBezTo>
                <a:cubicBezTo>
                  <a:pt x="122" y="257"/>
                  <a:pt x="124" y="259"/>
                  <a:pt x="126" y="261"/>
                </a:cubicBezTo>
                <a:cubicBezTo>
                  <a:pt x="128" y="263"/>
                  <a:pt x="131" y="265"/>
                  <a:pt x="132" y="267"/>
                </a:cubicBezTo>
                <a:cubicBezTo>
                  <a:pt x="132" y="269"/>
                  <a:pt x="130" y="275"/>
                  <a:pt x="134" y="275"/>
                </a:cubicBezTo>
                <a:cubicBezTo>
                  <a:pt x="135" y="274"/>
                  <a:pt x="136" y="275"/>
                  <a:pt x="137" y="276"/>
                </a:cubicBezTo>
                <a:cubicBezTo>
                  <a:pt x="137" y="279"/>
                  <a:pt x="138" y="281"/>
                  <a:pt x="138" y="284"/>
                </a:cubicBezTo>
                <a:cubicBezTo>
                  <a:pt x="140" y="283"/>
                  <a:pt x="144" y="282"/>
                  <a:pt x="145" y="280"/>
                </a:cubicBezTo>
                <a:cubicBezTo>
                  <a:pt x="145" y="279"/>
                  <a:pt x="145" y="278"/>
                  <a:pt x="145" y="277"/>
                </a:cubicBezTo>
                <a:cubicBezTo>
                  <a:pt x="145" y="275"/>
                  <a:pt x="145" y="274"/>
                  <a:pt x="145" y="272"/>
                </a:cubicBezTo>
                <a:cubicBezTo>
                  <a:pt x="145" y="270"/>
                  <a:pt x="146" y="267"/>
                  <a:pt x="148" y="265"/>
                </a:cubicBezTo>
                <a:cubicBezTo>
                  <a:pt x="150" y="264"/>
                  <a:pt x="153" y="265"/>
                  <a:pt x="155" y="266"/>
                </a:cubicBezTo>
                <a:cubicBezTo>
                  <a:pt x="161" y="268"/>
                  <a:pt x="168" y="266"/>
                  <a:pt x="173" y="266"/>
                </a:cubicBezTo>
                <a:cubicBezTo>
                  <a:pt x="180" y="265"/>
                  <a:pt x="186" y="266"/>
                  <a:pt x="193" y="266"/>
                </a:cubicBezTo>
                <a:cubicBezTo>
                  <a:pt x="196" y="267"/>
                  <a:pt x="199" y="267"/>
                  <a:pt x="202" y="267"/>
                </a:cubicBezTo>
                <a:cubicBezTo>
                  <a:pt x="203" y="267"/>
                  <a:pt x="205" y="267"/>
                  <a:pt x="206" y="268"/>
                </a:cubicBezTo>
                <a:cubicBezTo>
                  <a:pt x="207" y="269"/>
                  <a:pt x="207" y="270"/>
                  <a:pt x="208" y="271"/>
                </a:cubicBezTo>
                <a:cubicBezTo>
                  <a:pt x="210" y="273"/>
                  <a:pt x="213" y="272"/>
                  <a:pt x="215" y="272"/>
                </a:cubicBezTo>
                <a:cubicBezTo>
                  <a:pt x="218" y="272"/>
                  <a:pt x="219" y="269"/>
                  <a:pt x="221" y="267"/>
                </a:cubicBezTo>
                <a:cubicBezTo>
                  <a:pt x="222" y="265"/>
                  <a:pt x="223" y="263"/>
                  <a:pt x="225" y="260"/>
                </a:cubicBezTo>
                <a:cubicBezTo>
                  <a:pt x="226" y="258"/>
                  <a:pt x="228" y="255"/>
                  <a:pt x="230" y="253"/>
                </a:cubicBezTo>
                <a:cubicBezTo>
                  <a:pt x="232" y="251"/>
                  <a:pt x="235" y="250"/>
                  <a:pt x="237" y="249"/>
                </a:cubicBezTo>
                <a:cubicBezTo>
                  <a:pt x="240" y="247"/>
                  <a:pt x="242" y="246"/>
                  <a:pt x="245" y="245"/>
                </a:cubicBezTo>
                <a:cubicBezTo>
                  <a:pt x="248" y="244"/>
                  <a:pt x="251" y="244"/>
                  <a:pt x="254" y="243"/>
                </a:cubicBezTo>
                <a:cubicBezTo>
                  <a:pt x="257" y="243"/>
                  <a:pt x="260" y="243"/>
                  <a:pt x="264" y="242"/>
                </a:cubicBezTo>
                <a:cubicBezTo>
                  <a:pt x="270" y="241"/>
                  <a:pt x="276" y="240"/>
                  <a:pt x="283" y="240"/>
                </a:cubicBezTo>
                <a:cubicBezTo>
                  <a:pt x="286" y="239"/>
                  <a:pt x="289" y="239"/>
                  <a:pt x="292" y="238"/>
                </a:cubicBezTo>
                <a:cubicBezTo>
                  <a:pt x="295" y="238"/>
                  <a:pt x="298" y="237"/>
                  <a:pt x="301" y="236"/>
                </a:cubicBezTo>
                <a:cubicBezTo>
                  <a:pt x="307" y="234"/>
                  <a:pt x="313" y="232"/>
                  <a:pt x="319" y="230"/>
                </a:cubicBezTo>
                <a:cubicBezTo>
                  <a:pt x="325" y="228"/>
                  <a:pt x="331" y="226"/>
                  <a:pt x="337" y="223"/>
                </a:cubicBezTo>
                <a:cubicBezTo>
                  <a:pt x="339" y="223"/>
                  <a:pt x="340" y="222"/>
                  <a:pt x="342" y="222"/>
                </a:cubicBezTo>
                <a:cubicBezTo>
                  <a:pt x="343" y="222"/>
                  <a:pt x="344" y="221"/>
                  <a:pt x="345" y="220"/>
                </a:cubicBezTo>
                <a:cubicBezTo>
                  <a:pt x="346" y="219"/>
                  <a:pt x="346" y="218"/>
                  <a:pt x="346" y="217"/>
                </a:cubicBezTo>
                <a:cubicBezTo>
                  <a:pt x="347" y="215"/>
                  <a:pt x="347" y="214"/>
                  <a:pt x="348" y="212"/>
                </a:cubicBezTo>
                <a:cubicBezTo>
                  <a:pt x="350" y="206"/>
                  <a:pt x="352" y="200"/>
                  <a:pt x="354" y="194"/>
                </a:cubicBezTo>
                <a:cubicBezTo>
                  <a:pt x="354" y="192"/>
                  <a:pt x="355" y="189"/>
                  <a:pt x="355" y="186"/>
                </a:cubicBezTo>
                <a:cubicBezTo>
                  <a:pt x="354" y="183"/>
                  <a:pt x="352" y="180"/>
                  <a:pt x="351" y="177"/>
                </a:cubicBezTo>
                <a:cubicBezTo>
                  <a:pt x="351" y="176"/>
                  <a:pt x="350" y="175"/>
                  <a:pt x="349" y="174"/>
                </a:cubicBezTo>
                <a:cubicBezTo>
                  <a:pt x="348" y="173"/>
                  <a:pt x="345" y="173"/>
                  <a:pt x="344" y="173"/>
                </a:cubicBezTo>
                <a:cubicBezTo>
                  <a:pt x="340" y="173"/>
                  <a:pt x="336" y="172"/>
                  <a:pt x="332" y="172"/>
                </a:cubicBezTo>
                <a:cubicBezTo>
                  <a:pt x="328" y="172"/>
                  <a:pt x="324" y="172"/>
                  <a:pt x="319" y="171"/>
                </a:cubicBezTo>
                <a:cubicBezTo>
                  <a:pt x="316" y="171"/>
                  <a:pt x="312" y="171"/>
                  <a:pt x="308" y="170"/>
                </a:cubicBezTo>
                <a:cubicBezTo>
                  <a:pt x="305" y="169"/>
                  <a:pt x="302" y="166"/>
                  <a:pt x="300" y="163"/>
                </a:cubicBezTo>
                <a:cubicBezTo>
                  <a:pt x="297" y="161"/>
                  <a:pt x="295" y="158"/>
                  <a:pt x="293" y="155"/>
                </a:cubicBezTo>
                <a:cubicBezTo>
                  <a:pt x="292" y="154"/>
                  <a:pt x="291" y="152"/>
                  <a:pt x="291" y="151"/>
                </a:cubicBezTo>
                <a:cubicBezTo>
                  <a:pt x="291" y="150"/>
                  <a:pt x="291" y="148"/>
                  <a:pt x="290" y="148"/>
                </a:cubicBezTo>
                <a:cubicBezTo>
                  <a:pt x="288" y="146"/>
                  <a:pt x="287" y="146"/>
                  <a:pt x="286" y="144"/>
                </a:cubicBezTo>
                <a:cubicBezTo>
                  <a:pt x="284" y="143"/>
                  <a:pt x="286" y="141"/>
                  <a:pt x="286" y="139"/>
                </a:cubicBezTo>
                <a:cubicBezTo>
                  <a:pt x="283" y="139"/>
                  <a:pt x="279" y="138"/>
                  <a:pt x="277" y="136"/>
                </a:cubicBezTo>
                <a:cubicBezTo>
                  <a:pt x="274" y="133"/>
                  <a:pt x="273" y="130"/>
                  <a:pt x="271" y="127"/>
                </a:cubicBezTo>
                <a:cubicBezTo>
                  <a:pt x="270" y="125"/>
                  <a:pt x="269" y="124"/>
                  <a:pt x="268" y="122"/>
                </a:cubicBezTo>
                <a:cubicBezTo>
                  <a:pt x="267" y="121"/>
                  <a:pt x="267" y="119"/>
                  <a:pt x="265" y="118"/>
                </a:cubicBezTo>
                <a:cubicBezTo>
                  <a:pt x="264" y="117"/>
                  <a:pt x="263" y="116"/>
                  <a:pt x="262" y="115"/>
                </a:cubicBezTo>
                <a:cubicBezTo>
                  <a:pt x="262" y="113"/>
                  <a:pt x="261" y="111"/>
                  <a:pt x="263" y="111"/>
                </a:cubicBezTo>
                <a:cubicBezTo>
                  <a:pt x="263" y="110"/>
                  <a:pt x="264" y="111"/>
                  <a:pt x="265" y="110"/>
                </a:cubicBezTo>
                <a:cubicBezTo>
                  <a:pt x="265" y="109"/>
                  <a:pt x="266" y="107"/>
                  <a:pt x="265" y="106"/>
                </a:cubicBezTo>
                <a:cubicBezTo>
                  <a:pt x="265" y="104"/>
                  <a:pt x="263" y="103"/>
                  <a:pt x="262" y="102"/>
                </a:cubicBezTo>
                <a:cubicBezTo>
                  <a:pt x="261" y="100"/>
                  <a:pt x="263" y="99"/>
                  <a:pt x="261" y="97"/>
                </a:cubicBezTo>
                <a:cubicBezTo>
                  <a:pt x="259" y="96"/>
                  <a:pt x="258" y="95"/>
                  <a:pt x="256" y="94"/>
                </a:cubicBezTo>
                <a:cubicBezTo>
                  <a:pt x="255" y="93"/>
                  <a:pt x="253" y="92"/>
                  <a:pt x="252" y="91"/>
                </a:cubicBezTo>
                <a:cubicBezTo>
                  <a:pt x="251" y="90"/>
                  <a:pt x="249" y="89"/>
                  <a:pt x="249" y="88"/>
                </a:cubicBezTo>
                <a:cubicBezTo>
                  <a:pt x="248" y="86"/>
                  <a:pt x="249" y="85"/>
                  <a:pt x="249" y="84"/>
                </a:cubicBezTo>
                <a:cubicBezTo>
                  <a:pt x="249" y="84"/>
                  <a:pt x="249" y="84"/>
                  <a:pt x="249" y="84"/>
                </a:cubicBezTo>
                <a:cubicBezTo>
                  <a:pt x="248" y="84"/>
                  <a:pt x="249" y="84"/>
                  <a:pt x="249" y="84"/>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52" name="Freeform 230">
            <a:extLst>
              <a:ext uri="{FF2B5EF4-FFF2-40B4-BE49-F238E27FC236}">
                <a16:creationId xmlns:a16="http://schemas.microsoft.com/office/drawing/2014/main" id="{FCCA0054-300D-A1FA-A2AA-65447B15AA42}"/>
              </a:ext>
            </a:extLst>
          </p:cNvPr>
          <p:cNvSpPr>
            <a:spLocks noEditPoints="1"/>
          </p:cNvSpPr>
          <p:nvPr>
            <p:custDataLst>
              <p:tags r:id="rId34"/>
            </p:custDataLst>
          </p:nvPr>
        </p:nvSpPr>
        <p:spPr bwMode="auto">
          <a:xfrm>
            <a:off x="7043998" y="2778238"/>
            <a:ext cx="181197" cy="309337"/>
          </a:xfrm>
          <a:custGeom>
            <a:avLst/>
            <a:gdLst>
              <a:gd name="T0" fmla="*/ 20 w 155"/>
              <a:gd name="T1" fmla="*/ 236 h 265"/>
              <a:gd name="T2" fmla="*/ 12 w 155"/>
              <a:gd name="T3" fmla="*/ 236 h 265"/>
              <a:gd name="T4" fmla="*/ 5 w 155"/>
              <a:gd name="T5" fmla="*/ 244 h 265"/>
              <a:gd name="T6" fmla="*/ 1 w 155"/>
              <a:gd name="T7" fmla="*/ 246 h 265"/>
              <a:gd name="T8" fmla="*/ 5 w 155"/>
              <a:gd name="T9" fmla="*/ 250 h 265"/>
              <a:gd name="T10" fmla="*/ 6 w 155"/>
              <a:gd name="T11" fmla="*/ 255 h 265"/>
              <a:gd name="T12" fmla="*/ 9 w 155"/>
              <a:gd name="T13" fmla="*/ 258 h 265"/>
              <a:gd name="T14" fmla="*/ 13 w 155"/>
              <a:gd name="T15" fmla="*/ 257 h 265"/>
              <a:gd name="T16" fmla="*/ 19 w 155"/>
              <a:gd name="T17" fmla="*/ 248 h 265"/>
              <a:gd name="T18" fmla="*/ 25 w 155"/>
              <a:gd name="T19" fmla="*/ 244 h 265"/>
              <a:gd name="T20" fmla="*/ 30 w 155"/>
              <a:gd name="T21" fmla="*/ 245 h 265"/>
              <a:gd name="T22" fmla="*/ 35 w 155"/>
              <a:gd name="T23" fmla="*/ 248 h 265"/>
              <a:gd name="T24" fmla="*/ 39 w 155"/>
              <a:gd name="T25" fmla="*/ 241 h 265"/>
              <a:gd name="T26" fmla="*/ 43 w 155"/>
              <a:gd name="T27" fmla="*/ 237 h 265"/>
              <a:gd name="T28" fmla="*/ 41 w 155"/>
              <a:gd name="T29" fmla="*/ 232 h 265"/>
              <a:gd name="T30" fmla="*/ 35 w 155"/>
              <a:gd name="T31" fmla="*/ 231 h 265"/>
              <a:gd name="T32" fmla="*/ 30 w 155"/>
              <a:gd name="T33" fmla="*/ 228 h 265"/>
              <a:gd name="T34" fmla="*/ 25 w 155"/>
              <a:gd name="T35" fmla="*/ 233 h 265"/>
              <a:gd name="T36" fmla="*/ 23 w 155"/>
              <a:gd name="T37" fmla="*/ 235 h 265"/>
              <a:gd name="T38" fmla="*/ 20 w 155"/>
              <a:gd name="T39" fmla="*/ 193 h 265"/>
              <a:gd name="T40" fmla="*/ 20 w 155"/>
              <a:gd name="T41" fmla="*/ 192 h 265"/>
              <a:gd name="T42" fmla="*/ 20 w 155"/>
              <a:gd name="T43" fmla="*/ 193 h 265"/>
              <a:gd name="T44" fmla="*/ 153 w 155"/>
              <a:gd name="T45" fmla="*/ 12 h 265"/>
              <a:gd name="T46" fmla="*/ 155 w 155"/>
              <a:gd name="T47" fmla="*/ 11 h 265"/>
              <a:gd name="T48" fmla="*/ 155 w 155"/>
              <a:gd name="T49" fmla="*/ 11 h 265"/>
              <a:gd name="T50" fmla="*/ 125 w 155"/>
              <a:gd name="T51" fmla="*/ 74 h 265"/>
              <a:gd name="T52" fmla="*/ 124 w 155"/>
              <a:gd name="T53" fmla="*/ 72 h 265"/>
              <a:gd name="T54" fmla="*/ 125 w 155"/>
              <a:gd name="T55" fmla="*/ 76 h 265"/>
              <a:gd name="T56" fmla="*/ 125 w 155"/>
              <a:gd name="T57" fmla="*/ 76 h 265"/>
              <a:gd name="T58" fmla="*/ 108 w 155"/>
              <a:gd name="T59" fmla="*/ 153 h 265"/>
              <a:gd name="T60" fmla="*/ 104 w 155"/>
              <a:gd name="T61" fmla="*/ 159 h 265"/>
              <a:gd name="T62" fmla="*/ 107 w 155"/>
              <a:gd name="T63" fmla="*/ 159 h 265"/>
              <a:gd name="T64" fmla="*/ 83 w 155"/>
              <a:gd name="T65" fmla="*/ 172 h 265"/>
              <a:gd name="T66" fmla="*/ 86 w 155"/>
              <a:gd name="T67" fmla="*/ 167 h 265"/>
              <a:gd name="T68" fmla="*/ 80 w 155"/>
              <a:gd name="T69" fmla="*/ 169 h 265"/>
              <a:gd name="T70" fmla="*/ 79 w 155"/>
              <a:gd name="T71" fmla="*/ 173 h 265"/>
              <a:gd name="T72" fmla="*/ 83 w 155"/>
              <a:gd name="T73" fmla="*/ 172 h 265"/>
              <a:gd name="T74" fmla="*/ 150 w 155"/>
              <a:gd name="T75" fmla="*/ 7 h 265"/>
              <a:gd name="T76" fmla="*/ 148 w 155"/>
              <a:gd name="T77" fmla="*/ 6 h 265"/>
              <a:gd name="T78" fmla="*/ 150 w 155"/>
              <a:gd name="T79" fmla="*/ 7 h 265"/>
              <a:gd name="T80" fmla="*/ 45 w 155"/>
              <a:gd name="T81" fmla="*/ 227 h 265"/>
              <a:gd name="T82" fmla="*/ 45 w 155"/>
              <a:gd name="T83" fmla="*/ 230 h 265"/>
              <a:gd name="T84" fmla="*/ 48 w 155"/>
              <a:gd name="T85" fmla="*/ 227 h 265"/>
              <a:gd name="T86" fmla="*/ 45 w 155"/>
              <a:gd name="T87" fmla="*/ 227 h 265"/>
              <a:gd name="T88" fmla="*/ 45 w 155"/>
              <a:gd name="T89" fmla="*/ 227 h 265"/>
              <a:gd name="T90" fmla="*/ 126 w 155"/>
              <a:gd name="T91" fmla="*/ 232 h 265"/>
              <a:gd name="T92" fmla="*/ 125 w 155"/>
              <a:gd name="T93" fmla="*/ 234 h 265"/>
              <a:gd name="T94" fmla="*/ 124 w 155"/>
              <a:gd name="T95" fmla="*/ 218 h 265"/>
              <a:gd name="T96" fmla="*/ 125 w 155"/>
              <a:gd name="T97" fmla="*/ 223 h 265"/>
              <a:gd name="T98" fmla="*/ 124 w 155"/>
              <a:gd name="T99" fmla="*/ 218 h 265"/>
              <a:gd name="T100" fmla="*/ 129 w 155"/>
              <a:gd name="T101" fmla="*/ 265 h 265"/>
              <a:gd name="T102" fmla="*/ 128 w 155"/>
              <a:gd name="T103" fmla="*/ 263 h 265"/>
              <a:gd name="T104" fmla="*/ 129 w 155"/>
              <a:gd name="T105" fmla="*/ 265 h 265"/>
              <a:gd name="T106" fmla="*/ 130 w 155"/>
              <a:gd name="T107" fmla="*/ 253 h 265"/>
              <a:gd name="T108" fmla="*/ 132 w 155"/>
              <a:gd name="T109" fmla="*/ 252 h 265"/>
              <a:gd name="T110" fmla="*/ 128 w 155"/>
              <a:gd name="T111" fmla="*/ 251 h 265"/>
              <a:gd name="T112" fmla="*/ 130 w 155"/>
              <a:gd name="T113" fmla="*/ 25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5" h="265">
                <a:moveTo>
                  <a:pt x="23" y="235"/>
                </a:moveTo>
                <a:cubicBezTo>
                  <a:pt x="22" y="235"/>
                  <a:pt x="21" y="236"/>
                  <a:pt x="20" y="236"/>
                </a:cubicBezTo>
                <a:cubicBezTo>
                  <a:pt x="19" y="237"/>
                  <a:pt x="18" y="237"/>
                  <a:pt x="17" y="236"/>
                </a:cubicBezTo>
                <a:cubicBezTo>
                  <a:pt x="15" y="235"/>
                  <a:pt x="13" y="233"/>
                  <a:pt x="12" y="236"/>
                </a:cubicBezTo>
                <a:cubicBezTo>
                  <a:pt x="11" y="238"/>
                  <a:pt x="9" y="240"/>
                  <a:pt x="8" y="241"/>
                </a:cubicBezTo>
                <a:cubicBezTo>
                  <a:pt x="7" y="242"/>
                  <a:pt x="6" y="243"/>
                  <a:pt x="5" y="244"/>
                </a:cubicBezTo>
                <a:cubicBezTo>
                  <a:pt x="4" y="244"/>
                  <a:pt x="3" y="244"/>
                  <a:pt x="2" y="244"/>
                </a:cubicBezTo>
                <a:cubicBezTo>
                  <a:pt x="2" y="245"/>
                  <a:pt x="0" y="246"/>
                  <a:pt x="1" y="246"/>
                </a:cubicBezTo>
                <a:cubicBezTo>
                  <a:pt x="2" y="246"/>
                  <a:pt x="4" y="245"/>
                  <a:pt x="3" y="246"/>
                </a:cubicBezTo>
                <a:cubicBezTo>
                  <a:pt x="3" y="248"/>
                  <a:pt x="6" y="248"/>
                  <a:pt x="5" y="250"/>
                </a:cubicBezTo>
                <a:cubicBezTo>
                  <a:pt x="4" y="251"/>
                  <a:pt x="4" y="252"/>
                  <a:pt x="4" y="253"/>
                </a:cubicBezTo>
                <a:cubicBezTo>
                  <a:pt x="5" y="254"/>
                  <a:pt x="5" y="255"/>
                  <a:pt x="6" y="255"/>
                </a:cubicBezTo>
                <a:cubicBezTo>
                  <a:pt x="6" y="256"/>
                  <a:pt x="7" y="255"/>
                  <a:pt x="8" y="256"/>
                </a:cubicBezTo>
                <a:cubicBezTo>
                  <a:pt x="9" y="256"/>
                  <a:pt x="9" y="257"/>
                  <a:pt x="9" y="258"/>
                </a:cubicBezTo>
                <a:cubicBezTo>
                  <a:pt x="9" y="259"/>
                  <a:pt x="12" y="259"/>
                  <a:pt x="13" y="259"/>
                </a:cubicBezTo>
                <a:cubicBezTo>
                  <a:pt x="14" y="259"/>
                  <a:pt x="14" y="258"/>
                  <a:pt x="13" y="257"/>
                </a:cubicBezTo>
                <a:cubicBezTo>
                  <a:pt x="13" y="256"/>
                  <a:pt x="14" y="254"/>
                  <a:pt x="15" y="253"/>
                </a:cubicBezTo>
                <a:cubicBezTo>
                  <a:pt x="16" y="252"/>
                  <a:pt x="17" y="249"/>
                  <a:pt x="19" y="248"/>
                </a:cubicBezTo>
                <a:cubicBezTo>
                  <a:pt x="20" y="248"/>
                  <a:pt x="21" y="247"/>
                  <a:pt x="22" y="246"/>
                </a:cubicBezTo>
                <a:cubicBezTo>
                  <a:pt x="23" y="245"/>
                  <a:pt x="24" y="244"/>
                  <a:pt x="25" y="244"/>
                </a:cubicBezTo>
                <a:cubicBezTo>
                  <a:pt x="26" y="243"/>
                  <a:pt x="27" y="244"/>
                  <a:pt x="28" y="244"/>
                </a:cubicBezTo>
                <a:cubicBezTo>
                  <a:pt x="29" y="244"/>
                  <a:pt x="30" y="244"/>
                  <a:pt x="30" y="245"/>
                </a:cubicBezTo>
                <a:cubicBezTo>
                  <a:pt x="31" y="246"/>
                  <a:pt x="31" y="246"/>
                  <a:pt x="32" y="247"/>
                </a:cubicBezTo>
                <a:cubicBezTo>
                  <a:pt x="33" y="247"/>
                  <a:pt x="34" y="249"/>
                  <a:pt x="35" y="248"/>
                </a:cubicBezTo>
                <a:cubicBezTo>
                  <a:pt x="37" y="246"/>
                  <a:pt x="34" y="244"/>
                  <a:pt x="37" y="243"/>
                </a:cubicBezTo>
                <a:cubicBezTo>
                  <a:pt x="38" y="242"/>
                  <a:pt x="38" y="241"/>
                  <a:pt x="39" y="241"/>
                </a:cubicBezTo>
                <a:cubicBezTo>
                  <a:pt x="40" y="240"/>
                  <a:pt x="41" y="240"/>
                  <a:pt x="42" y="239"/>
                </a:cubicBezTo>
                <a:cubicBezTo>
                  <a:pt x="43" y="239"/>
                  <a:pt x="44" y="238"/>
                  <a:pt x="43" y="237"/>
                </a:cubicBezTo>
                <a:cubicBezTo>
                  <a:pt x="42" y="236"/>
                  <a:pt x="41" y="236"/>
                  <a:pt x="41" y="234"/>
                </a:cubicBezTo>
                <a:cubicBezTo>
                  <a:pt x="40" y="233"/>
                  <a:pt x="41" y="233"/>
                  <a:pt x="41" y="232"/>
                </a:cubicBezTo>
                <a:cubicBezTo>
                  <a:pt x="41" y="231"/>
                  <a:pt x="41" y="231"/>
                  <a:pt x="40" y="231"/>
                </a:cubicBezTo>
                <a:cubicBezTo>
                  <a:pt x="38" y="231"/>
                  <a:pt x="37" y="231"/>
                  <a:pt x="35" y="231"/>
                </a:cubicBezTo>
                <a:cubicBezTo>
                  <a:pt x="34" y="230"/>
                  <a:pt x="33" y="230"/>
                  <a:pt x="32" y="230"/>
                </a:cubicBezTo>
                <a:cubicBezTo>
                  <a:pt x="31" y="229"/>
                  <a:pt x="31" y="228"/>
                  <a:pt x="30" y="228"/>
                </a:cubicBezTo>
                <a:cubicBezTo>
                  <a:pt x="29" y="228"/>
                  <a:pt x="28" y="230"/>
                  <a:pt x="26" y="230"/>
                </a:cubicBezTo>
                <a:cubicBezTo>
                  <a:pt x="24" y="230"/>
                  <a:pt x="25" y="231"/>
                  <a:pt x="25" y="233"/>
                </a:cubicBezTo>
                <a:cubicBezTo>
                  <a:pt x="24" y="234"/>
                  <a:pt x="23" y="235"/>
                  <a:pt x="22" y="235"/>
                </a:cubicBezTo>
                <a:cubicBezTo>
                  <a:pt x="22" y="235"/>
                  <a:pt x="22" y="235"/>
                  <a:pt x="23" y="235"/>
                </a:cubicBezTo>
                <a:cubicBezTo>
                  <a:pt x="22" y="235"/>
                  <a:pt x="23" y="235"/>
                  <a:pt x="23" y="235"/>
                </a:cubicBezTo>
                <a:close/>
                <a:moveTo>
                  <a:pt x="20" y="193"/>
                </a:moveTo>
                <a:cubicBezTo>
                  <a:pt x="22" y="191"/>
                  <a:pt x="19" y="189"/>
                  <a:pt x="18" y="191"/>
                </a:cubicBezTo>
                <a:cubicBezTo>
                  <a:pt x="17" y="192"/>
                  <a:pt x="19" y="194"/>
                  <a:pt x="20" y="192"/>
                </a:cubicBezTo>
                <a:cubicBezTo>
                  <a:pt x="20" y="193"/>
                  <a:pt x="20" y="193"/>
                  <a:pt x="20" y="193"/>
                </a:cubicBezTo>
                <a:cubicBezTo>
                  <a:pt x="20" y="192"/>
                  <a:pt x="20" y="193"/>
                  <a:pt x="20" y="193"/>
                </a:cubicBezTo>
                <a:close/>
                <a:moveTo>
                  <a:pt x="155" y="11"/>
                </a:moveTo>
                <a:cubicBezTo>
                  <a:pt x="155" y="9"/>
                  <a:pt x="152" y="9"/>
                  <a:pt x="153" y="12"/>
                </a:cubicBezTo>
                <a:cubicBezTo>
                  <a:pt x="153" y="13"/>
                  <a:pt x="154" y="13"/>
                  <a:pt x="155" y="13"/>
                </a:cubicBezTo>
                <a:cubicBezTo>
                  <a:pt x="155" y="12"/>
                  <a:pt x="155" y="11"/>
                  <a:pt x="155" y="11"/>
                </a:cubicBezTo>
                <a:cubicBezTo>
                  <a:pt x="155" y="11"/>
                  <a:pt x="155" y="11"/>
                  <a:pt x="155" y="11"/>
                </a:cubicBezTo>
                <a:cubicBezTo>
                  <a:pt x="155" y="11"/>
                  <a:pt x="155" y="11"/>
                  <a:pt x="155" y="11"/>
                </a:cubicBezTo>
                <a:close/>
                <a:moveTo>
                  <a:pt x="125" y="76"/>
                </a:moveTo>
                <a:cubicBezTo>
                  <a:pt x="125" y="75"/>
                  <a:pt x="125" y="75"/>
                  <a:pt x="125" y="74"/>
                </a:cubicBezTo>
                <a:cubicBezTo>
                  <a:pt x="125" y="74"/>
                  <a:pt x="126" y="73"/>
                  <a:pt x="126" y="72"/>
                </a:cubicBezTo>
                <a:cubicBezTo>
                  <a:pt x="126" y="71"/>
                  <a:pt x="124" y="72"/>
                  <a:pt x="124" y="72"/>
                </a:cubicBezTo>
                <a:cubicBezTo>
                  <a:pt x="123" y="73"/>
                  <a:pt x="123" y="74"/>
                  <a:pt x="123" y="75"/>
                </a:cubicBezTo>
                <a:cubicBezTo>
                  <a:pt x="124" y="77"/>
                  <a:pt x="125" y="77"/>
                  <a:pt x="125" y="76"/>
                </a:cubicBezTo>
                <a:cubicBezTo>
                  <a:pt x="125" y="75"/>
                  <a:pt x="125" y="76"/>
                  <a:pt x="125" y="76"/>
                </a:cubicBezTo>
                <a:cubicBezTo>
                  <a:pt x="125" y="75"/>
                  <a:pt x="125" y="76"/>
                  <a:pt x="125" y="76"/>
                </a:cubicBezTo>
                <a:close/>
                <a:moveTo>
                  <a:pt x="107" y="159"/>
                </a:moveTo>
                <a:cubicBezTo>
                  <a:pt x="107" y="157"/>
                  <a:pt x="108" y="154"/>
                  <a:pt x="108" y="153"/>
                </a:cubicBezTo>
                <a:cubicBezTo>
                  <a:pt x="107" y="152"/>
                  <a:pt x="105" y="154"/>
                  <a:pt x="105" y="154"/>
                </a:cubicBezTo>
                <a:cubicBezTo>
                  <a:pt x="104" y="156"/>
                  <a:pt x="104" y="158"/>
                  <a:pt x="104" y="159"/>
                </a:cubicBezTo>
                <a:cubicBezTo>
                  <a:pt x="104" y="161"/>
                  <a:pt x="107" y="159"/>
                  <a:pt x="107" y="158"/>
                </a:cubicBezTo>
                <a:cubicBezTo>
                  <a:pt x="107" y="159"/>
                  <a:pt x="107" y="159"/>
                  <a:pt x="107" y="159"/>
                </a:cubicBezTo>
                <a:cubicBezTo>
                  <a:pt x="107" y="157"/>
                  <a:pt x="107" y="159"/>
                  <a:pt x="107" y="159"/>
                </a:cubicBezTo>
                <a:close/>
                <a:moveTo>
                  <a:pt x="83" y="172"/>
                </a:moveTo>
                <a:cubicBezTo>
                  <a:pt x="85" y="172"/>
                  <a:pt x="85" y="172"/>
                  <a:pt x="86" y="171"/>
                </a:cubicBezTo>
                <a:cubicBezTo>
                  <a:pt x="87" y="170"/>
                  <a:pt x="87" y="168"/>
                  <a:pt x="86" y="167"/>
                </a:cubicBezTo>
                <a:cubicBezTo>
                  <a:pt x="85" y="166"/>
                  <a:pt x="84" y="167"/>
                  <a:pt x="83" y="168"/>
                </a:cubicBezTo>
                <a:cubicBezTo>
                  <a:pt x="82" y="168"/>
                  <a:pt x="81" y="169"/>
                  <a:pt x="80" y="169"/>
                </a:cubicBezTo>
                <a:cubicBezTo>
                  <a:pt x="79" y="170"/>
                  <a:pt x="78" y="171"/>
                  <a:pt x="78" y="172"/>
                </a:cubicBezTo>
                <a:cubicBezTo>
                  <a:pt x="78" y="173"/>
                  <a:pt x="78" y="174"/>
                  <a:pt x="79" y="173"/>
                </a:cubicBezTo>
                <a:cubicBezTo>
                  <a:pt x="81" y="173"/>
                  <a:pt x="82" y="172"/>
                  <a:pt x="84" y="172"/>
                </a:cubicBezTo>
                <a:cubicBezTo>
                  <a:pt x="84" y="172"/>
                  <a:pt x="84" y="172"/>
                  <a:pt x="83" y="172"/>
                </a:cubicBezTo>
                <a:cubicBezTo>
                  <a:pt x="84" y="172"/>
                  <a:pt x="83" y="172"/>
                  <a:pt x="83" y="172"/>
                </a:cubicBezTo>
                <a:close/>
                <a:moveTo>
                  <a:pt x="150" y="7"/>
                </a:moveTo>
                <a:cubicBezTo>
                  <a:pt x="153" y="7"/>
                  <a:pt x="151" y="0"/>
                  <a:pt x="149" y="3"/>
                </a:cubicBezTo>
                <a:cubicBezTo>
                  <a:pt x="149" y="4"/>
                  <a:pt x="148" y="5"/>
                  <a:pt x="148" y="6"/>
                </a:cubicBezTo>
                <a:cubicBezTo>
                  <a:pt x="149" y="7"/>
                  <a:pt x="150" y="7"/>
                  <a:pt x="151" y="7"/>
                </a:cubicBezTo>
                <a:cubicBezTo>
                  <a:pt x="150" y="7"/>
                  <a:pt x="150" y="7"/>
                  <a:pt x="150" y="7"/>
                </a:cubicBezTo>
                <a:cubicBezTo>
                  <a:pt x="151" y="7"/>
                  <a:pt x="150" y="7"/>
                  <a:pt x="150" y="7"/>
                </a:cubicBezTo>
                <a:close/>
                <a:moveTo>
                  <a:pt x="45" y="227"/>
                </a:moveTo>
                <a:cubicBezTo>
                  <a:pt x="45" y="228"/>
                  <a:pt x="44" y="229"/>
                  <a:pt x="44" y="230"/>
                </a:cubicBezTo>
                <a:cubicBezTo>
                  <a:pt x="44" y="231"/>
                  <a:pt x="45" y="230"/>
                  <a:pt x="45" y="230"/>
                </a:cubicBezTo>
                <a:cubicBezTo>
                  <a:pt x="46" y="230"/>
                  <a:pt x="47" y="230"/>
                  <a:pt x="47" y="230"/>
                </a:cubicBezTo>
                <a:cubicBezTo>
                  <a:pt x="48" y="229"/>
                  <a:pt x="48" y="228"/>
                  <a:pt x="48" y="227"/>
                </a:cubicBezTo>
                <a:cubicBezTo>
                  <a:pt x="48" y="226"/>
                  <a:pt x="48" y="226"/>
                  <a:pt x="47" y="226"/>
                </a:cubicBezTo>
                <a:cubicBezTo>
                  <a:pt x="46" y="226"/>
                  <a:pt x="46" y="227"/>
                  <a:pt x="45" y="227"/>
                </a:cubicBezTo>
                <a:cubicBezTo>
                  <a:pt x="45" y="227"/>
                  <a:pt x="45" y="227"/>
                  <a:pt x="45" y="227"/>
                </a:cubicBezTo>
                <a:cubicBezTo>
                  <a:pt x="45" y="228"/>
                  <a:pt x="45" y="227"/>
                  <a:pt x="45" y="227"/>
                </a:cubicBezTo>
                <a:close/>
                <a:moveTo>
                  <a:pt x="125" y="234"/>
                </a:moveTo>
                <a:cubicBezTo>
                  <a:pt x="128" y="235"/>
                  <a:pt x="127" y="231"/>
                  <a:pt x="126" y="232"/>
                </a:cubicBezTo>
                <a:cubicBezTo>
                  <a:pt x="124" y="232"/>
                  <a:pt x="124" y="234"/>
                  <a:pt x="125" y="234"/>
                </a:cubicBezTo>
                <a:cubicBezTo>
                  <a:pt x="125" y="234"/>
                  <a:pt x="125" y="234"/>
                  <a:pt x="125" y="234"/>
                </a:cubicBezTo>
                <a:cubicBezTo>
                  <a:pt x="126" y="234"/>
                  <a:pt x="125" y="234"/>
                  <a:pt x="125" y="234"/>
                </a:cubicBezTo>
                <a:close/>
                <a:moveTo>
                  <a:pt x="124" y="218"/>
                </a:moveTo>
                <a:cubicBezTo>
                  <a:pt x="123" y="219"/>
                  <a:pt x="122" y="221"/>
                  <a:pt x="122" y="222"/>
                </a:cubicBezTo>
                <a:cubicBezTo>
                  <a:pt x="122" y="224"/>
                  <a:pt x="124" y="224"/>
                  <a:pt x="125" y="223"/>
                </a:cubicBezTo>
                <a:cubicBezTo>
                  <a:pt x="126" y="222"/>
                  <a:pt x="125" y="217"/>
                  <a:pt x="123" y="218"/>
                </a:cubicBezTo>
                <a:cubicBezTo>
                  <a:pt x="123" y="218"/>
                  <a:pt x="124" y="218"/>
                  <a:pt x="124" y="218"/>
                </a:cubicBezTo>
                <a:cubicBezTo>
                  <a:pt x="123" y="219"/>
                  <a:pt x="124" y="218"/>
                  <a:pt x="124" y="218"/>
                </a:cubicBezTo>
                <a:close/>
                <a:moveTo>
                  <a:pt x="129" y="265"/>
                </a:moveTo>
                <a:cubicBezTo>
                  <a:pt x="131" y="265"/>
                  <a:pt x="132" y="262"/>
                  <a:pt x="129" y="261"/>
                </a:cubicBezTo>
                <a:cubicBezTo>
                  <a:pt x="128" y="261"/>
                  <a:pt x="128" y="262"/>
                  <a:pt x="128" y="263"/>
                </a:cubicBezTo>
                <a:cubicBezTo>
                  <a:pt x="128" y="265"/>
                  <a:pt x="129" y="265"/>
                  <a:pt x="129" y="265"/>
                </a:cubicBezTo>
                <a:cubicBezTo>
                  <a:pt x="129" y="265"/>
                  <a:pt x="129" y="265"/>
                  <a:pt x="129" y="265"/>
                </a:cubicBezTo>
                <a:cubicBezTo>
                  <a:pt x="131" y="265"/>
                  <a:pt x="129" y="265"/>
                  <a:pt x="129" y="265"/>
                </a:cubicBezTo>
                <a:close/>
                <a:moveTo>
                  <a:pt x="130" y="253"/>
                </a:moveTo>
                <a:cubicBezTo>
                  <a:pt x="130" y="254"/>
                  <a:pt x="132" y="254"/>
                  <a:pt x="132" y="253"/>
                </a:cubicBezTo>
                <a:cubicBezTo>
                  <a:pt x="132" y="253"/>
                  <a:pt x="132" y="252"/>
                  <a:pt x="132" y="252"/>
                </a:cubicBezTo>
                <a:cubicBezTo>
                  <a:pt x="131" y="252"/>
                  <a:pt x="131" y="252"/>
                  <a:pt x="130" y="251"/>
                </a:cubicBezTo>
                <a:cubicBezTo>
                  <a:pt x="130" y="250"/>
                  <a:pt x="127" y="250"/>
                  <a:pt x="128" y="251"/>
                </a:cubicBezTo>
                <a:cubicBezTo>
                  <a:pt x="129" y="252"/>
                  <a:pt x="130" y="253"/>
                  <a:pt x="130" y="254"/>
                </a:cubicBezTo>
                <a:cubicBezTo>
                  <a:pt x="130" y="254"/>
                  <a:pt x="130" y="253"/>
                  <a:pt x="130" y="253"/>
                </a:cubicBezTo>
                <a:cubicBezTo>
                  <a:pt x="130" y="254"/>
                  <a:pt x="130" y="253"/>
                  <a:pt x="130" y="253"/>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53" name="Freeform 238">
            <a:extLst>
              <a:ext uri="{FF2B5EF4-FFF2-40B4-BE49-F238E27FC236}">
                <a16:creationId xmlns:a16="http://schemas.microsoft.com/office/drawing/2014/main" id="{DE8DB0BB-72E6-BD42-5EED-5E440AC802A7}"/>
              </a:ext>
            </a:extLst>
          </p:cNvPr>
          <p:cNvSpPr/>
          <p:nvPr>
            <p:custDataLst>
              <p:tags r:id="rId35"/>
            </p:custDataLst>
          </p:nvPr>
        </p:nvSpPr>
        <p:spPr bwMode="auto">
          <a:xfrm>
            <a:off x="5188982" y="2976454"/>
            <a:ext cx="190207" cy="185202"/>
          </a:xfrm>
          <a:custGeom>
            <a:avLst/>
            <a:gdLst>
              <a:gd name="T0" fmla="*/ 101 w 163"/>
              <a:gd name="T1" fmla="*/ 12 h 158"/>
              <a:gd name="T2" fmla="*/ 93 w 163"/>
              <a:gd name="T3" fmla="*/ 7 h 158"/>
              <a:gd name="T4" fmla="*/ 82 w 163"/>
              <a:gd name="T5" fmla="*/ 2 h 158"/>
              <a:gd name="T6" fmla="*/ 66 w 163"/>
              <a:gd name="T7" fmla="*/ 1 h 158"/>
              <a:gd name="T8" fmla="*/ 53 w 163"/>
              <a:gd name="T9" fmla="*/ 13 h 158"/>
              <a:gd name="T10" fmla="*/ 46 w 163"/>
              <a:gd name="T11" fmla="*/ 17 h 158"/>
              <a:gd name="T12" fmla="*/ 42 w 163"/>
              <a:gd name="T13" fmla="*/ 38 h 158"/>
              <a:gd name="T14" fmla="*/ 40 w 163"/>
              <a:gd name="T15" fmla="*/ 47 h 158"/>
              <a:gd name="T16" fmla="*/ 26 w 163"/>
              <a:gd name="T17" fmla="*/ 63 h 158"/>
              <a:gd name="T18" fmla="*/ 2 w 163"/>
              <a:gd name="T19" fmla="*/ 76 h 158"/>
              <a:gd name="T20" fmla="*/ 1 w 163"/>
              <a:gd name="T21" fmla="*/ 82 h 158"/>
              <a:gd name="T22" fmla="*/ 4 w 163"/>
              <a:gd name="T23" fmla="*/ 96 h 158"/>
              <a:gd name="T24" fmla="*/ 8 w 163"/>
              <a:gd name="T25" fmla="*/ 99 h 158"/>
              <a:gd name="T26" fmla="*/ 31 w 163"/>
              <a:gd name="T27" fmla="*/ 106 h 158"/>
              <a:gd name="T28" fmla="*/ 93 w 163"/>
              <a:gd name="T29" fmla="*/ 150 h 158"/>
              <a:gd name="T30" fmla="*/ 113 w 163"/>
              <a:gd name="T31" fmla="*/ 157 h 158"/>
              <a:gd name="T32" fmla="*/ 128 w 163"/>
              <a:gd name="T33" fmla="*/ 157 h 158"/>
              <a:gd name="T34" fmla="*/ 137 w 163"/>
              <a:gd name="T35" fmla="*/ 143 h 158"/>
              <a:gd name="T36" fmla="*/ 159 w 163"/>
              <a:gd name="T37" fmla="*/ 143 h 158"/>
              <a:gd name="T38" fmla="*/ 163 w 163"/>
              <a:gd name="T39" fmla="*/ 140 h 158"/>
              <a:gd name="T40" fmla="*/ 155 w 163"/>
              <a:gd name="T41" fmla="*/ 128 h 158"/>
              <a:gd name="T42" fmla="*/ 149 w 163"/>
              <a:gd name="T43" fmla="*/ 122 h 158"/>
              <a:gd name="T44" fmla="*/ 151 w 163"/>
              <a:gd name="T45" fmla="*/ 109 h 158"/>
              <a:gd name="T46" fmla="*/ 143 w 163"/>
              <a:gd name="T47" fmla="*/ 95 h 158"/>
              <a:gd name="T48" fmla="*/ 137 w 163"/>
              <a:gd name="T49" fmla="*/ 93 h 158"/>
              <a:gd name="T50" fmla="*/ 123 w 163"/>
              <a:gd name="T51" fmla="*/ 86 h 158"/>
              <a:gd name="T52" fmla="*/ 117 w 163"/>
              <a:gd name="T53" fmla="*/ 73 h 158"/>
              <a:gd name="T54" fmla="*/ 110 w 163"/>
              <a:gd name="T55" fmla="*/ 64 h 158"/>
              <a:gd name="T56" fmla="*/ 110 w 163"/>
              <a:gd name="T57" fmla="*/ 57 h 158"/>
              <a:gd name="T58" fmla="*/ 115 w 163"/>
              <a:gd name="T59" fmla="*/ 53 h 158"/>
              <a:gd name="T60" fmla="*/ 118 w 163"/>
              <a:gd name="T61" fmla="*/ 45 h 158"/>
              <a:gd name="T62" fmla="*/ 120 w 163"/>
              <a:gd name="T63" fmla="*/ 37 h 158"/>
              <a:gd name="T64" fmla="*/ 121 w 163"/>
              <a:gd name="T65" fmla="*/ 31 h 158"/>
              <a:gd name="T66" fmla="*/ 115 w 163"/>
              <a:gd name="T67" fmla="*/ 28 h 158"/>
              <a:gd name="T68" fmla="*/ 105 w 163"/>
              <a:gd name="T69" fmla="*/ 18 h 158"/>
              <a:gd name="T70" fmla="*/ 106 w 163"/>
              <a:gd name="T71" fmla="*/ 1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3" h="158">
                <a:moveTo>
                  <a:pt x="106" y="18"/>
                </a:moveTo>
                <a:cubicBezTo>
                  <a:pt x="104" y="16"/>
                  <a:pt x="102" y="14"/>
                  <a:pt x="101" y="12"/>
                </a:cubicBezTo>
                <a:cubicBezTo>
                  <a:pt x="100" y="10"/>
                  <a:pt x="100" y="8"/>
                  <a:pt x="100" y="5"/>
                </a:cubicBezTo>
                <a:cubicBezTo>
                  <a:pt x="98" y="6"/>
                  <a:pt x="96" y="7"/>
                  <a:pt x="93" y="7"/>
                </a:cubicBezTo>
                <a:cubicBezTo>
                  <a:pt x="91" y="7"/>
                  <a:pt x="90" y="5"/>
                  <a:pt x="89" y="3"/>
                </a:cubicBezTo>
                <a:cubicBezTo>
                  <a:pt x="89" y="1"/>
                  <a:pt x="83" y="2"/>
                  <a:pt x="82" y="2"/>
                </a:cubicBezTo>
                <a:cubicBezTo>
                  <a:pt x="79" y="2"/>
                  <a:pt x="76" y="2"/>
                  <a:pt x="73" y="1"/>
                </a:cubicBezTo>
                <a:cubicBezTo>
                  <a:pt x="71" y="0"/>
                  <a:pt x="68" y="0"/>
                  <a:pt x="66" y="1"/>
                </a:cubicBezTo>
                <a:cubicBezTo>
                  <a:pt x="63" y="2"/>
                  <a:pt x="61" y="5"/>
                  <a:pt x="59" y="7"/>
                </a:cubicBezTo>
                <a:cubicBezTo>
                  <a:pt x="57" y="9"/>
                  <a:pt x="55" y="11"/>
                  <a:pt x="53" y="13"/>
                </a:cubicBezTo>
                <a:cubicBezTo>
                  <a:pt x="53" y="14"/>
                  <a:pt x="51" y="15"/>
                  <a:pt x="50" y="16"/>
                </a:cubicBezTo>
                <a:cubicBezTo>
                  <a:pt x="49" y="17"/>
                  <a:pt x="48" y="16"/>
                  <a:pt x="46" y="17"/>
                </a:cubicBezTo>
                <a:cubicBezTo>
                  <a:pt x="40" y="17"/>
                  <a:pt x="42" y="26"/>
                  <a:pt x="42" y="30"/>
                </a:cubicBezTo>
                <a:cubicBezTo>
                  <a:pt x="42" y="33"/>
                  <a:pt x="42" y="36"/>
                  <a:pt x="42" y="38"/>
                </a:cubicBezTo>
                <a:cubicBezTo>
                  <a:pt x="41" y="40"/>
                  <a:pt x="41" y="41"/>
                  <a:pt x="40" y="42"/>
                </a:cubicBezTo>
                <a:cubicBezTo>
                  <a:pt x="40" y="44"/>
                  <a:pt x="40" y="45"/>
                  <a:pt x="40" y="47"/>
                </a:cubicBezTo>
                <a:cubicBezTo>
                  <a:pt x="40" y="52"/>
                  <a:pt x="38" y="57"/>
                  <a:pt x="33" y="59"/>
                </a:cubicBezTo>
                <a:cubicBezTo>
                  <a:pt x="30" y="60"/>
                  <a:pt x="28" y="61"/>
                  <a:pt x="26" y="63"/>
                </a:cubicBezTo>
                <a:cubicBezTo>
                  <a:pt x="23" y="64"/>
                  <a:pt x="20" y="66"/>
                  <a:pt x="18" y="67"/>
                </a:cubicBezTo>
                <a:cubicBezTo>
                  <a:pt x="12" y="70"/>
                  <a:pt x="7" y="73"/>
                  <a:pt x="2" y="76"/>
                </a:cubicBezTo>
                <a:cubicBezTo>
                  <a:pt x="1" y="77"/>
                  <a:pt x="0" y="77"/>
                  <a:pt x="0" y="78"/>
                </a:cubicBezTo>
                <a:cubicBezTo>
                  <a:pt x="0" y="80"/>
                  <a:pt x="0" y="81"/>
                  <a:pt x="1" y="82"/>
                </a:cubicBezTo>
                <a:cubicBezTo>
                  <a:pt x="1" y="86"/>
                  <a:pt x="2" y="89"/>
                  <a:pt x="3" y="92"/>
                </a:cubicBezTo>
                <a:cubicBezTo>
                  <a:pt x="3" y="93"/>
                  <a:pt x="3" y="95"/>
                  <a:pt x="4" y="96"/>
                </a:cubicBezTo>
                <a:cubicBezTo>
                  <a:pt x="4" y="97"/>
                  <a:pt x="5" y="98"/>
                  <a:pt x="6" y="99"/>
                </a:cubicBezTo>
                <a:cubicBezTo>
                  <a:pt x="6" y="99"/>
                  <a:pt x="8" y="99"/>
                  <a:pt x="8" y="99"/>
                </a:cubicBezTo>
                <a:cubicBezTo>
                  <a:pt x="10" y="100"/>
                  <a:pt x="12" y="100"/>
                  <a:pt x="14" y="100"/>
                </a:cubicBezTo>
                <a:cubicBezTo>
                  <a:pt x="20" y="101"/>
                  <a:pt x="26" y="102"/>
                  <a:pt x="31" y="106"/>
                </a:cubicBezTo>
                <a:cubicBezTo>
                  <a:pt x="42" y="111"/>
                  <a:pt x="53" y="118"/>
                  <a:pt x="63" y="126"/>
                </a:cubicBezTo>
                <a:cubicBezTo>
                  <a:pt x="72" y="134"/>
                  <a:pt x="82" y="142"/>
                  <a:pt x="93" y="150"/>
                </a:cubicBezTo>
                <a:cubicBezTo>
                  <a:pt x="96" y="152"/>
                  <a:pt x="99" y="154"/>
                  <a:pt x="102" y="156"/>
                </a:cubicBezTo>
                <a:cubicBezTo>
                  <a:pt x="106" y="157"/>
                  <a:pt x="110" y="157"/>
                  <a:pt x="113" y="157"/>
                </a:cubicBezTo>
                <a:cubicBezTo>
                  <a:pt x="117" y="157"/>
                  <a:pt x="121" y="157"/>
                  <a:pt x="125" y="157"/>
                </a:cubicBezTo>
                <a:cubicBezTo>
                  <a:pt x="125" y="157"/>
                  <a:pt x="127" y="158"/>
                  <a:pt x="128" y="157"/>
                </a:cubicBezTo>
                <a:cubicBezTo>
                  <a:pt x="129" y="156"/>
                  <a:pt x="130" y="154"/>
                  <a:pt x="131" y="152"/>
                </a:cubicBezTo>
                <a:cubicBezTo>
                  <a:pt x="133" y="149"/>
                  <a:pt x="135" y="146"/>
                  <a:pt x="137" y="143"/>
                </a:cubicBezTo>
                <a:cubicBezTo>
                  <a:pt x="139" y="140"/>
                  <a:pt x="141" y="138"/>
                  <a:pt x="144" y="138"/>
                </a:cubicBezTo>
                <a:cubicBezTo>
                  <a:pt x="149" y="137"/>
                  <a:pt x="154" y="140"/>
                  <a:pt x="159" y="143"/>
                </a:cubicBezTo>
                <a:cubicBezTo>
                  <a:pt x="159" y="142"/>
                  <a:pt x="159" y="141"/>
                  <a:pt x="160" y="140"/>
                </a:cubicBezTo>
                <a:cubicBezTo>
                  <a:pt x="161" y="139"/>
                  <a:pt x="162" y="140"/>
                  <a:pt x="163" y="140"/>
                </a:cubicBezTo>
                <a:cubicBezTo>
                  <a:pt x="162" y="138"/>
                  <a:pt x="161" y="136"/>
                  <a:pt x="158" y="135"/>
                </a:cubicBezTo>
                <a:cubicBezTo>
                  <a:pt x="156" y="134"/>
                  <a:pt x="155" y="131"/>
                  <a:pt x="155" y="128"/>
                </a:cubicBezTo>
                <a:cubicBezTo>
                  <a:pt x="154" y="127"/>
                  <a:pt x="155" y="123"/>
                  <a:pt x="154" y="123"/>
                </a:cubicBezTo>
                <a:cubicBezTo>
                  <a:pt x="152" y="122"/>
                  <a:pt x="151" y="123"/>
                  <a:pt x="149" y="122"/>
                </a:cubicBezTo>
                <a:cubicBezTo>
                  <a:pt x="147" y="121"/>
                  <a:pt x="147" y="119"/>
                  <a:pt x="147" y="117"/>
                </a:cubicBezTo>
                <a:cubicBezTo>
                  <a:pt x="147" y="114"/>
                  <a:pt x="150" y="112"/>
                  <a:pt x="151" y="109"/>
                </a:cubicBezTo>
                <a:cubicBezTo>
                  <a:pt x="151" y="106"/>
                  <a:pt x="150" y="104"/>
                  <a:pt x="148" y="101"/>
                </a:cubicBezTo>
                <a:cubicBezTo>
                  <a:pt x="147" y="99"/>
                  <a:pt x="145" y="96"/>
                  <a:pt x="143" y="95"/>
                </a:cubicBezTo>
                <a:cubicBezTo>
                  <a:pt x="142" y="95"/>
                  <a:pt x="141" y="95"/>
                  <a:pt x="140" y="95"/>
                </a:cubicBezTo>
                <a:cubicBezTo>
                  <a:pt x="139" y="95"/>
                  <a:pt x="138" y="94"/>
                  <a:pt x="137" y="93"/>
                </a:cubicBezTo>
                <a:cubicBezTo>
                  <a:pt x="135" y="91"/>
                  <a:pt x="132" y="89"/>
                  <a:pt x="129" y="87"/>
                </a:cubicBezTo>
                <a:cubicBezTo>
                  <a:pt x="127" y="86"/>
                  <a:pt x="126" y="87"/>
                  <a:pt x="123" y="86"/>
                </a:cubicBezTo>
                <a:cubicBezTo>
                  <a:pt x="121" y="85"/>
                  <a:pt x="121" y="82"/>
                  <a:pt x="120" y="80"/>
                </a:cubicBezTo>
                <a:cubicBezTo>
                  <a:pt x="120" y="77"/>
                  <a:pt x="119" y="75"/>
                  <a:pt x="117" y="73"/>
                </a:cubicBezTo>
                <a:cubicBezTo>
                  <a:pt x="116" y="72"/>
                  <a:pt x="114" y="71"/>
                  <a:pt x="112" y="69"/>
                </a:cubicBezTo>
                <a:cubicBezTo>
                  <a:pt x="111" y="68"/>
                  <a:pt x="109" y="66"/>
                  <a:pt x="110" y="64"/>
                </a:cubicBezTo>
                <a:cubicBezTo>
                  <a:pt x="111" y="63"/>
                  <a:pt x="112" y="62"/>
                  <a:pt x="112" y="61"/>
                </a:cubicBezTo>
                <a:cubicBezTo>
                  <a:pt x="112" y="59"/>
                  <a:pt x="111" y="59"/>
                  <a:pt x="110" y="57"/>
                </a:cubicBezTo>
                <a:cubicBezTo>
                  <a:pt x="110" y="56"/>
                  <a:pt x="110" y="55"/>
                  <a:pt x="111" y="54"/>
                </a:cubicBezTo>
                <a:cubicBezTo>
                  <a:pt x="112" y="53"/>
                  <a:pt x="114" y="54"/>
                  <a:pt x="115" y="53"/>
                </a:cubicBezTo>
                <a:cubicBezTo>
                  <a:pt x="116" y="52"/>
                  <a:pt x="116" y="50"/>
                  <a:pt x="116" y="49"/>
                </a:cubicBezTo>
                <a:cubicBezTo>
                  <a:pt x="116" y="48"/>
                  <a:pt x="117" y="46"/>
                  <a:pt x="118" y="45"/>
                </a:cubicBezTo>
                <a:cubicBezTo>
                  <a:pt x="119" y="44"/>
                  <a:pt x="121" y="43"/>
                  <a:pt x="121" y="42"/>
                </a:cubicBezTo>
                <a:cubicBezTo>
                  <a:pt x="122" y="40"/>
                  <a:pt x="121" y="39"/>
                  <a:pt x="120" y="37"/>
                </a:cubicBezTo>
                <a:cubicBezTo>
                  <a:pt x="120" y="35"/>
                  <a:pt x="120" y="32"/>
                  <a:pt x="123" y="31"/>
                </a:cubicBezTo>
                <a:cubicBezTo>
                  <a:pt x="122" y="30"/>
                  <a:pt x="121" y="31"/>
                  <a:pt x="121" y="31"/>
                </a:cubicBezTo>
                <a:cubicBezTo>
                  <a:pt x="120" y="31"/>
                  <a:pt x="119" y="31"/>
                  <a:pt x="118" y="31"/>
                </a:cubicBezTo>
                <a:cubicBezTo>
                  <a:pt x="116" y="30"/>
                  <a:pt x="116" y="29"/>
                  <a:pt x="115" y="28"/>
                </a:cubicBezTo>
                <a:cubicBezTo>
                  <a:pt x="114" y="27"/>
                  <a:pt x="113" y="28"/>
                  <a:pt x="112" y="28"/>
                </a:cubicBezTo>
                <a:cubicBezTo>
                  <a:pt x="107" y="27"/>
                  <a:pt x="108" y="21"/>
                  <a:pt x="105" y="18"/>
                </a:cubicBezTo>
                <a:cubicBezTo>
                  <a:pt x="105" y="18"/>
                  <a:pt x="106" y="18"/>
                  <a:pt x="106" y="18"/>
                </a:cubicBezTo>
                <a:cubicBezTo>
                  <a:pt x="104" y="16"/>
                  <a:pt x="106" y="18"/>
                  <a:pt x="106" y="18"/>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54" name="Freeform 239">
            <a:extLst>
              <a:ext uri="{FF2B5EF4-FFF2-40B4-BE49-F238E27FC236}">
                <a16:creationId xmlns:a16="http://schemas.microsoft.com/office/drawing/2014/main" id="{E6C6131C-4B12-80FE-8D97-6FA1E72C643F}"/>
              </a:ext>
            </a:extLst>
          </p:cNvPr>
          <p:cNvSpPr/>
          <p:nvPr>
            <p:custDataLst>
              <p:tags r:id="rId36"/>
            </p:custDataLst>
          </p:nvPr>
        </p:nvSpPr>
        <p:spPr bwMode="auto">
          <a:xfrm>
            <a:off x="5425239" y="3225724"/>
            <a:ext cx="15016" cy="29032"/>
          </a:xfrm>
          <a:custGeom>
            <a:avLst/>
            <a:gdLst>
              <a:gd name="T0" fmla="*/ 2 w 13"/>
              <a:gd name="T1" fmla="*/ 21 h 25"/>
              <a:gd name="T2" fmla="*/ 9 w 13"/>
              <a:gd name="T3" fmla="*/ 25 h 25"/>
              <a:gd name="T4" fmla="*/ 11 w 13"/>
              <a:gd name="T5" fmla="*/ 25 h 25"/>
              <a:gd name="T6" fmla="*/ 12 w 13"/>
              <a:gd name="T7" fmla="*/ 23 h 25"/>
              <a:gd name="T8" fmla="*/ 13 w 13"/>
              <a:gd name="T9" fmla="*/ 20 h 25"/>
              <a:gd name="T10" fmla="*/ 13 w 13"/>
              <a:gd name="T11" fmla="*/ 15 h 25"/>
              <a:gd name="T12" fmla="*/ 13 w 13"/>
              <a:gd name="T13" fmla="*/ 10 h 25"/>
              <a:gd name="T14" fmla="*/ 11 w 13"/>
              <a:gd name="T15" fmla="*/ 2 h 25"/>
              <a:gd name="T16" fmla="*/ 5 w 13"/>
              <a:gd name="T17" fmla="*/ 0 h 25"/>
              <a:gd name="T18" fmla="*/ 4 w 13"/>
              <a:gd name="T19" fmla="*/ 2 h 25"/>
              <a:gd name="T20" fmla="*/ 2 w 13"/>
              <a:gd name="T21" fmla="*/ 6 h 25"/>
              <a:gd name="T22" fmla="*/ 1 w 13"/>
              <a:gd name="T23" fmla="*/ 15 h 25"/>
              <a:gd name="T24" fmla="*/ 1 w 13"/>
              <a:gd name="T25" fmla="*/ 19 h 25"/>
              <a:gd name="T26" fmla="*/ 3 w 13"/>
              <a:gd name="T27" fmla="*/ 22 h 25"/>
              <a:gd name="T28" fmla="*/ 2 w 13"/>
              <a:gd name="T29" fmla="*/ 21 h 25"/>
              <a:gd name="T30" fmla="*/ 2 w 13"/>
              <a:gd name="T31"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25">
                <a:moveTo>
                  <a:pt x="2" y="21"/>
                </a:moveTo>
                <a:cubicBezTo>
                  <a:pt x="4" y="23"/>
                  <a:pt x="7" y="24"/>
                  <a:pt x="9" y="25"/>
                </a:cubicBezTo>
                <a:cubicBezTo>
                  <a:pt x="10" y="25"/>
                  <a:pt x="10" y="25"/>
                  <a:pt x="11" y="25"/>
                </a:cubicBezTo>
                <a:cubicBezTo>
                  <a:pt x="11" y="24"/>
                  <a:pt x="11" y="24"/>
                  <a:pt x="12" y="23"/>
                </a:cubicBezTo>
                <a:cubicBezTo>
                  <a:pt x="13" y="23"/>
                  <a:pt x="13" y="21"/>
                  <a:pt x="13" y="20"/>
                </a:cubicBezTo>
                <a:cubicBezTo>
                  <a:pt x="13" y="18"/>
                  <a:pt x="13" y="17"/>
                  <a:pt x="13" y="15"/>
                </a:cubicBezTo>
                <a:cubicBezTo>
                  <a:pt x="13" y="14"/>
                  <a:pt x="13" y="12"/>
                  <a:pt x="13" y="10"/>
                </a:cubicBezTo>
                <a:cubicBezTo>
                  <a:pt x="13" y="7"/>
                  <a:pt x="13" y="4"/>
                  <a:pt x="11" y="2"/>
                </a:cubicBezTo>
                <a:cubicBezTo>
                  <a:pt x="9" y="1"/>
                  <a:pt x="7" y="0"/>
                  <a:pt x="5" y="0"/>
                </a:cubicBezTo>
                <a:cubicBezTo>
                  <a:pt x="4" y="1"/>
                  <a:pt x="4" y="2"/>
                  <a:pt x="4" y="2"/>
                </a:cubicBezTo>
                <a:cubicBezTo>
                  <a:pt x="3" y="3"/>
                  <a:pt x="2" y="5"/>
                  <a:pt x="2" y="6"/>
                </a:cubicBezTo>
                <a:cubicBezTo>
                  <a:pt x="1" y="9"/>
                  <a:pt x="1" y="12"/>
                  <a:pt x="1" y="15"/>
                </a:cubicBezTo>
                <a:cubicBezTo>
                  <a:pt x="1" y="16"/>
                  <a:pt x="0" y="18"/>
                  <a:pt x="1" y="19"/>
                </a:cubicBezTo>
                <a:cubicBezTo>
                  <a:pt x="1" y="20"/>
                  <a:pt x="2" y="21"/>
                  <a:pt x="3" y="22"/>
                </a:cubicBezTo>
                <a:cubicBezTo>
                  <a:pt x="3" y="21"/>
                  <a:pt x="2" y="21"/>
                  <a:pt x="2" y="21"/>
                </a:cubicBezTo>
                <a:cubicBezTo>
                  <a:pt x="4" y="23"/>
                  <a:pt x="2" y="21"/>
                  <a:pt x="2" y="21"/>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55" name="Freeform 241">
            <a:extLst>
              <a:ext uri="{FF2B5EF4-FFF2-40B4-BE49-F238E27FC236}">
                <a16:creationId xmlns:a16="http://schemas.microsoft.com/office/drawing/2014/main" id="{E428CBEF-0BE3-C00D-8062-CC7AE478D52F}"/>
              </a:ext>
            </a:extLst>
          </p:cNvPr>
          <p:cNvSpPr/>
          <p:nvPr>
            <p:custDataLst>
              <p:tags r:id="rId37"/>
            </p:custDataLst>
          </p:nvPr>
        </p:nvSpPr>
        <p:spPr bwMode="auto">
          <a:xfrm>
            <a:off x="5418231" y="3218717"/>
            <a:ext cx="5006" cy="13015"/>
          </a:xfrm>
          <a:custGeom>
            <a:avLst/>
            <a:gdLst>
              <a:gd name="T0" fmla="*/ 2 w 4"/>
              <a:gd name="T1" fmla="*/ 2 h 11"/>
              <a:gd name="T2" fmla="*/ 1 w 4"/>
              <a:gd name="T3" fmla="*/ 7 h 11"/>
              <a:gd name="T4" fmla="*/ 2 w 4"/>
              <a:gd name="T5" fmla="*/ 10 h 11"/>
              <a:gd name="T6" fmla="*/ 3 w 4"/>
              <a:gd name="T7" fmla="*/ 9 h 11"/>
              <a:gd name="T8" fmla="*/ 1 w 4"/>
              <a:gd name="T9" fmla="*/ 3 h 11"/>
              <a:gd name="T10" fmla="*/ 2 w 4"/>
              <a:gd name="T11" fmla="*/ 2 h 11"/>
              <a:gd name="T12" fmla="*/ 2 w 4"/>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4" h="11">
                <a:moveTo>
                  <a:pt x="2" y="2"/>
                </a:moveTo>
                <a:cubicBezTo>
                  <a:pt x="0" y="4"/>
                  <a:pt x="1" y="6"/>
                  <a:pt x="1" y="7"/>
                </a:cubicBezTo>
                <a:cubicBezTo>
                  <a:pt x="1" y="8"/>
                  <a:pt x="1" y="9"/>
                  <a:pt x="2" y="10"/>
                </a:cubicBezTo>
                <a:cubicBezTo>
                  <a:pt x="2" y="11"/>
                  <a:pt x="3" y="10"/>
                  <a:pt x="3" y="9"/>
                </a:cubicBezTo>
                <a:cubicBezTo>
                  <a:pt x="4" y="8"/>
                  <a:pt x="4" y="0"/>
                  <a:pt x="1" y="3"/>
                </a:cubicBezTo>
                <a:cubicBezTo>
                  <a:pt x="1" y="3"/>
                  <a:pt x="2" y="3"/>
                  <a:pt x="2" y="2"/>
                </a:cubicBezTo>
                <a:cubicBezTo>
                  <a:pt x="0" y="4"/>
                  <a:pt x="2" y="2"/>
                  <a:pt x="2" y="2"/>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56" name="Freeform 242">
            <a:extLst>
              <a:ext uri="{FF2B5EF4-FFF2-40B4-BE49-F238E27FC236}">
                <a16:creationId xmlns:a16="http://schemas.microsoft.com/office/drawing/2014/main" id="{F1A13E04-0F1C-7141-8DC8-2E5AF8A45B2B}"/>
              </a:ext>
            </a:extLst>
          </p:cNvPr>
          <p:cNvSpPr/>
          <p:nvPr>
            <p:custDataLst>
              <p:tags r:id="rId38"/>
            </p:custDataLst>
          </p:nvPr>
        </p:nvSpPr>
        <p:spPr bwMode="auto">
          <a:xfrm>
            <a:off x="5305108" y="2920392"/>
            <a:ext cx="27030" cy="21023"/>
          </a:xfrm>
          <a:custGeom>
            <a:avLst/>
            <a:gdLst>
              <a:gd name="T0" fmla="*/ 17 w 23"/>
              <a:gd name="T1" fmla="*/ 8 h 18"/>
              <a:gd name="T2" fmla="*/ 12 w 23"/>
              <a:gd name="T3" fmla="*/ 7 h 18"/>
              <a:gd name="T4" fmla="*/ 9 w 23"/>
              <a:gd name="T5" fmla="*/ 4 h 18"/>
              <a:gd name="T6" fmla="*/ 0 w 23"/>
              <a:gd name="T7" fmla="*/ 1 h 18"/>
              <a:gd name="T8" fmla="*/ 9 w 23"/>
              <a:gd name="T9" fmla="*/ 11 h 18"/>
              <a:gd name="T10" fmla="*/ 15 w 23"/>
              <a:gd name="T11" fmla="*/ 16 h 18"/>
              <a:gd name="T12" fmla="*/ 23 w 23"/>
              <a:gd name="T13" fmla="*/ 18 h 18"/>
              <a:gd name="T14" fmla="*/ 17 w 23"/>
              <a:gd name="T15" fmla="*/ 7 h 18"/>
              <a:gd name="T16" fmla="*/ 17 w 23"/>
              <a:gd name="T17" fmla="*/ 8 h 18"/>
              <a:gd name="T18" fmla="*/ 17 w 23"/>
              <a:gd name="T19"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18">
                <a:moveTo>
                  <a:pt x="17" y="8"/>
                </a:moveTo>
                <a:cubicBezTo>
                  <a:pt x="15" y="7"/>
                  <a:pt x="14" y="7"/>
                  <a:pt x="12" y="7"/>
                </a:cubicBezTo>
                <a:cubicBezTo>
                  <a:pt x="11" y="6"/>
                  <a:pt x="10" y="5"/>
                  <a:pt x="9" y="4"/>
                </a:cubicBezTo>
                <a:cubicBezTo>
                  <a:pt x="6" y="2"/>
                  <a:pt x="3" y="0"/>
                  <a:pt x="0" y="1"/>
                </a:cubicBezTo>
                <a:cubicBezTo>
                  <a:pt x="4" y="3"/>
                  <a:pt x="6" y="7"/>
                  <a:pt x="9" y="11"/>
                </a:cubicBezTo>
                <a:cubicBezTo>
                  <a:pt x="11" y="13"/>
                  <a:pt x="12" y="15"/>
                  <a:pt x="15" y="16"/>
                </a:cubicBezTo>
                <a:cubicBezTo>
                  <a:pt x="17" y="17"/>
                  <a:pt x="20" y="18"/>
                  <a:pt x="23" y="18"/>
                </a:cubicBezTo>
                <a:cubicBezTo>
                  <a:pt x="22" y="14"/>
                  <a:pt x="20" y="9"/>
                  <a:pt x="17" y="7"/>
                </a:cubicBezTo>
                <a:cubicBezTo>
                  <a:pt x="17" y="7"/>
                  <a:pt x="17" y="7"/>
                  <a:pt x="17" y="8"/>
                </a:cubicBezTo>
                <a:cubicBezTo>
                  <a:pt x="16" y="7"/>
                  <a:pt x="17" y="8"/>
                  <a:pt x="17" y="8"/>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57" name="Freeform 246">
            <a:extLst>
              <a:ext uri="{FF2B5EF4-FFF2-40B4-BE49-F238E27FC236}">
                <a16:creationId xmlns:a16="http://schemas.microsoft.com/office/drawing/2014/main" id="{6F42408E-7DCE-67C7-BE08-BB30EE407860}"/>
              </a:ext>
            </a:extLst>
          </p:cNvPr>
          <p:cNvSpPr/>
          <p:nvPr>
            <p:custDataLst>
              <p:tags r:id="rId39"/>
            </p:custDataLst>
          </p:nvPr>
        </p:nvSpPr>
        <p:spPr bwMode="auto">
          <a:xfrm>
            <a:off x="5246044" y="3502024"/>
            <a:ext cx="33037" cy="34037"/>
          </a:xfrm>
          <a:custGeom>
            <a:avLst/>
            <a:gdLst>
              <a:gd name="T0" fmla="*/ 15 w 28"/>
              <a:gd name="T1" fmla="*/ 19 h 29"/>
              <a:gd name="T2" fmla="*/ 21 w 28"/>
              <a:gd name="T3" fmla="*/ 16 h 29"/>
              <a:gd name="T4" fmla="*/ 26 w 28"/>
              <a:gd name="T5" fmla="*/ 12 h 29"/>
              <a:gd name="T6" fmla="*/ 27 w 28"/>
              <a:gd name="T7" fmla="*/ 6 h 29"/>
              <a:gd name="T8" fmla="*/ 25 w 28"/>
              <a:gd name="T9" fmla="*/ 3 h 29"/>
              <a:gd name="T10" fmla="*/ 24 w 28"/>
              <a:gd name="T11" fmla="*/ 0 h 29"/>
              <a:gd name="T12" fmla="*/ 18 w 28"/>
              <a:gd name="T13" fmla="*/ 5 h 29"/>
              <a:gd name="T14" fmla="*/ 15 w 28"/>
              <a:gd name="T15" fmla="*/ 7 h 29"/>
              <a:gd name="T16" fmla="*/ 11 w 28"/>
              <a:gd name="T17" fmla="*/ 6 h 29"/>
              <a:gd name="T18" fmla="*/ 9 w 28"/>
              <a:gd name="T19" fmla="*/ 8 h 29"/>
              <a:gd name="T20" fmla="*/ 7 w 28"/>
              <a:gd name="T21" fmla="*/ 11 h 29"/>
              <a:gd name="T22" fmla="*/ 2 w 28"/>
              <a:gd name="T23" fmla="*/ 19 h 29"/>
              <a:gd name="T24" fmla="*/ 4 w 28"/>
              <a:gd name="T25" fmla="*/ 29 h 29"/>
              <a:gd name="T26" fmla="*/ 19 w 28"/>
              <a:gd name="T27" fmla="*/ 28 h 29"/>
              <a:gd name="T28" fmla="*/ 24 w 28"/>
              <a:gd name="T29" fmla="*/ 21 h 29"/>
              <a:gd name="T30" fmla="*/ 17 w 28"/>
              <a:gd name="T31" fmla="*/ 21 h 29"/>
              <a:gd name="T32" fmla="*/ 15 w 28"/>
              <a:gd name="T33" fmla="*/ 18 h 29"/>
              <a:gd name="T34" fmla="*/ 15 w 28"/>
              <a:gd name="T35" fmla="*/ 19 h 29"/>
              <a:gd name="T36" fmla="*/ 15 w 28"/>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8">
                <a:moveTo>
                  <a:pt x="15" y="19"/>
                </a:moveTo>
                <a:cubicBezTo>
                  <a:pt x="16" y="17"/>
                  <a:pt x="19" y="17"/>
                  <a:pt x="21" y="16"/>
                </a:cubicBezTo>
                <a:cubicBezTo>
                  <a:pt x="23" y="15"/>
                  <a:pt x="25" y="14"/>
                  <a:pt x="26" y="12"/>
                </a:cubicBezTo>
                <a:cubicBezTo>
                  <a:pt x="28" y="10"/>
                  <a:pt x="27" y="8"/>
                  <a:pt x="27" y="6"/>
                </a:cubicBezTo>
                <a:cubicBezTo>
                  <a:pt x="26" y="5"/>
                  <a:pt x="25" y="4"/>
                  <a:pt x="25" y="3"/>
                </a:cubicBezTo>
                <a:cubicBezTo>
                  <a:pt x="24" y="2"/>
                  <a:pt x="24" y="1"/>
                  <a:pt x="24" y="0"/>
                </a:cubicBezTo>
                <a:cubicBezTo>
                  <a:pt x="22" y="2"/>
                  <a:pt x="20" y="4"/>
                  <a:pt x="18" y="5"/>
                </a:cubicBezTo>
                <a:cubicBezTo>
                  <a:pt x="17" y="6"/>
                  <a:pt x="16" y="7"/>
                  <a:pt x="15" y="7"/>
                </a:cubicBezTo>
                <a:cubicBezTo>
                  <a:pt x="13" y="7"/>
                  <a:pt x="13" y="6"/>
                  <a:pt x="11" y="6"/>
                </a:cubicBezTo>
                <a:cubicBezTo>
                  <a:pt x="11" y="6"/>
                  <a:pt x="10" y="8"/>
                  <a:pt x="9" y="8"/>
                </a:cubicBezTo>
                <a:cubicBezTo>
                  <a:pt x="9" y="9"/>
                  <a:pt x="8" y="10"/>
                  <a:pt x="7" y="11"/>
                </a:cubicBezTo>
                <a:cubicBezTo>
                  <a:pt x="5" y="14"/>
                  <a:pt x="3" y="16"/>
                  <a:pt x="2" y="19"/>
                </a:cubicBezTo>
                <a:cubicBezTo>
                  <a:pt x="1" y="21"/>
                  <a:pt x="0" y="29"/>
                  <a:pt x="4" y="29"/>
                </a:cubicBezTo>
                <a:cubicBezTo>
                  <a:pt x="9" y="29"/>
                  <a:pt x="15" y="24"/>
                  <a:pt x="19" y="28"/>
                </a:cubicBezTo>
                <a:cubicBezTo>
                  <a:pt x="21" y="26"/>
                  <a:pt x="23" y="23"/>
                  <a:pt x="24" y="21"/>
                </a:cubicBezTo>
                <a:cubicBezTo>
                  <a:pt x="22" y="21"/>
                  <a:pt x="20" y="20"/>
                  <a:pt x="17" y="21"/>
                </a:cubicBezTo>
                <a:cubicBezTo>
                  <a:pt x="16" y="21"/>
                  <a:pt x="13" y="20"/>
                  <a:pt x="15" y="18"/>
                </a:cubicBezTo>
                <a:cubicBezTo>
                  <a:pt x="15" y="18"/>
                  <a:pt x="15" y="18"/>
                  <a:pt x="15" y="19"/>
                </a:cubicBezTo>
                <a:cubicBezTo>
                  <a:pt x="16" y="18"/>
                  <a:pt x="15" y="19"/>
                  <a:pt x="15" y="19"/>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58" name="Freeform 248">
            <a:extLst>
              <a:ext uri="{FF2B5EF4-FFF2-40B4-BE49-F238E27FC236}">
                <a16:creationId xmlns:a16="http://schemas.microsoft.com/office/drawing/2014/main" id="{B9172B7A-0EB9-5700-F815-F289F51BADE6}"/>
              </a:ext>
            </a:extLst>
          </p:cNvPr>
          <p:cNvSpPr/>
          <p:nvPr>
            <p:custDataLst>
              <p:tags r:id="rId40"/>
            </p:custDataLst>
          </p:nvPr>
        </p:nvSpPr>
        <p:spPr bwMode="auto">
          <a:xfrm>
            <a:off x="5073858" y="3459979"/>
            <a:ext cx="291316" cy="226246"/>
          </a:xfrm>
          <a:custGeom>
            <a:avLst/>
            <a:gdLst>
              <a:gd name="T0" fmla="*/ 149 w 250"/>
              <a:gd name="T1" fmla="*/ 66 h 194"/>
              <a:gd name="T2" fmla="*/ 153 w 250"/>
              <a:gd name="T3" fmla="*/ 46 h 194"/>
              <a:gd name="T4" fmla="*/ 157 w 250"/>
              <a:gd name="T5" fmla="*/ 41 h 194"/>
              <a:gd name="T6" fmla="*/ 144 w 250"/>
              <a:gd name="T7" fmla="*/ 25 h 194"/>
              <a:gd name="T8" fmla="*/ 132 w 250"/>
              <a:gd name="T9" fmla="*/ 13 h 194"/>
              <a:gd name="T10" fmla="*/ 118 w 250"/>
              <a:gd name="T11" fmla="*/ 6 h 194"/>
              <a:gd name="T12" fmla="*/ 112 w 250"/>
              <a:gd name="T13" fmla="*/ 5 h 194"/>
              <a:gd name="T14" fmla="*/ 102 w 250"/>
              <a:gd name="T15" fmla="*/ 4 h 194"/>
              <a:gd name="T16" fmla="*/ 92 w 250"/>
              <a:gd name="T17" fmla="*/ 7 h 194"/>
              <a:gd name="T18" fmla="*/ 82 w 250"/>
              <a:gd name="T19" fmla="*/ 2 h 194"/>
              <a:gd name="T20" fmla="*/ 76 w 250"/>
              <a:gd name="T21" fmla="*/ 9 h 194"/>
              <a:gd name="T22" fmla="*/ 69 w 250"/>
              <a:gd name="T23" fmla="*/ 11 h 194"/>
              <a:gd name="T24" fmla="*/ 59 w 250"/>
              <a:gd name="T25" fmla="*/ 18 h 194"/>
              <a:gd name="T26" fmla="*/ 53 w 250"/>
              <a:gd name="T27" fmla="*/ 36 h 194"/>
              <a:gd name="T28" fmla="*/ 43 w 250"/>
              <a:gd name="T29" fmla="*/ 41 h 194"/>
              <a:gd name="T30" fmla="*/ 35 w 250"/>
              <a:gd name="T31" fmla="*/ 56 h 194"/>
              <a:gd name="T32" fmla="*/ 33 w 250"/>
              <a:gd name="T33" fmla="*/ 69 h 194"/>
              <a:gd name="T34" fmla="*/ 21 w 250"/>
              <a:gd name="T35" fmla="*/ 84 h 194"/>
              <a:gd name="T36" fmla="*/ 18 w 250"/>
              <a:gd name="T37" fmla="*/ 101 h 194"/>
              <a:gd name="T38" fmla="*/ 10 w 250"/>
              <a:gd name="T39" fmla="*/ 110 h 194"/>
              <a:gd name="T40" fmla="*/ 2 w 250"/>
              <a:gd name="T41" fmla="*/ 118 h 194"/>
              <a:gd name="T42" fmla="*/ 14 w 250"/>
              <a:gd name="T43" fmla="*/ 125 h 194"/>
              <a:gd name="T44" fmla="*/ 27 w 250"/>
              <a:gd name="T45" fmla="*/ 138 h 194"/>
              <a:gd name="T46" fmla="*/ 39 w 250"/>
              <a:gd name="T47" fmla="*/ 158 h 194"/>
              <a:gd name="T48" fmla="*/ 45 w 250"/>
              <a:gd name="T49" fmla="*/ 161 h 194"/>
              <a:gd name="T50" fmla="*/ 47 w 250"/>
              <a:gd name="T51" fmla="*/ 172 h 194"/>
              <a:gd name="T52" fmla="*/ 52 w 250"/>
              <a:gd name="T53" fmla="*/ 176 h 194"/>
              <a:gd name="T54" fmla="*/ 65 w 250"/>
              <a:gd name="T55" fmla="*/ 178 h 194"/>
              <a:gd name="T56" fmla="*/ 95 w 250"/>
              <a:gd name="T57" fmla="*/ 192 h 194"/>
              <a:gd name="T58" fmla="*/ 108 w 250"/>
              <a:gd name="T59" fmla="*/ 194 h 194"/>
              <a:gd name="T60" fmla="*/ 125 w 250"/>
              <a:gd name="T61" fmla="*/ 183 h 194"/>
              <a:gd name="T62" fmla="*/ 135 w 250"/>
              <a:gd name="T63" fmla="*/ 183 h 194"/>
              <a:gd name="T64" fmla="*/ 148 w 250"/>
              <a:gd name="T65" fmla="*/ 186 h 194"/>
              <a:gd name="T66" fmla="*/ 154 w 250"/>
              <a:gd name="T67" fmla="*/ 181 h 194"/>
              <a:gd name="T68" fmla="*/ 170 w 250"/>
              <a:gd name="T69" fmla="*/ 176 h 194"/>
              <a:gd name="T70" fmla="*/ 203 w 250"/>
              <a:gd name="T71" fmla="*/ 167 h 194"/>
              <a:gd name="T72" fmla="*/ 216 w 250"/>
              <a:gd name="T73" fmla="*/ 154 h 194"/>
              <a:gd name="T74" fmla="*/ 248 w 250"/>
              <a:gd name="T75" fmla="*/ 121 h 194"/>
              <a:gd name="T76" fmla="*/ 247 w 250"/>
              <a:gd name="T77" fmla="*/ 119 h 194"/>
              <a:gd name="T78" fmla="*/ 206 w 250"/>
              <a:gd name="T79" fmla="*/ 108 h 194"/>
              <a:gd name="T80" fmla="*/ 167 w 250"/>
              <a:gd name="T81" fmla="*/ 82 h 194"/>
              <a:gd name="T82" fmla="*/ 166 w 250"/>
              <a:gd name="T83" fmla="*/ 66 h 194"/>
              <a:gd name="T84" fmla="*/ 163 w 250"/>
              <a:gd name="T85" fmla="*/ 6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0" h="194">
                <a:moveTo>
                  <a:pt x="163" y="65"/>
                </a:moveTo>
                <a:cubicBezTo>
                  <a:pt x="159" y="65"/>
                  <a:pt x="153" y="70"/>
                  <a:pt x="149" y="66"/>
                </a:cubicBezTo>
                <a:cubicBezTo>
                  <a:pt x="146" y="63"/>
                  <a:pt x="146" y="56"/>
                  <a:pt x="148" y="53"/>
                </a:cubicBezTo>
                <a:cubicBezTo>
                  <a:pt x="150" y="50"/>
                  <a:pt x="152" y="48"/>
                  <a:pt x="153" y="46"/>
                </a:cubicBezTo>
                <a:cubicBezTo>
                  <a:pt x="154" y="45"/>
                  <a:pt x="155" y="43"/>
                  <a:pt x="156" y="42"/>
                </a:cubicBezTo>
                <a:cubicBezTo>
                  <a:pt x="156" y="42"/>
                  <a:pt x="157" y="41"/>
                  <a:pt x="157" y="41"/>
                </a:cubicBezTo>
                <a:cubicBezTo>
                  <a:pt x="158" y="40"/>
                  <a:pt x="156" y="39"/>
                  <a:pt x="156" y="39"/>
                </a:cubicBezTo>
                <a:cubicBezTo>
                  <a:pt x="151" y="34"/>
                  <a:pt x="148" y="30"/>
                  <a:pt x="144" y="25"/>
                </a:cubicBezTo>
                <a:cubicBezTo>
                  <a:pt x="142" y="23"/>
                  <a:pt x="140" y="20"/>
                  <a:pt x="138" y="18"/>
                </a:cubicBezTo>
                <a:cubicBezTo>
                  <a:pt x="136" y="16"/>
                  <a:pt x="134" y="14"/>
                  <a:pt x="132" y="13"/>
                </a:cubicBezTo>
                <a:cubicBezTo>
                  <a:pt x="130" y="11"/>
                  <a:pt x="128" y="10"/>
                  <a:pt x="125" y="9"/>
                </a:cubicBezTo>
                <a:cubicBezTo>
                  <a:pt x="123" y="7"/>
                  <a:pt x="121" y="6"/>
                  <a:pt x="118" y="6"/>
                </a:cubicBezTo>
                <a:cubicBezTo>
                  <a:pt x="117" y="7"/>
                  <a:pt x="116" y="7"/>
                  <a:pt x="115" y="6"/>
                </a:cubicBezTo>
                <a:cubicBezTo>
                  <a:pt x="114" y="6"/>
                  <a:pt x="113" y="5"/>
                  <a:pt x="112" y="5"/>
                </a:cubicBezTo>
                <a:cubicBezTo>
                  <a:pt x="109" y="5"/>
                  <a:pt x="107" y="8"/>
                  <a:pt x="105" y="6"/>
                </a:cubicBezTo>
                <a:cubicBezTo>
                  <a:pt x="104" y="6"/>
                  <a:pt x="103" y="4"/>
                  <a:pt x="102" y="4"/>
                </a:cubicBezTo>
                <a:cubicBezTo>
                  <a:pt x="101" y="4"/>
                  <a:pt x="100" y="5"/>
                  <a:pt x="99" y="5"/>
                </a:cubicBezTo>
                <a:cubicBezTo>
                  <a:pt x="97" y="6"/>
                  <a:pt x="94" y="7"/>
                  <a:pt x="92" y="7"/>
                </a:cubicBezTo>
                <a:cubicBezTo>
                  <a:pt x="89" y="7"/>
                  <a:pt x="88" y="6"/>
                  <a:pt x="87" y="4"/>
                </a:cubicBezTo>
                <a:cubicBezTo>
                  <a:pt x="86" y="2"/>
                  <a:pt x="84" y="0"/>
                  <a:pt x="82" y="2"/>
                </a:cubicBezTo>
                <a:cubicBezTo>
                  <a:pt x="80" y="3"/>
                  <a:pt x="80" y="6"/>
                  <a:pt x="79" y="7"/>
                </a:cubicBezTo>
                <a:cubicBezTo>
                  <a:pt x="78" y="8"/>
                  <a:pt x="77" y="9"/>
                  <a:pt x="76" y="9"/>
                </a:cubicBezTo>
                <a:cubicBezTo>
                  <a:pt x="75" y="9"/>
                  <a:pt x="74" y="8"/>
                  <a:pt x="73" y="8"/>
                </a:cubicBezTo>
                <a:cubicBezTo>
                  <a:pt x="71" y="8"/>
                  <a:pt x="70" y="10"/>
                  <a:pt x="69" y="11"/>
                </a:cubicBezTo>
                <a:cubicBezTo>
                  <a:pt x="66" y="11"/>
                  <a:pt x="63" y="11"/>
                  <a:pt x="61" y="11"/>
                </a:cubicBezTo>
                <a:cubicBezTo>
                  <a:pt x="60" y="11"/>
                  <a:pt x="59" y="17"/>
                  <a:pt x="59" y="18"/>
                </a:cubicBezTo>
                <a:cubicBezTo>
                  <a:pt x="58" y="21"/>
                  <a:pt x="57" y="24"/>
                  <a:pt x="56" y="28"/>
                </a:cubicBezTo>
                <a:cubicBezTo>
                  <a:pt x="55" y="30"/>
                  <a:pt x="55" y="34"/>
                  <a:pt x="53" y="36"/>
                </a:cubicBezTo>
                <a:cubicBezTo>
                  <a:pt x="52" y="38"/>
                  <a:pt x="49" y="38"/>
                  <a:pt x="47" y="38"/>
                </a:cubicBezTo>
                <a:cubicBezTo>
                  <a:pt x="45" y="39"/>
                  <a:pt x="44" y="39"/>
                  <a:pt x="43" y="41"/>
                </a:cubicBezTo>
                <a:cubicBezTo>
                  <a:pt x="42" y="44"/>
                  <a:pt x="41" y="46"/>
                  <a:pt x="39" y="49"/>
                </a:cubicBezTo>
                <a:cubicBezTo>
                  <a:pt x="37" y="51"/>
                  <a:pt x="36" y="53"/>
                  <a:pt x="35" y="56"/>
                </a:cubicBezTo>
                <a:cubicBezTo>
                  <a:pt x="34" y="59"/>
                  <a:pt x="35" y="61"/>
                  <a:pt x="34" y="64"/>
                </a:cubicBezTo>
                <a:cubicBezTo>
                  <a:pt x="34" y="66"/>
                  <a:pt x="34" y="68"/>
                  <a:pt x="33" y="69"/>
                </a:cubicBezTo>
                <a:cubicBezTo>
                  <a:pt x="31" y="72"/>
                  <a:pt x="29" y="71"/>
                  <a:pt x="27" y="71"/>
                </a:cubicBezTo>
                <a:cubicBezTo>
                  <a:pt x="20" y="70"/>
                  <a:pt x="22" y="80"/>
                  <a:pt x="21" y="84"/>
                </a:cubicBezTo>
                <a:cubicBezTo>
                  <a:pt x="20" y="86"/>
                  <a:pt x="18" y="88"/>
                  <a:pt x="18" y="91"/>
                </a:cubicBezTo>
                <a:cubicBezTo>
                  <a:pt x="18" y="94"/>
                  <a:pt x="18" y="98"/>
                  <a:pt x="18" y="101"/>
                </a:cubicBezTo>
                <a:cubicBezTo>
                  <a:pt x="18" y="103"/>
                  <a:pt x="19" y="107"/>
                  <a:pt x="17" y="109"/>
                </a:cubicBezTo>
                <a:cubicBezTo>
                  <a:pt x="15" y="110"/>
                  <a:pt x="12" y="110"/>
                  <a:pt x="10" y="110"/>
                </a:cubicBezTo>
                <a:cubicBezTo>
                  <a:pt x="8" y="111"/>
                  <a:pt x="4" y="110"/>
                  <a:pt x="3" y="112"/>
                </a:cubicBezTo>
                <a:cubicBezTo>
                  <a:pt x="2" y="113"/>
                  <a:pt x="0" y="116"/>
                  <a:pt x="2" y="118"/>
                </a:cubicBezTo>
                <a:cubicBezTo>
                  <a:pt x="3" y="119"/>
                  <a:pt x="6" y="120"/>
                  <a:pt x="8" y="120"/>
                </a:cubicBezTo>
                <a:cubicBezTo>
                  <a:pt x="11" y="121"/>
                  <a:pt x="12" y="123"/>
                  <a:pt x="14" y="125"/>
                </a:cubicBezTo>
                <a:cubicBezTo>
                  <a:pt x="17" y="127"/>
                  <a:pt x="18" y="129"/>
                  <a:pt x="20" y="132"/>
                </a:cubicBezTo>
                <a:cubicBezTo>
                  <a:pt x="22" y="134"/>
                  <a:pt x="25" y="136"/>
                  <a:pt x="27" y="138"/>
                </a:cubicBezTo>
                <a:cubicBezTo>
                  <a:pt x="31" y="142"/>
                  <a:pt x="32" y="148"/>
                  <a:pt x="34" y="153"/>
                </a:cubicBezTo>
                <a:cubicBezTo>
                  <a:pt x="35" y="156"/>
                  <a:pt x="36" y="157"/>
                  <a:pt x="39" y="158"/>
                </a:cubicBezTo>
                <a:cubicBezTo>
                  <a:pt x="40" y="159"/>
                  <a:pt x="41" y="159"/>
                  <a:pt x="42" y="160"/>
                </a:cubicBezTo>
                <a:cubicBezTo>
                  <a:pt x="43" y="160"/>
                  <a:pt x="44" y="161"/>
                  <a:pt x="45" y="161"/>
                </a:cubicBezTo>
                <a:cubicBezTo>
                  <a:pt x="47" y="162"/>
                  <a:pt x="48" y="166"/>
                  <a:pt x="47" y="168"/>
                </a:cubicBezTo>
                <a:cubicBezTo>
                  <a:pt x="47" y="169"/>
                  <a:pt x="47" y="170"/>
                  <a:pt x="47" y="172"/>
                </a:cubicBezTo>
                <a:cubicBezTo>
                  <a:pt x="47" y="173"/>
                  <a:pt x="48" y="173"/>
                  <a:pt x="49" y="173"/>
                </a:cubicBezTo>
                <a:cubicBezTo>
                  <a:pt x="50" y="174"/>
                  <a:pt x="51" y="175"/>
                  <a:pt x="52" y="176"/>
                </a:cubicBezTo>
                <a:cubicBezTo>
                  <a:pt x="53" y="176"/>
                  <a:pt x="54" y="176"/>
                  <a:pt x="55" y="176"/>
                </a:cubicBezTo>
                <a:cubicBezTo>
                  <a:pt x="59" y="176"/>
                  <a:pt x="62" y="176"/>
                  <a:pt x="65" y="178"/>
                </a:cubicBezTo>
                <a:cubicBezTo>
                  <a:pt x="70" y="180"/>
                  <a:pt x="75" y="183"/>
                  <a:pt x="80" y="187"/>
                </a:cubicBezTo>
                <a:cubicBezTo>
                  <a:pt x="84" y="191"/>
                  <a:pt x="90" y="192"/>
                  <a:pt x="95" y="192"/>
                </a:cubicBezTo>
                <a:cubicBezTo>
                  <a:pt x="98" y="193"/>
                  <a:pt x="102" y="193"/>
                  <a:pt x="105" y="193"/>
                </a:cubicBezTo>
                <a:cubicBezTo>
                  <a:pt x="106" y="193"/>
                  <a:pt x="107" y="194"/>
                  <a:pt x="108" y="194"/>
                </a:cubicBezTo>
                <a:cubicBezTo>
                  <a:pt x="110" y="193"/>
                  <a:pt x="111" y="192"/>
                  <a:pt x="112" y="191"/>
                </a:cubicBezTo>
                <a:cubicBezTo>
                  <a:pt x="115" y="187"/>
                  <a:pt x="120" y="185"/>
                  <a:pt x="125" y="183"/>
                </a:cubicBezTo>
                <a:cubicBezTo>
                  <a:pt x="127" y="182"/>
                  <a:pt x="129" y="181"/>
                  <a:pt x="132" y="181"/>
                </a:cubicBezTo>
                <a:cubicBezTo>
                  <a:pt x="133" y="181"/>
                  <a:pt x="134" y="182"/>
                  <a:pt x="135" y="183"/>
                </a:cubicBezTo>
                <a:cubicBezTo>
                  <a:pt x="136" y="184"/>
                  <a:pt x="138" y="184"/>
                  <a:pt x="139" y="184"/>
                </a:cubicBezTo>
                <a:cubicBezTo>
                  <a:pt x="142" y="185"/>
                  <a:pt x="145" y="185"/>
                  <a:pt x="148" y="186"/>
                </a:cubicBezTo>
                <a:cubicBezTo>
                  <a:pt x="149" y="186"/>
                  <a:pt x="150" y="184"/>
                  <a:pt x="151" y="183"/>
                </a:cubicBezTo>
                <a:cubicBezTo>
                  <a:pt x="152" y="182"/>
                  <a:pt x="153" y="181"/>
                  <a:pt x="154" y="181"/>
                </a:cubicBezTo>
                <a:cubicBezTo>
                  <a:pt x="157" y="180"/>
                  <a:pt x="160" y="181"/>
                  <a:pt x="162" y="180"/>
                </a:cubicBezTo>
                <a:cubicBezTo>
                  <a:pt x="166" y="180"/>
                  <a:pt x="168" y="178"/>
                  <a:pt x="170" y="176"/>
                </a:cubicBezTo>
                <a:cubicBezTo>
                  <a:pt x="175" y="172"/>
                  <a:pt x="180" y="170"/>
                  <a:pt x="186" y="169"/>
                </a:cubicBezTo>
                <a:cubicBezTo>
                  <a:pt x="192" y="169"/>
                  <a:pt x="198" y="170"/>
                  <a:pt x="203" y="167"/>
                </a:cubicBezTo>
                <a:cubicBezTo>
                  <a:pt x="205" y="165"/>
                  <a:pt x="207" y="163"/>
                  <a:pt x="209" y="161"/>
                </a:cubicBezTo>
                <a:cubicBezTo>
                  <a:pt x="212" y="159"/>
                  <a:pt x="214" y="156"/>
                  <a:pt x="216" y="154"/>
                </a:cubicBezTo>
                <a:cubicBezTo>
                  <a:pt x="225" y="144"/>
                  <a:pt x="234" y="135"/>
                  <a:pt x="243" y="126"/>
                </a:cubicBezTo>
                <a:cubicBezTo>
                  <a:pt x="245" y="124"/>
                  <a:pt x="247" y="123"/>
                  <a:pt x="248" y="121"/>
                </a:cubicBezTo>
                <a:cubicBezTo>
                  <a:pt x="249" y="121"/>
                  <a:pt x="250" y="120"/>
                  <a:pt x="250" y="119"/>
                </a:cubicBezTo>
                <a:cubicBezTo>
                  <a:pt x="250" y="119"/>
                  <a:pt x="248" y="119"/>
                  <a:pt x="247" y="119"/>
                </a:cubicBezTo>
                <a:cubicBezTo>
                  <a:pt x="241" y="119"/>
                  <a:pt x="236" y="118"/>
                  <a:pt x="230" y="116"/>
                </a:cubicBezTo>
                <a:cubicBezTo>
                  <a:pt x="222" y="113"/>
                  <a:pt x="214" y="110"/>
                  <a:pt x="206" y="108"/>
                </a:cubicBezTo>
                <a:cubicBezTo>
                  <a:pt x="198" y="106"/>
                  <a:pt x="190" y="104"/>
                  <a:pt x="183" y="99"/>
                </a:cubicBezTo>
                <a:cubicBezTo>
                  <a:pt x="177" y="94"/>
                  <a:pt x="171" y="89"/>
                  <a:pt x="167" y="82"/>
                </a:cubicBezTo>
                <a:cubicBezTo>
                  <a:pt x="165" y="79"/>
                  <a:pt x="162" y="75"/>
                  <a:pt x="163" y="71"/>
                </a:cubicBezTo>
                <a:cubicBezTo>
                  <a:pt x="164" y="69"/>
                  <a:pt x="165" y="68"/>
                  <a:pt x="166" y="66"/>
                </a:cubicBezTo>
                <a:cubicBezTo>
                  <a:pt x="167" y="65"/>
                  <a:pt x="163" y="65"/>
                  <a:pt x="163" y="65"/>
                </a:cubicBezTo>
                <a:cubicBezTo>
                  <a:pt x="163" y="65"/>
                  <a:pt x="163" y="65"/>
                  <a:pt x="163" y="65"/>
                </a:cubicBezTo>
                <a:cubicBezTo>
                  <a:pt x="159" y="65"/>
                  <a:pt x="163" y="65"/>
                  <a:pt x="163" y="65"/>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59" name="Freeform 253">
            <a:extLst>
              <a:ext uri="{FF2B5EF4-FFF2-40B4-BE49-F238E27FC236}">
                <a16:creationId xmlns:a16="http://schemas.microsoft.com/office/drawing/2014/main" id="{5BC2770D-8BDC-759A-F231-CE92A0AD5B87}"/>
              </a:ext>
            </a:extLst>
          </p:cNvPr>
          <p:cNvSpPr/>
          <p:nvPr>
            <p:custDataLst>
              <p:tags r:id="rId41"/>
            </p:custDataLst>
          </p:nvPr>
        </p:nvSpPr>
        <p:spPr bwMode="auto">
          <a:xfrm>
            <a:off x="6007872" y="3133624"/>
            <a:ext cx="159174" cy="84091"/>
          </a:xfrm>
          <a:custGeom>
            <a:avLst/>
            <a:gdLst>
              <a:gd name="T0" fmla="*/ 5 w 136"/>
              <a:gd name="T1" fmla="*/ 16 h 72"/>
              <a:gd name="T2" fmla="*/ 4 w 136"/>
              <a:gd name="T3" fmla="*/ 19 h 72"/>
              <a:gd name="T4" fmla="*/ 3 w 136"/>
              <a:gd name="T5" fmla="*/ 22 h 72"/>
              <a:gd name="T6" fmla="*/ 1 w 136"/>
              <a:gd name="T7" fmla="*/ 28 h 72"/>
              <a:gd name="T8" fmla="*/ 6 w 136"/>
              <a:gd name="T9" fmla="*/ 31 h 72"/>
              <a:gd name="T10" fmla="*/ 14 w 136"/>
              <a:gd name="T11" fmla="*/ 33 h 72"/>
              <a:gd name="T12" fmla="*/ 21 w 136"/>
              <a:gd name="T13" fmla="*/ 36 h 72"/>
              <a:gd name="T14" fmla="*/ 26 w 136"/>
              <a:gd name="T15" fmla="*/ 42 h 72"/>
              <a:gd name="T16" fmla="*/ 33 w 136"/>
              <a:gd name="T17" fmla="*/ 44 h 72"/>
              <a:gd name="T18" fmla="*/ 41 w 136"/>
              <a:gd name="T19" fmla="*/ 47 h 72"/>
              <a:gd name="T20" fmla="*/ 47 w 136"/>
              <a:gd name="T21" fmla="*/ 51 h 72"/>
              <a:gd name="T22" fmla="*/ 51 w 136"/>
              <a:gd name="T23" fmla="*/ 53 h 72"/>
              <a:gd name="T24" fmla="*/ 55 w 136"/>
              <a:gd name="T25" fmla="*/ 53 h 72"/>
              <a:gd name="T26" fmla="*/ 57 w 136"/>
              <a:gd name="T27" fmla="*/ 52 h 72"/>
              <a:gd name="T28" fmla="*/ 60 w 136"/>
              <a:gd name="T29" fmla="*/ 53 h 72"/>
              <a:gd name="T30" fmla="*/ 67 w 136"/>
              <a:gd name="T31" fmla="*/ 52 h 72"/>
              <a:gd name="T32" fmla="*/ 74 w 136"/>
              <a:gd name="T33" fmla="*/ 53 h 72"/>
              <a:gd name="T34" fmla="*/ 78 w 136"/>
              <a:gd name="T35" fmla="*/ 58 h 72"/>
              <a:gd name="T36" fmla="*/ 83 w 136"/>
              <a:gd name="T37" fmla="*/ 61 h 72"/>
              <a:gd name="T38" fmla="*/ 88 w 136"/>
              <a:gd name="T39" fmla="*/ 65 h 72"/>
              <a:gd name="T40" fmla="*/ 95 w 136"/>
              <a:gd name="T41" fmla="*/ 65 h 72"/>
              <a:gd name="T42" fmla="*/ 101 w 136"/>
              <a:gd name="T43" fmla="*/ 67 h 72"/>
              <a:gd name="T44" fmla="*/ 109 w 136"/>
              <a:gd name="T45" fmla="*/ 69 h 72"/>
              <a:gd name="T46" fmla="*/ 112 w 136"/>
              <a:gd name="T47" fmla="*/ 71 h 72"/>
              <a:gd name="T48" fmla="*/ 115 w 136"/>
              <a:gd name="T49" fmla="*/ 69 h 72"/>
              <a:gd name="T50" fmla="*/ 118 w 136"/>
              <a:gd name="T51" fmla="*/ 70 h 72"/>
              <a:gd name="T52" fmla="*/ 119 w 136"/>
              <a:gd name="T53" fmla="*/ 71 h 72"/>
              <a:gd name="T54" fmla="*/ 127 w 136"/>
              <a:gd name="T55" fmla="*/ 71 h 72"/>
              <a:gd name="T56" fmla="*/ 132 w 136"/>
              <a:gd name="T57" fmla="*/ 72 h 72"/>
              <a:gd name="T58" fmla="*/ 134 w 136"/>
              <a:gd name="T59" fmla="*/ 70 h 72"/>
              <a:gd name="T60" fmla="*/ 136 w 136"/>
              <a:gd name="T61" fmla="*/ 68 h 72"/>
              <a:gd name="T62" fmla="*/ 135 w 136"/>
              <a:gd name="T63" fmla="*/ 63 h 72"/>
              <a:gd name="T64" fmla="*/ 134 w 136"/>
              <a:gd name="T65" fmla="*/ 55 h 72"/>
              <a:gd name="T66" fmla="*/ 134 w 136"/>
              <a:gd name="T67" fmla="*/ 47 h 72"/>
              <a:gd name="T68" fmla="*/ 127 w 136"/>
              <a:gd name="T69" fmla="*/ 47 h 72"/>
              <a:gd name="T70" fmla="*/ 118 w 136"/>
              <a:gd name="T71" fmla="*/ 45 h 72"/>
              <a:gd name="T72" fmla="*/ 114 w 136"/>
              <a:gd name="T73" fmla="*/ 44 h 72"/>
              <a:gd name="T74" fmla="*/ 110 w 136"/>
              <a:gd name="T75" fmla="*/ 44 h 72"/>
              <a:gd name="T76" fmla="*/ 102 w 136"/>
              <a:gd name="T77" fmla="*/ 44 h 72"/>
              <a:gd name="T78" fmla="*/ 96 w 136"/>
              <a:gd name="T79" fmla="*/ 40 h 72"/>
              <a:gd name="T80" fmla="*/ 86 w 136"/>
              <a:gd name="T81" fmla="*/ 38 h 72"/>
              <a:gd name="T82" fmla="*/ 84 w 136"/>
              <a:gd name="T83" fmla="*/ 34 h 72"/>
              <a:gd name="T84" fmla="*/ 81 w 136"/>
              <a:gd name="T85" fmla="*/ 33 h 72"/>
              <a:gd name="T86" fmla="*/ 76 w 136"/>
              <a:gd name="T87" fmla="*/ 32 h 72"/>
              <a:gd name="T88" fmla="*/ 70 w 136"/>
              <a:gd name="T89" fmla="*/ 27 h 72"/>
              <a:gd name="T90" fmla="*/ 66 w 136"/>
              <a:gd name="T91" fmla="*/ 22 h 72"/>
              <a:gd name="T92" fmla="*/ 59 w 136"/>
              <a:gd name="T93" fmla="*/ 21 h 72"/>
              <a:gd name="T94" fmla="*/ 54 w 136"/>
              <a:gd name="T95" fmla="*/ 15 h 72"/>
              <a:gd name="T96" fmla="*/ 50 w 136"/>
              <a:gd name="T97" fmla="*/ 14 h 72"/>
              <a:gd name="T98" fmla="*/ 46 w 136"/>
              <a:gd name="T99" fmla="*/ 12 h 72"/>
              <a:gd name="T100" fmla="*/ 38 w 136"/>
              <a:gd name="T101" fmla="*/ 7 h 72"/>
              <a:gd name="T102" fmla="*/ 35 w 136"/>
              <a:gd name="T103" fmla="*/ 5 h 72"/>
              <a:gd name="T104" fmla="*/ 33 w 136"/>
              <a:gd name="T105" fmla="*/ 2 h 72"/>
              <a:gd name="T106" fmla="*/ 25 w 136"/>
              <a:gd name="T107" fmla="*/ 0 h 72"/>
              <a:gd name="T108" fmla="*/ 21 w 136"/>
              <a:gd name="T109" fmla="*/ 4 h 72"/>
              <a:gd name="T110" fmla="*/ 14 w 136"/>
              <a:gd name="T111" fmla="*/ 4 h 72"/>
              <a:gd name="T112" fmla="*/ 10 w 136"/>
              <a:gd name="T113" fmla="*/ 8 h 72"/>
              <a:gd name="T114" fmla="*/ 7 w 136"/>
              <a:gd name="T115" fmla="*/ 10 h 72"/>
              <a:gd name="T116" fmla="*/ 7 w 136"/>
              <a:gd name="T117" fmla="*/ 14 h 72"/>
              <a:gd name="T118" fmla="*/ 5 w 136"/>
              <a:gd name="T119" fmla="*/ 16 h 72"/>
              <a:gd name="T120" fmla="*/ 5 w 136"/>
              <a:gd name="T121" fmla="*/ 16 h 72"/>
              <a:gd name="T122" fmla="*/ 5 w 136"/>
              <a:gd name="T123"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72">
                <a:moveTo>
                  <a:pt x="5" y="16"/>
                </a:moveTo>
                <a:cubicBezTo>
                  <a:pt x="5" y="17"/>
                  <a:pt x="4" y="18"/>
                  <a:pt x="4" y="19"/>
                </a:cubicBezTo>
                <a:cubicBezTo>
                  <a:pt x="4" y="20"/>
                  <a:pt x="3" y="21"/>
                  <a:pt x="3" y="22"/>
                </a:cubicBezTo>
                <a:cubicBezTo>
                  <a:pt x="1" y="24"/>
                  <a:pt x="0" y="26"/>
                  <a:pt x="1" y="28"/>
                </a:cubicBezTo>
                <a:cubicBezTo>
                  <a:pt x="3" y="30"/>
                  <a:pt x="4" y="32"/>
                  <a:pt x="6" y="31"/>
                </a:cubicBezTo>
                <a:cubicBezTo>
                  <a:pt x="9" y="30"/>
                  <a:pt x="12" y="32"/>
                  <a:pt x="14" y="33"/>
                </a:cubicBezTo>
                <a:cubicBezTo>
                  <a:pt x="16" y="34"/>
                  <a:pt x="18" y="35"/>
                  <a:pt x="21" y="36"/>
                </a:cubicBezTo>
                <a:cubicBezTo>
                  <a:pt x="23" y="38"/>
                  <a:pt x="25" y="39"/>
                  <a:pt x="26" y="42"/>
                </a:cubicBezTo>
                <a:cubicBezTo>
                  <a:pt x="28" y="44"/>
                  <a:pt x="31" y="44"/>
                  <a:pt x="33" y="44"/>
                </a:cubicBezTo>
                <a:cubicBezTo>
                  <a:pt x="36" y="44"/>
                  <a:pt x="39" y="45"/>
                  <a:pt x="41" y="47"/>
                </a:cubicBezTo>
                <a:cubicBezTo>
                  <a:pt x="44" y="48"/>
                  <a:pt x="45" y="50"/>
                  <a:pt x="47" y="51"/>
                </a:cubicBezTo>
                <a:cubicBezTo>
                  <a:pt x="49" y="52"/>
                  <a:pt x="50" y="52"/>
                  <a:pt x="51" y="53"/>
                </a:cubicBezTo>
                <a:cubicBezTo>
                  <a:pt x="52" y="53"/>
                  <a:pt x="54" y="54"/>
                  <a:pt x="55" y="53"/>
                </a:cubicBezTo>
                <a:cubicBezTo>
                  <a:pt x="55" y="53"/>
                  <a:pt x="56" y="52"/>
                  <a:pt x="57" y="52"/>
                </a:cubicBezTo>
                <a:cubicBezTo>
                  <a:pt x="58" y="52"/>
                  <a:pt x="59" y="52"/>
                  <a:pt x="60" y="53"/>
                </a:cubicBezTo>
                <a:cubicBezTo>
                  <a:pt x="63" y="54"/>
                  <a:pt x="65" y="53"/>
                  <a:pt x="67" y="52"/>
                </a:cubicBezTo>
                <a:cubicBezTo>
                  <a:pt x="70" y="52"/>
                  <a:pt x="72" y="52"/>
                  <a:pt x="74" y="53"/>
                </a:cubicBezTo>
                <a:cubicBezTo>
                  <a:pt x="76" y="55"/>
                  <a:pt x="76" y="57"/>
                  <a:pt x="78" y="58"/>
                </a:cubicBezTo>
                <a:cubicBezTo>
                  <a:pt x="79" y="60"/>
                  <a:pt x="81" y="60"/>
                  <a:pt x="83" y="61"/>
                </a:cubicBezTo>
                <a:cubicBezTo>
                  <a:pt x="85" y="61"/>
                  <a:pt x="86" y="64"/>
                  <a:pt x="88" y="65"/>
                </a:cubicBezTo>
                <a:cubicBezTo>
                  <a:pt x="91" y="65"/>
                  <a:pt x="92" y="63"/>
                  <a:pt x="95" y="65"/>
                </a:cubicBezTo>
                <a:cubicBezTo>
                  <a:pt x="97" y="67"/>
                  <a:pt x="98" y="68"/>
                  <a:pt x="101" y="67"/>
                </a:cubicBezTo>
                <a:cubicBezTo>
                  <a:pt x="104" y="67"/>
                  <a:pt x="106" y="68"/>
                  <a:pt x="109" y="69"/>
                </a:cubicBezTo>
                <a:cubicBezTo>
                  <a:pt x="109" y="69"/>
                  <a:pt x="111" y="71"/>
                  <a:pt x="112" y="71"/>
                </a:cubicBezTo>
                <a:cubicBezTo>
                  <a:pt x="113" y="71"/>
                  <a:pt x="114" y="70"/>
                  <a:pt x="115" y="69"/>
                </a:cubicBezTo>
                <a:cubicBezTo>
                  <a:pt x="116" y="69"/>
                  <a:pt x="117" y="69"/>
                  <a:pt x="118" y="70"/>
                </a:cubicBezTo>
                <a:cubicBezTo>
                  <a:pt x="118" y="70"/>
                  <a:pt x="119" y="71"/>
                  <a:pt x="119" y="71"/>
                </a:cubicBezTo>
                <a:cubicBezTo>
                  <a:pt x="122" y="72"/>
                  <a:pt x="125" y="71"/>
                  <a:pt x="127" y="71"/>
                </a:cubicBezTo>
                <a:cubicBezTo>
                  <a:pt x="129" y="71"/>
                  <a:pt x="130" y="71"/>
                  <a:pt x="132" y="72"/>
                </a:cubicBezTo>
                <a:cubicBezTo>
                  <a:pt x="133" y="72"/>
                  <a:pt x="133" y="71"/>
                  <a:pt x="134" y="70"/>
                </a:cubicBezTo>
                <a:cubicBezTo>
                  <a:pt x="135" y="70"/>
                  <a:pt x="135" y="69"/>
                  <a:pt x="136" y="68"/>
                </a:cubicBezTo>
                <a:cubicBezTo>
                  <a:pt x="136" y="67"/>
                  <a:pt x="135" y="65"/>
                  <a:pt x="135" y="63"/>
                </a:cubicBezTo>
                <a:cubicBezTo>
                  <a:pt x="134" y="61"/>
                  <a:pt x="134" y="58"/>
                  <a:pt x="134" y="55"/>
                </a:cubicBezTo>
                <a:cubicBezTo>
                  <a:pt x="134" y="54"/>
                  <a:pt x="135" y="47"/>
                  <a:pt x="134" y="47"/>
                </a:cubicBezTo>
                <a:cubicBezTo>
                  <a:pt x="132" y="48"/>
                  <a:pt x="129" y="47"/>
                  <a:pt x="127" y="47"/>
                </a:cubicBezTo>
                <a:cubicBezTo>
                  <a:pt x="124" y="47"/>
                  <a:pt x="121" y="46"/>
                  <a:pt x="118" y="45"/>
                </a:cubicBezTo>
                <a:cubicBezTo>
                  <a:pt x="116" y="45"/>
                  <a:pt x="115" y="44"/>
                  <a:pt x="114" y="44"/>
                </a:cubicBezTo>
                <a:cubicBezTo>
                  <a:pt x="113" y="43"/>
                  <a:pt x="112" y="44"/>
                  <a:pt x="110" y="44"/>
                </a:cubicBezTo>
                <a:cubicBezTo>
                  <a:pt x="108" y="46"/>
                  <a:pt x="105" y="42"/>
                  <a:pt x="102" y="44"/>
                </a:cubicBezTo>
                <a:cubicBezTo>
                  <a:pt x="99" y="47"/>
                  <a:pt x="97" y="41"/>
                  <a:pt x="96" y="40"/>
                </a:cubicBezTo>
                <a:cubicBezTo>
                  <a:pt x="93" y="37"/>
                  <a:pt x="89" y="39"/>
                  <a:pt x="86" y="38"/>
                </a:cubicBezTo>
                <a:cubicBezTo>
                  <a:pt x="85" y="37"/>
                  <a:pt x="85" y="35"/>
                  <a:pt x="84" y="34"/>
                </a:cubicBezTo>
                <a:cubicBezTo>
                  <a:pt x="83" y="33"/>
                  <a:pt x="82" y="33"/>
                  <a:pt x="81" y="33"/>
                </a:cubicBezTo>
                <a:cubicBezTo>
                  <a:pt x="79" y="33"/>
                  <a:pt x="78" y="32"/>
                  <a:pt x="76" y="32"/>
                </a:cubicBezTo>
                <a:cubicBezTo>
                  <a:pt x="74" y="30"/>
                  <a:pt x="72" y="29"/>
                  <a:pt x="70" y="27"/>
                </a:cubicBezTo>
                <a:cubicBezTo>
                  <a:pt x="69" y="25"/>
                  <a:pt x="69" y="22"/>
                  <a:pt x="66" y="22"/>
                </a:cubicBezTo>
                <a:cubicBezTo>
                  <a:pt x="64" y="22"/>
                  <a:pt x="61" y="23"/>
                  <a:pt x="59" y="21"/>
                </a:cubicBezTo>
                <a:cubicBezTo>
                  <a:pt x="57" y="20"/>
                  <a:pt x="56" y="17"/>
                  <a:pt x="54" y="15"/>
                </a:cubicBezTo>
                <a:cubicBezTo>
                  <a:pt x="52" y="15"/>
                  <a:pt x="51" y="14"/>
                  <a:pt x="50" y="14"/>
                </a:cubicBezTo>
                <a:cubicBezTo>
                  <a:pt x="48" y="14"/>
                  <a:pt x="47" y="13"/>
                  <a:pt x="46" y="12"/>
                </a:cubicBezTo>
                <a:cubicBezTo>
                  <a:pt x="43" y="11"/>
                  <a:pt x="41" y="9"/>
                  <a:pt x="38" y="7"/>
                </a:cubicBezTo>
                <a:cubicBezTo>
                  <a:pt x="37" y="6"/>
                  <a:pt x="36" y="6"/>
                  <a:pt x="35" y="5"/>
                </a:cubicBezTo>
                <a:cubicBezTo>
                  <a:pt x="34" y="4"/>
                  <a:pt x="33" y="3"/>
                  <a:pt x="33" y="2"/>
                </a:cubicBezTo>
                <a:cubicBezTo>
                  <a:pt x="32" y="0"/>
                  <a:pt x="27" y="0"/>
                  <a:pt x="25" y="0"/>
                </a:cubicBezTo>
                <a:cubicBezTo>
                  <a:pt x="23" y="0"/>
                  <a:pt x="22" y="3"/>
                  <a:pt x="21" y="4"/>
                </a:cubicBezTo>
                <a:cubicBezTo>
                  <a:pt x="20" y="7"/>
                  <a:pt x="16" y="4"/>
                  <a:pt x="14" y="4"/>
                </a:cubicBezTo>
                <a:cubicBezTo>
                  <a:pt x="13" y="6"/>
                  <a:pt x="11" y="6"/>
                  <a:pt x="10" y="8"/>
                </a:cubicBezTo>
                <a:cubicBezTo>
                  <a:pt x="9" y="8"/>
                  <a:pt x="8" y="9"/>
                  <a:pt x="7" y="10"/>
                </a:cubicBezTo>
                <a:cubicBezTo>
                  <a:pt x="7" y="11"/>
                  <a:pt x="7" y="13"/>
                  <a:pt x="7" y="14"/>
                </a:cubicBezTo>
                <a:cubicBezTo>
                  <a:pt x="6" y="15"/>
                  <a:pt x="6" y="16"/>
                  <a:pt x="5" y="16"/>
                </a:cubicBezTo>
                <a:cubicBezTo>
                  <a:pt x="5" y="16"/>
                  <a:pt x="5" y="16"/>
                  <a:pt x="5" y="16"/>
                </a:cubicBezTo>
                <a:cubicBezTo>
                  <a:pt x="5" y="16"/>
                  <a:pt x="5" y="16"/>
                  <a:pt x="5" y="16"/>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0" name="Freeform 254">
            <a:extLst>
              <a:ext uri="{FF2B5EF4-FFF2-40B4-BE49-F238E27FC236}">
                <a16:creationId xmlns:a16="http://schemas.microsoft.com/office/drawing/2014/main" id="{B756605B-FC11-3670-1879-C43FA3D4DF2C}"/>
              </a:ext>
            </a:extLst>
          </p:cNvPr>
          <p:cNvSpPr/>
          <p:nvPr>
            <p:custDataLst>
              <p:tags r:id="rId42"/>
            </p:custDataLst>
          </p:nvPr>
        </p:nvSpPr>
        <p:spPr bwMode="auto">
          <a:xfrm>
            <a:off x="6182062" y="3179674"/>
            <a:ext cx="63069" cy="31034"/>
          </a:xfrm>
          <a:custGeom>
            <a:avLst/>
            <a:gdLst>
              <a:gd name="T0" fmla="*/ 53 w 54"/>
              <a:gd name="T1" fmla="*/ 19 h 27"/>
              <a:gd name="T2" fmla="*/ 50 w 54"/>
              <a:gd name="T3" fmla="*/ 16 h 27"/>
              <a:gd name="T4" fmla="*/ 47 w 54"/>
              <a:gd name="T5" fmla="*/ 11 h 27"/>
              <a:gd name="T6" fmla="*/ 47 w 54"/>
              <a:gd name="T7" fmla="*/ 8 h 27"/>
              <a:gd name="T8" fmla="*/ 47 w 54"/>
              <a:gd name="T9" fmla="*/ 6 h 27"/>
              <a:gd name="T10" fmla="*/ 39 w 54"/>
              <a:gd name="T11" fmla="*/ 5 h 27"/>
              <a:gd name="T12" fmla="*/ 36 w 54"/>
              <a:gd name="T13" fmla="*/ 5 h 27"/>
              <a:gd name="T14" fmla="*/ 32 w 54"/>
              <a:gd name="T15" fmla="*/ 5 h 27"/>
              <a:gd name="T16" fmla="*/ 26 w 54"/>
              <a:gd name="T17" fmla="*/ 3 h 27"/>
              <a:gd name="T18" fmla="*/ 20 w 54"/>
              <a:gd name="T19" fmla="*/ 1 h 27"/>
              <a:gd name="T20" fmla="*/ 17 w 54"/>
              <a:gd name="T21" fmla="*/ 1 h 27"/>
              <a:gd name="T22" fmla="*/ 13 w 54"/>
              <a:gd name="T23" fmla="*/ 4 h 27"/>
              <a:gd name="T24" fmla="*/ 8 w 54"/>
              <a:gd name="T25" fmla="*/ 8 h 27"/>
              <a:gd name="T26" fmla="*/ 3 w 54"/>
              <a:gd name="T27" fmla="*/ 16 h 27"/>
              <a:gd name="T28" fmla="*/ 1 w 54"/>
              <a:gd name="T29" fmla="*/ 18 h 27"/>
              <a:gd name="T30" fmla="*/ 1 w 54"/>
              <a:gd name="T31" fmla="*/ 22 h 27"/>
              <a:gd name="T32" fmla="*/ 8 w 54"/>
              <a:gd name="T33" fmla="*/ 25 h 27"/>
              <a:gd name="T34" fmla="*/ 16 w 54"/>
              <a:gd name="T35" fmla="*/ 27 h 27"/>
              <a:gd name="T36" fmla="*/ 22 w 54"/>
              <a:gd name="T37" fmla="*/ 24 h 27"/>
              <a:gd name="T38" fmla="*/ 30 w 54"/>
              <a:gd name="T39" fmla="*/ 25 h 27"/>
              <a:gd name="T40" fmla="*/ 40 w 54"/>
              <a:gd name="T41" fmla="*/ 26 h 27"/>
              <a:gd name="T42" fmla="*/ 52 w 54"/>
              <a:gd name="T43" fmla="*/ 25 h 27"/>
              <a:gd name="T44" fmla="*/ 53 w 54"/>
              <a:gd name="T45" fmla="*/ 23 h 27"/>
              <a:gd name="T46" fmla="*/ 54 w 54"/>
              <a:gd name="T47" fmla="*/ 19 h 27"/>
              <a:gd name="T48" fmla="*/ 53 w 54"/>
              <a:gd name="T49" fmla="*/ 19 h 27"/>
              <a:gd name="T50" fmla="*/ 53 w 54"/>
              <a:gd name="T51"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27">
                <a:moveTo>
                  <a:pt x="53" y="19"/>
                </a:moveTo>
                <a:cubicBezTo>
                  <a:pt x="54" y="16"/>
                  <a:pt x="53" y="16"/>
                  <a:pt x="50" y="16"/>
                </a:cubicBezTo>
                <a:cubicBezTo>
                  <a:pt x="48" y="15"/>
                  <a:pt x="47" y="13"/>
                  <a:pt x="47" y="11"/>
                </a:cubicBezTo>
                <a:cubicBezTo>
                  <a:pt x="47" y="10"/>
                  <a:pt x="47" y="9"/>
                  <a:pt x="47" y="8"/>
                </a:cubicBezTo>
                <a:cubicBezTo>
                  <a:pt x="48" y="7"/>
                  <a:pt x="47" y="6"/>
                  <a:pt x="47" y="6"/>
                </a:cubicBezTo>
                <a:cubicBezTo>
                  <a:pt x="45" y="4"/>
                  <a:pt x="42" y="4"/>
                  <a:pt x="39" y="5"/>
                </a:cubicBezTo>
                <a:cubicBezTo>
                  <a:pt x="38" y="5"/>
                  <a:pt x="37" y="5"/>
                  <a:pt x="36" y="5"/>
                </a:cubicBezTo>
                <a:cubicBezTo>
                  <a:pt x="34" y="5"/>
                  <a:pt x="33" y="5"/>
                  <a:pt x="32" y="5"/>
                </a:cubicBezTo>
                <a:cubicBezTo>
                  <a:pt x="30" y="4"/>
                  <a:pt x="27" y="4"/>
                  <a:pt x="26" y="3"/>
                </a:cubicBezTo>
                <a:cubicBezTo>
                  <a:pt x="24" y="1"/>
                  <a:pt x="23" y="0"/>
                  <a:pt x="20" y="1"/>
                </a:cubicBezTo>
                <a:cubicBezTo>
                  <a:pt x="19" y="1"/>
                  <a:pt x="18" y="1"/>
                  <a:pt x="17" y="1"/>
                </a:cubicBezTo>
                <a:cubicBezTo>
                  <a:pt x="15" y="2"/>
                  <a:pt x="14" y="3"/>
                  <a:pt x="13" y="4"/>
                </a:cubicBezTo>
                <a:cubicBezTo>
                  <a:pt x="12" y="6"/>
                  <a:pt x="9" y="6"/>
                  <a:pt x="8" y="8"/>
                </a:cubicBezTo>
                <a:cubicBezTo>
                  <a:pt x="6" y="11"/>
                  <a:pt x="4" y="13"/>
                  <a:pt x="3" y="16"/>
                </a:cubicBezTo>
                <a:cubicBezTo>
                  <a:pt x="2" y="17"/>
                  <a:pt x="1" y="17"/>
                  <a:pt x="1" y="18"/>
                </a:cubicBezTo>
                <a:cubicBezTo>
                  <a:pt x="0" y="20"/>
                  <a:pt x="0" y="20"/>
                  <a:pt x="1" y="22"/>
                </a:cubicBezTo>
                <a:cubicBezTo>
                  <a:pt x="3" y="24"/>
                  <a:pt x="6" y="25"/>
                  <a:pt x="8" y="25"/>
                </a:cubicBezTo>
                <a:cubicBezTo>
                  <a:pt x="11" y="25"/>
                  <a:pt x="13" y="26"/>
                  <a:pt x="16" y="27"/>
                </a:cubicBezTo>
                <a:cubicBezTo>
                  <a:pt x="18" y="27"/>
                  <a:pt x="20" y="25"/>
                  <a:pt x="22" y="24"/>
                </a:cubicBezTo>
                <a:cubicBezTo>
                  <a:pt x="25" y="24"/>
                  <a:pt x="27" y="25"/>
                  <a:pt x="30" y="25"/>
                </a:cubicBezTo>
                <a:cubicBezTo>
                  <a:pt x="33" y="26"/>
                  <a:pt x="36" y="26"/>
                  <a:pt x="40" y="26"/>
                </a:cubicBezTo>
                <a:cubicBezTo>
                  <a:pt x="44" y="25"/>
                  <a:pt x="48" y="26"/>
                  <a:pt x="52" y="25"/>
                </a:cubicBezTo>
                <a:cubicBezTo>
                  <a:pt x="54" y="25"/>
                  <a:pt x="54" y="25"/>
                  <a:pt x="53" y="23"/>
                </a:cubicBezTo>
                <a:cubicBezTo>
                  <a:pt x="52" y="22"/>
                  <a:pt x="53" y="20"/>
                  <a:pt x="54" y="19"/>
                </a:cubicBezTo>
                <a:cubicBezTo>
                  <a:pt x="53" y="19"/>
                  <a:pt x="53" y="19"/>
                  <a:pt x="53" y="19"/>
                </a:cubicBezTo>
                <a:cubicBezTo>
                  <a:pt x="54" y="19"/>
                  <a:pt x="53" y="19"/>
                  <a:pt x="53" y="19"/>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1" name="Freeform 255">
            <a:extLst>
              <a:ext uri="{FF2B5EF4-FFF2-40B4-BE49-F238E27FC236}">
                <a16:creationId xmlns:a16="http://schemas.microsoft.com/office/drawing/2014/main" id="{D4A34D0E-4066-414E-7399-EC41C950B968}"/>
              </a:ext>
            </a:extLst>
          </p:cNvPr>
          <p:cNvSpPr>
            <a:spLocks noEditPoints="1"/>
          </p:cNvSpPr>
          <p:nvPr>
            <p:custDataLst>
              <p:tags r:id="rId43"/>
            </p:custDataLst>
          </p:nvPr>
        </p:nvSpPr>
        <p:spPr bwMode="auto">
          <a:xfrm>
            <a:off x="6885827" y="2845311"/>
            <a:ext cx="126137" cy="126137"/>
          </a:xfrm>
          <a:custGeom>
            <a:avLst/>
            <a:gdLst>
              <a:gd name="T0" fmla="*/ 102 w 108"/>
              <a:gd name="T1" fmla="*/ 5 h 108"/>
              <a:gd name="T2" fmla="*/ 96 w 108"/>
              <a:gd name="T3" fmla="*/ 3 h 108"/>
              <a:gd name="T4" fmla="*/ 87 w 108"/>
              <a:gd name="T5" fmla="*/ 12 h 108"/>
              <a:gd name="T6" fmla="*/ 77 w 108"/>
              <a:gd name="T7" fmla="*/ 19 h 108"/>
              <a:gd name="T8" fmla="*/ 68 w 108"/>
              <a:gd name="T9" fmla="*/ 23 h 108"/>
              <a:gd name="T10" fmla="*/ 55 w 108"/>
              <a:gd name="T11" fmla="*/ 32 h 108"/>
              <a:gd name="T12" fmla="*/ 49 w 108"/>
              <a:gd name="T13" fmla="*/ 29 h 108"/>
              <a:gd name="T14" fmla="*/ 39 w 108"/>
              <a:gd name="T15" fmla="*/ 32 h 108"/>
              <a:gd name="T16" fmla="*/ 30 w 108"/>
              <a:gd name="T17" fmla="*/ 43 h 108"/>
              <a:gd name="T18" fmla="*/ 23 w 108"/>
              <a:gd name="T19" fmla="*/ 47 h 108"/>
              <a:gd name="T20" fmla="*/ 8 w 108"/>
              <a:gd name="T21" fmla="*/ 56 h 108"/>
              <a:gd name="T22" fmla="*/ 5 w 108"/>
              <a:gd name="T23" fmla="*/ 66 h 108"/>
              <a:gd name="T24" fmla="*/ 9 w 108"/>
              <a:gd name="T25" fmla="*/ 65 h 108"/>
              <a:gd name="T26" fmla="*/ 16 w 108"/>
              <a:gd name="T27" fmla="*/ 69 h 108"/>
              <a:gd name="T28" fmla="*/ 18 w 108"/>
              <a:gd name="T29" fmla="*/ 76 h 108"/>
              <a:gd name="T30" fmla="*/ 21 w 108"/>
              <a:gd name="T31" fmla="*/ 86 h 108"/>
              <a:gd name="T32" fmla="*/ 18 w 108"/>
              <a:gd name="T33" fmla="*/ 88 h 108"/>
              <a:gd name="T34" fmla="*/ 12 w 108"/>
              <a:gd name="T35" fmla="*/ 96 h 108"/>
              <a:gd name="T36" fmla="*/ 10 w 108"/>
              <a:gd name="T37" fmla="*/ 99 h 108"/>
              <a:gd name="T38" fmla="*/ 21 w 108"/>
              <a:gd name="T39" fmla="*/ 103 h 108"/>
              <a:gd name="T40" fmla="*/ 23 w 108"/>
              <a:gd name="T41" fmla="*/ 100 h 108"/>
              <a:gd name="T42" fmla="*/ 32 w 108"/>
              <a:gd name="T43" fmla="*/ 105 h 108"/>
              <a:gd name="T44" fmla="*/ 40 w 108"/>
              <a:gd name="T45" fmla="*/ 104 h 108"/>
              <a:gd name="T46" fmla="*/ 67 w 108"/>
              <a:gd name="T47" fmla="*/ 92 h 108"/>
              <a:gd name="T48" fmla="*/ 68 w 108"/>
              <a:gd name="T49" fmla="*/ 87 h 108"/>
              <a:gd name="T50" fmla="*/ 59 w 108"/>
              <a:gd name="T51" fmla="*/ 78 h 108"/>
              <a:gd name="T52" fmla="*/ 56 w 108"/>
              <a:gd name="T53" fmla="*/ 69 h 108"/>
              <a:gd name="T54" fmla="*/ 82 w 108"/>
              <a:gd name="T55" fmla="*/ 50 h 108"/>
              <a:gd name="T56" fmla="*/ 94 w 108"/>
              <a:gd name="T57" fmla="*/ 40 h 108"/>
              <a:gd name="T58" fmla="*/ 98 w 108"/>
              <a:gd name="T59" fmla="*/ 23 h 108"/>
              <a:gd name="T60" fmla="*/ 101 w 108"/>
              <a:gd name="T61" fmla="*/ 17 h 108"/>
              <a:gd name="T62" fmla="*/ 108 w 108"/>
              <a:gd name="T63" fmla="*/ 14 h 108"/>
              <a:gd name="T64" fmla="*/ 106 w 108"/>
              <a:gd name="T65" fmla="*/ 11 h 108"/>
              <a:gd name="T66" fmla="*/ 20 w 108"/>
              <a:gd name="T67" fmla="*/ 107 h 108"/>
              <a:gd name="T68" fmla="*/ 20 w 108"/>
              <a:gd name="T69" fmla="*/ 107 h 108"/>
              <a:gd name="T70" fmla="*/ 20 w 108"/>
              <a:gd name="T71" fmla="*/ 107 h 108"/>
              <a:gd name="T72" fmla="*/ 7 w 108"/>
              <a:gd name="T73" fmla="*/ 101 h 108"/>
              <a:gd name="T74" fmla="*/ 9 w 108"/>
              <a:gd name="T75" fmla="*/ 10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08">
                <a:moveTo>
                  <a:pt x="106" y="11"/>
                </a:moveTo>
                <a:cubicBezTo>
                  <a:pt x="105" y="9"/>
                  <a:pt x="103" y="7"/>
                  <a:pt x="102" y="5"/>
                </a:cubicBezTo>
                <a:cubicBezTo>
                  <a:pt x="102" y="3"/>
                  <a:pt x="100" y="2"/>
                  <a:pt x="98" y="1"/>
                </a:cubicBezTo>
                <a:cubicBezTo>
                  <a:pt x="96" y="0"/>
                  <a:pt x="96" y="1"/>
                  <a:pt x="96" y="3"/>
                </a:cubicBezTo>
                <a:cubicBezTo>
                  <a:pt x="96" y="5"/>
                  <a:pt x="96" y="8"/>
                  <a:pt x="94" y="10"/>
                </a:cubicBezTo>
                <a:cubicBezTo>
                  <a:pt x="92" y="11"/>
                  <a:pt x="89" y="10"/>
                  <a:pt x="87" y="12"/>
                </a:cubicBezTo>
                <a:cubicBezTo>
                  <a:pt x="86" y="14"/>
                  <a:pt x="85" y="16"/>
                  <a:pt x="84" y="17"/>
                </a:cubicBezTo>
                <a:cubicBezTo>
                  <a:pt x="82" y="19"/>
                  <a:pt x="79" y="19"/>
                  <a:pt x="77" y="19"/>
                </a:cubicBezTo>
                <a:cubicBezTo>
                  <a:pt x="74" y="20"/>
                  <a:pt x="70" y="20"/>
                  <a:pt x="67" y="20"/>
                </a:cubicBezTo>
                <a:cubicBezTo>
                  <a:pt x="65" y="20"/>
                  <a:pt x="68" y="22"/>
                  <a:pt x="68" y="23"/>
                </a:cubicBezTo>
                <a:cubicBezTo>
                  <a:pt x="70" y="25"/>
                  <a:pt x="70" y="28"/>
                  <a:pt x="69" y="30"/>
                </a:cubicBezTo>
                <a:cubicBezTo>
                  <a:pt x="68" y="36"/>
                  <a:pt x="58" y="33"/>
                  <a:pt x="55" y="32"/>
                </a:cubicBezTo>
                <a:cubicBezTo>
                  <a:pt x="54" y="32"/>
                  <a:pt x="52" y="32"/>
                  <a:pt x="51" y="32"/>
                </a:cubicBezTo>
                <a:cubicBezTo>
                  <a:pt x="50" y="31"/>
                  <a:pt x="50" y="30"/>
                  <a:pt x="49" y="29"/>
                </a:cubicBezTo>
                <a:cubicBezTo>
                  <a:pt x="48" y="28"/>
                  <a:pt x="46" y="25"/>
                  <a:pt x="44" y="26"/>
                </a:cubicBezTo>
                <a:cubicBezTo>
                  <a:pt x="42" y="28"/>
                  <a:pt x="40" y="30"/>
                  <a:pt x="39" y="32"/>
                </a:cubicBezTo>
                <a:cubicBezTo>
                  <a:pt x="37" y="35"/>
                  <a:pt x="35" y="37"/>
                  <a:pt x="34" y="40"/>
                </a:cubicBezTo>
                <a:cubicBezTo>
                  <a:pt x="33" y="41"/>
                  <a:pt x="32" y="43"/>
                  <a:pt x="30" y="43"/>
                </a:cubicBezTo>
                <a:cubicBezTo>
                  <a:pt x="29" y="44"/>
                  <a:pt x="27" y="43"/>
                  <a:pt x="26" y="44"/>
                </a:cubicBezTo>
                <a:cubicBezTo>
                  <a:pt x="24" y="44"/>
                  <a:pt x="24" y="46"/>
                  <a:pt x="23" y="47"/>
                </a:cubicBezTo>
                <a:cubicBezTo>
                  <a:pt x="21" y="48"/>
                  <a:pt x="20" y="49"/>
                  <a:pt x="18" y="50"/>
                </a:cubicBezTo>
                <a:cubicBezTo>
                  <a:pt x="15" y="52"/>
                  <a:pt x="11" y="54"/>
                  <a:pt x="8" y="56"/>
                </a:cubicBezTo>
                <a:cubicBezTo>
                  <a:pt x="5" y="58"/>
                  <a:pt x="2" y="60"/>
                  <a:pt x="0" y="63"/>
                </a:cubicBezTo>
                <a:cubicBezTo>
                  <a:pt x="3" y="61"/>
                  <a:pt x="3" y="64"/>
                  <a:pt x="5" y="66"/>
                </a:cubicBezTo>
                <a:cubicBezTo>
                  <a:pt x="6" y="66"/>
                  <a:pt x="7" y="68"/>
                  <a:pt x="8" y="67"/>
                </a:cubicBezTo>
                <a:cubicBezTo>
                  <a:pt x="9" y="67"/>
                  <a:pt x="9" y="65"/>
                  <a:pt x="9" y="65"/>
                </a:cubicBezTo>
                <a:cubicBezTo>
                  <a:pt x="11" y="63"/>
                  <a:pt x="12" y="67"/>
                  <a:pt x="13" y="68"/>
                </a:cubicBezTo>
                <a:cubicBezTo>
                  <a:pt x="14" y="69"/>
                  <a:pt x="15" y="69"/>
                  <a:pt x="16" y="69"/>
                </a:cubicBezTo>
                <a:cubicBezTo>
                  <a:pt x="17" y="69"/>
                  <a:pt x="19" y="68"/>
                  <a:pt x="20" y="70"/>
                </a:cubicBezTo>
                <a:cubicBezTo>
                  <a:pt x="20" y="71"/>
                  <a:pt x="18" y="74"/>
                  <a:pt x="18" y="76"/>
                </a:cubicBezTo>
                <a:cubicBezTo>
                  <a:pt x="17" y="78"/>
                  <a:pt x="15" y="81"/>
                  <a:pt x="16" y="84"/>
                </a:cubicBezTo>
                <a:cubicBezTo>
                  <a:pt x="16" y="87"/>
                  <a:pt x="19" y="86"/>
                  <a:pt x="21" y="86"/>
                </a:cubicBezTo>
                <a:cubicBezTo>
                  <a:pt x="22" y="86"/>
                  <a:pt x="25" y="88"/>
                  <a:pt x="23" y="88"/>
                </a:cubicBezTo>
                <a:cubicBezTo>
                  <a:pt x="21" y="89"/>
                  <a:pt x="19" y="88"/>
                  <a:pt x="18" y="88"/>
                </a:cubicBezTo>
                <a:cubicBezTo>
                  <a:pt x="15" y="88"/>
                  <a:pt x="14" y="90"/>
                  <a:pt x="13" y="92"/>
                </a:cubicBezTo>
                <a:cubicBezTo>
                  <a:pt x="13" y="93"/>
                  <a:pt x="13" y="96"/>
                  <a:pt x="12" y="96"/>
                </a:cubicBezTo>
                <a:cubicBezTo>
                  <a:pt x="11" y="97"/>
                  <a:pt x="10" y="96"/>
                  <a:pt x="9" y="97"/>
                </a:cubicBezTo>
                <a:cubicBezTo>
                  <a:pt x="9" y="98"/>
                  <a:pt x="9" y="99"/>
                  <a:pt x="10" y="99"/>
                </a:cubicBezTo>
                <a:cubicBezTo>
                  <a:pt x="12" y="100"/>
                  <a:pt x="14" y="99"/>
                  <a:pt x="14" y="101"/>
                </a:cubicBezTo>
                <a:cubicBezTo>
                  <a:pt x="15" y="104"/>
                  <a:pt x="19" y="102"/>
                  <a:pt x="21" y="103"/>
                </a:cubicBezTo>
                <a:cubicBezTo>
                  <a:pt x="23" y="104"/>
                  <a:pt x="24" y="103"/>
                  <a:pt x="23" y="101"/>
                </a:cubicBezTo>
                <a:cubicBezTo>
                  <a:pt x="23" y="101"/>
                  <a:pt x="23" y="100"/>
                  <a:pt x="23" y="100"/>
                </a:cubicBezTo>
                <a:cubicBezTo>
                  <a:pt x="24" y="98"/>
                  <a:pt x="25" y="100"/>
                  <a:pt x="26" y="100"/>
                </a:cubicBezTo>
                <a:cubicBezTo>
                  <a:pt x="27" y="102"/>
                  <a:pt x="30" y="105"/>
                  <a:pt x="32" y="105"/>
                </a:cubicBezTo>
                <a:cubicBezTo>
                  <a:pt x="34" y="105"/>
                  <a:pt x="34" y="104"/>
                  <a:pt x="36" y="103"/>
                </a:cubicBezTo>
                <a:cubicBezTo>
                  <a:pt x="37" y="103"/>
                  <a:pt x="39" y="103"/>
                  <a:pt x="40" y="104"/>
                </a:cubicBezTo>
                <a:cubicBezTo>
                  <a:pt x="42" y="99"/>
                  <a:pt x="46" y="95"/>
                  <a:pt x="52" y="94"/>
                </a:cubicBezTo>
                <a:cubicBezTo>
                  <a:pt x="57" y="94"/>
                  <a:pt x="64" y="97"/>
                  <a:pt x="67" y="92"/>
                </a:cubicBezTo>
                <a:cubicBezTo>
                  <a:pt x="68" y="91"/>
                  <a:pt x="69" y="90"/>
                  <a:pt x="70" y="89"/>
                </a:cubicBezTo>
                <a:cubicBezTo>
                  <a:pt x="71" y="88"/>
                  <a:pt x="69" y="88"/>
                  <a:pt x="68" y="87"/>
                </a:cubicBezTo>
                <a:cubicBezTo>
                  <a:pt x="66" y="85"/>
                  <a:pt x="64" y="83"/>
                  <a:pt x="62" y="80"/>
                </a:cubicBezTo>
                <a:cubicBezTo>
                  <a:pt x="61" y="79"/>
                  <a:pt x="60" y="78"/>
                  <a:pt x="59" y="78"/>
                </a:cubicBezTo>
                <a:cubicBezTo>
                  <a:pt x="58" y="78"/>
                  <a:pt x="56" y="77"/>
                  <a:pt x="55" y="76"/>
                </a:cubicBezTo>
                <a:cubicBezTo>
                  <a:pt x="54" y="75"/>
                  <a:pt x="56" y="71"/>
                  <a:pt x="56" y="69"/>
                </a:cubicBezTo>
                <a:cubicBezTo>
                  <a:pt x="57" y="63"/>
                  <a:pt x="62" y="62"/>
                  <a:pt x="67" y="60"/>
                </a:cubicBezTo>
                <a:cubicBezTo>
                  <a:pt x="73" y="58"/>
                  <a:pt x="77" y="54"/>
                  <a:pt x="82" y="50"/>
                </a:cubicBezTo>
                <a:cubicBezTo>
                  <a:pt x="84" y="48"/>
                  <a:pt x="86" y="46"/>
                  <a:pt x="89" y="45"/>
                </a:cubicBezTo>
                <a:cubicBezTo>
                  <a:pt x="91" y="44"/>
                  <a:pt x="93" y="44"/>
                  <a:pt x="94" y="40"/>
                </a:cubicBezTo>
                <a:cubicBezTo>
                  <a:pt x="94" y="38"/>
                  <a:pt x="94" y="35"/>
                  <a:pt x="95" y="32"/>
                </a:cubicBezTo>
                <a:cubicBezTo>
                  <a:pt x="96" y="29"/>
                  <a:pt x="97" y="26"/>
                  <a:pt x="98" y="23"/>
                </a:cubicBezTo>
                <a:cubicBezTo>
                  <a:pt x="99" y="22"/>
                  <a:pt x="98" y="21"/>
                  <a:pt x="99" y="20"/>
                </a:cubicBezTo>
                <a:cubicBezTo>
                  <a:pt x="100" y="19"/>
                  <a:pt x="101" y="18"/>
                  <a:pt x="101" y="17"/>
                </a:cubicBezTo>
                <a:cubicBezTo>
                  <a:pt x="102" y="16"/>
                  <a:pt x="103" y="15"/>
                  <a:pt x="104" y="15"/>
                </a:cubicBezTo>
                <a:cubicBezTo>
                  <a:pt x="106" y="14"/>
                  <a:pt x="107" y="14"/>
                  <a:pt x="108" y="14"/>
                </a:cubicBezTo>
                <a:cubicBezTo>
                  <a:pt x="107" y="13"/>
                  <a:pt x="106" y="12"/>
                  <a:pt x="106" y="11"/>
                </a:cubicBezTo>
                <a:cubicBezTo>
                  <a:pt x="106" y="11"/>
                  <a:pt x="106" y="11"/>
                  <a:pt x="106" y="11"/>
                </a:cubicBezTo>
                <a:cubicBezTo>
                  <a:pt x="105" y="10"/>
                  <a:pt x="106" y="11"/>
                  <a:pt x="106" y="11"/>
                </a:cubicBezTo>
                <a:close/>
                <a:moveTo>
                  <a:pt x="20" y="107"/>
                </a:moveTo>
                <a:cubicBezTo>
                  <a:pt x="21" y="106"/>
                  <a:pt x="19" y="105"/>
                  <a:pt x="18" y="106"/>
                </a:cubicBezTo>
                <a:cubicBezTo>
                  <a:pt x="18" y="108"/>
                  <a:pt x="20" y="107"/>
                  <a:pt x="20" y="107"/>
                </a:cubicBezTo>
                <a:cubicBezTo>
                  <a:pt x="20" y="107"/>
                  <a:pt x="20" y="107"/>
                  <a:pt x="20" y="107"/>
                </a:cubicBezTo>
                <a:cubicBezTo>
                  <a:pt x="21" y="106"/>
                  <a:pt x="20" y="107"/>
                  <a:pt x="20" y="107"/>
                </a:cubicBezTo>
                <a:close/>
                <a:moveTo>
                  <a:pt x="9" y="102"/>
                </a:moveTo>
                <a:cubicBezTo>
                  <a:pt x="9" y="101"/>
                  <a:pt x="7" y="100"/>
                  <a:pt x="7" y="101"/>
                </a:cubicBezTo>
                <a:cubicBezTo>
                  <a:pt x="6" y="102"/>
                  <a:pt x="8" y="102"/>
                  <a:pt x="9" y="101"/>
                </a:cubicBezTo>
                <a:cubicBezTo>
                  <a:pt x="9" y="102"/>
                  <a:pt x="9" y="102"/>
                  <a:pt x="9" y="102"/>
                </a:cubicBezTo>
                <a:cubicBezTo>
                  <a:pt x="9" y="101"/>
                  <a:pt x="9" y="102"/>
                  <a:pt x="9" y="102"/>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2" name="Freeform 259">
            <a:extLst>
              <a:ext uri="{FF2B5EF4-FFF2-40B4-BE49-F238E27FC236}">
                <a16:creationId xmlns:a16="http://schemas.microsoft.com/office/drawing/2014/main" id="{053E5F23-53A0-B14A-57F1-960592B9B858}"/>
              </a:ext>
            </a:extLst>
          </p:cNvPr>
          <p:cNvSpPr/>
          <p:nvPr>
            <p:custDataLst>
              <p:tags r:id="rId44"/>
            </p:custDataLst>
          </p:nvPr>
        </p:nvSpPr>
        <p:spPr bwMode="auto">
          <a:xfrm>
            <a:off x="7195163" y="2781241"/>
            <a:ext cx="117127" cy="100109"/>
          </a:xfrm>
          <a:custGeom>
            <a:avLst/>
            <a:gdLst>
              <a:gd name="T0" fmla="*/ 3 w 100"/>
              <a:gd name="T1" fmla="*/ 72 h 85"/>
              <a:gd name="T2" fmla="*/ 5 w 100"/>
              <a:gd name="T3" fmla="*/ 78 h 85"/>
              <a:gd name="T4" fmla="*/ 10 w 100"/>
              <a:gd name="T5" fmla="*/ 83 h 85"/>
              <a:gd name="T6" fmla="*/ 20 w 100"/>
              <a:gd name="T7" fmla="*/ 79 h 85"/>
              <a:gd name="T8" fmla="*/ 20 w 100"/>
              <a:gd name="T9" fmla="*/ 75 h 85"/>
              <a:gd name="T10" fmla="*/ 13 w 100"/>
              <a:gd name="T11" fmla="*/ 71 h 85"/>
              <a:gd name="T12" fmla="*/ 10 w 100"/>
              <a:gd name="T13" fmla="*/ 62 h 85"/>
              <a:gd name="T14" fmla="*/ 17 w 100"/>
              <a:gd name="T15" fmla="*/ 63 h 85"/>
              <a:gd name="T16" fmla="*/ 25 w 100"/>
              <a:gd name="T17" fmla="*/ 63 h 85"/>
              <a:gd name="T18" fmla="*/ 32 w 100"/>
              <a:gd name="T19" fmla="*/ 62 h 85"/>
              <a:gd name="T20" fmla="*/ 47 w 100"/>
              <a:gd name="T21" fmla="*/ 69 h 85"/>
              <a:gd name="T22" fmla="*/ 59 w 100"/>
              <a:gd name="T23" fmla="*/ 72 h 85"/>
              <a:gd name="T24" fmla="*/ 63 w 100"/>
              <a:gd name="T25" fmla="*/ 62 h 85"/>
              <a:gd name="T26" fmla="*/ 72 w 100"/>
              <a:gd name="T27" fmla="*/ 55 h 85"/>
              <a:gd name="T28" fmla="*/ 80 w 100"/>
              <a:gd name="T29" fmla="*/ 55 h 85"/>
              <a:gd name="T30" fmla="*/ 88 w 100"/>
              <a:gd name="T31" fmla="*/ 53 h 85"/>
              <a:gd name="T32" fmla="*/ 94 w 100"/>
              <a:gd name="T33" fmla="*/ 51 h 85"/>
              <a:gd name="T34" fmla="*/ 99 w 100"/>
              <a:gd name="T35" fmla="*/ 48 h 85"/>
              <a:gd name="T36" fmla="*/ 94 w 100"/>
              <a:gd name="T37" fmla="*/ 48 h 85"/>
              <a:gd name="T38" fmla="*/ 91 w 100"/>
              <a:gd name="T39" fmla="*/ 39 h 85"/>
              <a:gd name="T40" fmla="*/ 89 w 100"/>
              <a:gd name="T41" fmla="*/ 35 h 85"/>
              <a:gd name="T42" fmla="*/ 92 w 100"/>
              <a:gd name="T43" fmla="*/ 28 h 85"/>
              <a:gd name="T44" fmla="*/ 83 w 100"/>
              <a:gd name="T45" fmla="*/ 34 h 85"/>
              <a:gd name="T46" fmla="*/ 68 w 100"/>
              <a:gd name="T47" fmla="*/ 30 h 85"/>
              <a:gd name="T48" fmla="*/ 58 w 100"/>
              <a:gd name="T49" fmla="*/ 22 h 85"/>
              <a:gd name="T50" fmla="*/ 47 w 100"/>
              <a:gd name="T51" fmla="*/ 14 h 85"/>
              <a:gd name="T52" fmla="*/ 38 w 100"/>
              <a:gd name="T53" fmla="*/ 2 h 85"/>
              <a:gd name="T54" fmla="*/ 32 w 100"/>
              <a:gd name="T55" fmla="*/ 11 h 85"/>
              <a:gd name="T56" fmla="*/ 34 w 100"/>
              <a:gd name="T57" fmla="*/ 23 h 85"/>
              <a:gd name="T58" fmla="*/ 33 w 100"/>
              <a:gd name="T59" fmla="*/ 29 h 85"/>
              <a:gd name="T60" fmla="*/ 26 w 100"/>
              <a:gd name="T61" fmla="*/ 41 h 85"/>
              <a:gd name="T62" fmla="*/ 22 w 100"/>
              <a:gd name="T63" fmla="*/ 50 h 85"/>
              <a:gd name="T64" fmla="*/ 15 w 100"/>
              <a:gd name="T65" fmla="*/ 49 h 85"/>
              <a:gd name="T66" fmla="*/ 11 w 100"/>
              <a:gd name="T67" fmla="*/ 46 h 85"/>
              <a:gd name="T68" fmla="*/ 11 w 100"/>
              <a:gd name="T69" fmla="*/ 54 h 85"/>
              <a:gd name="T70" fmla="*/ 2 w 100"/>
              <a:gd name="T71" fmla="*/ 60 h 85"/>
              <a:gd name="T72" fmla="*/ 0 w 100"/>
              <a:gd name="T73" fmla="*/ 67 h 85"/>
              <a:gd name="T74" fmla="*/ 0 w 100"/>
              <a:gd name="T75" fmla="*/ 6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0" h="85">
                <a:moveTo>
                  <a:pt x="0" y="67"/>
                </a:moveTo>
                <a:cubicBezTo>
                  <a:pt x="0" y="69"/>
                  <a:pt x="1" y="71"/>
                  <a:pt x="3" y="72"/>
                </a:cubicBezTo>
                <a:cubicBezTo>
                  <a:pt x="4" y="73"/>
                  <a:pt x="5" y="73"/>
                  <a:pt x="6" y="74"/>
                </a:cubicBezTo>
                <a:cubicBezTo>
                  <a:pt x="6" y="75"/>
                  <a:pt x="6" y="77"/>
                  <a:pt x="5" y="78"/>
                </a:cubicBezTo>
                <a:cubicBezTo>
                  <a:pt x="5" y="79"/>
                  <a:pt x="2" y="82"/>
                  <a:pt x="4" y="83"/>
                </a:cubicBezTo>
                <a:cubicBezTo>
                  <a:pt x="6" y="85"/>
                  <a:pt x="8" y="85"/>
                  <a:pt x="10" y="83"/>
                </a:cubicBezTo>
                <a:cubicBezTo>
                  <a:pt x="11" y="81"/>
                  <a:pt x="12" y="79"/>
                  <a:pt x="14" y="78"/>
                </a:cubicBezTo>
                <a:cubicBezTo>
                  <a:pt x="16" y="77"/>
                  <a:pt x="19" y="81"/>
                  <a:pt x="20" y="79"/>
                </a:cubicBezTo>
                <a:cubicBezTo>
                  <a:pt x="21" y="78"/>
                  <a:pt x="21" y="77"/>
                  <a:pt x="22" y="77"/>
                </a:cubicBezTo>
                <a:cubicBezTo>
                  <a:pt x="22" y="75"/>
                  <a:pt x="21" y="75"/>
                  <a:pt x="20" y="75"/>
                </a:cubicBezTo>
                <a:cubicBezTo>
                  <a:pt x="19" y="74"/>
                  <a:pt x="18" y="73"/>
                  <a:pt x="18" y="73"/>
                </a:cubicBezTo>
                <a:cubicBezTo>
                  <a:pt x="16" y="72"/>
                  <a:pt x="15" y="72"/>
                  <a:pt x="13" y="71"/>
                </a:cubicBezTo>
                <a:cubicBezTo>
                  <a:pt x="12" y="71"/>
                  <a:pt x="9" y="71"/>
                  <a:pt x="8" y="69"/>
                </a:cubicBezTo>
                <a:cubicBezTo>
                  <a:pt x="7" y="66"/>
                  <a:pt x="9" y="64"/>
                  <a:pt x="10" y="62"/>
                </a:cubicBezTo>
                <a:cubicBezTo>
                  <a:pt x="11" y="62"/>
                  <a:pt x="12" y="62"/>
                  <a:pt x="13" y="62"/>
                </a:cubicBezTo>
                <a:cubicBezTo>
                  <a:pt x="14" y="63"/>
                  <a:pt x="16" y="63"/>
                  <a:pt x="17" y="63"/>
                </a:cubicBezTo>
                <a:cubicBezTo>
                  <a:pt x="18" y="65"/>
                  <a:pt x="18" y="68"/>
                  <a:pt x="21" y="67"/>
                </a:cubicBezTo>
                <a:cubicBezTo>
                  <a:pt x="23" y="67"/>
                  <a:pt x="24" y="64"/>
                  <a:pt x="25" y="63"/>
                </a:cubicBezTo>
                <a:cubicBezTo>
                  <a:pt x="25" y="62"/>
                  <a:pt x="26" y="62"/>
                  <a:pt x="27" y="62"/>
                </a:cubicBezTo>
                <a:cubicBezTo>
                  <a:pt x="29" y="62"/>
                  <a:pt x="31" y="62"/>
                  <a:pt x="32" y="62"/>
                </a:cubicBezTo>
                <a:cubicBezTo>
                  <a:pt x="35" y="62"/>
                  <a:pt x="37" y="64"/>
                  <a:pt x="40" y="65"/>
                </a:cubicBezTo>
                <a:cubicBezTo>
                  <a:pt x="42" y="67"/>
                  <a:pt x="45" y="68"/>
                  <a:pt x="47" y="69"/>
                </a:cubicBezTo>
                <a:cubicBezTo>
                  <a:pt x="50" y="70"/>
                  <a:pt x="52" y="72"/>
                  <a:pt x="54" y="74"/>
                </a:cubicBezTo>
                <a:cubicBezTo>
                  <a:pt x="56" y="76"/>
                  <a:pt x="58" y="74"/>
                  <a:pt x="59" y="72"/>
                </a:cubicBezTo>
                <a:cubicBezTo>
                  <a:pt x="60" y="69"/>
                  <a:pt x="60" y="67"/>
                  <a:pt x="61" y="64"/>
                </a:cubicBezTo>
                <a:cubicBezTo>
                  <a:pt x="62" y="63"/>
                  <a:pt x="62" y="62"/>
                  <a:pt x="63" y="62"/>
                </a:cubicBezTo>
                <a:cubicBezTo>
                  <a:pt x="64" y="61"/>
                  <a:pt x="66" y="61"/>
                  <a:pt x="67" y="60"/>
                </a:cubicBezTo>
                <a:cubicBezTo>
                  <a:pt x="69" y="58"/>
                  <a:pt x="70" y="56"/>
                  <a:pt x="72" y="55"/>
                </a:cubicBezTo>
                <a:cubicBezTo>
                  <a:pt x="73" y="55"/>
                  <a:pt x="74" y="55"/>
                  <a:pt x="75" y="55"/>
                </a:cubicBezTo>
                <a:cubicBezTo>
                  <a:pt x="77" y="55"/>
                  <a:pt x="79" y="55"/>
                  <a:pt x="80" y="55"/>
                </a:cubicBezTo>
                <a:cubicBezTo>
                  <a:pt x="81" y="55"/>
                  <a:pt x="87" y="56"/>
                  <a:pt x="86" y="54"/>
                </a:cubicBezTo>
                <a:cubicBezTo>
                  <a:pt x="85" y="52"/>
                  <a:pt x="87" y="53"/>
                  <a:pt x="88" y="53"/>
                </a:cubicBezTo>
                <a:cubicBezTo>
                  <a:pt x="89" y="53"/>
                  <a:pt x="90" y="52"/>
                  <a:pt x="91" y="52"/>
                </a:cubicBezTo>
                <a:cubicBezTo>
                  <a:pt x="92" y="52"/>
                  <a:pt x="93" y="52"/>
                  <a:pt x="94" y="51"/>
                </a:cubicBezTo>
                <a:cubicBezTo>
                  <a:pt x="95" y="50"/>
                  <a:pt x="96" y="50"/>
                  <a:pt x="97" y="49"/>
                </a:cubicBezTo>
                <a:cubicBezTo>
                  <a:pt x="98" y="49"/>
                  <a:pt x="99" y="49"/>
                  <a:pt x="99" y="48"/>
                </a:cubicBezTo>
                <a:cubicBezTo>
                  <a:pt x="100" y="47"/>
                  <a:pt x="100" y="45"/>
                  <a:pt x="99" y="46"/>
                </a:cubicBezTo>
                <a:cubicBezTo>
                  <a:pt x="97" y="48"/>
                  <a:pt x="96" y="49"/>
                  <a:pt x="94" y="48"/>
                </a:cubicBezTo>
                <a:cubicBezTo>
                  <a:pt x="92" y="47"/>
                  <a:pt x="92" y="45"/>
                  <a:pt x="91" y="43"/>
                </a:cubicBezTo>
                <a:cubicBezTo>
                  <a:pt x="91" y="41"/>
                  <a:pt x="93" y="40"/>
                  <a:pt x="91" y="39"/>
                </a:cubicBezTo>
                <a:cubicBezTo>
                  <a:pt x="90" y="39"/>
                  <a:pt x="88" y="38"/>
                  <a:pt x="88" y="37"/>
                </a:cubicBezTo>
                <a:cubicBezTo>
                  <a:pt x="88" y="37"/>
                  <a:pt x="88" y="36"/>
                  <a:pt x="89" y="35"/>
                </a:cubicBezTo>
                <a:cubicBezTo>
                  <a:pt x="89" y="34"/>
                  <a:pt x="90" y="32"/>
                  <a:pt x="91" y="31"/>
                </a:cubicBezTo>
                <a:cubicBezTo>
                  <a:pt x="91" y="31"/>
                  <a:pt x="94" y="28"/>
                  <a:pt x="92" y="28"/>
                </a:cubicBezTo>
                <a:cubicBezTo>
                  <a:pt x="91" y="28"/>
                  <a:pt x="89" y="29"/>
                  <a:pt x="88" y="30"/>
                </a:cubicBezTo>
                <a:cubicBezTo>
                  <a:pt x="87" y="32"/>
                  <a:pt x="86" y="34"/>
                  <a:pt x="83" y="34"/>
                </a:cubicBezTo>
                <a:cubicBezTo>
                  <a:pt x="80" y="34"/>
                  <a:pt x="78" y="33"/>
                  <a:pt x="76" y="32"/>
                </a:cubicBezTo>
                <a:cubicBezTo>
                  <a:pt x="73" y="30"/>
                  <a:pt x="71" y="30"/>
                  <a:pt x="68" y="30"/>
                </a:cubicBezTo>
                <a:cubicBezTo>
                  <a:pt x="66" y="30"/>
                  <a:pt x="64" y="29"/>
                  <a:pt x="63" y="27"/>
                </a:cubicBezTo>
                <a:cubicBezTo>
                  <a:pt x="61" y="25"/>
                  <a:pt x="60" y="23"/>
                  <a:pt x="58" y="22"/>
                </a:cubicBezTo>
                <a:cubicBezTo>
                  <a:pt x="56" y="21"/>
                  <a:pt x="54" y="21"/>
                  <a:pt x="52" y="20"/>
                </a:cubicBezTo>
                <a:cubicBezTo>
                  <a:pt x="49" y="19"/>
                  <a:pt x="48" y="16"/>
                  <a:pt x="47" y="14"/>
                </a:cubicBezTo>
                <a:cubicBezTo>
                  <a:pt x="46" y="11"/>
                  <a:pt x="44" y="9"/>
                  <a:pt x="42" y="8"/>
                </a:cubicBezTo>
                <a:cubicBezTo>
                  <a:pt x="40" y="6"/>
                  <a:pt x="39" y="4"/>
                  <a:pt x="38" y="2"/>
                </a:cubicBezTo>
                <a:cubicBezTo>
                  <a:pt x="37" y="0"/>
                  <a:pt x="34" y="3"/>
                  <a:pt x="33" y="4"/>
                </a:cubicBezTo>
                <a:cubicBezTo>
                  <a:pt x="32" y="6"/>
                  <a:pt x="31" y="9"/>
                  <a:pt x="32" y="11"/>
                </a:cubicBezTo>
                <a:cubicBezTo>
                  <a:pt x="32" y="14"/>
                  <a:pt x="34" y="17"/>
                  <a:pt x="35" y="19"/>
                </a:cubicBezTo>
                <a:cubicBezTo>
                  <a:pt x="35" y="21"/>
                  <a:pt x="35" y="22"/>
                  <a:pt x="34" y="23"/>
                </a:cubicBezTo>
                <a:cubicBezTo>
                  <a:pt x="34" y="24"/>
                  <a:pt x="33" y="24"/>
                  <a:pt x="32" y="26"/>
                </a:cubicBezTo>
                <a:cubicBezTo>
                  <a:pt x="32" y="27"/>
                  <a:pt x="33" y="28"/>
                  <a:pt x="33" y="29"/>
                </a:cubicBezTo>
                <a:cubicBezTo>
                  <a:pt x="33" y="31"/>
                  <a:pt x="32" y="32"/>
                  <a:pt x="31" y="34"/>
                </a:cubicBezTo>
                <a:cubicBezTo>
                  <a:pt x="30" y="36"/>
                  <a:pt x="25" y="38"/>
                  <a:pt x="26" y="41"/>
                </a:cubicBezTo>
                <a:cubicBezTo>
                  <a:pt x="28" y="44"/>
                  <a:pt x="29" y="47"/>
                  <a:pt x="25" y="49"/>
                </a:cubicBezTo>
                <a:cubicBezTo>
                  <a:pt x="24" y="50"/>
                  <a:pt x="23" y="51"/>
                  <a:pt x="22" y="50"/>
                </a:cubicBezTo>
                <a:cubicBezTo>
                  <a:pt x="21" y="49"/>
                  <a:pt x="20" y="48"/>
                  <a:pt x="18" y="49"/>
                </a:cubicBezTo>
                <a:cubicBezTo>
                  <a:pt x="17" y="49"/>
                  <a:pt x="17" y="50"/>
                  <a:pt x="15" y="49"/>
                </a:cubicBezTo>
                <a:cubicBezTo>
                  <a:pt x="14" y="48"/>
                  <a:pt x="14" y="47"/>
                  <a:pt x="13" y="47"/>
                </a:cubicBezTo>
                <a:cubicBezTo>
                  <a:pt x="13" y="46"/>
                  <a:pt x="12" y="45"/>
                  <a:pt x="11" y="46"/>
                </a:cubicBezTo>
                <a:cubicBezTo>
                  <a:pt x="10" y="46"/>
                  <a:pt x="10" y="48"/>
                  <a:pt x="10" y="49"/>
                </a:cubicBezTo>
                <a:cubicBezTo>
                  <a:pt x="10" y="51"/>
                  <a:pt x="12" y="52"/>
                  <a:pt x="11" y="54"/>
                </a:cubicBezTo>
                <a:cubicBezTo>
                  <a:pt x="11" y="55"/>
                  <a:pt x="10" y="57"/>
                  <a:pt x="9" y="57"/>
                </a:cubicBezTo>
                <a:cubicBezTo>
                  <a:pt x="7" y="59"/>
                  <a:pt x="4" y="59"/>
                  <a:pt x="2" y="60"/>
                </a:cubicBezTo>
                <a:cubicBezTo>
                  <a:pt x="1" y="60"/>
                  <a:pt x="0" y="61"/>
                  <a:pt x="0" y="62"/>
                </a:cubicBezTo>
                <a:cubicBezTo>
                  <a:pt x="0" y="64"/>
                  <a:pt x="0" y="66"/>
                  <a:pt x="0" y="67"/>
                </a:cubicBezTo>
                <a:cubicBezTo>
                  <a:pt x="0" y="67"/>
                  <a:pt x="0" y="67"/>
                  <a:pt x="0" y="67"/>
                </a:cubicBezTo>
                <a:cubicBezTo>
                  <a:pt x="0" y="68"/>
                  <a:pt x="0" y="67"/>
                  <a:pt x="0" y="67"/>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3" name="Freeform 260">
            <a:extLst>
              <a:ext uri="{FF2B5EF4-FFF2-40B4-BE49-F238E27FC236}">
                <a16:creationId xmlns:a16="http://schemas.microsoft.com/office/drawing/2014/main" id="{09E826CE-13DB-2FD6-FF1C-E259C0731CE5}"/>
              </a:ext>
            </a:extLst>
          </p:cNvPr>
          <p:cNvSpPr>
            <a:spLocks noEditPoints="1"/>
          </p:cNvSpPr>
          <p:nvPr>
            <p:custDataLst>
              <p:tags r:id="rId45"/>
            </p:custDataLst>
          </p:nvPr>
        </p:nvSpPr>
        <p:spPr bwMode="auto">
          <a:xfrm>
            <a:off x="7218188" y="3782329"/>
            <a:ext cx="266289" cy="207225"/>
          </a:xfrm>
          <a:custGeom>
            <a:avLst/>
            <a:gdLst>
              <a:gd name="T0" fmla="*/ 80 w 228"/>
              <a:gd name="T1" fmla="*/ 62 h 177"/>
              <a:gd name="T2" fmla="*/ 53 w 228"/>
              <a:gd name="T3" fmla="*/ 39 h 177"/>
              <a:gd name="T4" fmla="*/ 3 w 228"/>
              <a:gd name="T5" fmla="*/ 61 h 177"/>
              <a:gd name="T6" fmla="*/ 2 w 228"/>
              <a:gd name="T7" fmla="*/ 116 h 177"/>
              <a:gd name="T8" fmla="*/ 23 w 228"/>
              <a:gd name="T9" fmla="*/ 134 h 177"/>
              <a:gd name="T10" fmla="*/ 41 w 228"/>
              <a:gd name="T11" fmla="*/ 127 h 177"/>
              <a:gd name="T12" fmla="*/ 20 w 228"/>
              <a:gd name="T13" fmla="*/ 118 h 177"/>
              <a:gd name="T14" fmla="*/ 45 w 228"/>
              <a:gd name="T15" fmla="*/ 117 h 177"/>
              <a:gd name="T16" fmla="*/ 48 w 228"/>
              <a:gd name="T17" fmla="*/ 108 h 177"/>
              <a:gd name="T18" fmla="*/ 63 w 228"/>
              <a:gd name="T19" fmla="*/ 107 h 177"/>
              <a:gd name="T20" fmla="*/ 95 w 228"/>
              <a:gd name="T21" fmla="*/ 128 h 177"/>
              <a:gd name="T22" fmla="*/ 112 w 228"/>
              <a:gd name="T23" fmla="*/ 143 h 177"/>
              <a:gd name="T24" fmla="*/ 145 w 228"/>
              <a:gd name="T25" fmla="*/ 153 h 177"/>
              <a:gd name="T26" fmla="*/ 157 w 228"/>
              <a:gd name="T27" fmla="*/ 149 h 177"/>
              <a:gd name="T28" fmla="*/ 144 w 228"/>
              <a:gd name="T29" fmla="*/ 141 h 177"/>
              <a:gd name="T30" fmla="*/ 126 w 228"/>
              <a:gd name="T31" fmla="*/ 125 h 177"/>
              <a:gd name="T32" fmla="*/ 104 w 228"/>
              <a:gd name="T33" fmla="*/ 98 h 177"/>
              <a:gd name="T34" fmla="*/ 106 w 228"/>
              <a:gd name="T35" fmla="*/ 78 h 177"/>
              <a:gd name="T36" fmla="*/ 212 w 228"/>
              <a:gd name="T37" fmla="*/ 174 h 177"/>
              <a:gd name="T38" fmla="*/ 226 w 228"/>
              <a:gd name="T39" fmla="*/ 173 h 177"/>
              <a:gd name="T40" fmla="*/ 164 w 228"/>
              <a:gd name="T41" fmla="*/ 154 h 177"/>
              <a:gd name="T42" fmla="*/ 175 w 228"/>
              <a:gd name="T43" fmla="*/ 151 h 177"/>
              <a:gd name="T44" fmla="*/ 157 w 228"/>
              <a:gd name="T45" fmla="*/ 139 h 177"/>
              <a:gd name="T46" fmla="*/ 171 w 228"/>
              <a:gd name="T47" fmla="*/ 147 h 177"/>
              <a:gd name="T48" fmla="*/ 168 w 228"/>
              <a:gd name="T49" fmla="*/ 141 h 177"/>
              <a:gd name="T50" fmla="*/ 168 w 228"/>
              <a:gd name="T51" fmla="*/ 141 h 177"/>
              <a:gd name="T52" fmla="*/ 205 w 228"/>
              <a:gd name="T53" fmla="*/ 135 h 177"/>
              <a:gd name="T54" fmla="*/ 201 w 228"/>
              <a:gd name="T55" fmla="*/ 161 h 177"/>
              <a:gd name="T56" fmla="*/ 174 w 228"/>
              <a:gd name="T57" fmla="*/ 122 h 177"/>
              <a:gd name="T58" fmla="*/ 218 w 228"/>
              <a:gd name="T59" fmla="*/ 48 h 177"/>
              <a:gd name="T60" fmla="*/ 188 w 228"/>
              <a:gd name="T61" fmla="*/ 23 h 177"/>
              <a:gd name="T62" fmla="*/ 172 w 228"/>
              <a:gd name="T63" fmla="*/ 23 h 177"/>
              <a:gd name="T64" fmla="*/ 193 w 228"/>
              <a:gd name="T65" fmla="*/ 39 h 177"/>
              <a:gd name="T66" fmla="*/ 206 w 228"/>
              <a:gd name="T67" fmla="*/ 52 h 177"/>
              <a:gd name="T68" fmla="*/ 181 w 228"/>
              <a:gd name="T69" fmla="*/ 29 h 177"/>
              <a:gd name="T70" fmla="*/ 198 w 228"/>
              <a:gd name="T71" fmla="*/ 31 h 177"/>
              <a:gd name="T72" fmla="*/ 161 w 228"/>
              <a:gd name="T73" fmla="*/ 20 h 177"/>
              <a:gd name="T74" fmla="*/ 155 w 228"/>
              <a:gd name="T75" fmla="*/ 63 h 177"/>
              <a:gd name="T76" fmla="*/ 144 w 228"/>
              <a:gd name="T77" fmla="*/ 56 h 177"/>
              <a:gd name="T78" fmla="*/ 147 w 228"/>
              <a:gd name="T79" fmla="*/ 1 h 177"/>
              <a:gd name="T80" fmla="*/ 119 w 228"/>
              <a:gd name="T81" fmla="*/ 17 h 177"/>
              <a:gd name="T82" fmla="*/ 137 w 228"/>
              <a:gd name="T83" fmla="*/ 80 h 177"/>
              <a:gd name="T84" fmla="*/ 159 w 228"/>
              <a:gd name="T85" fmla="*/ 83 h 177"/>
              <a:gd name="T86" fmla="*/ 191 w 228"/>
              <a:gd name="T87" fmla="*/ 69 h 177"/>
              <a:gd name="T88" fmla="*/ 194 w 228"/>
              <a:gd name="T89" fmla="*/ 55 h 177"/>
              <a:gd name="T90" fmla="*/ 181 w 228"/>
              <a:gd name="T91" fmla="*/ 56 h 177"/>
              <a:gd name="T92" fmla="*/ 164 w 228"/>
              <a:gd name="T93" fmla="*/ 72 h 177"/>
              <a:gd name="T94" fmla="*/ 142 w 228"/>
              <a:gd name="T95" fmla="*/ 73 h 177"/>
              <a:gd name="T96" fmla="*/ 126 w 228"/>
              <a:gd name="T97" fmla="*/ 72 h 177"/>
              <a:gd name="T98" fmla="*/ 119 w 228"/>
              <a:gd name="T99" fmla="*/ 71 h 177"/>
              <a:gd name="T100" fmla="*/ 111 w 228"/>
              <a:gd name="T101" fmla="*/ 13 h 177"/>
              <a:gd name="T102" fmla="*/ 96 w 228"/>
              <a:gd name="T103" fmla="*/ 15 h 177"/>
              <a:gd name="T104" fmla="*/ 106 w 228"/>
              <a:gd name="T105" fmla="*/ 71 h 177"/>
              <a:gd name="T106" fmla="*/ 88 w 228"/>
              <a:gd name="T107" fmla="*/ 5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8" h="177">
                <a:moveTo>
                  <a:pt x="106" y="78"/>
                </a:moveTo>
                <a:cubicBezTo>
                  <a:pt x="104" y="77"/>
                  <a:pt x="101" y="78"/>
                  <a:pt x="99" y="77"/>
                </a:cubicBezTo>
                <a:cubicBezTo>
                  <a:pt x="96" y="76"/>
                  <a:pt x="95" y="73"/>
                  <a:pt x="92" y="73"/>
                </a:cubicBezTo>
                <a:cubicBezTo>
                  <a:pt x="89" y="72"/>
                  <a:pt x="82" y="73"/>
                  <a:pt x="82" y="68"/>
                </a:cubicBezTo>
                <a:cubicBezTo>
                  <a:pt x="83" y="67"/>
                  <a:pt x="83" y="66"/>
                  <a:pt x="82" y="65"/>
                </a:cubicBezTo>
                <a:cubicBezTo>
                  <a:pt x="81" y="64"/>
                  <a:pt x="81" y="63"/>
                  <a:pt x="80" y="62"/>
                </a:cubicBezTo>
                <a:cubicBezTo>
                  <a:pt x="80" y="59"/>
                  <a:pt x="79" y="57"/>
                  <a:pt x="78" y="54"/>
                </a:cubicBezTo>
                <a:cubicBezTo>
                  <a:pt x="77" y="51"/>
                  <a:pt x="75" y="51"/>
                  <a:pt x="72" y="50"/>
                </a:cubicBezTo>
                <a:cubicBezTo>
                  <a:pt x="70" y="49"/>
                  <a:pt x="67" y="48"/>
                  <a:pt x="64" y="46"/>
                </a:cubicBezTo>
                <a:cubicBezTo>
                  <a:pt x="63" y="46"/>
                  <a:pt x="62" y="45"/>
                  <a:pt x="61" y="45"/>
                </a:cubicBezTo>
                <a:cubicBezTo>
                  <a:pt x="61" y="44"/>
                  <a:pt x="61" y="43"/>
                  <a:pt x="60" y="42"/>
                </a:cubicBezTo>
                <a:cubicBezTo>
                  <a:pt x="59" y="41"/>
                  <a:pt x="55" y="40"/>
                  <a:pt x="53" y="39"/>
                </a:cubicBezTo>
                <a:cubicBezTo>
                  <a:pt x="48" y="37"/>
                  <a:pt x="41" y="37"/>
                  <a:pt x="35" y="36"/>
                </a:cubicBezTo>
                <a:cubicBezTo>
                  <a:pt x="33" y="35"/>
                  <a:pt x="30" y="34"/>
                  <a:pt x="28" y="33"/>
                </a:cubicBezTo>
                <a:cubicBezTo>
                  <a:pt x="26" y="31"/>
                  <a:pt x="23" y="29"/>
                  <a:pt x="20" y="28"/>
                </a:cubicBezTo>
                <a:cubicBezTo>
                  <a:pt x="15" y="26"/>
                  <a:pt x="9" y="24"/>
                  <a:pt x="3" y="22"/>
                </a:cubicBezTo>
                <a:cubicBezTo>
                  <a:pt x="3" y="22"/>
                  <a:pt x="3" y="22"/>
                  <a:pt x="3" y="22"/>
                </a:cubicBezTo>
                <a:cubicBezTo>
                  <a:pt x="3" y="35"/>
                  <a:pt x="3" y="48"/>
                  <a:pt x="3" y="61"/>
                </a:cubicBezTo>
                <a:cubicBezTo>
                  <a:pt x="3" y="68"/>
                  <a:pt x="3" y="74"/>
                  <a:pt x="2" y="81"/>
                </a:cubicBezTo>
                <a:cubicBezTo>
                  <a:pt x="1" y="84"/>
                  <a:pt x="0" y="86"/>
                  <a:pt x="0" y="89"/>
                </a:cubicBezTo>
                <a:cubicBezTo>
                  <a:pt x="0" y="90"/>
                  <a:pt x="0" y="92"/>
                  <a:pt x="0" y="93"/>
                </a:cubicBezTo>
                <a:cubicBezTo>
                  <a:pt x="1" y="94"/>
                  <a:pt x="2" y="96"/>
                  <a:pt x="2" y="97"/>
                </a:cubicBezTo>
                <a:cubicBezTo>
                  <a:pt x="3" y="100"/>
                  <a:pt x="2" y="103"/>
                  <a:pt x="2" y="106"/>
                </a:cubicBezTo>
                <a:cubicBezTo>
                  <a:pt x="2" y="109"/>
                  <a:pt x="2" y="113"/>
                  <a:pt x="2" y="116"/>
                </a:cubicBezTo>
                <a:cubicBezTo>
                  <a:pt x="2" y="119"/>
                  <a:pt x="2" y="122"/>
                  <a:pt x="2" y="126"/>
                </a:cubicBezTo>
                <a:cubicBezTo>
                  <a:pt x="2" y="127"/>
                  <a:pt x="2" y="129"/>
                  <a:pt x="2" y="130"/>
                </a:cubicBezTo>
                <a:cubicBezTo>
                  <a:pt x="2" y="131"/>
                  <a:pt x="2" y="133"/>
                  <a:pt x="2" y="134"/>
                </a:cubicBezTo>
                <a:cubicBezTo>
                  <a:pt x="4" y="135"/>
                  <a:pt x="7" y="135"/>
                  <a:pt x="10" y="136"/>
                </a:cubicBezTo>
                <a:cubicBezTo>
                  <a:pt x="13" y="136"/>
                  <a:pt x="16" y="134"/>
                  <a:pt x="19" y="134"/>
                </a:cubicBezTo>
                <a:cubicBezTo>
                  <a:pt x="20" y="134"/>
                  <a:pt x="22" y="134"/>
                  <a:pt x="23" y="134"/>
                </a:cubicBezTo>
                <a:cubicBezTo>
                  <a:pt x="24" y="134"/>
                  <a:pt x="25" y="135"/>
                  <a:pt x="26" y="136"/>
                </a:cubicBezTo>
                <a:cubicBezTo>
                  <a:pt x="27" y="136"/>
                  <a:pt x="28" y="136"/>
                  <a:pt x="29" y="136"/>
                </a:cubicBezTo>
                <a:cubicBezTo>
                  <a:pt x="31" y="136"/>
                  <a:pt x="31" y="134"/>
                  <a:pt x="33" y="134"/>
                </a:cubicBezTo>
                <a:cubicBezTo>
                  <a:pt x="35" y="133"/>
                  <a:pt x="38" y="133"/>
                  <a:pt x="40" y="132"/>
                </a:cubicBezTo>
                <a:cubicBezTo>
                  <a:pt x="41" y="132"/>
                  <a:pt x="42" y="132"/>
                  <a:pt x="42" y="130"/>
                </a:cubicBezTo>
                <a:cubicBezTo>
                  <a:pt x="42" y="129"/>
                  <a:pt x="42" y="128"/>
                  <a:pt x="41" y="127"/>
                </a:cubicBezTo>
                <a:cubicBezTo>
                  <a:pt x="40" y="124"/>
                  <a:pt x="38" y="124"/>
                  <a:pt x="36" y="123"/>
                </a:cubicBezTo>
                <a:cubicBezTo>
                  <a:pt x="35" y="122"/>
                  <a:pt x="34" y="121"/>
                  <a:pt x="32" y="121"/>
                </a:cubicBezTo>
                <a:cubicBezTo>
                  <a:pt x="31" y="121"/>
                  <a:pt x="29" y="121"/>
                  <a:pt x="28" y="121"/>
                </a:cubicBezTo>
                <a:cubicBezTo>
                  <a:pt x="27" y="121"/>
                  <a:pt x="25" y="121"/>
                  <a:pt x="25" y="121"/>
                </a:cubicBezTo>
                <a:cubicBezTo>
                  <a:pt x="24" y="120"/>
                  <a:pt x="24" y="119"/>
                  <a:pt x="23" y="119"/>
                </a:cubicBezTo>
                <a:cubicBezTo>
                  <a:pt x="23" y="118"/>
                  <a:pt x="20" y="120"/>
                  <a:pt x="20" y="118"/>
                </a:cubicBezTo>
                <a:cubicBezTo>
                  <a:pt x="21" y="116"/>
                  <a:pt x="23" y="116"/>
                  <a:pt x="25" y="117"/>
                </a:cubicBezTo>
                <a:cubicBezTo>
                  <a:pt x="27" y="119"/>
                  <a:pt x="29" y="118"/>
                  <a:pt x="32" y="118"/>
                </a:cubicBezTo>
                <a:cubicBezTo>
                  <a:pt x="33" y="118"/>
                  <a:pt x="34" y="119"/>
                  <a:pt x="35" y="119"/>
                </a:cubicBezTo>
                <a:cubicBezTo>
                  <a:pt x="36" y="120"/>
                  <a:pt x="37" y="119"/>
                  <a:pt x="38" y="119"/>
                </a:cubicBezTo>
                <a:cubicBezTo>
                  <a:pt x="39" y="118"/>
                  <a:pt x="40" y="118"/>
                  <a:pt x="42" y="117"/>
                </a:cubicBezTo>
                <a:cubicBezTo>
                  <a:pt x="42" y="117"/>
                  <a:pt x="44" y="119"/>
                  <a:pt x="45" y="117"/>
                </a:cubicBezTo>
                <a:cubicBezTo>
                  <a:pt x="45" y="115"/>
                  <a:pt x="41" y="115"/>
                  <a:pt x="41" y="113"/>
                </a:cubicBezTo>
                <a:cubicBezTo>
                  <a:pt x="41" y="113"/>
                  <a:pt x="41" y="112"/>
                  <a:pt x="42" y="111"/>
                </a:cubicBezTo>
                <a:cubicBezTo>
                  <a:pt x="43" y="111"/>
                  <a:pt x="44" y="113"/>
                  <a:pt x="45" y="113"/>
                </a:cubicBezTo>
                <a:cubicBezTo>
                  <a:pt x="46" y="114"/>
                  <a:pt x="48" y="114"/>
                  <a:pt x="50" y="114"/>
                </a:cubicBezTo>
                <a:cubicBezTo>
                  <a:pt x="52" y="113"/>
                  <a:pt x="49" y="111"/>
                  <a:pt x="49" y="110"/>
                </a:cubicBezTo>
                <a:cubicBezTo>
                  <a:pt x="49" y="109"/>
                  <a:pt x="49" y="108"/>
                  <a:pt x="48" y="108"/>
                </a:cubicBezTo>
                <a:cubicBezTo>
                  <a:pt x="47" y="107"/>
                  <a:pt x="46" y="107"/>
                  <a:pt x="46" y="106"/>
                </a:cubicBezTo>
                <a:cubicBezTo>
                  <a:pt x="46" y="103"/>
                  <a:pt x="50" y="106"/>
                  <a:pt x="51" y="107"/>
                </a:cubicBezTo>
                <a:cubicBezTo>
                  <a:pt x="53" y="109"/>
                  <a:pt x="54" y="109"/>
                  <a:pt x="57" y="108"/>
                </a:cubicBezTo>
                <a:cubicBezTo>
                  <a:pt x="57" y="108"/>
                  <a:pt x="58" y="108"/>
                  <a:pt x="59" y="108"/>
                </a:cubicBezTo>
                <a:cubicBezTo>
                  <a:pt x="60" y="108"/>
                  <a:pt x="59" y="106"/>
                  <a:pt x="60" y="106"/>
                </a:cubicBezTo>
                <a:cubicBezTo>
                  <a:pt x="61" y="104"/>
                  <a:pt x="62" y="108"/>
                  <a:pt x="63" y="107"/>
                </a:cubicBezTo>
                <a:cubicBezTo>
                  <a:pt x="64" y="106"/>
                  <a:pt x="65" y="106"/>
                  <a:pt x="66" y="106"/>
                </a:cubicBezTo>
                <a:cubicBezTo>
                  <a:pt x="67" y="107"/>
                  <a:pt x="67" y="108"/>
                  <a:pt x="67" y="109"/>
                </a:cubicBezTo>
                <a:cubicBezTo>
                  <a:pt x="68" y="111"/>
                  <a:pt x="71" y="111"/>
                  <a:pt x="72" y="111"/>
                </a:cubicBezTo>
                <a:cubicBezTo>
                  <a:pt x="75" y="111"/>
                  <a:pt x="78" y="112"/>
                  <a:pt x="80" y="112"/>
                </a:cubicBezTo>
                <a:cubicBezTo>
                  <a:pt x="86" y="114"/>
                  <a:pt x="89" y="117"/>
                  <a:pt x="92" y="121"/>
                </a:cubicBezTo>
                <a:cubicBezTo>
                  <a:pt x="94" y="124"/>
                  <a:pt x="94" y="126"/>
                  <a:pt x="95" y="128"/>
                </a:cubicBezTo>
                <a:cubicBezTo>
                  <a:pt x="96" y="131"/>
                  <a:pt x="98" y="132"/>
                  <a:pt x="100" y="132"/>
                </a:cubicBezTo>
                <a:cubicBezTo>
                  <a:pt x="101" y="132"/>
                  <a:pt x="102" y="132"/>
                  <a:pt x="103" y="132"/>
                </a:cubicBezTo>
                <a:cubicBezTo>
                  <a:pt x="104" y="132"/>
                  <a:pt x="104" y="133"/>
                  <a:pt x="104" y="134"/>
                </a:cubicBezTo>
                <a:cubicBezTo>
                  <a:pt x="104" y="135"/>
                  <a:pt x="105" y="139"/>
                  <a:pt x="106" y="140"/>
                </a:cubicBezTo>
                <a:cubicBezTo>
                  <a:pt x="107" y="140"/>
                  <a:pt x="108" y="140"/>
                  <a:pt x="109" y="141"/>
                </a:cubicBezTo>
                <a:cubicBezTo>
                  <a:pt x="110" y="142"/>
                  <a:pt x="111" y="143"/>
                  <a:pt x="112" y="143"/>
                </a:cubicBezTo>
                <a:cubicBezTo>
                  <a:pt x="113" y="144"/>
                  <a:pt x="113" y="145"/>
                  <a:pt x="114" y="147"/>
                </a:cubicBezTo>
                <a:cubicBezTo>
                  <a:pt x="115" y="148"/>
                  <a:pt x="115" y="149"/>
                  <a:pt x="116" y="150"/>
                </a:cubicBezTo>
                <a:cubicBezTo>
                  <a:pt x="119" y="151"/>
                  <a:pt x="122" y="150"/>
                  <a:pt x="124" y="150"/>
                </a:cubicBezTo>
                <a:cubicBezTo>
                  <a:pt x="128" y="151"/>
                  <a:pt x="131" y="151"/>
                  <a:pt x="134" y="151"/>
                </a:cubicBezTo>
                <a:cubicBezTo>
                  <a:pt x="136" y="151"/>
                  <a:pt x="139" y="153"/>
                  <a:pt x="141" y="153"/>
                </a:cubicBezTo>
                <a:cubicBezTo>
                  <a:pt x="143" y="153"/>
                  <a:pt x="144" y="153"/>
                  <a:pt x="145" y="153"/>
                </a:cubicBezTo>
                <a:cubicBezTo>
                  <a:pt x="147" y="153"/>
                  <a:pt x="148" y="154"/>
                  <a:pt x="149" y="154"/>
                </a:cubicBezTo>
                <a:cubicBezTo>
                  <a:pt x="151" y="156"/>
                  <a:pt x="154" y="154"/>
                  <a:pt x="156" y="156"/>
                </a:cubicBezTo>
                <a:cubicBezTo>
                  <a:pt x="157" y="158"/>
                  <a:pt x="157" y="161"/>
                  <a:pt x="160" y="160"/>
                </a:cubicBezTo>
                <a:cubicBezTo>
                  <a:pt x="161" y="159"/>
                  <a:pt x="163" y="160"/>
                  <a:pt x="164" y="159"/>
                </a:cubicBezTo>
                <a:cubicBezTo>
                  <a:pt x="165" y="156"/>
                  <a:pt x="161" y="156"/>
                  <a:pt x="160" y="155"/>
                </a:cubicBezTo>
                <a:cubicBezTo>
                  <a:pt x="158" y="153"/>
                  <a:pt x="159" y="150"/>
                  <a:pt x="157" y="149"/>
                </a:cubicBezTo>
                <a:cubicBezTo>
                  <a:pt x="155" y="148"/>
                  <a:pt x="152" y="148"/>
                  <a:pt x="151" y="146"/>
                </a:cubicBezTo>
                <a:cubicBezTo>
                  <a:pt x="149" y="144"/>
                  <a:pt x="152" y="143"/>
                  <a:pt x="153" y="143"/>
                </a:cubicBezTo>
                <a:cubicBezTo>
                  <a:pt x="154" y="143"/>
                  <a:pt x="155" y="143"/>
                  <a:pt x="155" y="143"/>
                </a:cubicBezTo>
                <a:cubicBezTo>
                  <a:pt x="155" y="142"/>
                  <a:pt x="154" y="142"/>
                  <a:pt x="153" y="141"/>
                </a:cubicBezTo>
                <a:cubicBezTo>
                  <a:pt x="151" y="140"/>
                  <a:pt x="149" y="141"/>
                  <a:pt x="147" y="141"/>
                </a:cubicBezTo>
                <a:cubicBezTo>
                  <a:pt x="146" y="141"/>
                  <a:pt x="145" y="141"/>
                  <a:pt x="144" y="141"/>
                </a:cubicBezTo>
                <a:cubicBezTo>
                  <a:pt x="143" y="140"/>
                  <a:pt x="141" y="139"/>
                  <a:pt x="140" y="138"/>
                </a:cubicBezTo>
                <a:cubicBezTo>
                  <a:pt x="139" y="136"/>
                  <a:pt x="141" y="135"/>
                  <a:pt x="142" y="133"/>
                </a:cubicBezTo>
                <a:cubicBezTo>
                  <a:pt x="142" y="132"/>
                  <a:pt x="141" y="132"/>
                  <a:pt x="140" y="131"/>
                </a:cubicBezTo>
                <a:cubicBezTo>
                  <a:pt x="139" y="131"/>
                  <a:pt x="138" y="132"/>
                  <a:pt x="136" y="132"/>
                </a:cubicBezTo>
                <a:cubicBezTo>
                  <a:pt x="134" y="132"/>
                  <a:pt x="131" y="132"/>
                  <a:pt x="129" y="132"/>
                </a:cubicBezTo>
                <a:cubicBezTo>
                  <a:pt x="127" y="131"/>
                  <a:pt x="127" y="127"/>
                  <a:pt x="126" y="125"/>
                </a:cubicBezTo>
                <a:cubicBezTo>
                  <a:pt x="125" y="122"/>
                  <a:pt x="123" y="118"/>
                  <a:pt x="121" y="115"/>
                </a:cubicBezTo>
                <a:cubicBezTo>
                  <a:pt x="120" y="113"/>
                  <a:pt x="119" y="112"/>
                  <a:pt x="118" y="111"/>
                </a:cubicBezTo>
                <a:cubicBezTo>
                  <a:pt x="116" y="110"/>
                  <a:pt x="115" y="109"/>
                  <a:pt x="114" y="108"/>
                </a:cubicBezTo>
                <a:cubicBezTo>
                  <a:pt x="112" y="107"/>
                  <a:pt x="110" y="107"/>
                  <a:pt x="109" y="106"/>
                </a:cubicBezTo>
                <a:cubicBezTo>
                  <a:pt x="107" y="106"/>
                  <a:pt x="106" y="105"/>
                  <a:pt x="105" y="103"/>
                </a:cubicBezTo>
                <a:cubicBezTo>
                  <a:pt x="105" y="101"/>
                  <a:pt x="105" y="100"/>
                  <a:pt x="104" y="98"/>
                </a:cubicBezTo>
                <a:cubicBezTo>
                  <a:pt x="103" y="97"/>
                  <a:pt x="102" y="95"/>
                  <a:pt x="102" y="94"/>
                </a:cubicBezTo>
                <a:cubicBezTo>
                  <a:pt x="103" y="92"/>
                  <a:pt x="104" y="92"/>
                  <a:pt x="105" y="92"/>
                </a:cubicBezTo>
                <a:cubicBezTo>
                  <a:pt x="107" y="92"/>
                  <a:pt x="109" y="92"/>
                  <a:pt x="110" y="92"/>
                </a:cubicBezTo>
                <a:cubicBezTo>
                  <a:pt x="113" y="92"/>
                  <a:pt x="117" y="92"/>
                  <a:pt x="117" y="88"/>
                </a:cubicBezTo>
                <a:cubicBezTo>
                  <a:pt x="117" y="81"/>
                  <a:pt x="110" y="80"/>
                  <a:pt x="105" y="77"/>
                </a:cubicBezTo>
                <a:cubicBezTo>
                  <a:pt x="105" y="77"/>
                  <a:pt x="106" y="78"/>
                  <a:pt x="106" y="78"/>
                </a:cubicBezTo>
                <a:cubicBezTo>
                  <a:pt x="104" y="77"/>
                  <a:pt x="106" y="78"/>
                  <a:pt x="106" y="78"/>
                </a:cubicBezTo>
                <a:close/>
                <a:moveTo>
                  <a:pt x="217" y="174"/>
                </a:moveTo>
                <a:cubicBezTo>
                  <a:pt x="216" y="174"/>
                  <a:pt x="215" y="174"/>
                  <a:pt x="214" y="173"/>
                </a:cubicBezTo>
                <a:cubicBezTo>
                  <a:pt x="213" y="173"/>
                  <a:pt x="212" y="172"/>
                  <a:pt x="211" y="171"/>
                </a:cubicBezTo>
                <a:cubicBezTo>
                  <a:pt x="211" y="171"/>
                  <a:pt x="210" y="171"/>
                  <a:pt x="210" y="172"/>
                </a:cubicBezTo>
                <a:cubicBezTo>
                  <a:pt x="210" y="173"/>
                  <a:pt x="212" y="174"/>
                  <a:pt x="212" y="174"/>
                </a:cubicBezTo>
                <a:cubicBezTo>
                  <a:pt x="214" y="175"/>
                  <a:pt x="215" y="177"/>
                  <a:pt x="216" y="177"/>
                </a:cubicBezTo>
                <a:cubicBezTo>
                  <a:pt x="218" y="176"/>
                  <a:pt x="218" y="175"/>
                  <a:pt x="216" y="174"/>
                </a:cubicBezTo>
                <a:cubicBezTo>
                  <a:pt x="216" y="174"/>
                  <a:pt x="217" y="174"/>
                  <a:pt x="217" y="174"/>
                </a:cubicBezTo>
                <a:cubicBezTo>
                  <a:pt x="216" y="174"/>
                  <a:pt x="217" y="174"/>
                  <a:pt x="217" y="174"/>
                </a:cubicBezTo>
                <a:close/>
                <a:moveTo>
                  <a:pt x="224" y="171"/>
                </a:moveTo>
                <a:cubicBezTo>
                  <a:pt x="224" y="172"/>
                  <a:pt x="225" y="173"/>
                  <a:pt x="226" y="173"/>
                </a:cubicBezTo>
                <a:cubicBezTo>
                  <a:pt x="226" y="173"/>
                  <a:pt x="227" y="173"/>
                  <a:pt x="227" y="172"/>
                </a:cubicBezTo>
                <a:cubicBezTo>
                  <a:pt x="228" y="171"/>
                  <a:pt x="224" y="170"/>
                  <a:pt x="224" y="171"/>
                </a:cubicBezTo>
                <a:cubicBezTo>
                  <a:pt x="224" y="171"/>
                  <a:pt x="224" y="171"/>
                  <a:pt x="224" y="171"/>
                </a:cubicBezTo>
                <a:cubicBezTo>
                  <a:pt x="224" y="172"/>
                  <a:pt x="224" y="171"/>
                  <a:pt x="224" y="171"/>
                </a:cubicBezTo>
                <a:close/>
                <a:moveTo>
                  <a:pt x="164" y="151"/>
                </a:moveTo>
                <a:cubicBezTo>
                  <a:pt x="163" y="152"/>
                  <a:pt x="164" y="153"/>
                  <a:pt x="164" y="154"/>
                </a:cubicBezTo>
                <a:cubicBezTo>
                  <a:pt x="165" y="155"/>
                  <a:pt x="166" y="154"/>
                  <a:pt x="168" y="153"/>
                </a:cubicBezTo>
                <a:cubicBezTo>
                  <a:pt x="169" y="153"/>
                  <a:pt x="169" y="152"/>
                  <a:pt x="167" y="152"/>
                </a:cubicBezTo>
                <a:cubicBezTo>
                  <a:pt x="166" y="152"/>
                  <a:pt x="164" y="151"/>
                  <a:pt x="163" y="152"/>
                </a:cubicBezTo>
                <a:cubicBezTo>
                  <a:pt x="163" y="152"/>
                  <a:pt x="164" y="151"/>
                  <a:pt x="164" y="151"/>
                </a:cubicBezTo>
                <a:cubicBezTo>
                  <a:pt x="163" y="152"/>
                  <a:pt x="164" y="151"/>
                  <a:pt x="164" y="151"/>
                </a:cubicBezTo>
                <a:close/>
                <a:moveTo>
                  <a:pt x="175" y="151"/>
                </a:moveTo>
                <a:cubicBezTo>
                  <a:pt x="177" y="150"/>
                  <a:pt x="175" y="148"/>
                  <a:pt x="174" y="149"/>
                </a:cubicBezTo>
                <a:cubicBezTo>
                  <a:pt x="173" y="151"/>
                  <a:pt x="175" y="151"/>
                  <a:pt x="176" y="151"/>
                </a:cubicBezTo>
                <a:cubicBezTo>
                  <a:pt x="176" y="151"/>
                  <a:pt x="176" y="151"/>
                  <a:pt x="175" y="151"/>
                </a:cubicBezTo>
                <a:cubicBezTo>
                  <a:pt x="176" y="151"/>
                  <a:pt x="175" y="151"/>
                  <a:pt x="175" y="151"/>
                </a:cubicBezTo>
                <a:close/>
                <a:moveTo>
                  <a:pt x="157" y="135"/>
                </a:moveTo>
                <a:cubicBezTo>
                  <a:pt x="156" y="136"/>
                  <a:pt x="157" y="138"/>
                  <a:pt x="157" y="139"/>
                </a:cubicBezTo>
                <a:cubicBezTo>
                  <a:pt x="158" y="140"/>
                  <a:pt x="158" y="141"/>
                  <a:pt x="159" y="139"/>
                </a:cubicBezTo>
                <a:cubicBezTo>
                  <a:pt x="160" y="138"/>
                  <a:pt x="160" y="136"/>
                  <a:pt x="159" y="135"/>
                </a:cubicBezTo>
                <a:cubicBezTo>
                  <a:pt x="158" y="134"/>
                  <a:pt x="157" y="134"/>
                  <a:pt x="156" y="135"/>
                </a:cubicBezTo>
                <a:cubicBezTo>
                  <a:pt x="156" y="135"/>
                  <a:pt x="156" y="135"/>
                  <a:pt x="157" y="135"/>
                </a:cubicBezTo>
                <a:cubicBezTo>
                  <a:pt x="156" y="137"/>
                  <a:pt x="157" y="135"/>
                  <a:pt x="157" y="135"/>
                </a:cubicBezTo>
                <a:close/>
                <a:moveTo>
                  <a:pt x="171" y="147"/>
                </a:moveTo>
                <a:cubicBezTo>
                  <a:pt x="170" y="148"/>
                  <a:pt x="170" y="149"/>
                  <a:pt x="170" y="149"/>
                </a:cubicBezTo>
                <a:cubicBezTo>
                  <a:pt x="171" y="150"/>
                  <a:pt x="172" y="150"/>
                  <a:pt x="172" y="149"/>
                </a:cubicBezTo>
                <a:cubicBezTo>
                  <a:pt x="172" y="148"/>
                  <a:pt x="171" y="146"/>
                  <a:pt x="170" y="148"/>
                </a:cubicBezTo>
                <a:cubicBezTo>
                  <a:pt x="170" y="148"/>
                  <a:pt x="170" y="147"/>
                  <a:pt x="171" y="147"/>
                </a:cubicBezTo>
                <a:cubicBezTo>
                  <a:pt x="170" y="148"/>
                  <a:pt x="171" y="147"/>
                  <a:pt x="171" y="147"/>
                </a:cubicBezTo>
                <a:close/>
                <a:moveTo>
                  <a:pt x="168" y="141"/>
                </a:moveTo>
                <a:cubicBezTo>
                  <a:pt x="167" y="140"/>
                  <a:pt x="168" y="139"/>
                  <a:pt x="167" y="139"/>
                </a:cubicBezTo>
                <a:cubicBezTo>
                  <a:pt x="167" y="138"/>
                  <a:pt x="166" y="138"/>
                  <a:pt x="165" y="138"/>
                </a:cubicBezTo>
                <a:cubicBezTo>
                  <a:pt x="164" y="138"/>
                  <a:pt x="163" y="138"/>
                  <a:pt x="163" y="140"/>
                </a:cubicBezTo>
                <a:cubicBezTo>
                  <a:pt x="164" y="141"/>
                  <a:pt x="164" y="142"/>
                  <a:pt x="166" y="143"/>
                </a:cubicBezTo>
                <a:cubicBezTo>
                  <a:pt x="167" y="143"/>
                  <a:pt x="168" y="143"/>
                  <a:pt x="169" y="142"/>
                </a:cubicBezTo>
                <a:cubicBezTo>
                  <a:pt x="169" y="142"/>
                  <a:pt x="168" y="141"/>
                  <a:pt x="168" y="141"/>
                </a:cubicBezTo>
                <a:cubicBezTo>
                  <a:pt x="168" y="141"/>
                  <a:pt x="168" y="141"/>
                  <a:pt x="168" y="141"/>
                </a:cubicBezTo>
                <a:cubicBezTo>
                  <a:pt x="168" y="140"/>
                  <a:pt x="168" y="141"/>
                  <a:pt x="168" y="141"/>
                </a:cubicBezTo>
                <a:close/>
                <a:moveTo>
                  <a:pt x="205" y="133"/>
                </a:moveTo>
                <a:cubicBezTo>
                  <a:pt x="205" y="132"/>
                  <a:pt x="198" y="131"/>
                  <a:pt x="197" y="132"/>
                </a:cubicBezTo>
                <a:cubicBezTo>
                  <a:pt x="197" y="134"/>
                  <a:pt x="201" y="134"/>
                  <a:pt x="202" y="135"/>
                </a:cubicBezTo>
                <a:cubicBezTo>
                  <a:pt x="203" y="135"/>
                  <a:pt x="204" y="136"/>
                  <a:pt x="205" y="135"/>
                </a:cubicBezTo>
                <a:cubicBezTo>
                  <a:pt x="206" y="134"/>
                  <a:pt x="206" y="134"/>
                  <a:pt x="205" y="133"/>
                </a:cubicBezTo>
                <a:cubicBezTo>
                  <a:pt x="205" y="133"/>
                  <a:pt x="205" y="133"/>
                  <a:pt x="205" y="133"/>
                </a:cubicBezTo>
                <a:cubicBezTo>
                  <a:pt x="205" y="132"/>
                  <a:pt x="205" y="133"/>
                  <a:pt x="205" y="133"/>
                </a:cubicBezTo>
                <a:close/>
                <a:moveTo>
                  <a:pt x="200" y="159"/>
                </a:moveTo>
                <a:cubicBezTo>
                  <a:pt x="200" y="159"/>
                  <a:pt x="198" y="158"/>
                  <a:pt x="198" y="159"/>
                </a:cubicBezTo>
                <a:cubicBezTo>
                  <a:pt x="198" y="160"/>
                  <a:pt x="200" y="161"/>
                  <a:pt x="201" y="161"/>
                </a:cubicBezTo>
                <a:cubicBezTo>
                  <a:pt x="201" y="161"/>
                  <a:pt x="203" y="161"/>
                  <a:pt x="203" y="160"/>
                </a:cubicBezTo>
                <a:cubicBezTo>
                  <a:pt x="203" y="159"/>
                  <a:pt x="201" y="159"/>
                  <a:pt x="200" y="159"/>
                </a:cubicBezTo>
                <a:cubicBezTo>
                  <a:pt x="200" y="159"/>
                  <a:pt x="200" y="159"/>
                  <a:pt x="200" y="159"/>
                </a:cubicBezTo>
                <a:cubicBezTo>
                  <a:pt x="200" y="159"/>
                  <a:pt x="200" y="159"/>
                  <a:pt x="200" y="159"/>
                </a:cubicBezTo>
                <a:close/>
                <a:moveTo>
                  <a:pt x="175" y="126"/>
                </a:moveTo>
                <a:cubicBezTo>
                  <a:pt x="175" y="125"/>
                  <a:pt x="175" y="123"/>
                  <a:pt x="174" y="122"/>
                </a:cubicBezTo>
                <a:cubicBezTo>
                  <a:pt x="173" y="120"/>
                  <a:pt x="171" y="122"/>
                  <a:pt x="171" y="123"/>
                </a:cubicBezTo>
                <a:cubicBezTo>
                  <a:pt x="171" y="125"/>
                  <a:pt x="172" y="126"/>
                  <a:pt x="173" y="127"/>
                </a:cubicBezTo>
                <a:cubicBezTo>
                  <a:pt x="174" y="127"/>
                  <a:pt x="175" y="127"/>
                  <a:pt x="175" y="126"/>
                </a:cubicBezTo>
                <a:cubicBezTo>
                  <a:pt x="175" y="126"/>
                  <a:pt x="175" y="126"/>
                  <a:pt x="175" y="126"/>
                </a:cubicBezTo>
                <a:cubicBezTo>
                  <a:pt x="175" y="125"/>
                  <a:pt x="175" y="126"/>
                  <a:pt x="175" y="126"/>
                </a:cubicBezTo>
                <a:close/>
                <a:moveTo>
                  <a:pt x="218" y="48"/>
                </a:moveTo>
                <a:cubicBezTo>
                  <a:pt x="218" y="47"/>
                  <a:pt x="217" y="44"/>
                  <a:pt x="216" y="45"/>
                </a:cubicBezTo>
                <a:cubicBezTo>
                  <a:pt x="216" y="46"/>
                  <a:pt x="215" y="47"/>
                  <a:pt x="216" y="47"/>
                </a:cubicBezTo>
                <a:cubicBezTo>
                  <a:pt x="216" y="48"/>
                  <a:pt x="217" y="49"/>
                  <a:pt x="218" y="48"/>
                </a:cubicBezTo>
                <a:cubicBezTo>
                  <a:pt x="218" y="48"/>
                  <a:pt x="218" y="48"/>
                  <a:pt x="218" y="48"/>
                </a:cubicBezTo>
                <a:cubicBezTo>
                  <a:pt x="218" y="47"/>
                  <a:pt x="218" y="48"/>
                  <a:pt x="218" y="48"/>
                </a:cubicBezTo>
                <a:close/>
                <a:moveTo>
                  <a:pt x="188" y="23"/>
                </a:moveTo>
                <a:cubicBezTo>
                  <a:pt x="186" y="25"/>
                  <a:pt x="189" y="27"/>
                  <a:pt x="189" y="25"/>
                </a:cubicBezTo>
                <a:cubicBezTo>
                  <a:pt x="189" y="24"/>
                  <a:pt x="188" y="22"/>
                  <a:pt x="187" y="24"/>
                </a:cubicBezTo>
                <a:cubicBezTo>
                  <a:pt x="187" y="23"/>
                  <a:pt x="187" y="23"/>
                  <a:pt x="188" y="23"/>
                </a:cubicBezTo>
                <a:cubicBezTo>
                  <a:pt x="187" y="24"/>
                  <a:pt x="188" y="23"/>
                  <a:pt x="188" y="23"/>
                </a:cubicBezTo>
                <a:close/>
                <a:moveTo>
                  <a:pt x="181" y="29"/>
                </a:moveTo>
                <a:cubicBezTo>
                  <a:pt x="179" y="27"/>
                  <a:pt x="175" y="24"/>
                  <a:pt x="172" y="23"/>
                </a:cubicBezTo>
                <a:cubicBezTo>
                  <a:pt x="172" y="23"/>
                  <a:pt x="170" y="22"/>
                  <a:pt x="170" y="23"/>
                </a:cubicBezTo>
                <a:cubicBezTo>
                  <a:pt x="170" y="24"/>
                  <a:pt x="170" y="25"/>
                  <a:pt x="171" y="26"/>
                </a:cubicBezTo>
                <a:cubicBezTo>
                  <a:pt x="172" y="26"/>
                  <a:pt x="173" y="27"/>
                  <a:pt x="175" y="27"/>
                </a:cubicBezTo>
                <a:cubicBezTo>
                  <a:pt x="177" y="28"/>
                  <a:pt x="178" y="30"/>
                  <a:pt x="181" y="32"/>
                </a:cubicBezTo>
                <a:cubicBezTo>
                  <a:pt x="183" y="33"/>
                  <a:pt x="186" y="33"/>
                  <a:pt x="188" y="35"/>
                </a:cubicBezTo>
                <a:cubicBezTo>
                  <a:pt x="189" y="37"/>
                  <a:pt x="192" y="38"/>
                  <a:pt x="193" y="39"/>
                </a:cubicBezTo>
                <a:cubicBezTo>
                  <a:pt x="195" y="42"/>
                  <a:pt x="197" y="44"/>
                  <a:pt x="199" y="46"/>
                </a:cubicBezTo>
                <a:cubicBezTo>
                  <a:pt x="199" y="47"/>
                  <a:pt x="200" y="49"/>
                  <a:pt x="200" y="50"/>
                </a:cubicBezTo>
                <a:cubicBezTo>
                  <a:pt x="200" y="51"/>
                  <a:pt x="200" y="52"/>
                  <a:pt x="200" y="54"/>
                </a:cubicBezTo>
                <a:cubicBezTo>
                  <a:pt x="200" y="55"/>
                  <a:pt x="201" y="57"/>
                  <a:pt x="202" y="58"/>
                </a:cubicBezTo>
                <a:cubicBezTo>
                  <a:pt x="203" y="60"/>
                  <a:pt x="204" y="59"/>
                  <a:pt x="204" y="57"/>
                </a:cubicBezTo>
                <a:cubicBezTo>
                  <a:pt x="205" y="55"/>
                  <a:pt x="205" y="54"/>
                  <a:pt x="206" y="52"/>
                </a:cubicBezTo>
                <a:cubicBezTo>
                  <a:pt x="208" y="50"/>
                  <a:pt x="206" y="47"/>
                  <a:pt x="204" y="46"/>
                </a:cubicBezTo>
                <a:cubicBezTo>
                  <a:pt x="202" y="44"/>
                  <a:pt x="200" y="42"/>
                  <a:pt x="197" y="40"/>
                </a:cubicBezTo>
                <a:cubicBezTo>
                  <a:pt x="193" y="37"/>
                  <a:pt x="190" y="33"/>
                  <a:pt x="185" y="31"/>
                </a:cubicBezTo>
                <a:cubicBezTo>
                  <a:pt x="183" y="31"/>
                  <a:pt x="181" y="30"/>
                  <a:pt x="180" y="29"/>
                </a:cubicBezTo>
                <a:cubicBezTo>
                  <a:pt x="180" y="29"/>
                  <a:pt x="180" y="29"/>
                  <a:pt x="181" y="29"/>
                </a:cubicBezTo>
                <a:cubicBezTo>
                  <a:pt x="179" y="28"/>
                  <a:pt x="181" y="29"/>
                  <a:pt x="181" y="29"/>
                </a:cubicBezTo>
                <a:close/>
                <a:moveTo>
                  <a:pt x="198" y="31"/>
                </a:moveTo>
                <a:cubicBezTo>
                  <a:pt x="198" y="32"/>
                  <a:pt x="199" y="34"/>
                  <a:pt x="200" y="33"/>
                </a:cubicBezTo>
                <a:cubicBezTo>
                  <a:pt x="200" y="32"/>
                  <a:pt x="200" y="31"/>
                  <a:pt x="200" y="31"/>
                </a:cubicBezTo>
                <a:cubicBezTo>
                  <a:pt x="200" y="30"/>
                  <a:pt x="199" y="28"/>
                  <a:pt x="198" y="29"/>
                </a:cubicBezTo>
                <a:cubicBezTo>
                  <a:pt x="197" y="30"/>
                  <a:pt x="197" y="31"/>
                  <a:pt x="198" y="32"/>
                </a:cubicBezTo>
                <a:cubicBezTo>
                  <a:pt x="198" y="32"/>
                  <a:pt x="198" y="32"/>
                  <a:pt x="198" y="31"/>
                </a:cubicBezTo>
                <a:cubicBezTo>
                  <a:pt x="198" y="32"/>
                  <a:pt x="198" y="31"/>
                  <a:pt x="198" y="31"/>
                </a:cubicBezTo>
                <a:close/>
                <a:moveTo>
                  <a:pt x="161" y="20"/>
                </a:moveTo>
                <a:cubicBezTo>
                  <a:pt x="160" y="18"/>
                  <a:pt x="155" y="17"/>
                  <a:pt x="155" y="20"/>
                </a:cubicBezTo>
                <a:cubicBezTo>
                  <a:pt x="155" y="21"/>
                  <a:pt x="157" y="21"/>
                  <a:pt x="158" y="21"/>
                </a:cubicBezTo>
                <a:cubicBezTo>
                  <a:pt x="158" y="22"/>
                  <a:pt x="159" y="22"/>
                  <a:pt x="160" y="22"/>
                </a:cubicBezTo>
                <a:cubicBezTo>
                  <a:pt x="161" y="21"/>
                  <a:pt x="161" y="20"/>
                  <a:pt x="161" y="20"/>
                </a:cubicBezTo>
                <a:cubicBezTo>
                  <a:pt x="161" y="20"/>
                  <a:pt x="161" y="20"/>
                  <a:pt x="161" y="20"/>
                </a:cubicBezTo>
                <a:cubicBezTo>
                  <a:pt x="160" y="18"/>
                  <a:pt x="161" y="20"/>
                  <a:pt x="161" y="20"/>
                </a:cubicBezTo>
                <a:close/>
                <a:moveTo>
                  <a:pt x="156" y="62"/>
                </a:moveTo>
                <a:cubicBezTo>
                  <a:pt x="155" y="63"/>
                  <a:pt x="154" y="65"/>
                  <a:pt x="156" y="65"/>
                </a:cubicBezTo>
                <a:cubicBezTo>
                  <a:pt x="157" y="66"/>
                  <a:pt x="158" y="65"/>
                  <a:pt x="158" y="64"/>
                </a:cubicBezTo>
                <a:cubicBezTo>
                  <a:pt x="159" y="63"/>
                  <a:pt x="156" y="60"/>
                  <a:pt x="155" y="63"/>
                </a:cubicBezTo>
                <a:cubicBezTo>
                  <a:pt x="155" y="62"/>
                  <a:pt x="155" y="62"/>
                  <a:pt x="156" y="62"/>
                </a:cubicBezTo>
                <a:cubicBezTo>
                  <a:pt x="155" y="63"/>
                  <a:pt x="156" y="62"/>
                  <a:pt x="156" y="62"/>
                </a:cubicBezTo>
                <a:close/>
                <a:moveTo>
                  <a:pt x="144" y="56"/>
                </a:moveTo>
                <a:cubicBezTo>
                  <a:pt x="144" y="59"/>
                  <a:pt x="149" y="60"/>
                  <a:pt x="148" y="58"/>
                </a:cubicBezTo>
                <a:cubicBezTo>
                  <a:pt x="148" y="56"/>
                  <a:pt x="145" y="54"/>
                  <a:pt x="144" y="57"/>
                </a:cubicBezTo>
                <a:cubicBezTo>
                  <a:pt x="144" y="57"/>
                  <a:pt x="144" y="57"/>
                  <a:pt x="144" y="56"/>
                </a:cubicBezTo>
                <a:cubicBezTo>
                  <a:pt x="144" y="57"/>
                  <a:pt x="144" y="56"/>
                  <a:pt x="144" y="56"/>
                </a:cubicBezTo>
                <a:close/>
                <a:moveTo>
                  <a:pt x="148" y="1"/>
                </a:moveTo>
                <a:cubicBezTo>
                  <a:pt x="146" y="2"/>
                  <a:pt x="148" y="4"/>
                  <a:pt x="149" y="4"/>
                </a:cubicBezTo>
                <a:cubicBezTo>
                  <a:pt x="150" y="5"/>
                  <a:pt x="151" y="4"/>
                  <a:pt x="151" y="3"/>
                </a:cubicBezTo>
                <a:cubicBezTo>
                  <a:pt x="151" y="2"/>
                  <a:pt x="150" y="1"/>
                  <a:pt x="149" y="0"/>
                </a:cubicBezTo>
                <a:cubicBezTo>
                  <a:pt x="148" y="0"/>
                  <a:pt x="147" y="1"/>
                  <a:pt x="147" y="1"/>
                </a:cubicBezTo>
                <a:cubicBezTo>
                  <a:pt x="147" y="1"/>
                  <a:pt x="147" y="1"/>
                  <a:pt x="148" y="1"/>
                </a:cubicBezTo>
                <a:cubicBezTo>
                  <a:pt x="147" y="2"/>
                  <a:pt x="148" y="1"/>
                  <a:pt x="148" y="1"/>
                </a:cubicBezTo>
                <a:close/>
                <a:moveTo>
                  <a:pt x="119" y="18"/>
                </a:moveTo>
                <a:cubicBezTo>
                  <a:pt x="121" y="17"/>
                  <a:pt x="118" y="15"/>
                  <a:pt x="117" y="17"/>
                </a:cubicBezTo>
                <a:cubicBezTo>
                  <a:pt x="116" y="18"/>
                  <a:pt x="117" y="19"/>
                  <a:pt x="118" y="18"/>
                </a:cubicBezTo>
                <a:cubicBezTo>
                  <a:pt x="118" y="18"/>
                  <a:pt x="119" y="18"/>
                  <a:pt x="119" y="17"/>
                </a:cubicBezTo>
                <a:cubicBezTo>
                  <a:pt x="119" y="18"/>
                  <a:pt x="119" y="18"/>
                  <a:pt x="119" y="18"/>
                </a:cubicBezTo>
                <a:cubicBezTo>
                  <a:pt x="119" y="17"/>
                  <a:pt x="119" y="18"/>
                  <a:pt x="119" y="18"/>
                </a:cubicBezTo>
                <a:close/>
                <a:moveTo>
                  <a:pt x="126" y="72"/>
                </a:moveTo>
                <a:cubicBezTo>
                  <a:pt x="126" y="73"/>
                  <a:pt x="127" y="76"/>
                  <a:pt x="129" y="77"/>
                </a:cubicBezTo>
                <a:cubicBezTo>
                  <a:pt x="130" y="78"/>
                  <a:pt x="132" y="78"/>
                  <a:pt x="133" y="78"/>
                </a:cubicBezTo>
                <a:cubicBezTo>
                  <a:pt x="134" y="78"/>
                  <a:pt x="136" y="79"/>
                  <a:pt x="137" y="80"/>
                </a:cubicBezTo>
                <a:cubicBezTo>
                  <a:pt x="138" y="81"/>
                  <a:pt x="136" y="82"/>
                  <a:pt x="138" y="82"/>
                </a:cubicBezTo>
                <a:cubicBezTo>
                  <a:pt x="139" y="82"/>
                  <a:pt x="141" y="82"/>
                  <a:pt x="142" y="82"/>
                </a:cubicBezTo>
                <a:cubicBezTo>
                  <a:pt x="143" y="82"/>
                  <a:pt x="144" y="81"/>
                  <a:pt x="145" y="82"/>
                </a:cubicBezTo>
                <a:cubicBezTo>
                  <a:pt x="147" y="84"/>
                  <a:pt x="148" y="85"/>
                  <a:pt x="151" y="85"/>
                </a:cubicBezTo>
                <a:cubicBezTo>
                  <a:pt x="152" y="85"/>
                  <a:pt x="154" y="85"/>
                  <a:pt x="155" y="84"/>
                </a:cubicBezTo>
                <a:cubicBezTo>
                  <a:pt x="156" y="84"/>
                  <a:pt x="157" y="83"/>
                  <a:pt x="159" y="83"/>
                </a:cubicBezTo>
                <a:cubicBezTo>
                  <a:pt x="162" y="82"/>
                  <a:pt x="165" y="82"/>
                  <a:pt x="168" y="82"/>
                </a:cubicBezTo>
                <a:cubicBezTo>
                  <a:pt x="170" y="81"/>
                  <a:pt x="173" y="80"/>
                  <a:pt x="175" y="79"/>
                </a:cubicBezTo>
                <a:cubicBezTo>
                  <a:pt x="176" y="78"/>
                  <a:pt x="177" y="77"/>
                  <a:pt x="178" y="76"/>
                </a:cubicBezTo>
                <a:cubicBezTo>
                  <a:pt x="179" y="75"/>
                  <a:pt x="180" y="75"/>
                  <a:pt x="181" y="74"/>
                </a:cubicBezTo>
                <a:cubicBezTo>
                  <a:pt x="182" y="71"/>
                  <a:pt x="183" y="71"/>
                  <a:pt x="186" y="71"/>
                </a:cubicBezTo>
                <a:cubicBezTo>
                  <a:pt x="188" y="71"/>
                  <a:pt x="190" y="71"/>
                  <a:pt x="191" y="69"/>
                </a:cubicBezTo>
                <a:cubicBezTo>
                  <a:pt x="192" y="67"/>
                  <a:pt x="188" y="65"/>
                  <a:pt x="188" y="63"/>
                </a:cubicBezTo>
                <a:cubicBezTo>
                  <a:pt x="188" y="63"/>
                  <a:pt x="188" y="62"/>
                  <a:pt x="188" y="61"/>
                </a:cubicBezTo>
                <a:cubicBezTo>
                  <a:pt x="189" y="60"/>
                  <a:pt x="190" y="61"/>
                  <a:pt x="191" y="61"/>
                </a:cubicBezTo>
                <a:cubicBezTo>
                  <a:pt x="191" y="62"/>
                  <a:pt x="193" y="62"/>
                  <a:pt x="194" y="62"/>
                </a:cubicBezTo>
                <a:cubicBezTo>
                  <a:pt x="194" y="61"/>
                  <a:pt x="194" y="60"/>
                  <a:pt x="194" y="59"/>
                </a:cubicBezTo>
                <a:cubicBezTo>
                  <a:pt x="194" y="58"/>
                  <a:pt x="194" y="57"/>
                  <a:pt x="194" y="55"/>
                </a:cubicBezTo>
                <a:cubicBezTo>
                  <a:pt x="195" y="54"/>
                  <a:pt x="196" y="54"/>
                  <a:pt x="195" y="52"/>
                </a:cubicBezTo>
                <a:cubicBezTo>
                  <a:pt x="195" y="51"/>
                  <a:pt x="194" y="51"/>
                  <a:pt x="193" y="51"/>
                </a:cubicBezTo>
                <a:cubicBezTo>
                  <a:pt x="191" y="50"/>
                  <a:pt x="191" y="49"/>
                  <a:pt x="190" y="49"/>
                </a:cubicBezTo>
                <a:cubicBezTo>
                  <a:pt x="188" y="49"/>
                  <a:pt x="186" y="51"/>
                  <a:pt x="184" y="50"/>
                </a:cubicBezTo>
                <a:cubicBezTo>
                  <a:pt x="182" y="49"/>
                  <a:pt x="181" y="49"/>
                  <a:pt x="180" y="51"/>
                </a:cubicBezTo>
                <a:cubicBezTo>
                  <a:pt x="180" y="53"/>
                  <a:pt x="181" y="54"/>
                  <a:pt x="181" y="56"/>
                </a:cubicBezTo>
                <a:cubicBezTo>
                  <a:pt x="182" y="57"/>
                  <a:pt x="183" y="59"/>
                  <a:pt x="182" y="61"/>
                </a:cubicBezTo>
                <a:cubicBezTo>
                  <a:pt x="181" y="63"/>
                  <a:pt x="178" y="62"/>
                  <a:pt x="176" y="63"/>
                </a:cubicBezTo>
                <a:cubicBezTo>
                  <a:pt x="175" y="63"/>
                  <a:pt x="175" y="64"/>
                  <a:pt x="175" y="65"/>
                </a:cubicBezTo>
                <a:cubicBezTo>
                  <a:pt x="174" y="66"/>
                  <a:pt x="173" y="67"/>
                  <a:pt x="172" y="68"/>
                </a:cubicBezTo>
                <a:cubicBezTo>
                  <a:pt x="171" y="69"/>
                  <a:pt x="169" y="72"/>
                  <a:pt x="167" y="72"/>
                </a:cubicBezTo>
                <a:cubicBezTo>
                  <a:pt x="166" y="72"/>
                  <a:pt x="165" y="72"/>
                  <a:pt x="164" y="72"/>
                </a:cubicBezTo>
                <a:cubicBezTo>
                  <a:pt x="163" y="71"/>
                  <a:pt x="162" y="70"/>
                  <a:pt x="161" y="71"/>
                </a:cubicBezTo>
                <a:cubicBezTo>
                  <a:pt x="160" y="71"/>
                  <a:pt x="159" y="72"/>
                  <a:pt x="158" y="72"/>
                </a:cubicBezTo>
                <a:cubicBezTo>
                  <a:pt x="157" y="72"/>
                  <a:pt x="157" y="71"/>
                  <a:pt x="156" y="71"/>
                </a:cubicBezTo>
                <a:cubicBezTo>
                  <a:pt x="154" y="71"/>
                  <a:pt x="153" y="71"/>
                  <a:pt x="152" y="72"/>
                </a:cubicBezTo>
                <a:cubicBezTo>
                  <a:pt x="151" y="72"/>
                  <a:pt x="150" y="72"/>
                  <a:pt x="148" y="72"/>
                </a:cubicBezTo>
                <a:cubicBezTo>
                  <a:pt x="146" y="71"/>
                  <a:pt x="144" y="73"/>
                  <a:pt x="142" y="73"/>
                </a:cubicBezTo>
                <a:cubicBezTo>
                  <a:pt x="140" y="73"/>
                  <a:pt x="139" y="72"/>
                  <a:pt x="138" y="72"/>
                </a:cubicBezTo>
                <a:cubicBezTo>
                  <a:pt x="137" y="71"/>
                  <a:pt x="136" y="72"/>
                  <a:pt x="135" y="72"/>
                </a:cubicBezTo>
                <a:cubicBezTo>
                  <a:pt x="133" y="73"/>
                  <a:pt x="131" y="74"/>
                  <a:pt x="130" y="72"/>
                </a:cubicBezTo>
                <a:cubicBezTo>
                  <a:pt x="130" y="71"/>
                  <a:pt x="130" y="70"/>
                  <a:pt x="129" y="70"/>
                </a:cubicBezTo>
                <a:cubicBezTo>
                  <a:pt x="128" y="70"/>
                  <a:pt x="127" y="70"/>
                  <a:pt x="127" y="71"/>
                </a:cubicBezTo>
                <a:cubicBezTo>
                  <a:pt x="126" y="71"/>
                  <a:pt x="126" y="72"/>
                  <a:pt x="126" y="72"/>
                </a:cubicBezTo>
                <a:cubicBezTo>
                  <a:pt x="126" y="72"/>
                  <a:pt x="126" y="72"/>
                  <a:pt x="126" y="72"/>
                </a:cubicBezTo>
                <a:cubicBezTo>
                  <a:pt x="126" y="74"/>
                  <a:pt x="126" y="72"/>
                  <a:pt x="126" y="72"/>
                </a:cubicBezTo>
                <a:close/>
                <a:moveTo>
                  <a:pt x="116" y="71"/>
                </a:moveTo>
                <a:cubicBezTo>
                  <a:pt x="115" y="72"/>
                  <a:pt x="117" y="73"/>
                  <a:pt x="117" y="74"/>
                </a:cubicBezTo>
                <a:cubicBezTo>
                  <a:pt x="118" y="74"/>
                  <a:pt x="119" y="77"/>
                  <a:pt x="120" y="76"/>
                </a:cubicBezTo>
                <a:cubicBezTo>
                  <a:pt x="122" y="75"/>
                  <a:pt x="120" y="72"/>
                  <a:pt x="119" y="71"/>
                </a:cubicBezTo>
                <a:cubicBezTo>
                  <a:pt x="118" y="70"/>
                  <a:pt x="115" y="69"/>
                  <a:pt x="115" y="71"/>
                </a:cubicBezTo>
                <a:cubicBezTo>
                  <a:pt x="116" y="71"/>
                  <a:pt x="116" y="71"/>
                  <a:pt x="116" y="71"/>
                </a:cubicBezTo>
                <a:cubicBezTo>
                  <a:pt x="115" y="73"/>
                  <a:pt x="116" y="71"/>
                  <a:pt x="116" y="71"/>
                </a:cubicBezTo>
                <a:close/>
                <a:moveTo>
                  <a:pt x="96" y="15"/>
                </a:moveTo>
                <a:cubicBezTo>
                  <a:pt x="99" y="17"/>
                  <a:pt x="103" y="16"/>
                  <a:pt x="106" y="16"/>
                </a:cubicBezTo>
                <a:cubicBezTo>
                  <a:pt x="108" y="15"/>
                  <a:pt x="110" y="15"/>
                  <a:pt x="111" y="13"/>
                </a:cubicBezTo>
                <a:cubicBezTo>
                  <a:pt x="111" y="12"/>
                  <a:pt x="110" y="11"/>
                  <a:pt x="109" y="11"/>
                </a:cubicBezTo>
                <a:cubicBezTo>
                  <a:pt x="108" y="12"/>
                  <a:pt x="107" y="12"/>
                  <a:pt x="106" y="12"/>
                </a:cubicBezTo>
                <a:cubicBezTo>
                  <a:pt x="104" y="12"/>
                  <a:pt x="102" y="11"/>
                  <a:pt x="99" y="11"/>
                </a:cubicBezTo>
                <a:cubicBezTo>
                  <a:pt x="98" y="11"/>
                  <a:pt x="96" y="12"/>
                  <a:pt x="95" y="14"/>
                </a:cubicBezTo>
                <a:cubicBezTo>
                  <a:pt x="94" y="15"/>
                  <a:pt x="96" y="15"/>
                  <a:pt x="97" y="16"/>
                </a:cubicBezTo>
                <a:cubicBezTo>
                  <a:pt x="96" y="16"/>
                  <a:pt x="96" y="16"/>
                  <a:pt x="96" y="15"/>
                </a:cubicBezTo>
                <a:cubicBezTo>
                  <a:pt x="98" y="17"/>
                  <a:pt x="96" y="15"/>
                  <a:pt x="96" y="15"/>
                </a:cubicBezTo>
                <a:close/>
                <a:moveTo>
                  <a:pt x="106" y="71"/>
                </a:moveTo>
                <a:cubicBezTo>
                  <a:pt x="107" y="71"/>
                  <a:pt x="108" y="67"/>
                  <a:pt x="106" y="67"/>
                </a:cubicBezTo>
                <a:cubicBezTo>
                  <a:pt x="104" y="66"/>
                  <a:pt x="103" y="72"/>
                  <a:pt x="106" y="71"/>
                </a:cubicBezTo>
                <a:cubicBezTo>
                  <a:pt x="106" y="71"/>
                  <a:pt x="106" y="71"/>
                  <a:pt x="106" y="71"/>
                </a:cubicBezTo>
                <a:cubicBezTo>
                  <a:pt x="107" y="71"/>
                  <a:pt x="106" y="71"/>
                  <a:pt x="106" y="71"/>
                </a:cubicBezTo>
                <a:close/>
                <a:moveTo>
                  <a:pt x="88" y="57"/>
                </a:moveTo>
                <a:cubicBezTo>
                  <a:pt x="89" y="55"/>
                  <a:pt x="87" y="51"/>
                  <a:pt x="85" y="54"/>
                </a:cubicBezTo>
                <a:cubicBezTo>
                  <a:pt x="85" y="55"/>
                  <a:pt x="84" y="57"/>
                  <a:pt x="85" y="57"/>
                </a:cubicBezTo>
                <a:cubicBezTo>
                  <a:pt x="86" y="58"/>
                  <a:pt x="88" y="57"/>
                  <a:pt x="88" y="56"/>
                </a:cubicBezTo>
                <a:cubicBezTo>
                  <a:pt x="88" y="56"/>
                  <a:pt x="88" y="56"/>
                  <a:pt x="88" y="57"/>
                </a:cubicBezTo>
                <a:cubicBezTo>
                  <a:pt x="88" y="55"/>
                  <a:pt x="88" y="57"/>
                  <a:pt x="88" y="57"/>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4" name="Freeform 261">
            <a:extLst>
              <a:ext uri="{FF2B5EF4-FFF2-40B4-BE49-F238E27FC236}">
                <a16:creationId xmlns:a16="http://schemas.microsoft.com/office/drawing/2014/main" id="{034974F7-CC54-97D0-CEDF-261B3EDD9650}"/>
              </a:ext>
            </a:extLst>
          </p:cNvPr>
          <p:cNvSpPr/>
          <p:nvPr>
            <p:custDataLst>
              <p:tags r:id="rId46"/>
            </p:custDataLst>
          </p:nvPr>
        </p:nvSpPr>
        <p:spPr bwMode="auto">
          <a:xfrm>
            <a:off x="4830593" y="2066464"/>
            <a:ext cx="210229" cy="324352"/>
          </a:xfrm>
          <a:custGeom>
            <a:avLst/>
            <a:gdLst>
              <a:gd name="T0" fmla="*/ 138 w 180"/>
              <a:gd name="T1" fmla="*/ 29 h 278"/>
              <a:gd name="T2" fmla="*/ 141 w 180"/>
              <a:gd name="T3" fmla="*/ 16 h 278"/>
              <a:gd name="T4" fmla="*/ 118 w 180"/>
              <a:gd name="T5" fmla="*/ 0 h 278"/>
              <a:gd name="T6" fmla="*/ 97 w 180"/>
              <a:gd name="T7" fmla="*/ 5 h 278"/>
              <a:gd name="T8" fmla="*/ 83 w 180"/>
              <a:gd name="T9" fmla="*/ 35 h 278"/>
              <a:gd name="T10" fmla="*/ 72 w 180"/>
              <a:gd name="T11" fmla="*/ 43 h 278"/>
              <a:gd name="T12" fmla="*/ 51 w 180"/>
              <a:gd name="T13" fmla="*/ 38 h 278"/>
              <a:gd name="T14" fmla="*/ 26 w 180"/>
              <a:gd name="T15" fmla="*/ 40 h 278"/>
              <a:gd name="T16" fmla="*/ 6 w 180"/>
              <a:gd name="T17" fmla="*/ 25 h 278"/>
              <a:gd name="T18" fmla="*/ 16 w 180"/>
              <a:gd name="T19" fmla="*/ 41 h 278"/>
              <a:gd name="T20" fmla="*/ 48 w 180"/>
              <a:gd name="T21" fmla="*/ 65 h 278"/>
              <a:gd name="T22" fmla="*/ 49 w 180"/>
              <a:gd name="T23" fmla="*/ 84 h 278"/>
              <a:gd name="T24" fmla="*/ 52 w 180"/>
              <a:gd name="T25" fmla="*/ 105 h 278"/>
              <a:gd name="T26" fmla="*/ 57 w 180"/>
              <a:gd name="T27" fmla="*/ 119 h 278"/>
              <a:gd name="T28" fmla="*/ 61 w 180"/>
              <a:gd name="T29" fmla="*/ 125 h 278"/>
              <a:gd name="T30" fmla="*/ 76 w 180"/>
              <a:gd name="T31" fmla="*/ 137 h 278"/>
              <a:gd name="T32" fmla="*/ 78 w 180"/>
              <a:gd name="T33" fmla="*/ 148 h 278"/>
              <a:gd name="T34" fmla="*/ 74 w 180"/>
              <a:gd name="T35" fmla="*/ 152 h 278"/>
              <a:gd name="T36" fmla="*/ 65 w 180"/>
              <a:gd name="T37" fmla="*/ 152 h 278"/>
              <a:gd name="T38" fmla="*/ 49 w 180"/>
              <a:gd name="T39" fmla="*/ 171 h 278"/>
              <a:gd name="T40" fmla="*/ 42 w 180"/>
              <a:gd name="T41" fmla="*/ 177 h 278"/>
              <a:gd name="T42" fmla="*/ 26 w 180"/>
              <a:gd name="T43" fmla="*/ 189 h 278"/>
              <a:gd name="T44" fmla="*/ 19 w 180"/>
              <a:gd name="T45" fmla="*/ 195 h 278"/>
              <a:gd name="T46" fmla="*/ 12 w 180"/>
              <a:gd name="T47" fmla="*/ 201 h 278"/>
              <a:gd name="T48" fmla="*/ 8 w 180"/>
              <a:gd name="T49" fmla="*/ 217 h 278"/>
              <a:gd name="T50" fmla="*/ 14 w 180"/>
              <a:gd name="T51" fmla="*/ 234 h 278"/>
              <a:gd name="T52" fmla="*/ 12 w 180"/>
              <a:gd name="T53" fmla="*/ 243 h 278"/>
              <a:gd name="T54" fmla="*/ 10 w 180"/>
              <a:gd name="T55" fmla="*/ 256 h 278"/>
              <a:gd name="T56" fmla="*/ 15 w 180"/>
              <a:gd name="T57" fmla="*/ 263 h 278"/>
              <a:gd name="T58" fmla="*/ 35 w 180"/>
              <a:gd name="T59" fmla="*/ 270 h 278"/>
              <a:gd name="T60" fmla="*/ 47 w 180"/>
              <a:gd name="T61" fmla="*/ 278 h 278"/>
              <a:gd name="T62" fmla="*/ 61 w 180"/>
              <a:gd name="T63" fmla="*/ 277 h 278"/>
              <a:gd name="T64" fmla="*/ 79 w 180"/>
              <a:gd name="T65" fmla="*/ 271 h 278"/>
              <a:gd name="T66" fmla="*/ 88 w 180"/>
              <a:gd name="T67" fmla="*/ 267 h 278"/>
              <a:gd name="T68" fmla="*/ 97 w 180"/>
              <a:gd name="T69" fmla="*/ 265 h 278"/>
              <a:gd name="T70" fmla="*/ 117 w 180"/>
              <a:gd name="T71" fmla="*/ 263 h 278"/>
              <a:gd name="T72" fmla="*/ 143 w 180"/>
              <a:gd name="T73" fmla="*/ 245 h 278"/>
              <a:gd name="T74" fmla="*/ 170 w 180"/>
              <a:gd name="T75" fmla="*/ 217 h 278"/>
              <a:gd name="T76" fmla="*/ 177 w 180"/>
              <a:gd name="T77" fmla="*/ 198 h 278"/>
              <a:gd name="T78" fmla="*/ 159 w 180"/>
              <a:gd name="T79" fmla="*/ 176 h 278"/>
              <a:gd name="T80" fmla="*/ 156 w 180"/>
              <a:gd name="T81" fmla="*/ 160 h 278"/>
              <a:gd name="T82" fmla="*/ 149 w 180"/>
              <a:gd name="T83" fmla="*/ 151 h 278"/>
              <a:gd name="T84" fmla="*/ 148 w 180"/>
              <a:gd name="T85" fmla="*/ 138 h 278"/>
              <a:gd name="T86" fmla="*/ 154 w 180"/>
              <a:gd name="T87" fmla="*/ 127 h 278"/>
              <a:gd name="T88" fmla="*/ 150 w 180"/>
              <a:gd name="T89" fmla="*/ 112 h 278"/>
              <a:gd name="T90" fmla="*/ 141 w 180"/>
              <a:gd name="T91" fmla="*/ 87 h 278"/>
              <a:gd name="T92" fmla="*/ 148 w 180"/>
              <a:gd name="T93" fmla="*/ 65 h 278"/>
              <a:gd name="T94" fmla="*/ 129 w 180"/>
              <a:gd name="T95" fmla="*/ 50 h 278"/>
              <a:gd name="T96" fmla="*/ 130 w 180"/>
              <a:gd name="T97" fmla="*/ 3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0" h="278">
                <a:moveTo>
                  <a:pt x="130" y="33"/>
                </a:moveTo>
                <a:cubicBezTo>
                  <a:pt x="132" y="32"/>
                  <a:pt x="135" y="31"/>
                  <a:pt x="137" y="31"/>
                </a:cubicBezTo>
                <a:cubicBezTo>
                  <a:pt x="138" y="30"/>
                  <a:pt x="138" y="30"/>
                  <a:pt x="138" y="29"/>
                </a:cubicBezTo>
                <a:cubicBezTo>
                  <a:pt x="138" y="29"/>
                  <a:pt x="137" y="28"/>
                  <a:pt x="137" y="27"/>
                </a:cubicBezTo>
                <a:cubicBezTo>
                  <a:pt x="136" y="26"/>
                  <a:pt x="136" y="24"/>
                  <a:pt x="136" y="23"/>
                </a:cubicBezTo>
                <a:cubicBezTo>
                  <a:pt x="137" y="20"/>
                  <a:pt x="139" y="18"/>
                  <a:pt x="141" y="16"/>
                </a:cubicBezTo>
                <a:cubicBezTo>
                  <a:pt x="143" y="14"/>
                  <a:pt x="138" y="12"/>
                  <a:pt x="137" y="11"/>
                </a:cubicBezTo>
                <a:cubicBezTo>
                  <a:pt x="132" y="8"/>
                  <a:pt x="126" y="6"/>
                  <a:pt x="121" y="2"/>
                </a:cubicBezTo>
                <a:cubicBezTo>
                  <a:pt x="120" y="2"/>
                  <a:pt x="119" y="1"/>
                  <a:pt x="118" y="0"/>
                </a:cubicBezTo>
                <a:cubicBezTo>
                  <a:pt x="116" y="0"/>
                  <a:pt x="115" y="1"/>
                  <a:pt x="114" y="1"/>
                </a:cubicBezTo>
                <a:cubicBezTo>
                  <a:pt x="111" y="3"/>
                  <a:pt x="108" y="3"/>
                  <a:pt x="105" y="4"/>
                </a:cubicBezTo>
                <a:cubicBezTo>
                  <a:pt x="103" y="4"/>
                  <a:pt x="100" y="4"/>
                  <a:pt x="97" y="5"/>
                </a:cubicBezTo>
                <a:cubicBezTo>
                  <a:pt x="94" y="6"/>
                  <a:pt x="92" y="9"/>
                  <a:pt x="90" y="11"/>
                </a:cubicBezTo>
                <a:cubicBezTo>
                  <a:pt x="86" y="15"/>
                  <a:pt x="86" y="22"/>
                  <a:pt x="85" y="28"/>
                </a:cubicBezTo>
                <a:cubicBezTo>
                  <a:pt x="85" y="30"/>
                  <a:pt x="85" y="33"/>
                  <a:pt x="83" y="35"/>
                </a:cubicBezTo>
                <a:cubicBezTo>
                  <a:pt x="82" y="36"/>
                  <a:pt x="81" y="36"/>
                  <a:pt x="80" y="36"/>
                </a:cubicBezTo>
                <a:cubicBezTo>
                  <a:pt x="79" y="36"/>
                  <a:pt x="77" y="36"/>
                  <a:pt x="76" y="37"/>
                </a:cubicBezTo>
                <a:cubicBezTo>
                  <a:pt x="75" y="39"/>
                  <a:pt x="74" y="41"/>
                  <a:pt x="72" y="43"/>
                </a:cubicBezTo>
                <a:cubicBezTo>
                  <a:pt x="70" y="45"/>
                  <a:pt x="68" y="45"/>
                  <a:pt x="65" y="44"/>
                </a:cubicBezTo>
                <a:cubicBezTo>
                  <a:pt x="62" y="42"/>
                  <a:pt x="59" y="41"/>
                  <a:pt x="56" y="39"/>
                </a:cubicBezTo>
                <a:cubicBezTo>
                  <a:pt x="55" y="38"/>
                  <a:pt x="53" y="38"/>
                  <a:pt x="51" y="38"/>
                </a:cubicBezTo>
                <a:cubicBezTo>
                  <a:pt x="50" y="38"/>
                  <a:pt x="49" y="39"/>
                  <a:pt x="47" y="40"/>
                </a:cubicBezTo>
                <a:cubicBezTo>
                  <a:pt x="44" y="41"/>
                  <a:pt x="40" y="41"/>
                  <a:pt x="36" y="41"/>
                </a:cubicBezTo>
                <a:cubicBezTo>
                  <a:pt x="33" y="41"/>
                  <a:pt x="29" y="41"/>
                  <a:pt x="26" y="40"/>
                </a:cubicBezTo>
                <a:cubicBezTo>
                  <a:pt x="23" y="39"/>
                  <a:pt x="22" y="37"/>
                  <a:pt x="21" y="34"/>
                </a:cubicBezTo>
                <a:cubicBezTo>
                  <a:pt x="20" y="31"/>
                  <a:pt x="17" y="29"/>
                  <a:pt x="14" y="27"/>
                </a:cubicBezTo>
                <a:cubicBezTo>
                  <a:pt x="12" y="26"/>
                  <a:pt x="8" y="23"/>
                  <a:pt x="6" y="25"/>
                </a:cubicBezTo>
                <a:cubicBezTo>
                  <a:pt x="5" y="26"/>
                  <a:pt x="5" y="27"/>
                  <a:pt x="4" y="28"/>
                </a:cubicBezTo>
                <a:cubicBezTo>
                  <a:pt x="3" y="30"/>
                  <a:pt x="2" y="31"/>
                  <a:pt x="0" y="31"/>
                </a:cubicBezTo>
                <a:cubicBezTo>
                  <a:pt x="5" y="35"/>
                  <a:pt x="10" y="38"/>
                  <a:pt x="16" y="41"/>
                </a:cubicBezTo>
                <a:cubicBezTo>
                  <a:pt x="21" y="44"/>
                  <a:pt x="27" y="47"/>
                  <a:pt x="33" y="50"/>
                </a:cubicBezTo>
                <a:cubicBezTo>
                  <a:pt x="37" y="53"/>
                  <a:pt x="42" y="55"/>
                  <a:pt x="46" y="59"/>
                </a:cubicBezTo>
                <a:cubicBezTo>
                  <a:pt x="48" y="61"/>
                  <a:pt x="48" y="62"/>
                  <a:pt x="48" y="65"/>
                </a:cubicBezTo>
                <a:cubicBezTo>
                  <a:pt x="47" y="68"/>
                  <a:pt x="46" y="71"/>
                  <a:pt x="47" y="74"/>
                </a:cubicBezTo>
                <a:cubicBezTo>
                  <a:pt x="47" y="76"/>
                  <a:pt x="49" y="77"/>
                  <a:pt x="50" y="78"/>
                </a:cubicBezTo>
                <a:cubicBezTo>
                  <a:pt x="52" y="80"/>
                  <a:pt x="50" y="82"/>
                  <a:pt x="49" y="84"/>
                </a:cubicBezTo>
                <a:cubicBezTo>
                  <a:pt x="47" y="86"/>
                  <a:pt x="49" y="88"/>
                  <a:pt x="51" y="90"/>
                </a:cubicBezTo>
                <a:cubicBezTo>
                  <a:pt x="53" y="92"/>
                  <a:pt x="55" y="94"/>
                  <a:pt x="55" y="97"/>
                </a:cubicBezTo>
                <a:cubicBezTo>
                  <a:pt x="54" y="100"/>
                  <a:pt x="53" y="103"/>
                  <a:pt x="52" y="105"/>
                </a:cubicBezTo>
                <a:cubicBezTo>
                  <a:pt x="51" y="107"/>
                  <a:pt x="51" y="108"/>
                  <a:pt x="50" y="109"/>
                </a:cubicBezTo>
                <a:cubicBezTo>
                  <a:pt x="50" y="111"/>
                  <a:pt x="51" y="112"/>
                  <a:pt x="52" y="113"/>
                </a:cubicBezTo>
                <a:cubicBezTo>
                  <a:pt x="53" y="115"/>
                  <a:pt x="55" y="117"/>
                  <a:pt x="57" y="119"/>
                </a:cubicBezTo>
                <a:cubicBezTo>
                  <a:pt x="57" y="120"/>
                  <a:pt x="57" y="121"/>
                  <a:pt x="57" y="123"/>
                </a:cubicBezTo>
                <a:cubicBezTo>
                  <a:pt x="57" y="123"/>
                  <a:pt x="58" y="123"/>
                  <a:pt x="59" y="123"/>
                </a:cubicBezTo>
                <a:cubicBezTo>
                  <a:pt x="60" y="123"/>
                  <a:pt x="60" y="124"/>
                  <a:pt x="61" y="125"/>
                </a:cubicBezTo>
                <a:cubicBezTo>
                  <a:pt x="63" y="126"/>
                  <a:pt x="65" y="128"/>
                  <a:pt x="68" y="128"/>
                </a:cubicBezTo>
                <a:cubicBezTo>
                  <a:pt x="70" y="128"/>
                  <a:pt x="73" y="128"/>
                  <a:pt x="75" y="130"/>
                </a:cubicBezTo>
                <a:cubicBezTo>
                  <a:pt x="76" y="132"/>
                  <a:pt x="76" y="135"/>
                  <a:pt x="76" y="137"/>
                </a:cubicBezTo>
                <a:cubicBezTo>
                  <a:pt x="76" y="138"/>
                  <a:pt x="75" y="140"/>
                  <a:pt x="75" y="141"/>
                </a:cubicBezTo>
                <a:cubicBezTo>
                  <a:pt x="75" y="142"/>
                  <a:pt x="76" y="143"/>
                  <a:pt x="78" y="144"/>
                </a:cubicBezTo>
                <a:cubicBezTo>
                  <a:pt x="79" y="144"/>
                  <a:pt x="80" y="148"/>
                  <a:pt x="78" y="148"/>
                </a:cubicBezTo>
                <a:cubicBezTo>
                  <a:pt x="77" y="148"/>
                  <a:pt x="75" y="147"/>
                  <a:pt x="76" y="149"/>
                </a:cubicBezTo>
                <a:cubicBezTo>
                  <a:pt x="77" y="150"/>
                  <a:pt x="77" y="151"/>
                  <a:pt x="76" y="152"/>
                </a:cubicBezTo>
                <a:cubicBezTo>
                  <a:pt x="76" y="152"/>
                  <a:pt x="75" y="152"/>
                  <a:pt x="74" y="152"/>
                </a:cubicBezTo>
                <a:cubicBezTo>
                  <a:pt x="74" y="151"/>
                  <a:pt x="73" y="150"/>
                  <a:pt x="72" y="150"/>
                </a:cubicBezTo>
                <a:cubicBezTo>
                  <a:pt x="71" y="149"/>
                  <a:pt x="70" y="150"/>
                  <a:pt x="69" y="151"/>
                </a:cubicBezTo>
                <a:cubicBezTo>
                  <a:pt x="68" y="151"/>
                  <a:pt x="67" y="152"/>
                  <a:pt x="65" y="152"/>
                </a:cubicBezTo>
                <a:cubicBezTo>
                  <a:pt x="64" y="152"/>
                  <a:pt x="64" y="153"/>
                  <a:pt x="63" y="154"/>
                </a:cubicBezTo>
                <a:cubicBezTo>
                  <a:pt x="62" y="156"/>
                  <a:pt x="62" y="158"/>
                  <a:pt x="59" y="160"/>
                </a:cubicBezTo>
                <a:cubicBezTo>
                  <a:pt x="56" y="163"/>
                  <a:pt x="51" y="166"/>
                  <a:pt x="49" y="171"/>
                </a:cubicBezTo>
                <a:cubicBezTo>
                  <a:pt x="48" y="173"/>
                  <a:pt x="46" y="172"/>
                  <a:pt x="44" y="172"/>
                </a:cubicBezTo>
                <a:cubicBezTo>
                  <a:pt x="43" y="173"/>
                  <a:pt x="43" y="174"/>
                  <a:pt x="43" y="175"/>
                </a:cubicBezTo>
                <a:cubicBezTo>
                  <a:pt x="44" y="177"/>
                  <a:pt x="43" y="177"/>
                  <a:pt x="42" y="177"/>
                </a:cubicBezTo>
                <a:cubicBezTo>
                  <a:pt x="39" y="178"/>
                  <a:pt x="38" y="180"/>
                  <a:pt x="36" y="182"/>
                </a:cubicBezTo>
                <a:cubicBezTo>
                  <a:pt x="34" y="183"/>
                  <a:pt x="31" y="184"/>
                  <a:pt x="29" y="185"/>
                </a:cubicBezTo>
                <a:cubicBezTo>
                  <a:pt x="28" y="186"/>
                  <a:pt x="25" y="187"/>
                  <a:pt x="26" y="189"/>
                </a:cubicBezTo>
                <a:cubicBezTo>
                  <a:pt x="26" y="190"/>
                  <a:pt x="27" y="190"/>
                  <a:pt x="27" y="191"/>
                </a:cubicBezTo>
                <a:cubicBezTo>
                  <a:pt x="27" y="192"/>
                  <a:pt x="26" y="193"/>
                  <a:pt x="25" y="194"/>
                </a:cubicBezTo>
                <a:cubicBezTo>
                  <a:pt x="23" y="195"/>
                  <a:pt x="21" y="197"/>
                  <a:pt x="19" y="195"/>
                </a:cubicBezTo>
                <a:cubicBezTo>
                  <a:pt x="18" y="195"/>
                  <a:pt x="14" y="193"/>
                  <a:pt x="13" y="195"/>
                </a:cubicBezTo>
                <a:cubicBezTo>
                  <a:pt x="12" y="196"/>
                  <a:pt x="15" y="198"/>
                  <a:pt x="15" y="199"/>
                </a:cubicBezTo>
                <a:cubicBezTo>
                  <a:pt x="15" y="201"/>
                  <a:pt x="13" y="201"/>
                  <a:pt x="12" y="201"/>
                </a:cubicBezTo>
                <a:cubicBezTo>
                  <a:pt x="11" y="202"/>
                  <a:pt x="9" y="203"/>
                  <a:pt x="8" y="204"/>
                </a:cubicBezTo>
                <a:cubicBezTo>
                  <a:pt x="7" y="206"/>
                  <a:pt x="6" y="209"/>
                  <a:pt x="6" y="211"/>
                </a:cubicBezTo>
                <a:cubicBezTo>
                  <a:pt x="5" y="213"/>
                  <a:pt x="7" y="215"/>
                  <a:pt x="8" y="217"/>
                </a:cubicBezTo>
                <a:cubicBezTo>
                  <a:pt x="9" y="218"/>
                  <a:pt x="11" y="219"/>
                  <a:pt x="11" y="221"/>
                </a:cubicBezTo>
                <a:cubicBezTo>
                  <a:pt x="11" y="224"/>
                  <a:pt x="8" y="225"/>
                  <a:pt x="9" y="228"/>
                </a:cubicBezTo>
                <a:cubicBezTo>
                  <a:pt x="9" y="230"/>
                  <a:pt x="12" y="232"/>
                  <a:pt x="14" y="234"/>
                </a:cubicBezTo>
                <a:cubicBezTo>
                  <a:pt x="14" y="235"/>
                  <a:pt x="15" y="236"/>
                  <a:pt x="15" y="237"/>
                </a:cubicBezTo>
                <a:cubicBezTo>
                  <a:pt x="16" y="238"/>
                  <a:pt x="14" y="238"/>
                  <a:pt x="13" y="239"/>
                </a:cubicBezTo>
                <a:cubicBezTo>
                  <a:pt x="11" y="240"/>
                  <a:pt x="12" y="242"/>
                  <a:pt x="12" y="243"/>
                </a:cubicBezTo>
                <a:cubicBezTo>
                  <a:pt x="13" y="245"/>
                  <a:pt x="13" y="246"/>
                  <a:pt x="13" y="247"/>
                </a:cubicBezTo>
                <a:cubicBezTo>
                  <a:pt x="12" y="249"/>
                  <a:pt x="11" y="249"/>
                  <a:pt x="10" y="250"/>
                </a:cubicBezTo>
                <a:cubicBezTo>
                  <a:pt x="8" y="252"/>
                  <a:pt x="10" y="254"/>
                  <a:pt x="10" y="256"/>
                </a:cubicBezTo>
                <a:cubicBezTo>
                  <a:pt x="10" y="257"/>
                  <a:pt x="10" y="259"/>
                  <a:pt x="10" y="260"/>
                </a:cubicBezTo>
                <a:cubicBezTo>
                  <a:pt x="10" y="261"/>
                  <a:pt x="10" y="263"/>
                  <a:pt x="11" y="264"/>
                </a:cubicBezTo>
                <a:cubicBezTo>
                  <a:pt x="12" y="265"/>
                  <a:pt x="14" y="262"/>
                  <a:pt x="15" y="263"/>
                </a:cubicBezTo>
                <a:cubicBezTo>
                  <a:pt x="17" y="263"/>
                  <a:pt x="19" y="265"/>
                  <a:pt x="22" y="266"/>
                </a:cubicBezTo>
                <a:cubicBezTo>
                  <a:pt x="24" y="267"/>
                  <a:pt x="27" y="266"/>
                  <a:pt x="29" y="268"/>
                </a:cubicBezTo>
                <a:cubicBezTo>
                  <a:pt x="30" y="270"/>
                  <a:pt x="33" y="270"/>
                  <a:pt x="35" y="270"/>
                </a:cubicBezTo>
                <a:cubicBezTo>
                  <a:pt x="38" y="269"/>
                  <a:pt x="38" y="270"/>
                  <a:pt x="37" y="272"/>
                </a:cubicBezTo>
                <a:cubicBezTo>
                  <a:pt x="35" y="274"/>
                  <a:pt x="39" y="275"/>
                  <a:pt x="40" y="276"/>
                </a:cubicBezTo>
                <a:cubicBezTo>
                  <a:pt x="42" y="278"/>
                  <a:pt x="45" y="278"/>
                  <a:pt x="47" y="278"/>
                </a:cubicBezTo>
                <a:cubicBezTo>
                  <a:pt x="50" y="278"/>
                  <a:pt x="53" y="277"/>
                  <a:pt x="56" y="277"/>
                </a:cubicBezTo>
                <a:cubicBezTo>
                  <a:pt x="57" y="277"/>
                  <a:pt x="58" y="276"/>
                  <a:pt x="59" y="277"/>
                </a:cubicBezTo>
                <a:cubicBezTo>
                  <a:pt x="60" y="277"/>
                  <a:pt x="61" y="278"/>
                  <a:pt x="61" y="277"/>
                </a:cubicBezTo>
                <a:cubicBezTo>
                  <a:pt x="63" y="276"/>
                  <a:pt x="62" y="274"/>
                  <a:pt x="65" y="273"/>
                </a:cubicBezTo>
                <a:cubicBezTo>
                  <a:pt x="68" y="273"/>
                  <a:pt x="71" y="273"/>
                  <a:pt x="74" y="273"/>
                </a:cubicBezTo>
                <a:cubicBezTo>
                  <a:pt x="76" y="273"/>
                  <a:pt x="78" y="273"/>
                  <a:pt x="79" y="271"/>
                </a:cubicBezTo>
                <a:cubicBezTo>
                  <a:pt x="81" y="269"/>
                  <a:pt x="82" y="268"/>
                  <a:pt x="83" y="270"/>
                </a:cubicBezTo>
                <a:cubicBezTo>
                  <a:pt x="85" y="272"/>
                  <a:pt x="86" y="270"/>
                  <a:pt x="87" y="269"/>
                </a:cubicBezTo>
                <a:cubicBezTo>
                  <a:pt x="87" y="268"/>
                  <a:pt x="87" y="267"/>
                  <a:pt x="88" y="267"/>
                </a:cubicBezTo>
                <a:cubicBezTo>
                  <a:pt x="89" y="267"/>
                  <a:pt x="90" y="268"/>
                  <a:pt x="91" y="268"/>
                </a:cubicBezTo>
                <a:cubicBezTo>
                  <a:pt x="92" y="267"/>
                  <a:pt x="93" y="267"/>
                  <a:pt x="94" y="266"/>
                </a:cubicBezTo>
                <a:cubicBezTo>
                  <a:pt x="95" y="265"/>
                  <a:pt x="96" y="265"/>
                  <a:pt x="97" y="265"/>
                </a:cubicBezTo>
                <a:cubicBezTo>
                  <a:pt x="100" y="265"/>
                  <a:pt x="103" y="265"/>
                  <a:pt x="106" y="265"/>
                </a:cubicBezTo>
                <a:cubicBezTo>
                  <a:pt x="109" y="265"/>
                  <a:pt x="112" y="265"/>
                  <a:pt x="115" y="265"/>
                </a:cubicBezTo>
                <a:cubicBezTo>
                  <a:pt x="116" y="266"/>
                  <a:pt x="117" y="264"/>
                  <a:pt x="117" y="263"/>
                </a:cubicBezTo>
                <a:cubicBezTo>
                  <a:pt x="118" y="262"/>
                  <a:pt x="120" y="261"/>
                  <a:pt x="121" y="260"/>
                </a:cubicBezTo>
                <a:cubicBezTo>
                  <a:pt x="125" y="256"/>
                  <a:pt x="131" y="253"/>
                  <a:pt x="136" y="250"/>
                </a:cubicBezTo>
                <a:cubicBezTo>
                  <a:pt x="138" y="248"/>
                  <a:pt x="141" y="247"/>
                  <a:pt x="143" y="245"/>
                </a:cubicBezTo>
                <a:cubicBezTo>
                  <a:pt x="145" y="243"/>
                  <a:pt x="147" y="240"/>
                  <a:pt x="150" y="238"/>
                </a:cubicBezTo>
                <a:cubicBezTo>
                  <a:pt x="154" y="233"/>
                  <a:pt x="159" y="229"/>
                  <a:pt x="164" y="224"/>
                </a:cubicBezTo>
                <a:cubicBezTo>
                  <a:pt x="166" y="222"/>
                  <a:pt x="168" y="220"/>
                  <a:pt x="170" y="217"/>
                </a:cubicBezTo>
                <a:cubicBezTo>
                  <a:pt x="172" y="215"/>
                  <a:pt x="175" y="213"/>
                  <a:pt x="176" y="211"/>
                </a:cubicBezTo>
                <a:cubicBezTo>
                  <a:pt x="178" y="209"/>
                  <a:pt x="179" y="207"/>
                  <a:pt x="180" y="205"/>
                </a:cubicBezTo>
                <a:cubicBezTo>
                  <a:pt x="180" y="202"/>
                  <a:pt x="179" y="200"/>
                  <a:pt x="177" y="198"/>
                </a:cubicBezTo>
                <a:cubicBezTo>
                  <a:pt x="173" y="193"/>
                  <a:pt x="167" y="191"/>
                  <a:pt x="162" y="187"/>
                </a:cubicBezTo>
                <a:cubicBezTo>
                  <a:pt x="160" y="186"/>
                  <a:pt x="158" y="185"/>
                  <a:pt x="157" y="183"/>
                </a:cubicBezTo>
                <a:cubicBezTo>
                  <a:pt x="155" y="181"/>
                  <a:pt x="158" y="178"/>
                  <a:pt x="159" y="176"/>
                </a:cubicBezTo>
                <a:cubicBezTo>
                  <a:pt x="161" y="175"/>
                  <a:pt x="164" y="173"/>
                  <a:pt x="164" y="171"/>
                </a:cubicBezTo>
                <a:cubicBezTo>
                  <a:pt x="164" y="169"/>
                  <a:pt x="161" y="167"/>
                  <a:pt x="160" y="166"/>
                </a:cubicBezTo>
                <a:cubicBezTo>
                  <a:pt x="158" y="165"/>
                  <a:pt x="156" y="163"/>
                  <a:pt x="156" y="160"/>
                </a:cubicBezTo>
                <a:cubicBezTo>
                  <a:pt x="156" y="159"/>
                  <a:pt x="156" y="158"/>
                  <a:pt x="156" y="157"/>
                </a:cubicBezTo>
                <a:cubicBezTo>
                  <a:pt x="157" y="156"/>
                  <a:pt x="157" y="155"/>
                  <a:pt x="156" y="154"/>
                </a:cubicBezTo>
                <a:cubicBezTo>
                  <a:pt x="154" y="153"/>
                  <a:pt x="151" y="153"/>
                  <a:pt x="149" y="151"/>
                </a:cubicBezTo>
                <a:cubicBezTo>
                  <a:pt x="148" y="149"/>
                  <a:pt x="148" y="146"/>
                  <a:pt x="150" y="145"/>
                </a:cubicBezTo>
                <a:cubicBezTo>
                  <a:pt x="152" y="143"/>
                  <a:pt x="149" y="142"/>
                  <a:pt x="148" y="141"/>
                </a:cubicBezTo>
                <a:cubicBezTo>
                  <a:pt x="148" y="140"/>
                  <a:pt x="147" y="139"/>
                  <a:pt x="148" y="138"/>
                </a:cubicBezTo>
                <a:cubicBezTo>
                  <a:pt x="148" y="137"/>
                  <a:pt x="149" y="136"/>
                  <a:pt x="149" y="134"/>
                </a:cubicBezTo>
                <a:cubicBezTo>
                  <a:pt x="150" y="132"/>
                  <a:pt x="150" y="130"/>
                  <a:pt x="151" y="128"/>
                </a:cubicBezTo>
                <a:cubicBezTo>
                  <a:pt x="152" y="127"/>
                  <a:pt x="153" y="127"/>
                  <a:pt x="154" y="127"/>
                </a:cubicBezTo>
                <a:cubicBezTo>
                  <a:pt x="154" y="127"/>
                  <a:pt x="156" y="127"/>
                  <a:pt x="156" y="127"/>
                </a:cubicBezTo>
                <a:cubicBezTo>
                  <a:pt x="157" y="126"/>
                  <a:pt x="154" y="121"/>
                  <a:pt x="154" y="120"/>
                </a:cubicBezTo>
                <a:cubicBezTo>
                  <a:pt x="152" y="118"/>
                  <a:pt x="151" y="115"/>
                  <a:pt x="150" y="112"/>
                </a:cubicBezTo>
                <a:cubicBezTo>
                  <a:pt x="148" y="109"/>
                  <a:pt x="147" y="107"/>
                  <a:pt x="146" y="104"/>
                </a:cubicBezTo>
                <a:cubicBezTo>
                  <a:pt x="144" y="102"/>
                  <a:pt x="142" y="99"/>
                  <a:pt x="141" y="97"/>
                </a:cubicBezTo>
                <a:cubicBezTo>
                  <a:pt x="139" y="93"/>
                  <a:pt x="138" y="90"/>
                  <a:pt x="141" y="87"/>
                </a:cubicBezTo>
                <a:cubicBezTo>
                  <a:pt x="143" y="84"/>
                  <a:pt x="145" y="81"/>
                  <a:pt x="147" y="78"/>
                </a:cubicBezTo>
                <a:cubicBezTo>
                  <a:pt x="149" y="76"/>
                  <a:pt x="154" y="72"/>
                  <a:pt x="152" y="69"/>
                </a:cubicBezTo>
                <a:cubicBezTo>
                  <a:pt x="151" y="68"/>
                  <a:pt x="149" y="66"/>
                  <a:pt x="148" y="65"/>
                </a:cubicBezTo>
                <a:cubicBezTo>
                  <a:pt x="147" y="64"/>
                  <a:pt x="146" y="62"/>
                  <a:pt x="144" y="60"/>
                </a:cubicBezTo>
                <a:cubicBezTo>
                  <a:pt x="142" y="58"/>
                  <a:pt x="138" y="58"/>
                  <a:pt x="136" y="57"/>
                </a:cubicBezTo>
                <a:cubicBezTo>
                  <a:pt x="132" y="56"/>
                  <a:pt x="130" y="54"/>
                  <a:pt x="129" y="50"/>
                </a:cubicBezTo>
                <a:cubicBezTo>
                  <a:pt x="129" y="49"/>
                  <a:pt x="128" y="47"/>
                  <a:pt x="129" y="46"/>
                </a:cubicBezTo>
                <a:cubicBezTo>
                  <a:pt x="129" y="44"/>
                  <a:pt x="130" y="42"/>
                  <a:pt x="130" y="41"/>
                </a:cubicBezTo>
                <a:cubicBezTo>
                  <a:pt x="131" y="38"/>
                  <a:pt x="127" y="35"/>
                  <a:pt x="130" y="33"/>
                </a:cubicBezTo>
                <a:cubicBezTo>
                  <a:pt x="132" y="31"/>
                  <a:pt x="130" y="33"/>
                  <a:pt x="130" y="33"/>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5" name="Freeform 262">
            <a:extLst>
              <a:ext uri="{FF2B5EF4-FFF2-40B4-BE49-F238E27FC236}">
                <a16:creationId xmlns:a16="http://schemas.microsoft.com/office/drawing/2014/main" id="{40C6A148-F793-E404-93E7-F1F031B0312C}"/>
              </a:ext>
            </a:extLst>
          </p:cNvPr>
          <p:cNvSpPr/>
          <p:nvPr>
            <p:custDataLst>
              <p:tags r:id="rId47"/>
            </p:custDataLst>
          </p:nvPr>
        </p:nvSpPr>
        <p:spPr bwMode="auto">
          <a:xfrm>
            <a:off x="4879646" y="2503939"/>
            <a:ext cx="185202" cy="129141"/>
          </a:xfrm>
          <a:custGeom>
            <a:avLst/>
            <a:gdLst>
              <a:gd name="T0" fmla="*/ 124 w 159"/>
              <a:gd name="T1" fmla="*/ 11 h 111"/>
              <a:gd name="T2" fmla="*/ 108 w 159"/>
              <a:gd name="T3" fmla="*/ 10 h 111"/>
              <a:gd name="T4" fmla="*/ 98 w 159"/>
              <a:gd name="T5" fmla="*/ 5 h 111"/>
              <a:gd name="T6" fmla="*/ 86 w 159"/>
              <a:gd name="T7" fmla="*/ 4 h 111"/>
              <a:gd name="T8" fmla="*/ 82 w 159"/>
              <a:gd name="T9" fmla="*/ 1 h 111"/>
              <a:gd name="T10" fmla="*/ 71 w 159"/>
              <a:gd name="T11" fmla="*/ 9 h 111"/>
              <a:gd name="T12" fmla="*/ 61 w 159"/>
              <a:gd name="T13" fmla="*/ 10 h 111"/>
              <a:gd name="T14" fmla="*/ 55 w 159"/>
              <a:gd name="T15" fmla="*/ 19 h 111"/>
              <a:gd name="T16" fmla="*/ 48 w 159"/>
              <a:gd name="T17" fmla="*/ 29 h 111"/>
              <a:gd name="T18" fmla="*/ 41 w 159"/>
              <a:gd name="T19" fmla="*/ 39 h 111"/>
              <a:gd name="T20" fmla="*/ 37 w 159"/>
              <a:gd name="T21" fmla="*/ 47 h 111"/>
              <a:gd name="T22" fmla="*/ 27 w 159"/>
              <a:gd name="T23" fmla="*/ 50 h 111"/>
              <a:gd name="T24" fmla="*/ 3 w 159"/>
              <a:gd name="T25" fmla="*/ 53 h 111"/>
              <a:gd name="T26" fmla="*/ 10 w 159"/>
              <a:gd name="T27" fmla="*/ 67 h 111"/>
              <a:gd name="T28" fmla="*/ 1 w 159"/>
              <a:gd name="T29" fmla="*/ 88 h 111"/>
              <a:gd name="T30" fmla="*/ 3 w 159"/>
              <a:gd name="T31" fmla="*/ 93 h 111"/>
              <a:gd name="T32" fmla="*/ 5 w 159"/>
              <a:gd name="T33" fmla="*/ 105 h 111"/>
              <a:gd name="T34" fmla="*/ 22 w 159"/>
              <a:gd name="T35" fmla="*/ 98 h 111"/>
              <a:gd name="T36" fmla="*/ 59 w 159"/>
              <a:gd name="T37" fmla="*/ 101 h 111"/>
              <a:gd name="T38" fmla="*/ 75 w 159"/>
              <a:gd name="T39" fmla="*/ 106 h 111"/>
              <a:gd name="T40" fmla="*/ 88 w 159"/>
              <a:gd name="T41" fmla="*/ 108 h 111"/>
              <a:gd name="T42" fmla="*/ 98 w 159"/>
              <a:gd name="T43" fmla="*/ 105 h 111"/>
              <a:gd name="T44" fmla="*/ 113 w 159"/>
              <a:gd name="T45" fmla="*/ 108 h 111"/>
              <a:gd name="T46" fmla="*/ 122 w 159"/>
              <a:gd name="T47" fmla="*/ 111 h 111"/>
              <a:gd name="T48" fmla="*/ 130 w 159"/>
              <a:gd name="T49" fmla="*/ 95 h 111"/>
              <a:gd name="T50" fmla="*/ 139 w 159"/>
              <a:gd name="T51" fmla="*/ 87 h 111"/>
              <a:gd name="T52" fmla="*/ 135 w 159"/>
              <a:gd name="T53" fmla="*/ 72 h 111"/>
              <a:gd name="T54" fmla="*/ 150 w 159"/>
              <a:gd name="T55" fmla="*/ 70 h 111"/>
              <a:gd name="T56" fmla="*/ 155 w 159"/>
              <a:gd name="T57" fmla="*/ 62 h 111"/>
              <a:gd name="T58" fmla="*/ 153 w 159"/>
              <a:gd name="T59" fmla="*/ 58 h 111"/>
              <a:gd name="T60" fmla="*/ 143 w 159"/>
              <a:gd name="T61" fmla="*/ 55 h 111"/>
              <a:gd name="T62" fmla="*/ 143 w 159"/>
              <a:gd name="T63" fmla="*/ 49 h 111"/>
              <a:gd name="T64" fmla="*/ 132 w 159"/>
              <a:gd name="T65" fmla="*/ 40 h 111"/>
              <a:gd name="T66" fmla="*/ 130 w 159"/>
              <a:gd name="T67" fmla="*/ 35 h 111"/>
              <a:gd name="T68" fmla="*/ 128 w 159"/>
              <a:gd name="T69" fmla="*/ 27 h 111"/>
              <a:gd name="T70" fmla="*/ 126 w 159"/>
              <a:gd name="T71" fmla="*/ 19 h 111"/>
              <a:gd name="T72" fmla="*/ 128 w 159"/>
              <a:gd name="T73" fmla="*/ 1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110">
                <a:moveTo>
                  <a:pt x="128" y="15"/>
                </a:moveTo>
                <a:cubicBezTo>
                  <a:pt x="128" y="14"/>
                  <a:pt x="125" y="12"/>
                  <a:pt x="124" y="11"/>
                </a:cubicBezTo>
                <a:cubicBezTo>
                  <a:pt x="122" y="10"/>
                  <a:pt x="119" y="8"/>
                  <a:pt x="116" y="9"/>
                </a:cubicBezTo>
                <a:cubicBezTo>
                  <a:pt x="113" y="9"/>
                  <a:pt x="111" y="10"/>
                  <a:pt x="108" y="10"/>
                </a:cubicBezTo>
                <a:cubicBezTo>
                  <a:pt x="106" y="10"/>
                  <a:pt x="104" y="9"/>
                  <a:pt x="101" y="7"/>
                </a:cubicBezTo>
                <a:cubicBezTo>
                  <a:pt x="101" y="6"/>
                  <a:pt x="100" y="6"/>
                  <a:pt x="98" y="5"/>
                </a:cubicBezTo>
                <a:cubicBezTo>
                  <a:pt x="97" y="5"/>
                  <a:pt x="96" y="5"/>
                  <a:pt x="94" y="5"/>
                </a:cubicBezTo>
                <a:cubicBezTo>
                  <a:pt x="92" y="5"/>
                  <a:pt x="89" y="5"/>
                  <a:pt x="86" y="4"/>
                </a:cubicBezTo>
                <a:cubicBezTo>
                  <a:pt x="85" y="3"/>
                  <a:pt x="84" y="3"/>
                  <a:pt x="84" y="2"/>
                </a:cubicBezTo>
                <a:cubicBezTo>
                  <a:pt x="83" y="1"/>
                  <a:pt x="83" y="0"/>
                  <a:pt x="82" y="1"/>
                </a:cubicBezTo>
                <a:cubicBezTo>
                  <a:pt x="80" y="2"/>
                  <a:pt x="77" y="3"/>
                  <a:pt x="75" y="5"/>
                </a:cubicBezTo>
                <a:cubicBezTo>
                  <a:pt x="73" y="6"/>
                  <a:pt x="73" y="8"/>
                  <a:pt x="71" y="9"/>
                </a:cubicBezTo>
                <a:cubicBezTo>
                  <a:pt x="69" y="9"/>
                  <a:pt x="66" y="9"/>
                  <a:pt x="64" y="9"/>
                </a:cubicBezTo>
                <a:cubicBezTo>
                  <a:pt x="63" y="9"/>
                  <a:pt x="62" y="9"/>
                  <a:pt x="61" y="10"/>
                </a:cubicBezTo>
                <a:cubicBezTo>
                  <a:pt x="60" y="10"/>
                  <a:pt x="59" y="11"/>
                  <a:pt x="58" y="12"/>
                </a:cubicBezTo>
                <a:cubicBezTo>
                  <a:pt x="57" y="14"/>
                  <a:pt x="55" y="16"/>
                  <a:pt x="55" y="19"/>
                </a:cubicBezTo>
                <a:cubicBezTo>
                  <a:pt x="56" y="22"/>
                  <a:pt x="57" y="23"/>
                  <a:pt x="55" y="25"/>
                </a:cubicBezTo>
                <a:cubicBezTo>
                  <a:pt x="53" y="26"/>
                  <a:pt x="50" y="28"/>
                  <a:pt x="48" y="29"/>
                </a:cubicBezTo>
                <a:cubicBezTo>
                  <a:pt x="46" y="30"/>
                  <a:pt x="44" y="31"/>
                  <a:pt x="43" y="32"/>
                </a:cubicBezTo>
                <a:cubicBezTo>
                  <a:pt x="41" y="34"/>
                  <a:pt x="41" y="36"/>
                  <a:pt x="41" y="39"/>
                </a:cubicBezTo>
                <a:cubicBezTo>
                  <a:pt x="41" y="41"/>
                  <a:pt x="42" y="43"/>
                  <a:pt x="42" y="45"/>
                </a:cubicBezTo>
                <a:cubicBezTo>
                  <a:pt x="41" y="47"/>
                  <a:pt x="39" y="47"/>
                  <a:pt x="37" y="47"/>
                </a:cubicBezTo>
                <a:cubicBezTo>
                  <a:pt x="35" y="47"/>
                  <a:pt x="33" y="48"/>
                  <a:pt x="31" y="48"/>
                </a:cubicBezTo>
                <a:cubicBezTo>
                  <a:pt x="29" y="49"/>
                  <a:pt x="27" y="48"/>
                  <a:pt x="27" y="50"/>
                </a:cubicBezTo>
                <a:cubicBezTo>
                  <a:pt x="25" y="53"/>
                  <a:pt x="22" y="54"/>
                  <a:pt x="18" y="54"/>
                </a:cubicBezTo>
                <a:cubicBezTo>
                  <a:pt x="13" y="54"/>
                  <a:pt x="8" y="53"/>
                  <a:pt x="3" y="53"/>
                </a:cubicBezTo>
                <a:cubicBezTo>
                  <a:pt x="4" y="55"/>
                  <a:pt x="5" y="58"/>
                  <a:pt x="6" y="60"/>
                </a:cubicBezTo>
                <a:cubicBezTo>
                  <a:pt x="7" y="63"/>
                  <a:pt x="9" y="65"/>
                  <a:pt x="10" y="67"/>
                </a:cubicBezTo>
                <a:cubicBezTo>
                  <a:pt x="12" y="72"/>
                  <a:pt x="11" y="79"/>
                  <a:pt x="8" y="83"/>
                </a:cubicBezTo>
                <a:cubicBezTo>
                  <a:pt x="6" y="85"/>
                  <a:pt x="4" y="86"/>
                  <a:pt x="1" y="88"/>
                </a:cubicBezTo>
                <a:cubicBezTo>
                  <a:pt x="1" y="88"/>
                  <a:pt x="0" y="89"/>
                  <a:pt x="0" y="90"/>
                </a:cubicBezTo>
                <a:cubicBezTo>
                  <a:pt x="1" y="91"/>
                  <a:pt x="2" y="92"/>
                  <a:pt x="3" y="93"/>
                </a:cubicBezTo>
                <a:cubicBezTo>
                  <a:pt x="5" y="95"/>
                  <a:pt x="5" y="98"/>
                  <a:pt x="5" y="101"/>
                </a:cubicBezTo>
                <a:cubicBezTo>
                  <a:pt x="5" y="102"/>
                  <a:pt x="5" y="104"/>
                  <a:pt x="5" y="105"/>
                </a:cubicBezTo>
                <a:cubicBezTo>
                  <a:pt x="5" y="107"/>
                  <a:pt x="7" y="106"/>
                  <a:pt x="8" y="106"/>
                </a:cubicBezTo>
                <a:cubicBezTo>
                  <a:pt x="13" y="104"/>
                  <a:pt x="17" y="100"/>
                  <a:pt x="22" y="98"/>
                </a:cubicBezTo>
                <a:cubicBezTo>
                  <a:pt x="28" y="97"/>
                  <a:pt x="35" y="97"/>
                  <a:pt x="41" y="98"/>
                </a:cubicBezTo>
                <a:cubicBezTo>
                  <a:pt x="47" y="98"/>
                  <a:pt x="53" y="99"/>
                  <a:pt x="59" y="101"/>
                </a:cubicBezTo>
                <a:cubicBezTo>
                  <a:pt x="62" y="102"/>
                  <a:pt x="65" y="103"/>
                  <a:pt x="68" y="104"/>
                </a:cubicBezTo>
                <a:cubicBezTo>
                  <a:pt x="70" y="105"/>
                  <a:pt x="73" y="106"/>
                  <a:pt x="75" y="106"/>
                </a:cubicBezTo>
                <a:cubicBezTo>
                  <a:pt x="78" y="105"/>
                  <a:pt x="81" y="103"/>
                  <a:pt x="84" y="105"/>
                </a:cubicBezTo>
                <a:cubicBezTo>
                  <a:pt x="85" y="105"/>
                  <a:pt x="87" y="107"/>
                  <a:pt x="88" y="108"/>
                </a:cubicBezTo>
                <a:cubicBezTo>
                  <a:pt x="90" y="108"/>
                  <a:pt x="92" y="107"/>
                  <a:pt x="93" y="106"/>
                </a:cubicBezTo>
                <a:cubicBezTo>
                  <a:pt x="94" y="105"/>
                  <a:pt x="96" y="104"/>
                  <a:pt x="98" y="105"/>
                </a:cubicBezTo>
                <a:cubicBezTo>
                  <a:pt x="100" y="106"/>
                  <a:pt x="100" y="108"/>
                  <a:pt x="102" y="109"/>
                </a:cubicBezTo>
                <a:cubicBezTo>
                  <a:pt x="106" y="111"/>
                  <a:pt x="109" y="109"/>
                  <a:pt x="113" y="108"/>
                </a:cubicBezTo>
                <a:cubicBezTo>
                  <a:pt x="115" y="107"/>
                  <a:pt x="117" y="108"/>
                  <a:pt x="118" y="109"/>
                </a:cubicBezTo>
                <a:cubicBezTo>
                  <a:pt x="119" y="109"/>
                  <a:pt x="121" y="111"/>
                  <a:pt x="122" y="111"/>
                </a:cubicBezTo>
                <a:cubicBezTo>
                  <a:pt x="123" y="109"/>
                  <a:pt x="122" y="106"/>
                  <a:pt x="123" y="104"/>
                </a:cubicBezTo>
                <a:cubicBezTo>
                  <a:pt x="123" y="100"/>
                  <a:pt x="127" y="97"/>
                  <a:pt x="130" y="95"/>
                </a:cubicBezTo>
                <a:cubicBezTo>
                  <a:pt x="133" y="93"/>
                  <a:pt x="138" y="95"/>
                  <a:pt x="141" y="93"/>
                </a:cubicBezTo>
                <a:cubicBezTo>
                  <a:pt x="140" y="91"/>
                  <a:pt x="138" y="89"/>
                  <a:pt x="139" y="87"/>
                </a:cubicBezTo>
                <a:cubicBezTo>
                  <a:pt x="139" y="84"/>
                  <a:pt x="139" y="81"/>
                  <a:pt x="138" y="79"/>
                </a:cubicBezTo>
                <a:cubicBezTo>
                  <a:pt x="137" y="77"/>
                  <a:pt x="134" y="74"/>
                  <a:pt x="135" y="72"/>
                </a:cubicBezTo>
                <a:cubicBezTo>
                  <a:pt x="135" y="70"/>
                  <a:pt x="139" y="69"/>
                  <a:pt x="141" y="69"/>
                </a:cubicBezTo>
                <a:cubicBezTo>
                  <a:pt x="144" y="69"/>
                  <a:pt x="147" y="70"/>
                  <a:pt x="150" y="70"/>
                </a:cubicBezTo>
                <a:cubicBezTo>
                  <a:pt x="152" y="70"/>
                  <a:pt x="155" y="68"/>
                  <a:pt x="157" y="66"/>
                </a:cubicBezTo>
                <a:cubicBezTo>
                  <a:pt x="159" y="64"/>
                  <a:pt x="156" y="64"/>
                  <a:pt x="155" y="62"/>
                </a:cubicBezTo>
                <a:cubicBezTo>
                  <a:pt x="154" y="62"/>
                  <a:pt x="153" y="61"/>
                  <a:pt x="153" y="60"/>
                </a:cubicBezTo>
                <a:cubicBezTo>
                  <a:pt x="153" y="59"/>
                  <a:pt x="153" y="59"/>
                  <a:pt x="153" y="58"/>
                </a:cubicBezTo>
                <a:cubicBezTo>
                  <a:pt x="153" y="58"/>
                  <a:pt x="152" y="58"/>
                  <a:pt x="151" y="58"/>
                </a:cubicBezTo>
                <a:cubicBezTo>
                  <a:pt x="149" y="57"/>
                  <a:pt x="143" y="57"/>
                  <a:pt x="143" y="55"/>
                </a:cubicBezTo>
                <a:cubicBezTo>
                  <a:pt x="143" y="54"/>
                  <a:pt x="143" y="53"/>
                  <a:pt x="143" y="52"/>
                </a:cubicBezTo>
                <a:cubicBezTo>
                  <a:pt x="144" y="51"/>
                  <a:pt x="143" y="50"/>
                  <a:pt x="143" y="49"/>
                </a:cubicBezTo>
                <a:cubicBezTo>
                  <a:pt x="141" y="47"/>
                  <a:pt x="138" y="46"/>
                  <a:pt x="136" y="45"/>
                </a:cubicBezTo>
                <a:cubicBezTo>
                  <a:pt x="135" y="44"/>
                  <a:pt x="132" y="42"/>
                  <a:pt x="132" y="40"/>
                </a:cubicBezTo>
                <a:cubicBezTo>
                  <a:pt x="132" y="39"/>
                  <a:pt x="133" y="38"/>
                  <a:pt x="133" y="37"/>
                </a:cubicBezTo>
                <a:cubicBezTo>
                  <a:pt x="133" y="35"/>
                  <a:pt x="132" y="35"/>
                  <a:pt x="130" y="35"/>
                </a:cubicBezTo>
                <a:cubicBezTo>
                  <a:pt x="129" y="34"/>
                  <a:pt x="126" y="32"/>
                  <a:pt x="126" y="29"/>
                </a:cubicBezTo>
                <a:cubicBezTo>
                  <a:pt x="126" y="28"/>
                  <a:pt x="127" y="28"/>
                  <a:pt x="128" y="27"/>
                </a:cubicBezTo>
                <a:cubicBezTo>
                  <a:pt x="129" y="26"/>
                  <a:pt x="128" y="25"/>
                  <a:pt x="128" y="24"/>
                </a:cubicBezTo>
                <a:cubicBezTo>
                  <a:pt x="127" y="23"/>
                  <a:pt x="126" y="21"/>
                  <a:pt x="126" y="19"/>
                </a:cubicBezTo>
                <a:cubicBezTo>
                  <a:pt x="127" y="18"/>
                  <a:pt x="128" y="17"/>
                  <a:pt x="128" y="15"/>
                </a:cubicBezTo>
                <a:cubicBezTo>
                  <a:pt x="128" y="15"/>
                  <a:pt x="128" y="15"/>
                  <a:pt x="128" y="15"/>
                </a:cubicBezTo>
                <a:cubicBezTo>
                  <a:pt x="128" y="14"/>
                  <a:pt x="128" y="15"/>
                  <a:pt x="128" y="15"/>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6" name="Freeform 267">
            <a:extLst>
              <a:ext uri="{FF2B5EF4-FFF2-40B4-BE49-F238E27FC236}">
                <a16:creationId xmlns:a16="http://schemas.microsoft.com/office/drawing/2014/main" id="{21D020AE-7800-32EA-6673-0E938A6B87ED}"/>
              </a:ext>
            </a:extLst>
          </p:cNvPr>
          <p:cNvSpPr/>
          <p:nvPr>
            <p:custDataLst>
              <p:tags r:id="rId48"/>
            </p:custDataLst>
          </p:nvPr>
        </p:nvSpPr>
        <p:spPr bwMode="auto">
          <a:xfrm>
            <a:off x="4832595" y="2449881"/>
            <a:ext cx="143155" cy="66072"/>
          </a:xfrm>
          <a:custGeom>
            <a:avLst/>
            <a:gdLst>
              <a:gd name="T0" fmla="*/ 109 w 122"/>
              <a:gd name="T1" fmla="*/ 13 h 57"/>
              <a:gd name="T2" fmla="*/ 107 w 122"/>
              <a:gd name="T3" fmla="*/ 13 h 57"/>
              <a:gd name="T4" fmla="*/ 104 w 122"/>
              <a:gd name="T5" fmla="*/ 13 h 57"/>
              <a:gd name="T6" fmla="*/ 95 w 122"/>
              <a:gd name="T7" fmla="*/ 13 h 57"/>
              <a:gd name="T8" fmla="*/ 82 w 122"/>
              <a:gd name="T9" fmla="*/ 4 h 57"/>
              <a:gd name="T10" fmla="*/ 67 w 122"/>
              <a:gd name="T11" fmla="*/ 1 h 57"/>
              <a:gd name="T12" fmla="*/ 62 w 122"/>
              <a:gd name="T13" fmla="*/ 3 h 57"/>
              <a:gd name="T14" fmla="*/ 57 w 122"/>
              <a:gd name="T15" fmla="*/ 5 h 57"/>
              <a:gd name="T16" fmla="*/ 58 w 122"/>
              <a:gd name="T17" fmla="*/ 10 h 57"/>
              <a:gd name="T18" fmla="*/ 57 w 122"/>
              <a:gd name="T19" fmla="*/ 17 h 57"/>
              <a:gd name="T20" fmla="*/ 55 w 122"/>
              <a:gd name="T21" fmla="*/ 20 h 57"/>
              <a:gd name="T22" fmla="*/ 52 w 122"/>
              <a:gd name="T23" fmla="*/ 23 h 57"/>
              <a:gd name="T24" fmla="*/ 45 w 122"/>
              <a:gd name="T25" fmla="*/ 25 h 57"/>
              <a:gd name="T26" fmla="*/ 40 w 122"/>
              <a:gd name="T27" fmla="*/ 21 h 57"/>
              <a:gd name="T28" fmla="*/ 35 w 122"/>
              <a:gd name="T29" fmla="*/ 15 h 57"/>
              <a:gd name="T30" fmla="*/ 29 w 122"/>
              <a:gd name="T31" fmla="*/ 11 h 57"/>
              <a:gd name="T32" fmla="*/ 22 w 122"/>
              <a:gd name="T33" fmla="*/ 9 h 57"/>
              <a:gd name="T34" fmla="*/ 11 w 122"/>
              <a:gd name="T35" fmla="*/ 12 h 57"/>
              <a:gd name="T36" fmla="*/ 8 w 122"/>
              <a:gd name="T37" fmla="*/ 17 h 57"/>
              <a:gd name="T38" fmla="*/ 8 w 122"/>
              <a:gd name="T39" fmla="*/ 23 h 57"/>
              <a:gd name="T40" fmla="*/ 4 w 122"/>
              <a:gd name="T41" fmla="*/ 27 h 57"/>
              <a:gd name="T42" fmla="*/ 1 w 122"/>
              <a:gd name="T43" fmla="*/ 32 h 57"/>
              <a:gd name="T44" fmla="*/ 0 w 122"/>
              <a:gd name="T45" fmla="*/ 39 h 57"/>
              <a:gd name="T46" fmla="*/ 0 w 122"/>
              <a:gd name="T47" fmla="*/ 47 h 57"/>
              <a:gd name="T48" fmla="*/ 17 w 122"/>
              <a:gd name="T49" fmla="*/ 40 h 57"/>
              <a:gd name="T50" fmla="*/ 25 w 122"/>
              <a:gd name="T51" fmla="*/ 40 h 57"/>
              <a:gd name="T52" fmla="*/ 33 w 122"/>
              <a:gd name="T53" fmla="*/ 40 h 57"/>
              <a:gd name="T54" fmla="*/ 42 w 122"/>
              <a:gd name="T55" fmla="*/ 40 h 57"/>
              <a:gd name="T56" fmla="*/ 51 w 122"/>
              <a:gd name="T57" fmla="*/ 41 h 57"/>
              <a:gd name="T58" fmla="*/ 59 w 122"/>
              <a:gd name="T59" fmla="*/ 41 h 57"/>
              <a:gd name="T60" fmla="*/ 66 w 122"/>
              <a:gd name="T61" fmla="*/ 39 h 57"/>
              <a:gd name="T62" fmla="*/ 71 w 122"/>
              <a:gd name="T63" fmla="*/ 43 h 57"/>
              <a:gd name="T64" fmla="*/ 78 w 122"/>
              <a:gd name="T65" fmla="*/ 44 h 57"/>
              <a:gd name="T66" fmla="*/ 85 w 122"/>
              <a:gd name="T67" fmla="*/ 48 h 57"/>
              <a:gd name="T68" fmla="*/ 92 w 122"/>
              <a:gd name="T69" fmla="*/ 54 h 57"/>
              <a:gd name="T70" fmla="*/ 96 w 122"/>
              <a:gd name="T71" fmla="*/ 57 h 57"/>
              <a:gd name="T72" fmla="*/ 98 w 122"/>
              <a:gd name="T73" fmla="*/ 56 h 57"/>
              <a:gd name="T74" fmla="*/ 105 w 122"/>
              <a:gd name="T75" fmla="*/ 53 h 57"/>
              <a:gd name="T76" fmla="*/ 112 w 122"/>
              <a:gd name="T77" fmla="*/ 51 h 57"/>
              <a:gd name="T78" fmla="*/ 114 w 122"/>
              <a:gd name="T79" fmla="*/ 49 h 57"/>
              <a:gd name="T80" fmla="*/ 118 w 122"/>
              <a:gd name="T81" fmla="*/ 47 h 57"/>
              <a:gd name="T82" fmla="*/ 122 w 122"/>
              <a:gd name="T83" fmla="*/ 44 h 57"/>
              <a:gd name="T84" fmla="*/ 120 w 122"/>
              <a:gd name="T85" fmla="*/ 38 h 57"/>
              <a:gd name="T86" fmla="*/ 119 w 122"/>
              <a:gd name="T87" fmla="*/ 33 h 57"/>
              <a:gd name="T88" fmla="*/ 115 w 122"/>
              <a:gd name="T89" fmla="*/ 29 h 57"/>
              <a:gd name="T90" fmla="*/ 115 w 122"/>
              <a:gd name="T91" fmla="*/ 20 h 57"/>
              <a:gd name="T92" fmla="*/ 113 w 122"/>
              <a:gd name="T93" fmla="*/ 17 h 57"/>
              <a:gd name="T94" fmla="*/ 109 w 122"/>
              <a:gd name="T95" fmla="*/ 13 h 57"/>
              <a:gd name="T96" fmla="*/ 109 w 122"/>
              <a:gd name="T97" fmla="*/ 1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2" h="57">
                <a:moveTo>
                  <a:pt x="109" y="13"/>
                </a:moveTo>
                <a:cubicBezTo>
                  <a:pt x="109" y="12"/>
                  <a:pt x="108" y="13"/>
                  <a:pt x="107" y="13"/>
                </a:cubicBezTo>
                <a:cubicBezTo>
                  <a:pt x="106" y="13"/>
                  <a:pt x="105" y="13"/>
                  <a:pt x="104" y="13"/>
                </a:cubicBezTo>
                <a:cubicBezTo>
                  <a:pt x="101" y="12"/>
                  <a:pt x="99" y="12"/>
                  <a:pt x="95" y="13"/>
                </a:cubicBezTo>
                <a:cubicBezTo>
                  <a:pt x="90" y="14"/>
                  <a:pt x="86" y="8"/>
                  <a:pt x="82" y="4"/>
                </a:cubicBezTo>
                <a:cubicBezTo>
                  <a:pt x="79" y="1"/>
                  <a:pt x="72" y="0"/>
                  <a:pt x="67" y="1"/>
                </a:cubicBezTo>
                <a:cubicBezTo>
                  <a:pt x="65" y="1"/>
                  <a:pt x="64" y="2"/>
                  <a:pt x="62" y="3"/>
                </a:cubicBezTo>
                <a:cubicBezTo>
                  <a:pt x="61" y="3"/>
                  <a:pt x="59" y="4"/>
                  <a:pt x="57" y="5"/>
                </a:cubicBezTo>
                <a:cubicBezTo>
                  <a:pt x="56" y="6"/>
                  <a:pt x="57" y="8"/>
                  <a:pt x="58" y="10"/>
                </a:cubicBezTo>
                <a:cubicBezTo>
                  <a:pt x="58" y="12"/>
                  <a:pt x="58" y="16"/>
                  <a:pt x="57" y="17"/>
                </a:cubicBezTo>
                <a:cubicBezTo>
                  <a:pt x="56" y="18"/>
                  <a:pt x="55" y="19"/>
                  <a:pt x="55" y="20"/>
                </a:cubicBezTo>
                <a:cubicBezTo>
                  <a:pt x="54" y="21"/>
                  <a:pt x="53" y="22"/>
                  <a:pt x="52" y="23"/>
                </a:cubicBezTo>
                <a:cubicBezTo>
                  <a:pt x="51" y="25"/>
                  <a:pt x="48" y="26"/>
                  <a:pt x="45" y="25"/>
                </a:cubicBezTo>
                <a:cubicBezTo>
                  <a:pt x="43" y="25"/>
                  <a:pt x="41" y="23"/>
                  <a:pt x="40" y="21"/>
                </a:cubicBezTo>
                <a:cubicBezTo>
                  <a:pt x="38" y="19"/>
                  <a:pt x="37" y="17"/>
                  <a:pt x="35" y="15"/>
                </a:cubicBezTo>
                <a:cubicBezTo>
                  <a:pt x="32" y="14"/>
                  <a:pt x="31" y="12"/>
                  <a:pt x="29" y="11"/>
                </a:cubicBezTo>
                <a:cubicBezTo>
                  <a:pt x="27" y="9"/>
                  <a:pt x="24" y="9"/>
                  <a:pt x="22" y="9"/>
                </a:cubicBezTo>
                <a:cubicBezTo>
                  <a:pt x="18" y="9"/>
                  <a:pt x="14" y="9"/>
                  <a:pt x="11" y="12"/>
                </a:cubicBezTo>
                <a:cubicBezTo>
                  <a:pt x="10" y="13"/>
                  <a:pt x="9" y="15"/>
                  <a:pt x="8" y="17"/>
                </a:cubicBezTo>
                <a:cubicBezTo>
                  <a:pt x="7" y="19"/>
                  <a:pt x="8" y="21"/>
                  <a:pt x="8" y="23"/>
                </a:cubicBezTo>
                <a:cubicBezTo>
                  <a:pt x="7" y="25"/>
                  <a:pt x="6" y="26"/>
                  <a:pt x="4" y="27"/>
                </a:cubicBezTo>
                <a:cubicBezTo>
                  <a:pt x="3" y="28"/>
                  <a:pt x="1" y="30"/>
                  <a:pt x="1" y="32"/>
                </a:cubicBezTo>
                <a:cubicBezTo>
                  <a:pt x="1" y="35"/>
                  <a:pt x="1" y="37"/>
                  <a:pt x="0" y="39"/>
                </a:cubicBezTo>
                <a:cubicBezTo>
                  <a:pt x="0" y="42"/>
                  <a:pt x="0" y="44"/>
                  <a:pt x="0" y="47"/>
                </a:cubicBezTo>
                <a:cubicBezTo>
                  <a:pt x="5" y="44"/>
                  <a:pt x="11" y="41"/>
                  <a:pt x="17" y="40"/>
                </a:cubicBezTo>
                <a:cubicBezTo>
                  <a:pt x="20" y="39"/>
                  <a:pt x="22" y="39"/>
                  <a:pt x="25" y="40"/>
                </a:cubicBezTo>
                <a:cubicBezTo>
                  <a:pt x="28" y="40"/>
                  <a:pt x="30" y="39"/>
                  <a:pt x="33" y="40"/>
                </a:cubicBezTo>
                <a:cubicBezTo>
                  <a:pt x="36" y="40"/>
                  <a:pt x="39" y="40"/>
                  <a:pt x="42" y="40"/>
                </a:cubicBezTo>
                <a:cubicBezTo>
                  <a:pt x="45" y="40"/>
                  <a:pt x="48" y="40"/>
                  <a:pt x="51" y="41"/>
                </a:cubicBezTo>
                <a:cubicBezTo>
                  <a:pt x="54" y="42"/>
                  <a:pt x="56" y="42"/>
                  <a:pt x="59" y="41"/>
                </a:cubicBezTo>
                <a:cubicBezTo>
                  <a:pt x="62" y="40"/>
                  <a:pt x="64" y="38"/>
                  <a:pt x="66" y="39"/>
                </a:cubicBezTo>
                <a:cubicBezTo>
                  <a:pt x="69" y="40"/>
                  <a:pt x="69" y="42"/>
                  <a:pt x="71" y="43"/>
                </a:cubicBezTo>
                <a:cubicBezTo>
                  <a:pt x="74" y="44"/>
                  <a:pt x="76" y="44"/>
                  <a:pt x="78" y="44"/>
                </a:cubicBezTo>
                <a:cubicBezTo>
                  <a:pt x="81" y="45"/>
                  <a:pt x="83" y="47"/>
                  <a:pt x="85" y="48"/>
                </a:cubicBezTo>
                <a:cubicBezTo>
                  <a:pt x="87" y="50"/>
                  <a:pt x="90" y="52"/>
                  <a:pt x="92" y="54"/>
                </a:cubicBezTo>
                <a:cubicBezTo>
                  <a:pt x="93" y="55"/>
                  <a:pt x="94" y="56"/>
                  <a:pt x="96" y="57"/>
                </a:cubicBezTo>
                <a:cubicBezTo>
                  <a:pt x="97" y="57"/>
                  <a:pt x="97" y="57"/>
                  <a:pt x="98" y="56"/>
                </a:cubicBezTo>
                <a:cubicBezTo>
                  <a:pt x="100" y="53"/>
                  <a:pt x="102" y="53"/>
                  <a:pt x="105" y="53"/>
                </a:cubicBezTo>
                <a:cubicBezTo>
                  <a:pt x="107" y="53"/>
                  <a:pt x="111" y="53"/>
                  <a:pt x="112" y="51"/>
                </a:cubicBezTo>
                <a:cubicBezTo>
                  <a:pt x="112" y="51"/>
                  <a:pt x="113" y="50"/>
                  <a:pt x="114" y="49"/>
                </a:cubicBezTo>
                <a:cubicBezTo>
                  <a:pt x="115" y="48"/>
                  <a:pt x="116" y="47"/>
                  <a:pt x="118" y="47"/>
                </a:cubicBezTo>
                <a:cubicBezTo>
                  <a:pt x="118" y="46"/>
                  <a:pt x="122" y="45"/>
                  <a:pt x="122" y="44"/>
                </a:cubicBezTo>
                <a:cubicBezTo>
                  <a:pt x="121" y="42"/>
                  <a:pt x="121" y="40"/>
                  <a:pt x="120" y="38"/>
                </a:cubicBezTo>
                <a:cubicBezTo>
                  <a:pt x="120" y="36"/>
                  <a:pt x="120" y="34"/>
                  <a:pt x="119" y="33"/>
                </a:cubicBezTo>
                <a:cubicBezTo>
                  <a:pt x="118" y="31"/>
                  <a:pt x="116" y="30"/>
                  <a:pt x="115" y="29"/>
                </a:cubicBezTo>
                <a:cubicBezTo>
                  <a:pt x="112" y="27"/>
                  <a:pt x="114" y="22"/>
                  <a:pt x="115" y="20"/>
                </a:cubicBezTo>
                <a:cubicBezTo>
                  <a:pt x="116" y="18"/>
                  <a:pt x="115" y="17"/>
                  <a:pt x="113" y="17"/>
                </a:cubicBezTo>
                <a:cubicBezTo>
                  <a:pt x="112" y="16"/>
                  <a:pt x="110" y="15"/>
                  <a:pt x="109" y="13"/>
                </a:cubicBezTo>
                <a:cubicBezTo>
                  <a:pt x="109" y="13"/>
                  <a:pt x="109" y="13"/>
                  <a:pt x="109" y="13"/>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7" name="Freeform 268">
            <a:extLst>
              <a:ext uri="{FF2B5EF4-FFF2-40B4-BE49-F238E27FC236}">
                <a16:creationId xmlns:a16="http://schemas.microsoft.com/office/drawing/2014/main" id="{64026524-62ED-A431-43C3-4FB47CC4561E}"/>
              </a:ext>
            </a:extLst>
          </p:cNvPr>
          <p:cNvSpPr>
            <a:spLocks noEditPoints="1"/>
          </p:cNvSpPr>
          <p:nvPr>
            <p:custDataLst>
              <p:tags r:id="rId49"/>
            </p:custDataLst>
          </p:nvPr>
        </p:nvSpPr>
        <p:spPr bwMode="auto">
          <a:xfrm>
            <a:off x="6873813" y="2878347"/>
            <a:ext cx="367399" cy="387421"/>
          </a:xfrm>
          <a:custGeom>
            <a:avLst/>
            <a:gdLst>
              <a:gd name="T0" fmla="*/ 135 w 314"/>
              <a:gd name="T1" fmla="*/ 137 h 331"/>
              <a:gd name="T2" fmla="*/ 123 w 314"/>
              <a:gd name="T3" fmla="*/ 146 h 331"/>
              <a:gd name="T4" fmla="*/ 137 w 314"/>
              <a:gd name="T5" fmla="*/ 148 h 331"/>
              <a:gd name="T6" fmla="*/ 151 w 314"/>
              <a:gd name="T7" fmla="*/ 144 h 331"/>
              <a:gd name="T8" fmla="*/ 170 w 314"/>
              <a:gd name="T9" fmla="*/ 138 h 331"/>
              <a:gd name="T10" fmla="*/ 200 w 314"/>
              <a:gd name="T11" fmla="*/ 137 h 331"/>
              <a:gd name="T12" fmla="*/ 201 w 314"/>
              <a:gd name="T13" fmla="*/ 156 h 331"/>
              <a:gd name="T14" fmla="*/ 215 w 314"/>
              <a:gd name="T15" fmla="*/ 149 h 331"/>
              <a:gd name="T16" fmla="*/ 220 w 314"/>
              <a:gd name="T17" fmla="*/ 137 h 331"/>
              <a:gd name="T18" fmla="*/ 226 w 314"/>
              <a:gd name="T19" fmla="*/ 134 h 331"/>
              <a:gd name="T20" fmla="*/ 237 w 314"/>
              <a:gd name="T21" fmla="*/ 137 h 331"/>
              <a:gd name="T22" fmla="*/ 257 w 314"/>
              <a:gd name="T23" fmla="*/ 127 h 331"/>
              <a:gd name="T24" fmla="*/ 265 w 314"/>
              <a:gd name="T25" fmla="*/ 129 h 331"/>
              <a:gd name="T26" fmla="*/ 279 w 314"/>
              <a:gd name="T27" fmla="*/ 120 h 331"/>
              <a:gd name="T28" fmla="*/ 277 w 314"/>
              <a:gd name="T29" fmla="*/ 132 h 331"/>
              <a:gd name="T30" fmla="*/ 294 w 314"/>
              <a:gd name="T31" fmla="*/ 115 h 331"/>
              <a:gd name="T32" fmla="*/ 292 w 314"/>
              <a:gd name="T33" fmla="*/ 95 h 331"/>
              <a:gd name="T34" fmla="*/ 295 w 314"/>
              <a:gd name="T35" fmla="*/ 72 h 331"/>
              <a:gd name="T36" fmla="*/ 304 w 314"/>
              <a:gd name="T37" fmla="*/ 66 h 331"/>
              <a:gd name="T38" fmla="*/ 311 w 314"/>
              <a:gd name="T39" fmla="*/ 50 h 331"/>
              <a:gd name="T40" fmla="*/ 305 w 314"/>
              <a:gd name="T41" fmla="*/ 20 h 331"/>
              <a:gd name="T42" fmla="*/ 296 w 314"/>
              <a:gd name="T43" fmla="*/ 1 h 331"/>
              <a:gd name="T44" fmla="*/ 298 w 314"/>
              <a:gd name="T45" fmla="*/ 11 h 331"/>
              <a:gd name="T46" fmla="*/ 288 w 314"/>
              <a:gd name="T47" fmla="*/ 8 h 331"/>
              <a:gd name="T48" fmla="*/ 282 w 314"/>
              <a:gd name="T49" fmla="*/ 14 h 331"/>
              <a:gd name="T50" fmla="*/ 275 w 314"/>
              <a:gd name="T51" fmla="*/ 34 h 331"/>
              <a:gd name="T52" fmla="*/ 276 w 314"/>
              <a:gd name="T53" fmla="*/ 50 h 331"/>
              <a:gd name="T54" fmla="*/ 258 w 314"/>
              <a:gd name="T55" fmla="*/ 78 h 331"/>
              <a:gd name="T56" fmla="*/ 233 w 314"/>
              <a:gd name="T57" fmla="*/ 94 h 331"/>
              <a:gd name="T58" fmla="*/ 222 w 314"/>
              <a:gd name="T59" fmla="*/ 94 h 331"/>
              <a:gd name="T60" fmla="*/ 212 w 314"/>
              <a:gd name="T61" fmla="*/ 108 h 331"/>
              <a:gd name="T62" fmla="*/ 202 w 314"/>
              <a:gd name="T63" fmla="*/ 118 h 331"/>
              <a:gd name="T64" fmla="*/ 191 w 314"/>
              <a:gd name="T65" fmla="*/ 117 h 331"/>
              <a:gd name="T66" fmla="*/ 163 w 314"/>
              <a:gd name="T67" fmla="*/ 120 h 331"/>
              <a:gd name="T68" fmla="*/ 78 w 314"/>
              <a:gd name="T69" fmla="*/ 286 h 331"/>
              <a:gd name="T70" fmla="*/ 72 w 314"/>
              <a:gd name="T71" fmla="*/ 288 h 331"/>
              <a:gd name="T72" fmla="*/ 71 w 314"/>
              <a:gd name="T73" fmla="*/ 292 h 331"/>
              <a:gd name="T74" fmla="*/ 78 w 314"/>
              <a:gd name="T75" fmla="*/ 286 h 331"/>
              <a:gd name="T76" fmla="*/ 28 w 314"/>
              <a:gd name="T77" fmla="*/ 321 h 331"/>
              <a:gd name="T78" fmla="*/ 1 w 314"/>
              <a:gd name="T79" fmla="*/ 328 h 331"/>
              <a:gd name="T80" fmla="*/ 100 w 314"/>
              <a:gd name="T81" fmla="*/ 254 h 331"/>
              <a:gd name="T82" fmla="*/ 98 w 314"/>
              <a:gd name="T83" fmla="*/ 260 h 331"/>
              <a:gd name="T84" fmla="*/ 100 w 314"/>
              <a:gd name="T85" fmla="*/ 254 h 331"/>
              <a:gd name="T86" fmla="*/ 84 w 314"/>
              <a:gd name="T87" fmla="*/ 271 h 331"/>
              <a:gd name="T88" fmla="*/ 89 w 314"/>
              <a:gd name="T89" fmla="*/ 175 h 331"/>
              <a:gd name="T90" fmla="*/ 89 w 314"/>
              <a:gd name="T91" fmla="*/ 175 h 331"/>
              <a:gd name="T92" fmla="*/ 90 w 314"/>
              <a:gd name="T93" fmla="*/ 265 h 331"/>
              <a:gd name="T94" fmla="*/ 112 w 314"/>
              <a:gd name="T95" fmla="*/ 175 h 331"/>
              <a:gd name="T96" fmla="*/ 112 w 314"/>
              <a:gd name="T97" fmla="*/ 175 h 331"/>
              <a:gd name="T98" fmla="*/ 92 w 314"/>
              <a:gd name="T99" fmla="*/ 168 h 331"/>
              <a:gd name="T100" fmla="*/ 123 w 314"/>
              <a:gd name="T101" fmla="*/ 218 h 331"/>
              <a:gd name="T102" fmla="*/ 125 w 314"/>
              <a:gd name="T103" fmla="*/ 211 h 331"/>
              <a:gd name="T104" fmla="*/ 123 w 314"/>
              <a:gd name="T105" fmla="*/ 216 h 331"/>
              <a:gd name="T106" fmla="*/ 109 w 314"/>
              <a:gd name="T107" fmla="*/ 182 h 331"/>
              <a:gd name="T108" fmla="*/ 117 w 314"/>
              <a:gd name="T109" fmla="*/ 217 h 331"/>
              <a:gd name="T110" fmla="*/ 132 w 314"/>
              <a:gd name="T111" fmla="*/ 299 h 331"/>
              <a:gd name="T112" fmla="*/ 132 w 314"/>
              <a:gd name="T113" fmla="*/ 299 h 331"/>
              <a:gd name="T114" fmla="*/ 8 w 314"/>
              <a:gd name="T115" fmla="*/ 325 h 331"/>
              <a:gd name="T116" fmla="*/ 11 w 314"/>
              <a:gd name="T117" fmla="*/ 32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4" h="331">
                <a:moveTo>
                  <a:pt x="155" y="121"/>
                </a:moveTo>
                <a:cubicBezTo>
                  <a:pt x="153" y="124"/>
                  <a:pt x="152" y="125"/>
                  <a:pt x="150" y="127"/>
                </a:cubicBezTo>
                <a:cubicBezTo>
                  <a:pt x="147" y="129"/>
                  <a:pt x="145" y="130"/>
                  <a:pt x="142" y="132"/>
                </a:cubicBezTo>
                <a:cubicBezTo>
                  <a:pt x="139" y="133"/>
                  <a:pt x="137" y="134"/>
                  <a:pt x="135" y="137"/>
                </a:cubicBezTo>
                <a:cubicBezTo>
                  <a:pt x="135" y="138"/>
                  <a:pt x="134" y="139"/>
                  <a:pt x="133" y="140"/>
                </a:cubicBezTo>
                <a:cubicBezTo>
                  <a:pt x="132" y="141"/>
                  <a:pt x="131" y="141"/>
                  <a:pt x="129" y="140"/>
                </a:cubicBezTo>
                <a:cubicBezTo>
                  <a:pt x="127" y="140"/>
                  <a:pt x="125" y="140"/>
                  <a:pt x="124" y="142"/>
                </a:cubicBezTo>
                <a:cubicBezTo>
                  <a:pt x="123" y="143"/>
                  <a:pt x="123" y="145"/>
                  <a:pt x="123" y="146"/>
                </a:cubicBezTo>
                <a:cubicBezTo>
                  <a:pt x="124" y="147"/>
                  <a:pt x="123" y="148"/>
                  <a:pt x="124" y="149"/>
                </a:cubicBezTo>
                <a:cubicBezTo>
                  <a:pt x="126" y="149"/>
                  <a:pt x="128" y="149"/>
                  <a:pt x="130" y="149"/>
                </a:cubicBezTo>
                <a:cubicBezTo>
                  <a:pt x="131" y="149"/>
                  <a:pt x="132" y="148"/>
                  <a:pt x="133" y="148"/>
                </a:cubicBezTo>
                <a:cubicBezTo>
                  <a:pt x="135" y="147"/>
                  <a:pt x="136" y="148"/>
                  <a:pt x="137" y="148"/>
                </a:cubicBezTo>
                <a:cubicBezTo>
                  <a:pt x="139" y="149"/>
                  <a:pt x="141" y="149"/>
                  <a:pt x="142" y="151"/>
                </a:cubicBezTo>
                <a:cubicBezTo>
                  <a:pt x="142" y="152"/>
                  <a:pt x="144" y="154"/>
                  <a:pt x="144" y="151"/>
                </a:cubicBezTo>
                <a:cubicBezTo>
                  <a:pt x="144" y="149"/>
                  <a:pt x="144" y="146"/>
                  <a:pt x="146" y="144"/>
                </a:cubicBezTo>
                <a:cubicBezTo>
                  <a:pt x="147" y="142"/>
                  <a:pt x="150" y="142"/>
                  <a:pt x="151" y="144"/>
                </a:cubicBezTo>
                <a:cubicBezTo>
                  <a:pt x="153" y="145"/>
                  <a:pt x="155" y="146"/>
                  <a:pt x="158" y="144"/>
                </a:cubicBezTo>
                <a:cubicBezTo>
                  <a:pt x="158" y="143"/>
                  <a:pt x="159" y="142"/>
                  <a:pt x="160" y="142"/>
                </a:cubicBezTo>
                <a:cubicBezTo>
                  <a:pt x="162" y="142"/>
                  <a:pt x="163" y="142"/>
                  <a:pt x="164" y="141"/>
                </a:cubicBezTo>
                <a:cubicBezTo>
                  <a:pt x="166" y="140"/>
                  <a:pt x="167" y="138"/>
                  <a:pt x="170" y="138"/>
                </a:cubicBezTo>
                <a:cubicBezTo>
                  <a:pt x="171" y="139"/>
                  <a:pt x="172" y="139"/>
                  <a:pt x="173" y="139"/>
                </a:cubicBezTo>
                <a:cubicBezTo>
                  <a:pt x="175" y="139"/>
                  <a:pt x="176" y="138"/>
                  <a:pt x="177" y="137"/>
                </a:cubicBezTo>
                <a:cubicBezTo>
                  <a:pt x="182" y="134"/>
                  <a:pt x="187" y="136"/>
                  <a:pt x="193" y="135"/>
                </a:cubicBezTo>
                <a:cubicBezTo>
                  <a:pt x="195" y="135"/>
                  <a:pt x="199" y="134"/>
                  <a:pt x="200" y="137"/>
                </a:cubicBezTo>
                <a:cubicBezTo>
                  <a:pt x="201" y="138"/>
                  <a:pt x="199" y="140"/>
                  <a:pt x="198" y="140"/>
                </a:cubicBezTo>
                <a:cubicBezTo>
                  <a:pt x="195" y="141"/>
                  <a:pt x="196" y="143"/>
                  <a:pt x="196" y="145"/>
                </a:cubicBezTo>
                <a:cubicBezTo>
                  <a:pt x="196" y="147"/>
                  <a:pt x="194" y="150"/>
                  <a:pt x="196" y="151"/>
                </a:cubicBezTo>
                <a:cubicBezTo>
                  <a:pt x="198" y="153"/>
                  <a:pt x="200" y="154"/>
                  <a:pt x="201" y="156"/>
                </a:cubicBezTo>
                <a:cubicBezTo>
                  <a:pt x="201" y="157"/>
                  <a:pt x="202" y="158"/>
                  <a:pt x="203" y="158"/>
                </a:cubicBezTo>
                <a:cubicBezTo>
                  <a:pt x="204" y="158"/>
                  <a:pt x="206" y="160"/>
                  <a:pt x="206" y="160"/>
                </a:cubicBezTo>
                <a:cubicBezTo>
                  <a:pt x="208" y="159"/>
                  <a:pt x="208" y="155"/>
                  <a:pt x="209" y="154"/>
                </a:cubicBezTo>
                <a:cubicBezTo>
                  <a:pt x="210" y="152"/>
                  <a:pt x="213" y="151"/>
                  <a:pt x="215" y="149"/>
                </a:cubicBezTo>
                <a:cubicBezTo>
                  <a:pt x="216" y="148"/>
                  <a:pt x="217" y="147"/>
                  <a:pt x="217" y="146"/>
                </a:cubicBezTo>
                <a:cubicBezTo>
                  <a:pt x="218" y="145"/>
                  <a:pt x="218" y="144"/>
                  <a:pt x="219" y="143"/>
                </a:cubicBezTo>
                <a:cubicBezTo>
                  <a:pt x="221" y="143"/>
                  <a:pt x="225" y="145"/>
                  <a:pt x="224" y="142"/>
                </a:cubicBezTo>
                <a:cubicBezTo>
                  <a:pt x="223" y="140"/>
                  <a:pt x="221" y="139"/>
                  <a:pt x="220" y="137"/>
                </a:cubicBezTo>
                <a:cubicBezTo>
                  <a:pt x="219" y="137"/>
                  <a:pt x="218" y="136"/>
                  <a:pt x="219" y="135"/>
                </a:cubicBezTo>
                <a:cubicBezTo>
                  <a:pt x="219" y="134"/>
                  <a:pt x="221" y="134"/>
                  <a:pt x="221" y="133"/>
                </a:cubicBezTo>
                <a:cubicBezTo>
                  <a:pt x="222" y="132"/>
                  <a:pt x="222" y="128"/>
                  <a:pt x="224" y="128"/>
                </a:cubicBezTo>
                <a:cubicBezTo>
                  <a:pt x="227" y="129"/>
                  <a:pt x="224" y="133"/>
                  <a:pt x="226" y="134"/>
                </a:cubicBezTo>
                <a:cubicBezTo>
                  <a:pt x="227" y="134"/>
                  <a:pt x="229" y="133"/>
                  <a:pt x="230" y="135"/>
                </a:cubicBezTo>
                <a:cubicBezTo>
                  <a:pt x="230" y="136"/>
                  <a:pt x="227" y="138"/>
                  <a:pt x="230" y="138"/>
                </a:cubicBezTo>
                <a:cubicBezTo>
                  <a:pt x="231" y="138"/>
                  <a:pt x="232" y="138"/>
                  <a:pt x="233" y="138"/>
                </a:cubicBezTo>
                <a:cubicBezTo>
                  <a:pt x="234" y="137"/>
                  <a:pt x="236" y="137"/>
                  <a:pt x="237" y="137"/>
                </a:cubicBezTo>
                <a:cubicBezTo>
                  <a:pt x="239" y="137"/>
                  <a:pt x="240" y="137"/>
                  <a:pt x="241" y="137"/>
                </a:cubicBezTo>
                <a:cubicBezTo>
                  <a:pt x="243" y="136"/>
                  <a:pt x="245" y="136"/>
                  <a:pt x="247" y="136"/>
                </a:cubicBezTo>
                <a:cubicBezTo>
                  <a:pt x="249" y="135"/>
                  <a:pt x="250" y="134"/>
                  <a:pt x="251" y="131"/>
                </a:cubicBezTo>
                <a:cubicBezTo>
                  <a:pt x="252" y="129"/>
                  <a:pt x="254" y="126"/>
                  <a:pt x="257" y="127"/>
                </a:cubicBezTo>
                <a:cubicBezTo>
                  <a:pt x="259" y="127"/>
                  <a:pt x="258" y="130"/>
                  <a:pt x="258" y="132"/>
                </a:cubicBezTo>
                <a:cubicBezTo>
                  <a:pt x="257" y="133"/>
                  <a:pt x="257" y="135"/>
                  <a:pt x="258" y="137"/>
                </a:cubicBezTo>
                <a:cubicBezTo>
                  <a:pt x="260" y="139"/>
                  <a:pt x="261" y="136"/>
                  <a:pt x="262" y="135"/>
                </a:cubicBezTo>
                <a:cubicBezTo>
                  <a:pt x="263" y="133"/>
                  <a:pt x="265" y="132"/>
                  <a:pt x="265" y="129"/>
                </a:cubicBezTo>
                <a:cubicBezTo>
                  <a:pt x="265" y="126"/>
                  <a:pt x="268" y="126"/>
                  <a:pt x="270" y="125"/>
                </a:cubicBezTo>
                <a:cubicBezTo>
                  <a:pt x="271" y="125"/>
                  <a:pt x="272" y="125"/>
                  <a:pt x="273" y="123"/>
                </a:cubicBezTo>
                <a:cubicBezTo>
                  <a:pt x="273" y="122"/>
                  <a:pt x="272" y="121"/>
                  <a:pt x="273" y="120"/>
                </a:cubicBezTo>
                <a:cubicBezTo>
                  <a:pt x="274" y="118"/>
                  <a:pt x="278" y="119"/>
                  <a:pt x="279" y="120"/>
                </a:cubicBezTo>
                <a:cubicBezTo>
                  <a:pt x="280" y="120"/>
                  <a:pt x="276" y="124"/>
                  <a:pt x="276" y="124"/>
                </a:cubicBezTo>
                <a:cubicBezTo>
                  <a:pt x="275" y="125"/>
                  <a:pt x="276" y="126"/>
                  <a:pt x="276" y="128"/>
                </a:cubicBezTo>
                <a:cubicBezTo>
                  <a:pt x="276" y="128"/>
                  <a:pt x="276" y="129"/>
                  <a:pt x="276" y="130"/>
                </a:cubicBezTo>
                <a:cubicBezTo>
                  <a:pt x="276" y="131"/>
                  <a:pt x="276" y="132"/>
                  <a:pt x="277" y="132"/>
                </a:cubicBezTo>
                <a:cubicBezTo>
                  <a:pt x="278" y="132"/>
                  <a:pt x="279" y="131"/>
                  <a:pt x="280" y="130"/>
                </a:cubicBezTo>
                <a:cubicBezTo>
                  <a:pt x="281" y="128"/>
                  <a:pt x="284" y="128"/>
                  <a:pt x="285" y="126"/>
                </a:cubicBezTo>
                <a:cubicBezTo>
                  <a:pt x="287" y="125"/>
                  <a:pt x="286" y="122"/>
                  <a:pt x="287" y="121"/>
                </a:cubicBezTo>
                <a:cubicBezTo>
                  <a:pt x="288" y="118"/>
                  <a:pt x="294" y="118"/>
                  <a:pt x="294" y="115"/>
                </a:cubicBezTo>
                <a:cubicBezTo>
                  <a:pt x="293" y="112"/>
                  <a:pt x="291" y="112"/>
                  <a:pt x="289" y="110"/>
                </a:cubicBezTo>
                <a:cubicBezTo>
                  <a:pt x="288" y="108"/>
                  <a:pt x="289" y="105"/>
                  <a:pt x="290" y="103"/>
                </a:cubicBezTo>
                <a:cubicBezTo>
                  <a:pt x="290" y="101"/>
                  <a:pt x="291" y="100"/>
                  <a:pt x="291" y="99"/>
                </a:cubicBezTo>
                <a:cubicBezTo>
                  <a:pt x="292" y="98"/>
                  <a:pt x="292" y="97"/>
                  <a:pt x="292" y="95"/>
                </a:cubicBezTo>
                <a:cubicBezTo>
                  <a:pt x="292" y="92"/>
                  <a:pt x="294" y="91"/>
                  <a:pt x="296" y="89"/>
                </a:cubicBezTo>
                <a:cubicBezTo>
                  <a:pt x="296" y="87"/>
                  <a:pt x="296" y="86"/>
                  <a:pt x="296" y="85"/>
                </a:cubicBezTo>
                <a:cubicBezTo>
                  <a:pt x="296" y="84"/>
                  <a:pt x="295" y="83"/>
                  <a:pt x="295" y="82"/>
                </a:cubicBezTo>
                <a:cubicBezTo>
                  <a:pt x="295" y="79"/>
                  <a:pt x="295" y="75"/>
                  <a:pt x="295" y="72"/>
                </a:cubicBezTo>
                <a:cubicBezTo>
                  <a:pt x="294" y="71"/>
                  <a:pt x="295" y="70"/>
                  <a:pt x="295" y="69"/>
                </a:cubicBezTo>
                <a:cubicBezTo>
                  <a:pt x="295" y="68"/>
                  <a:pt x="295" y="66"/>
                  <a:pt x="296" y="65"/>
                </a:cubicBezTo>
                <a:cubicBezTo>
                  <a:pt x="297" y="64"/>
                  <a:pt x="300" y="63"/>
                  <a:pt x="302" y="64"/>
                </a:cubicBezTo>
                <a:cubicBezTo>
                  <a:pt x="302" y="65"/>
                  <a:pt x="303" y="66"/>
                  <a:pt x="304" y="66"/>
                </a:cubicBezTo>
                <a:cubicBezTo>
                  <a:pt x="305" y="66"/>
                  <a:pt x="305" y="65"/>
                  <a:pt x="305" y="64"/>
                </a:cubicBezTo>
                <a:cubicBezTo>
                  <a:pt x="304" y="62"/>
                  <a:pt x="303" y="59"/>
                  <a:pt x="304" y="56"/>
                </a:cubicBezTo>
                <a:cubicBezTo>
                  <a:pt x="305" y="55"/>
                  <a:pt x="307" y="52"/>
                  <a:pt x="308" y="51"/>
                </a:cubicBezTo>
                <a:cubicBezTo>
                  <a:pt x="309" y="51"/>
                  <a:pt x="310" y="51"/>
                  <a:pt x="311" y="50"/>
                </a:cubicBezTo>
                <a:cubicBezTo>
                  <a:pt x="312" y="49"/>
                  <a:pt x="311" y="48"/>
                  <a:pt x="311" y="47"/>
                </a:cubicBezTo>
                <a:cubicBezTo>
                  <a:pt x="311" y="44"/>
                  <a:pt x="313" y="43"/>
                  <a:pt x="314" y="40"/>
                </a:cubicBezTo>
                <a:cubicBezTo>
                  <a:pt x="314" y="38"/>
                  <a:pt x="311" y="36"/>
                  <a:pt x="311" y="34"/>
                </a:cubicBezTo>
                <a:cubicBezTo>
                  <a:pt x="309" y="29"/>
                  <a:pt x="310" y="22"/>
                  <a:pt x="305" y="20"/>
                </a:cubicBezTo>
                <a:cubicBezTo>
                  <a:pt x="303" y="18"/>
                  <a:pt x="303" y="15"/>
                  <a:pt x="303" y="13"/>
                </a:cubicBezTo>
                <a:cubicBezTo>
                  <a:pt x="303" y="10"/>
                  <a:pt x="304" y="7"/>
                  <a:pt x="304" y="4"/>
                </a:cubicBezTo>
                <a:cubicBezTo>
                  <a:pt x="303" y="2"/>
                  <a:pt x="301" y="3"/>
                  <a:pt x="299" y="3"/>
                </a:cubicBezTo>
                <a:cubicBezTo>
                  <a:pt x="298" y="2"/>
                  <a:pt x="297" y="2"/>
                  <a:pt x="296" y="1"/>
                </a:cubicBezTo>
                <a:cubicBezTo>
                  <a:pt x="295" y="0"/>
                  <a:pt x="294" y="1"/>
                  <a:pt x="293" y="2"/>
                </a:cubicBezTo>
                <a:cubicBezTo>
                  <a:pt x="293" y="3"/>
                  <a:pt x="291" y="7"/>
                  <a:pt x="293" y="7"/>
                </a:cubicBezTo>
                <a:cubicBezTo>
                  <a:pt x="295" y="7"/>
                  <a:pt x="297" y="5"/>
                  <a:pt x="299" y="6"/>
                </a:cubicBezTo>
                <a:cubicBezTo>
                  <a:pt x="301" y="7"/>
                  <a:pt x="298" y="10"/>
                  <a:pt x="298" y="11"/>
                </a:cubicBezTo>
                <a:cubicBezTo>
                  <a:pt x="297" y="14"/>
                  <a:pt x="295" y="15"/>
                  <a:pt x="293" y="14"/>
                </a:cubicBezTo>
                <a:cubicBezTo>
                  <a:pt x="292" y="14"/>
                  <a:pt x="291" y="13"/>
                  <a:pt x="291" y="12"/>
                </a:cubicBezTo>
                <a:cubicBezTo>
                  <a:pt x="291" y="11"/>
                  <a:pt x="292" y="10"/>
                  <a:pt x="291" y="9"/>
                </a:cubicBezTo>
                <a:cubicBezTo>
                  <a:pt x="291" y="8"/>
                  <a:pt x="289" y="8"/>
                  <a:pt x="288" y="8"/>
                </a:cubicBezTo>
                <a:cubicBezTo>
                  <a:pt x="287" y="8"/>
                  <a:pt x="286" y="7"/>
                  <a:pt x="285" y="7"/>
                </a:cubicBezTo>
                <a:cubicBezTo>
                  <a:pt x="284" y="6"/>
                  <a:pt x="283" y="6"/>
                  <a:pt x="283" y="8"/>
                </a:cubicBezTo>
                <a:cubicBezTo>
                  <a:pt x="283" y="9"/>
                  <a:pt x="284" y="9"/>
                  <a:pt x="284" y="11"/>
                </a:cubicBezTo>
                <a:cubicBezTo>
                  <a:pt x="283" y="12"/>
                  <a:pt x="282" y="12"/>
                  <a:pt x="282" y="14"/>
                </a:cubicBezTo>
                <a:cubicBezTo>
                  <a:pt x="281" y="15"/>
                  <a:pt x="280" y="16"/>
                  <a:pt x="279" y="17"/>
                </a:cubicBezTo>
                <a:cubicBezTo>
                  <a:pt x="274" y="20"/>
                  <a:pt x="278" y="25"/>
                  <a:pt x="276" y="29"/>
                </a:cubicBezTo>
                <a:cubicBezTo>
                  <a:pt x="275" y="30"/>
                  <a:pt x="274" y="30"/>
                  <a:pt x="274" y="31"/>
                </a:cubicBezTo>
                <a:cubicBezTo>
                  <a:pt x="274" y="32"/>
                  <a:pt x="275" y="33"/>
                  <a:pt x="275" y="34"/>
                </a:cubicBezTo>
                <a:cubicBezTo>
                  <a:pt x="276" y="35"/>
                  <a:pt x="277" y="35"/>
                  <a:pt x="278" y="36"/>
                </a:cubicBezTo>
                <a:cubicBezTo>
                  <a:pt x="278" y="37"/>
                  <a:pt x="278" y="39"/>
                  <a:pt x="278" y="40"/>
                </a:cubicBezTo>
                <a:cubicBezTo>
                  <a:pt x="277" y="42"/>
                  <a:pt x="276" y="44"/>
                  <a:pt x="276" y="47"/>
                </a:cubicBezTo>
                <a:cubicBezTo>
                  <a:pt x="276" y="48"/>
                  <a:pt x="277" y="49"/>
                  <a:pt x="276" y="50"/>
                </a:cubicBezTo>
                <a:cubicBezTo>
                  <a:pt x="275" y="52"/>
                  <a:pt x="274" y="53"/>
                  <a:pt x="273" y="54"/>
                </a:cubicBezTo>
                <a:cubicBezTo>
                  <a:pt x="271" y="56"/>
                  <a:pt x="270" y="57"/>
                  <a:pt x="270" y="60"/>
                </a:cubicBezTo>
                <a:cubicBezTo>
                  <a:pt x="269" y="62"/>
                  <a:pt x="269" y="66"/>
                  <a:pt x="268" y="68"/>
                </a:cubicBezTo>
                <a:cubicBezTo>
                  <a:pt x="267" y="73"/>
                  <a:pt x="260" y="73"/>
                  <a:pt x="258" y="78"/>
                </a:cubicBezTo>
                <a:cubicBezTo>
                  <a:pt x="256" y="81"/>
                  <a:pt x="255" y="82"/>
                  <a:pt x="252" y="83"/>
                </a:cubicBezTo>
                <a:cubicBezTo>
                  <a:pt x="250" y="85"/>
                  <a:pt x="248" y="87"/>
                  <a:pt x="245" y="88"/>
                </a:cubicBezTo>
                <a:cubicBezTo>
                  <a:pt x="243" y="89"/>
                  <a:pt x="241" y="89"/>
                  <a:pt x="239" y="89"/>
                </a:cubicBezTo>
                <a:cubicBezTo>
                  <a:pt x="236" y="90"/>
                  <a:pt x="236" y="93"/>
                  <a:pt x="233" y="94"/>
                </a:cubicBezTo>
                <a:cubicBezTo>
                  <a:pt x="232" y="95"/>
                  <a:pt x="229" y="96"/>
                  <a:pt x="228" y="94"/>
                </a:cubicBezTo>
                <a:cubicBezTo>
                  <a:pt x="228" y="93"/>
                  <a:pt x="228" y="91"/>
                  <a:pt x="228" y="91"/>
                </a:cubicBezTo>
                <a:cubicBezTo>
                  <a:pt x="227" y="90"/>
                  <a:pt x="226" y="90"/>
                  <a:pt x="225" y="90"/>
                </a:cubicBezTo>
                <a:cubicBezTo>
                  <a:pt x="223" y="90"/>
                  <a:pt x="223" y="93"/>
                  <a:pt x="222" y="94"/>
                </a:cubicBezTo>
                <a:cubicBezTo>
                  <a:pt x="222" y="95"/>
                  <a:pt x="221" y="96"/>
                  <a:pt x="220" y="97"/>
                </a:cubicBezTo>
                <a:cubicBezTo>
                  <a:pt x="220" y="98"/>
                  <a:pt x="220" y="99"/>
                  <a:pt x="219" y="100"/>
                </a:cubicBezTo>
                <a:cubicBezTo>
                  <a:pt x="218" y="101"/>
                  <a:pt x="216" y="102"/>
                  <a:pt x="215" y="103"/>
                </a:cubicBezTo>
                <a:cubicBezTo>
                  <a:pt x="213" y="105"/>
                  <a:pt x="212" y="106"/>
                  <a:pt x="212" y="108"/>
                </a:cubicBezTo>
                <a:cubicBezTo>
                  <a:pt x="212" y="109"/>
                  <a:pt x="211" y="109"/>
                  <a:pt x="211" y="110"/>
                </a:cubicBezTo>
                <a:cubicBezTo>
                  <a:pt x="210" y="111"/>
                  <a:pt x="210" y="112"/>
                  <a:pt x="210" y="113"/>
                </a:cubicBezTo>
                <a:cubicBezTo>
                  <a:pt x="210" y="116"/>
                  <a:pt x="210" y="118"/>
                  <a:pt x="208" y="119"/>
                </a:cubicBezTo>
                <a:cubicBezTo>
                  <a:pt x="205" y="121"/>
                  <a:pt x="205" y="119"/>
                  <a:pt x="202" y="118"/>
                </a:cubicBezTo>
                <a:cubicBezTo>
                  <a:pt x="200" y="118"/>
                  <a:pt x="200" y="121"/>
                  <a:pt x="198" y="121"/>
                </a:cubicBezTo>
                <a:cubicBezTo>
                  <a:pt x="197" y="120"/>
                  <a:pt x="198" y="118"/>
                  <a:pt x="198" y="117"/>
                </a:cubicBezTo>
                <a:cubicBezTo>
                  <a:pt x="198" y="115"/>
                  <a:pt x="195" y="115"/>
                  <a:pt x="194" y="116"/>
                </a:cubicBezTo>
                <a:cubicBezTo>
                  <a:pt x="193" y="116"/>
                  <a:pt x="192" y="116"/>
                  <a:pt x="191" y="117"/>
                </a:cubicBezTo>
                <a:cubicBezTo>
                  <a:pt x="190" y="118"/>
                  <a:pt x="188" y="118"/>
                  <a:pt x="187" y="118"/>
                </a:cubicBezTo>
                <a:cubicBezTo>
                  <a:pt x="184" y="118"/>
                  <a:pt x="181" y="118"/>
                  <a:pt x="178" y="118"/>
                </a:cubicBezTo>
                <a:cubicBezTo>
                  <a:pt x="175" y="118"/>
                  <a:pt x="173" y="118"/>
                  <a:pt x="170" y="119"/>
                </a:cubicBezTo>
                <a:cubicBezTo>
                  <a:pt x="168" y="119"/>
                  <a:pt x="165" y="120"/>
                  <a:pt x="163" y="120"/>
                </a:cubicBezTo>
                <a:cubicBezTo>
                  <a:pt x="160" y="121"/>
                  <a:pt x="156" y="119"/>
                  <a:pt x="154" y="122"/>
                </a:cubicBezTo>
                <a:cubicBezTo>
                  <a:pt x="154" y="122"/>
                  <a:pt x="154" y="121"/>
                  <a:pt x="155" y="121"/>
                </a:cubicBezTo>
                <a:cubicBezTo>
                  <a:pt x="154" y="123"/>
                  <a:pt x="155" y="121"/>
                  <a:pt x="155" y="121"/>
                </a:cubicBezTo>
                <a:close/>
                <a:moveTo>
                  <a:pt x="78" y="286"/>
                </a:moveTo>
                <a:cubicBezTo>
                  <a:pt x="78" y="285"/>
                  <a:pt x="78" y="284"/>
                  <a:pt x="77" y="284"/>
                </a:cubicBezTo>
                <a:cubicBezTo>
                  <a:pt x="77" y="284"/>
                  <a:pt x="76" y="285"/>
                  <a:pt x="76" y="286"/>
                </a:cubicBezTo>
                <a:cubicBezTo>
                  <a:pt x="75" y="286"/>
                  <a:pt x="73" y="285"/>
                  <a:pt x="72" y="286"/>
                </a:cubicBezTo>
                <a:cubicBezTo>
                  <a:pt x="72" y="287"/>
                  <a:pt x="72" y="287"/>
                  <a:pt x="72" y="288"/>
                </a:cubicBezTo>
                <a:cubicBezTo>
                  <a:pt x="72" y="289"/>
                  <a:pt x="71" y="289"/>
                  <a:pt x="71" y="289"/>
                </a:cubicBezTo>
                <a:cubicBezTo>
                  <a:pt x="69" y="290"/>
                  <a:pt x="69" y="291"/>
                  <a:pt x="69" y="292"/>
                </a:cubicBezTo>
                <a:cubicBezTo>
                  <a:pt x="69" y="293"/>
                  <a:pt x="68" y="295"/>
                  <a:pt x="69" y="295"/>
                </a:cubicBezTo>
                <a:cubicBezTo>
                  <a:pt x="70" y="295"/>
                  <a:pt x="71" y="293"/>
                  <a:pt x="71" y="292"/>
                </a:cubicBezTo>
                <a:cubicBezTo>
                  <a:pt x="72" y="291"/>
                  <a:pt x="73" y="290"/>
                  <a:pt x="74" y="289"/>
                </a:cubicBezTo>
                <a:cubicBezTo>
                  <a:pt x="75" y="288"/>
                  <a:pt x="77" y="287"/>
                  <a:pt x="78" y="286"/>
                </a:cubicBezTo>
                <a:cubicBezTo>
                  <a:pt x="78" y="286"/>
                  <a:pt x="78" y="286"/>
                  <a:pt x="78" y="286"/>
                </a:cubicBezTo>
                <a:cubicBezTo>
                  <a:pt x="78" y="285"/>
                  <a:pt x="78" y="286"/>
                  <a:pt x="78" y="286"/>
                </a:cubicBezTo>
                <a:close/>
                <a:moveTo>
                  <a:pt x="27" y="321"/>
                </a:moveTo>
                <a:cubicBezTo>
                  <a:pt x="28" y="322"/>
                  <a:pt x="29" y="322"/>
                  <a:pt x="31" y="322"/>
                </a:cubicBezTo>
                <a:cubicBezTo>
                  <a:pt x="31" y="321"/>
                  <a:pt x="30" y="319"/>
                  <a:pt x="30" y="319"/>
                </a:cubicBezTo>
                <a:cubicBezTo>
                  <a:pt x="28" y="318"/>
                  <a:pt x="26" y="319"/>
                  <a:pt x="28" y="321"/>
                </a:cubicBezTo>
                <a:cubicBezTo>
                  <a:pt x="27" y="321"/>
                  <a:pt x="27" y="321"/>
                  <a:pt x="27" y="321"/>
                </a:cubicBezTo>
                <a:cubicBezTo>
                  <a:pt x="28" y="322"/>
                  <a:pt x="27" y="321"/>
                  <a:pt x="27" y="321"/>
                </a:cubicBezTo>
                <a:close/>
                <a:moveTo>
                  <a:pt x="3" y="330"/>
                </a:moveTo>
                <a:cubicBezTo>
                  <a:pt x="6" y="327"/>
                  <a:pt x="1" y="326"/>
                  <a:pt x="1" y="328"/>
                </a:cubicBezTo>
                <a:cubicBezTo>
                  <a:pt x="0" y="329"/>
                  <a:pt x="3" y="331"/>
                  <a:pt x="4" y="330"/>
                </a:cubicBezTo>
                <a:cubicBezTo>
                  <a:pt x="4" y="330"/>
                  <a:pt x="4" y="330"/>
                  <a:pt x="3" y="330"/>
                </a:cubicBezTo>
                <a:cubicBezTo>
                  <a:pt x="4" y="330"/>
                  <a:pt x="3" y="330"/>
                  <a:pt x="3" y="330"/>
                </a:cubicBezTo>
                <a:close/>
                <a:moveTo>
                  <a:pt x="100" y="254"/>
                </a:moveTo>
                <a:cubicBezTo>
                  <a:pt x="99" y="255"/>
                  <a:pt x="99" y="256"/>
                  <a:pt x="97" y="256"/>
                </a:cubicBezTo>
                <a:cubicBezTo>
                  <a:pt x="96" y="256"/>
                  <a:pt x="95" y="255"/>
                  <a:pt x="94" y="256"/>
                </a:cubicBezTo>
                <a:cubicBezTo>
                  <a:pt x="94" y="257"/>
                  <a:pt x="96" y="259"/>
                  <a:pt x="96" y="259"/>
                </a:cubicBezTo>
                <a:cubicBezTo>
                  <a:pt x="97" y="259"/>
                  <a:pt x="97" y="260"/>
                  <a:pt x="98" y="260"/>
                </a:cubicBezTo>
                <a:cubicBezTo>
                  <a:pt x="98" y="259"/>
                  <a:pt x="99" y="257"/>
                  <a:pt x="100" y="257"/>
                </a:cubicBezTo>
                <a:cubicBezTo>
                  <a:pt x="100" y="256"/>
                  <a:pt x="101" y="255"/>
                  <a:pt x="101" y="254"/>
                </a:cubicBezTo>
                <a:cubicBezTo>
                  <a:pt x="100" y="253"/>
                  <a:pt x="99" y="254"/>
                  <a:pt x="99" y="254"/>
                </a:cubicBezTo>
                <a:cubicBezTo>
                  <a:pt x="99" y="254"/>
                  <a:pt x="99" y="254"/>
                  <a:pt x="100" y="254"/>
                </a:cubicBezTo>
                <a:cubicBezTo>
                  <a:pt x="99" y="255"/>
                  <a:pt x="100" y="254"/>
                  <a:pt x="100" y="254"/>
                </a:cubicBezTo>
                <a:close/>
                <a:moveTo>
                  <a:pt x="84" y="273"/>
                </a:moveTo>
                <a:cubicBezTo>
                  <a:pt x="85" y="273"/>
                  <a:pt x="87" y="271"/>
                  <a:pt x="85" y="271"/>
                </a:cubicBezTo>
                <a:cubicBezTo>
                  <a:pt x="85" y="271"/>
                  <a:pt x="84" y="271"/>
                  <a:pt x="84" y="271"/>
                </a:cubicBezTo>
                <a:cubicBezTo>
                  <a:pt x="83" y="272"/>
                  <a:pt x="83" y="273"/>
                  <a:pt x="84" y="273"/>
                </a:cubicBezTo>
                <a:cubicBezTo>
                  <a:pt x="84" y="273"/>
                  <a:pt x="84" y="273"/>
                  <a:pt x="84" y="273"/>
                </a:cubicBezTo>
                <a:cubicBezTo>
                  <a:pt x="85" y="273"/>
                  <a:pt x="84" y="273"/>
                  <a:pt x="84" y="273"/>
                </a:cubicBezTo>
                <a:close/>
                <a:moveTo>
                  <a:pt x="89" y="175"/>
                </a:moveTo>
                <a:cubicBezTo>
                  <a:pt x="89" y="172"/>
                  <a:pt x="85" y="172"/>
                  <a:pt x="85" y="175"/>
                </a:cubicBezTo>
                <a:cubicBezTo>
                  <a:pt x="86" y="177"/>
                  <a:pt x="89" y="176"/>
                  <a:pt x="89" y="174"/>
                </a:cubicBezTo>
                <a:cubicBezTo>
                  <a:pt x="89" y="175"/>
                  <a:pt x="89" y="175"/>
                  <a:pt x="89" y="175"/>
                </a:cubicBezTo>
                <a:cubicBezTo>
                  <a:pt x="89" y="173"/>
                  <a:pt x="89" y="175"/>
                  <a:pt x="89" y="175"/>
                </a:cubicBezTo>
                <a:close/>
                <a:moveTo>
                  <a:pt x="90" y="267"/>
                </a:moveTo>
                <a:cubicBezTo>
                  <a:pt x="91" y="268"/>
                  <a:pt x="91" y="265"/>
                  <a:pt x="91" y="264"/>
                </a:cubicBezTo>
                <a:cubicBezTo>
                  <a:pt x="91" y="264"/>
                  <a:pt x="90" y="263"/>
                  <a:pt x="90" y="264"/>
                </a:cubicBezTo>
                <a:cubicBezTo>
                  <a:pt x="89" y="264"/>
                  <a:pt x="90" y="265"/>
                  <a:pt x="90" y="265"/>
                </a:cubicBezTo>
                <a:cubicBezTo>
                  <a:pt x="90" y="266"/>
                  <a:pt x="89" y="266"/>
                  <a:pt x="90" y="267"/>
                </a:cubicBezTo>
                <a:cubicBezTo>
                  <a:pt x="90" y="267"/>
                  <a:pt x="90" y="267"/>
                  <a:pt x="90" y="267"/>
                </a:cubicBezTo>
                <a:cubicBezTo>
                  <a:pt x="91" y="268"/>
                  <a:pt x="90" y="267"/>
                  <a:pt x="90" y="267"/>
                </a:cubicBezTo>
                <a:close/>
                <a:moveTo>
                  <a:pt x="112" y="175"/>
                </a:moveTo>
                <a:cubicBezTo>
                  <a:pt x="113" y="175"/>
                  <a:pt x="114" y="175"/>
                  <a:pt x="114" y="174"/>
                </a:cubicBezTo>
                <a:cubicBezTo>
                  <a:pt x="114" y="173"/>
                  <a:pt x="113" y="173"/>
                  <a:pt x="112" y="173"/>
                </a:cubicBezTo>
                <a:cubicBezTo>
                  <a:pt x="112" y="174"/>
                  <a:pt x="112" y="175"/>
                  <a:pt x="113" y="175"/>
                </a:cubicBezTo>
                <a:cubicBezTo>
                  <a:pt x="113" y="175"/>
                  <a:pt x="113" y="175"/>
                  <a:pt x="112" y="175"/>
                </a:cubicBezTo>
                <a:cubicBezTo>
                  <a:pt x="113" y="175"/>
                  <a:pt x="112" y="175"/>
                  <a:pt x="112" y="175"/>
                </a:cubicBezTo>
                <a:close/>
                <a:moveTo>
                  <a:pt x="92" y="167"/>
                </a:moveTo>
                <a:cubicBezTo>
                  <a:pt x="91" y="168"/>
                  <a:pt x="91" y="171"/>
                  <a:pt x="93" y="170"/>
                </a:cubicBezTo>
                <a:cubicBezTo>
                  <a:pt x="94" y="169"/>
                  <a:pt x="93" y="167"/>
                  <a:pt x="92" y="168"/>
                </a:cubicBezTo>
                <a:cubicBezTo>
                  <a:pt x="92" y="168"/>
                  <a:pt x="92" y="168"/>
                  <a:pt x="92" y="167"/>
                </a:cubicBezTo>
                <a:cubicBezTo>
                  <a:pt x="91" y="168"/>
                  <a:pt x="92" y="167"/>
                  <a:pt x="92" y="167"/>
                </a:cubicBezTo>
                <a:close/>
                <a:moveTo>
                  <a:pt x="123" y="216"/>
                </a:moveTo>
                <a:cubicBezTo>
                  <a:pt x="123" y="216"/>
                  <a:pt x="122" y="217"/>
                  <a:pt x="123" y="218"/>
                </a:cubicBezTo>
                <a:cubicBezTo>
                  <a:pt x="123" y="219"/>
                  <a:pt x="124" y="217"/>
                  <a:pt x="124" y="217"/>
                </a:cubicBezTo>
                <a:cubicBezTo>
                  <a:pt x="124" y="216"/>
                  <a:pt x="124" y="215"/>
                  <a:pt x="125" y="214"/>
                </a:cubicBezTo>
                <a:cubicBezTo>
                  <a:pt x="126" y="213"/>
                  <a:pt x="126" y="212"/>
                  <a:pt x="126" y="211"/>
                </a:cubicBezTo>
                <a:cubicBezTo>
                  <a:pt x="127" y="208"/>
                  <a:pt x="125" y="209"/>
                  <a:pt x="125" y="211"/>
                </a:cubicBezTo>
                <a:cubicBezTo>
                  <a:pt x="125" y="212"/>
                  <a:pt x="125" y="213"/>
                  <a:pt x="124" y="214"/>
                </a:cubicBezTo>
                <a:cubicBezTo>
                  <a:pt x="123" y="215"/>
                  <a:pt x="123" y="215"/>
                  <a:pt x="123" y="216"/>
                </a:cubicBezTo>
                <a:cubicBezTo>
                  <a:pt x="123" y="216"/>
                  <a:pt x="123" y="216"/>
                  <a:pt x="123" y="216"/>
                </a:cubicBezTo>
                <a:cubicBezTo>
                  <a:pt x="123" y="216"/>
                  <a:pt x="123" y="216"/>
                  <a:pt x="123" y="216"/>
                </a:cubicBezTo>
                <a:close/>
                <a:moveTo>
                  <a:pt x="109" y="182"/>
                </a:moveTo>
                <a:cubicBezTo>
                  <a:pt x="111" y="182"/>
                  <a:pt x="112" y="178"/>
                  <a:pt x="110" y="177"/>
                </a:cubicBezTo>
                <a:cubicBezTo>
                  <a:pt x="109" y="177"/>
                  <a:pt x="109" y="179"/>
                  <a:pt x="109" y="179"/>
                </a:cubicBezTo>
                <a:cubicBezTo>
                  <a:pt x="109" y="180"/>
                  <a:pt x="108" y="182"/>
                  <a:pt x="109" y="182"/>
                </a:cubicBezTo>
                <a:cubicBezTo>
                  <a:pt x="109" y="182"/>
                  <a:pt x="109" y="182"/>
                  <a:pt x="109" y="182"/>
                </a:cubicBezTo>
                <a:cubicBezTo>
                  <a:pt x="111" y="182"/>
                  <a:pt x="109" y="182"/>
                  <a:pt x="109" y="182"/>
                </a:cubicBezTo>
                <a:close/>
                <a:moveTo>
                  <a:pt x="117" y="220"/>
                </a:moveTo>
                <a:cubicBezTo>
                  <a:pt x="120" y="220"/>
                  <a:pt x="118" y="217"/>
                  <a:pt x="117" y="217"/>
                </a:cubicBezTo>
                <a:cubicBezTo>
                  <a:pt x="114" y="216"/>
                  <a:pt x="116" y="220"/>
                  <a:pt x="118" y="220"/>
                </a:cubicBezTo>
                <a:cubicBezTo>
                  <a:pt x="118" y="220"/>
                  <a:pt x="118" y="220"/>
                  <a:pt x="117" y="220"/>
                </a:cubicBezTo>
                <a:cubicBezTo>
                  <a:pt x="120" y="220"/>
                  <a:pt x="117" y="220"/>
                  <a:pt x="117" y="220"/>
                </a:cubicBezTo>
                <a:close/>
                <a:moveTo>
                  <a:pt x="132" y="299"/>
                </a:moveTo>
                <a:cubicBezTo>
                  <a:pt x="132" y="298"/>
                  <a:pt x="130" y="297"/>
                  <a:pt x="129" y="297"/>
                </a:cubicBezTo>
                <a:cubicBezTo>
                  <a:pt x="128" y="298"/>
                  <a:pt x="127" y="300"/>
                  <a:pt x="128" y="301"/>
                </a:cubicBezTo>
                <a:cubicBezTo>
                  <a:pt x="128" y="302"/>
                  <a:pt x="129" y="304"/>
                  <a:pt x="130" y="303"/>
                </a:cubicBezTo>
                <a:cubicBezTo>
                  <a:pt x="132" y="302"/>
                  <a:pt x="132" y="300"/>
                  <a:pt x="132" y="299"/>
                </a:cubicBezTo>
                <a:cubicBezTo>
                  <a:pt x="132" y="299"/>
                  <a:pt x="132" y="299"/>
                  <a:pt x="132" y="299"/>
                </a:cubicBezTo>
                <a:cubicBezTo>
                  <a:pt x="132" y="298"/>
                  <a:pt x="132" y="299"/>
                  <a:pt x="132" y="299"/>
                </a:cubicBezTo>
                <a:close/>
                <a:moveTo>
                  <a:pt x="11" y="324"/>
                </a:moveTo>
                <a:cubicBezTo>
                  <a:pt x="10" y="325"/>
                  <a:pt x="9" y="324"/>
                  <a:pt x="8" y="325"/>
                </a:cubicBezTo>
                <a:cubicBezTo>
                  <a:pt x="8" y="326"/>
                  <a:pt x="8" y="327"/>
                  <a:pt x="9" y="328"/>
                </a:cubicBezTo>
                <a:cubicBezTo>
                  <a:pt x="10" y="328"/>
                  <a:pt x="11" y="327"/>
                  <a:pt x="11" y="326"/>
                </a:cubicBezTo>
                <a:cubicBezTo>
                  <a:pt x="11" y="325"/>
                  <a:pt x="12" y="323"/>
                  <a:pt x="11" y="324"/>
                </a:cubicBezTo>
                <a:cubicBezTo>
                  <a:pt x="11" y="324"/>
                  <a:pt x="11" y="324"/>
                  <a:pt x="11" y="324"/>
                </a:cubicBezTo>
                <a:cubicBezTo>
                  <a:pt x="10" y="324"/>
                  <a:pt x="11" y="324"/>
                  <a:pt x="11" y="324"/>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8" name="Rectangle 270">
            <a:extLst>
              <a:ext uri="{FF2B5EF4-FFF2-40B4-BE49-F238E27FC236}">
                <a16:creationId xmlns:a16="http://schemas.microsoft.com/office/drawing/2014/main" id="{246FFBAD-C59B-4B98-12A6-34FA1F386A03}"/>
              </a:ext>
            </a:extLst>
          </p:cNvPr>
          <p:cNvSpPr>
            <a:spLocks noChangeArrowheads="1"/>
          </p:cNvSpPr>
          <p:nvPr>
            <p:custDataLst>
              <p:tags r:id="rId50"/>
            </p:custDataLst>
          </p:nvPr>
        </p:nvSpPr>
        <p:spPr bwMode="auto">
          <a:xfrm>
            <a:off x="5940799" y="2557999"/>
            <a:ext cx="1001" cy="1001"/>
          </a:xfrm>
          <a:prstGeom prst="rect">
            <a:avLst/>
          </a:prstGeom>
          <a:solidFill>
            <a:srgbClr val="46647B"/>
          </a:solidFill>
          <a:ln w="3175"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69" name="Freeform 271">
            <a:extLst>
              <a:ext uri="{FF2B5EF4-FFF2-40B4-BE49-F238E27FC236}">
                <a16:creationId xmlns:a16="http://schemas.microsoft.com/office/drawing/2014/main" id="{385D0223-47C4-803C-03B9-7AAC1E63FB6B}"/>
              </a:ext>
            </a:extLst>
          </p:cNvPr>
          <p:cNvSpPr/>
          <p:nvPr>
            <p:custDataLst>
              <p:tags r:id="rId51"/>
            </p:custDataLst>
          </p:nvPr>
        </p:nvSpPr>
        <p:spPr bwMode="auto">
          <a:xfrm>
            <a:off x="5879733" y="2576018"/>
            <a:ext cx="1214320" cy="772840"/>
          </a:xfrm>
          <a:custGeom>
            <a:avLst/>
            <a:gdLst>
              <a:gd name="T0" fmla="*/ 206 w 1039"/>
              <a:gd name="T1" fmla="*/ 137 h 661"/>
              <a:gd name="T2" fmla="*/ 146 w 1039"/>
              <a:gd name="T3" fmla="*/ 185 h 661"/>
              <a:gd name="T4" fmla="*/ 120 w 1039"/>
              <a:gd name="T5" fmla="*/ 228 h 661"/>
              <a:gd name="T6" fmla="*/ 69 w 1039"/>
              <a:gd name="T7" fmla="*/ 269 h 661"/>
              <a:gd name="T8" fmla="*/ 8 w 1039"/>
              <a:gd name="T9" fmla="*/ 291 h 661"/>
              <a:gd name="T10" fmla="*/ 21 w 1039"/>
              <a:gd name="T11" fmla="*/ 345 h 661"/>
              <a:gd name="T12" fmla="*/ 60 w 1039"/>
              <a:gd name="T13" fmla="*/ 377 h 661"/>
              <a:gd name="T14" fmla="*/ 102 w 1039"/>
              <a:gd name="T15" fmla="*/ 402 h 661"/>
              <a:gd name="T16" fmla="*/ 88 w 1039"/>
              <a:gd name="T17" fmla="*/ 436 h 661"/>
              <a:gd name="T18" fmla="*/ 114 w 1039"/>
              <a:gd name="T19" fmla="*/ 472 h 661"/>
              <a:gd name="T20" fmla="*/ 171 w 1039"/>
              <a:gd name="T21" fmla="*/ 497 h 661"/>
              <a:gd name="T22" fmla="*/ 217 w 1039"/>
              <a:gd name="T23" fmla="*/ 519 h 661"/>
              <a:gd name="T24" fmla="*/ 277 w 1039"/>
              <a:gd name="T25" fmla="*/ 515 h 661"/>
              <a:gd name="T26" fmla="*/ 334 w 1039"/>
              <a:gd name="T27" fmla="*/ 507 h 661"/>
              <a:gd name="T28" fmla="*/ 384 w 1039"/>
              <a:gd name="T29" fmla="*/ 503 h 661"/>
              <a:gd name="T30" fmla="*/ 418 w 1039"/>
              <a:gd name="T31" fmla="*/ 521 h 661"/>
              <a:gd name="T32" fmla="*/ 412 w 1039"/>
              <a:gd name="T33" fmla="*/ 578 h 661"/>
              <a:gd name="T34" fmla="*/ 440 w 1039"/>
              <a:gd name="T35" fmla="*/ 609 h 661"/>
              <a:gd name="T36" fmla="*/ 478 w 1039"/>
              <a:gd name="T37" fmla="*/ 643 h 661"/>
              <a:gd name="T38" fmla="*/ 510 w 1039"/>
              <a:gd name="T39" fmla="*/ 616 h 661"/>
              <a:gd name="T40" fmla="*/ 563 w 1039"/>
              <a:gd name="T41" fmla="*/ 625 h 661"/>
              <a:gd name="T42" fmla="*/ 601 w 1039"/>
              <a:gd name="T43" fmla="*/ 634 h 661"/>
              <a:gd name="T44" fmla="*/ 621 w 1039"/>
              <a:gd name="T45" fmla="*/ 661 h 661"/>
              <a:gd name="T46" fmla="*/ 643 w 1039"/>
              <a:gd name="T47" fmla="*/ 636 h 661"/>
              <a:gd name="T48" fmla="*/ 674 w 1039"/>
              <a:gd name="T49" fmla="*/ 628 h 661"/>
              <a:gd name="T50" fmla="*/ 696 w 1039"/>
              <a:gd name="T51" fmla="*/ 617 h 661"/>
              <a:gd name="T52" fmla="*/ 722 w 1039"/>
              <a:gd name="T53" fmla="*/ 612 h 661"/>
              <a:gd name="T54" fmla="*/ 747 w 1039"/>
              <a:gd name="T55" fmla="*/ 594 h 661"/>
              <a:gd name="T56" fmla="*/ 764 w 1039"/>
              <a:gd name="T57" fmla="*/ 582 h 661"/>
              <a:gd name="T58" fmla="*/ 776 w 1039"/>
              <a:gd name="T59" fmla="*/ 557 h 661"/>
              <a:gd name="T60" fmla="*/ 789 w 1039"/>
              <a:gd name="T61" fmla="*/ 543 h 661"/>
              <a:gd name="T62" fmla="*/ 802 w 1039"/>
              <a:gd name="T63" fmla="*/ 519 h 661"/>
              <a:gd name="T64" fmla="*/ 816 w 1039"/>
              <a:gd name="T65" fmla="*/ 502 h 661"/>
              <a:gd name="T66" fmla="*/ 823 w 1039"/>
              <a:gd name="T67" fmla="*/ 484 h 661"/>
              <a:gd name="T68" fmla="*/ 811 w 1039"/>
              <a:gd name="T69" fmla="*/ 470 h 661"/>
              <a:gd name="T70" fmla="*/ 793 w 1039"/>
              <a:gd name="T71" fmla="*/ 445 h 661"/>
              <a:gd name="T72" fmla="*/ 802 w 1039"/>
              <a:gd name="T73" fmla="*/ 421 h 661"/>
              <a:gd name="T74" fmla="*/ 788 w 1039"/>
              <a:gd name="T75" fmla="*/ 374 h 661"/>
              <a:gd name="T76" fmla="*/ 815 w 1039"/>
              <a:gd name="T77" fmla="*/ 353 h 661"/>
              <a:gd name="T78" fmla="*/ 802 w 1039"/>
              <a:gd name="T79" fmla="*/ 334 h 661"/>
              <a:gd name="T80" fmla="*/ 762 w 1039"/>
              <a:gd name="T81" fmla="*/ 329 h 661"/>
              <a:gd name="T82" fmla="*/ 778 w 1039"/>
              <a:gd name="T83" fmla="*/ 298 h 661"/>
              <a:gd name="T84" fmla="*/ 821 w 1039"/>
              <a:gd name="T85" fmla="*/ 289 h 661"/>
              <a:gd name="T86" fmla="*/ 810 w 1039"/>
              <a:gd name="T87" fmla="*/ 315 h 661"/>
              <a:gd name="T88" fmla="*/ 890 w 1039"/>
              <a:gd name="T89" fmla="*/ 271 h 661"/>
              <a:gd name="T90" fmla="*/ 939 w 1039"/>
              <a:gd name="T91" fmla="*/ 247 h 661"/>
              <a:gd name="T92" fmla="*/ 979 w 1039"/>
              <a:gd name="T93" fmla="*/ 210 h 661"/>
              <a:gd name="T94" fmla="*/ 1020 w 1039"/>
              <a:gd name="T95" fmla="*/ 166 h 661"/>
              <a:gd name="T96" fmla="*/ 1015 w 1039"/>
              <a:gd name="T97" fmla="*/ 122 h 661"/>
              <a:gd name="T98" fmla="*/ 969 w 1039"/>
              <a:gd name="T99" fmla="*/ 112 h 661"/>
              <a:gd name="T100" fmla="*/ 913 w 1039"/>
              <a:gd name="T101" fmla="*/ 68 h 661"/>
              <a:gd name="T102" fmla="*/ 884 w 1039"/>
              <a:gd name="T103" fmla="*/ 12 h 661"/>
              <a:gd name="T104" fmla="*/ 801 w 1039"/>
              <a:gd name="T105" fmla="*/ 23 h 661"/>
              <a:gd name="T106" fmla="*/ 737 w 1039"/>
              <a:gd name="T107" fmla="*/ 86 h 661"/>
              <a:gd name="T108" fmla="*/ 735 w 1039"/>
              <a:gd name="T109" fmla="*/ 126 h 661"/>
              <a:gd name="T110" fmla="*/ 731 w 1039"/>
              <a:gd name="T111" fmla="*/ 161 h 661"/>
              <a:gd name="T112" fmla="*/ 663 w 1039"/>
              <a:gd name="T113" fmla="*/ 189 h 661"/>
              <a:gd name="T114" fmla="*/ 620 w 1039"/>
              <a:gd name="T115" fmla="*/ 238 h 661"/>
              <a:gd name="T116" fmla="*/ 483 w 1039"/>
              <a:gd name="T117" fmla="*/ 246 h 661"/>
              <a:gd name="T118" fmla="*/ 374 w 1039"/>
              <a:gd name="T119" fmla="*/ 214 h 661"/>
              <a:gd name="T120" fmla="*/ 294 w 1039"/>
              <a:gd name="T121" fmla="*/ 160 h 661"/>
              <a:gd name="T122" fmla="*/ 245 w 1039"/>
              <a:gd name="T123" fmla="*/ 111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9" h="661">
                <a:moveTo>
                  <a:pt x="241" y="101"/>
                </a:moveTo>
                <a:cubicBezTo>
                  <a:pt x="241" y="101"/>
                  <a:pt x="241" y="100"/>
                  <a:pt x="241" y="100"/>
                </a:cubicBezTo>
                <a:cubicBezTo>
                  <a:pt x="238" y="101"/>
                  <a:pt x="235" y="101"/>
                  <a:pt x="232" y="101"/>
                </a:cubicBezTo>
                <a:cubicBezTo>
                  <a:pt x="230" y="101"/>
                  <a:pt x="229" y="101"/>
                  <a:pt x="227" y="101"/>
                </a:cubicBezTo>
                <a:cubicBezTo>
                  <a:pt x="226" y="101"/>
                  <a:pt x="226" y="102"/>
                  <a:pt x="226" y="103"/>
                </a:cubicBezTo>
                <a:cubicBezTo>
                  <a:pt x="225" y="105"/>
                  <a:pt x="225" y="107"/>
                  <a:pt x="224" y="109"/>
                </a:cubicBezTo>
                <a:cubicBezTo>
                  <a:pt x="222" y="111"/>
                  <a:pt x="220" y="113"/>
                  <a:pt x="218" y="113"/>
                </a:cubicBezTo>
                <a:cubicBezTo>
                  <a:pt x="217" y="114"/>
                  <a:pt x="215" y="114"/>
                  <a:pt x="214" y="114"/>
                </a:cubicBezTo>
                <a:cubicBezTo>
                  <a:pt x="212" y="115"/>
                  <a:pt x="211" y="115"/>
                  <a:pt x="210" y="115"/>
                </a:cubicBezTo>
                <a:cubicBezTo>
                  <a:pt x="207" y="116"/>
                  <a:pt x="206" y="120"/>
                  <a:pt x="205" y="122"/>
                </a:cubicBezTo>
                <a:cubicBezTo>
                  <a:pt x="203" y="127"/>
                  <a:pt x="207" y="132"/>
                  <a:pt x="206" y="137"/>
                </a:cubicBezTo>
                <a:cubicBezTo>
                  <a:pt x="206" y="143"/>
                  <a:pt x="200" y="146"/>
                  <a:pt x="195" y="148"/>
                </a:cubicBezTo>
                <a:cubicBezTo>
                  <a:pt x="192" y="149"/>
                  <a:pt x="190" y="147"/>
                  <a:pt x="187" y="147"/>
                </a:cubicBezTo>
                <a:cubicBezTo>
                  <a:pt x="184" y="147"/>
                  <a:pt x="181" y="147"/>
                  <a:pt x="178" y="147"/>
                </a:cubicBezTo>
                <a:cubicBezTo>
                  <a:pt x="175" y="147"/>
                  <a:pt x="172" y="147"/>
                  <a:pt x="169" y="146"/>
                </a:cubicBezTo>
                <a:cubicBezTo>
                  <a:pt x="167" y="145"/>
                  <a:pt x="164" y="142"/>
                  <a:pt x="162" y="142"/>
                </a:cubicBezTo>
                <a:cubicBezTo>
                  <a:pt x="160" y="143"/>
                  <a:pt x="159" y="146"/>
                  <a:pt x="159" y="147"/>
                </a:cubicBezTo>
                <a:cubicBezTo>
                  <a:pt x="158" y="150"/>
                  <a:pt x="157" y="153"/>
                  <a:pt x="156" y="156"/>
                </a:cubicBezTo>
                <a:cubicBezTo>
                  <a:pt x="153" y="162"/>
                  <a:pt x="151" y="168"/>
                  <a:pt x="150" y="174"/>
                </a:cubicBezTo>
                <a:cubicBezTo>
                  <a:pt x="149" y="177"/>
                  <a:pt x="151" y="176"/>
                  <a:pt x="153" y="178"/>
                </a:cubicBezTo>
                <a:cubicBezTo>
                  <a:pt x="155" y="179"/>
                  <a:pt x="156" y="182"/>
                  <a:pt x="154" y="183"/>
                </a:cubicBezTo>
                <a:cubicBezTo>
                  <a:pt x="152" y="185"/>
                  <a:pt x="148" y="185"/>
                  <a:pt x="146" y="185"/>
                </a:cubicBezTo>
                <a:cubicBezTo>
                  <a:pt x="144" y="185"/>
                  <a:pt x="140" y="185"/>
                  <a:pt x="138" y="183"/>
                </a:cubicBezTo>
                <a:cubicBezTo>
                  <a:pt x="137" y="181"/>
                  <a:pt x="133" y="182"/>
                  <a:pt x="131" y="183"/>
                </a:cubicBezTo>
                <a:cubicBezTo>
                  <a:pt x="128" y="183"/>
                  <a:pt x="125" y="184"/>
                  <a:pt x="122" y="185"/>
                </a:cubicBezTo>
                <a:cubicBezTo>
                  <a:pt x="119" y="185"/>
                  <a:pt x="107" y="187"/>
                  <a:pt x="108" y="190"/>
                </a:cubicBezTo>
                <a:cubicBezTo>
                  <a:pt x="108" y="192"/>
                  <a:pt x="111" y="191"/>
                  <a:pt x="112" y="190"/>
                </a:cubicBezTo>
                <a:cubicBezTo>
                  <a:pt x="114" y="190"/>
                  <a:pt x="117" y="191"/>
                  <a:pt x="117" y="194"/>
                </a:cubicBezTo>
                <a:cubicBezTo>
                  <a:pt x="117" y="195"/>
                  <a:pt x="116" y="196"/>
                  <a:pt x="116" y="197"/>
                </a:cubicBezTo>
                <a:cubicBezTo>
                  <a:pt x="115" y="199"/>
                  <a:pt x="116" y="200"/>
                  <a:pt x="116" y="201"/>
                </a:cubicBezTo>
                <a:cubicBezTo>
                  <a:pt x="116" y="204"/>
                  <a:pt x="116" y="207"/>
                  <a:pt x="117" y="210"/>
                </a:cubicBezTo>
                <a:cubicBezTo>
                  <a:pt x="119" y="214"/>
                  <a:pt x="124" y="220"/>
                  <a:pt x="122" y="225"/>
                </a:cubicBezTo>
                <a:cubicBezTo>
                  <a:pt x="121" y="226"/>
                  <a:pt x="121" y="227"/>
                  <a:pt x="120" y="228"/>
                </a:cubicBezTo>
                <a:cubicBezTo>
                  <a:pt x="119" y="228"/>
                  <a:pt x="117" y="228"/>
                  <a:pt x="117" y="230"/>
                </a:cubicBezTo>
                <a:cubicBezTo>
                  <a:pt x="117" y="231"/>
                  <a:pt x="117" y="232"/>
                  <a:pt x="117" y="233"/>
                </a:cubicBezTo>
                <a:cubicBezTo>
                  <a:pt x="116" y="234"/>
                  <a:pt x="115" y="234"/>
                  <a:pt x="114" y="235"/>
                </a:cubicBezTo>
                <a:cubicBezTo>
                  <a:pt x="112" y="237"/>
                  <a:pt x="113" y="239"/>
                  <a:pt x="113" y="242"/>
                </a:cubicBezTo>
                <a:cubicBezTo>
                  <a:pt x="114" y="243"/>
                  <a:pt x="113" y="244"/>
                  <a:pt x="113" y="246"/>
                </a:cubicBezTo>
                <a:cubicBezTo>
                  <a:pt x="113" y="247"/>
                  <a:pt x="113" y="249"/>
                  <a:pt x="113" y="250"/>
                </a:cubicBezTo>
                <a:cubicBezTo>
                  <a:pt x="112" y="252"/>
                  <a:pt x="108" y="252"/>
                  <a:pt x="106" y="253"/>
                </a:cubicBezTo>
                <a:cubicBezTo>
                  <a:pt x="103" y="254"/>
                  <a:pt x="100" y="255"/>
                  <a:pt x="97" y="256"/>
                </a:cubicBezTo>
                <a:cubicBezTo>
                  <a:pt x="92" y="257"/>
                  <a:pt x="85" y="260"/>
                  <a:pt x="82" y="264"/>
                </a:cubicBezTo>
                <a:cubicBezTo>
                  <a:pt x="81" y="266"/>
                  <a:pt x="80" y="268"/>
                  <a:pt x="77" y="269"/>
                </a:cubicBezTo>
                <a:cubicBezTo>
                  <a:pt x="75" y="269"/>
                  <a:pt x="72" y="269"/>
                  <a:pt x="69" y="269"/>
                </a:cubicBezTo>
                <a:cubicBezTo>
                  <a:pt x="64" y="269"/>
                  <a:pt x="59" y="269"/>
                  <a:pt x="55" y="273"/>
                </a:cubicBezTo>
                <a:cubicBezTo>
                  <a:pt x="54" y="275"/>
                  <a:pt x="52" y="277"/>
                  <a:pt x="50" y="279"/>
                </a:cubicBezTo>
                <a:cubicBezTo>
                  <a:pt x="49" y="281"/>
                  <a:pt x="47" y="283"/>
                  <a:pt x="45" y="284"/>
                </a:cubicBezTo>
                <a:cubicBezTo>
                  <a:pt x="42" y="284"/>
                  <a:pt x="34" y="286"/>
                  <a:pt x="33" y="282"/>
                </a:cubicBezTo>
                <a:cubicBezTo>
                  <a:pt x="33" y="281"/>
                  <a:pt x="34" y="280"/>
                  <a:pt x="33" y="279"/>
                </a:cubicBezTo>
                <a:cubicBezTo>
                  <a:pt x="32" y="278"/>
                  <a:pt x="31" y="279"/>
                  <a:pt x="31" y="280"/>
                </a:cubicBezTo>
                <a:cubicBezTo>
                  <a:pt x="29" y="283"/>
                  <a:pt x="27" y="284"/>
                  <a:pt x="24" y="282"/>
                </a:cubicBezTo>
                <a:cubicBezTo>
                  <a:pt x="24" y="282"/>
                  <a:pt x="23" y="281"/>
                  <a:pt x="22" y="282"/>
                </a:cubicBezTo>
                <a:cubicBezTo>
                  <a:pt x="21" y="282"/>
                  <a:pt x="22" y="283"/>
                  <a:pt x="21" y="284"/>
                </a:cubicBezTo>
                <a:cubicBezTo>
                  <a:pt x="20" y="286"/>
                  <a:pt x="16" y="287"/>
                  <a:pt x="14" y="287"/>
                </a:cubicBezTo>
                <a:cubicBezTo>
                  <a:pt x="12" y="288"/>
                  <a:pt x="9" y="288"/>
                  <a:pt x="8" y="291"/>
                </a:cubicBezTo>
                <a:cubicBezTo>
                  <a:pt x="7" y="293"/>
                  <a:pt x="8" y="296"/>
                  <a:pt x="6" y="299"/>
                </a:cubicBezTo>
                <a:cubicBezTo>
                  <a:pt x="6" y="299"/>
                  <a:pt x="5" y="300"/>
                  <a:pt x="4" y="301"/>
                </a:cubicBezTo>
                <a:cubicBezTo>
                  <a:pt x="3" y="301"/>
                  <a:pt x="1" y="302"/>
                  <a:pt x="1" y="303"/>
                </a:cubicBezTo>
                <a:cubicBezTo>
                  <a:pt x="0" y="305"/>
                  <a:pt x="3" y="307"/>
                  <a:pt x="4" y="309"/>
                </a:cubicBezTo>
                <a:cubicBezTo>
                  <a:pt x="5" y="311"/>
                  <a:pt x="4" y="312"/>
                  <a:pt x="3" y="314"/>
                </a:cubicBezTo>
                <a:cubicBezTo>
                  <a:pt x="1" y="316"/>
                  <a:pt x="4" y="317"/>
                  <a:pt x="6" y="317"/>
                </a:cubicBezTo>
                <a:cubicBezTo>
                  <a:pt x="9" y="317"/>
                  <a:pt x="11" y="316"/>
                  <a:pt x="14" y="317"/>
                </a:cubicBezTo>
                <a:cubicBezTo>
                  <a:pt x="16" y="318"/>
                  <a:pt x="18" y="319"/>
                  <a:pt x="20" y="321"/>
                </a:cubicBezTo>
                <a:cubicBezTo>
                  <a:pt x="24" y="325"/>
                  <a:pt x="22" y="331"/>
                  <a:pt x="23" y="336"/>
                </a:cubicBezTo>
                <a:cubicBezTo>
                  <a:pt x="24" y="338"/>
                  <a:pt x="26" y="340"/>
                  <a:pt x="27" y="342"/>
                </a:cubicBezTo>
                <a:cubicBezTo>
                  <a:pt x="27" y="344"/>
                  <a:pt x="23" y="345"/>
                  <a:pt x="21" y="345"/>
                </a:cubicBezTo>
                <a:cubicBezTo>
                  <a:pt x="20" y="346"/>
                  <a:pt x="15" y="347"/>
                  <a:pt x="15" y="348"/>
                </a:cubicBezTo>
                <a:cubicBezTo>
                  <a:pt x="16" y="348"/>
                  <a:pt x="16" y="349"/>
                  <a:pt x="16" y="350"/>
                </a:cubicBezTo>
                <a:cubicBezTo>
                  <a:pt x="17" y="350"/>
                  <a:pt x="19" y="350"/>
                  <a:pt x="20" y="349"/>
                </a:cubicBezTo>
                <a:cubicBezTo>
                  <a:pt x="23" y="349"/>
                  <a:pt x="26" y="349"/>
                  <a:pt x="28" y="351"/>
                </a:cubicBezTo>
                <a:cubicBezTo>
                  <a:pt x="31" y="352"/>
                  <a:pt x="33" y="354"/>
                  <a:pt x="36" y="355"/>
                </a:cubicBezTo>
                <a:cubicBezTo>
                  <a:pt x="37" y="356"/>
                  <a:pt x="40" y="357"/>
                  <a:pt x="40" y="359"/>
                </a:cubicBezTo>
                <a:cubicBezTo>
                  <a:pt x="42" y="362"/>
                  <a:pt x="40" y="365"/>
                  <a:pt x="41" y="368"/>
                </a:cubicBezTo>
                <a:cubicBezTo>
                  <a:pt x="42" y="371"/>
                  <a:pt x="44" y="372"/>
                  <a:pt x="46" y="371"/>
                </a:cubicBezTo>
                <a:cubicBezTo>
                  <a:pt x="48" y="371"/>
                  <a:pt x="49" y="371"/>
                  <a:pt x="50" y="371"/>
                </a:cubicBezTo>
                <a:cubicBezTo>
                  <a:pt x="51" y="372"/>
                  <a:pt x="51" y="373"/>
                  <a:pt x="52" y="374"/>
                </a:cubicBezTo>
                <a:cubicBezTo>
                  <a:pt x="54" y="376"/>
                  <a:pt x="58" y="377"/>
                  <a:pt x="60" y="377"/>
                </a:cubicBezTo>
                <a:cubicBezTo>
                  <a:pt x="63" y="378"/>
                  <a:pt x="67" y="378"/>
                  <a:pt x="70" y="377"/>
                </a:cubicBezTo>
                <a:cubicBezTo>
                  <a:pt x="71" y="377"/>
                  <a:pt x="73" y="377"/>
                  <a:pt x="74" y="377"/>
                </a:cubicBezTo>
                <a:cubicBezTo>
                  <a:pt x="75" y="376"/>
                  <a:pt x="76" y="375"/>
                  <a:pt x="77" y="375"/>
                </a:cubicBezTo>
                <a:cubicBezTo>
                  <a:pt x="80" y="373"/>
                  <a:pt x="82" y="371"/>
                  <a:pt x="85" y="370"/>
                </a:cubicBezTo>
                <a:cubicBezTo>
                  <a:pt x="88" y="370"/>
                  <a:pt x="91" y="369"/>
                  <a:pt x="94" y="369"/>
                </a:cubicBezTo>
                <a:cubicBezTo>
                  <a:pt x="97" y="369"/>
                  <a:pt x="99" y="370"/>
                  <a:pt x="101" y="372"/>
                </a:cubicBezTo>
                <a:cubicBezTo>
                  <a:pt x="104" y="374"/>
                  <a:pt x="106" y="376"/>
                  <a:pt x="108" y="377"/>
                </a:cubicBezTo>
                <a:cubicBezTo>
                  <a:pt x="110" y="378"/>
                  <a:pt x="113" y="377"/>
                  <a:pt x="115" y="379"/>
                </a:cubicBezTo>
                <a:cubicBezTo>
                  <a:pt x="119" y="383"/>
                  <a:pt x="113" y="388"/>
                  <a:pt x="110" y="392"/>
                </a:cubicBezTo>
                <a:cubicBezTo>
                  <a:pt x="109" y="394"/>
                  <a:pt x="108" y="397"/>
                  <a:pt x="106" y="399"/>
                </a:cubicBezTo>
                <a:cubicBezTo>
                  <a:pt x="105" y="400"/>
                  <a:pt x="102" y="400"/>
                  <a:pt x="102" y="402"/>
                </a:cubicBezTo>
                <a:cubicBezTo>
                  <a:pt x="102" y="403"/>
                  <a:pt x="102" y="405"/>
                  <a:pt x="101" y="406"/>
                </a:cubicBezTo>
                <a:cubicBezTo>
                  <a:pt x="100" y="407"/>
                  <a:pt x="98" y="408"/>
                  <a:pt x="96" y="408"/>
                </a:cubicBezTo>
                <a:cubicBezTo>
                  <a:pt x="95" y="408"/>
                  <a:pt x="93" y="408"/>
                  <a:pt x="93" y="408"/>
                </a:cubicBezTo>
                <a:cubicBezTo>
                  <a:pt x="92" y="409"/>
                  <a:pt x="93" y="410"/>
                  <a:pt x="93" y="411"/>
                </a:cubicBezTo>
                <a:cubicBezTo>
                  <a:pt x="93" y="412"/>
                  <a:pt x="93" y="413"/>
                  <a:pt x="93" y="414"/>
                </a:cubicBezTo>
                <a:cubicBezTo>
                  <a:pt x="93" y="416"/>
                  <a:pt x="91" y="417"/>
                  <a:pt x="91" y="418"/>
                </a:cubicBezTo>
                <a:cubicBezTo>
                  <a:pt x="91" y="420"/>
                  <a:pt x="95" y="421"/>
                  <a:pt x="97" y="422"/>
                </a:cubicBezTo>
                <a:cubicBezTo>
                  <a:pt x="99" y="423"/>
                  <a:pt x="100" y="426"/>
                  <a:pt x="100" y="428"/>
                </a:cubicBezTo>
                <a:cubicBezTo>
                  <a:pt x="101" y="430"/>
                  <a:pt x="101" y="433"/>
                  <a:pt x="99" y="435"/>
                </a:cubicBezTo>
                <a:cubicBezTo>
                  <a:pt x="97" y="436"/>
                  <a:pt x="95" y="439"/>
                  <a:pt x="93" y="439"/>
                </a:cubicBezTo>
                <a:cubicBezTo>
                  <a:pt x="91" y="440"/>
                  <a:pt x="89" y="438"/>
                  <a:pt x="88" y="436"/>
                </a:cubicBezTo>
                <a:cubicBezTo>
                  <a:pt x="87" y="435"/>
                  <a:pt x="84" y="435"/>
                  <a:pt x="83" y="437"/>
                </a:cubicBezTo>
                <a:cubicBezTo>
                  <a:pt x="83" y="439"/>
                  <a:pt x="83" y="441"/>
                  <a:pt x="85" y="443"/>
                </a:cubicBezTo>
                <a:cubicBezTo>
                  <a:pt x="87" y="445"/>
                  <a:pt x="88" y="446"/>
                  <a:pt x="88" y="449"/>
                </a:cubicBezTo>
                <a:cubicBezTo>
                  <a:pt x="88" y="451"/>
                  <a:pt x="87" y="455"/>
                  <a:pt x="88" y="457"/>
                </a:cubicBezTo>
                <a:cubicBezTo>
                  <a:pt x="89" y="458"/>
                  <a:pt x="90" y="457"/>
                  <a:pt x="90" y="457"/>
                </a:cubicBezTo>
                <a:cubicBezTo>
                  <a:pt x="92" y="456"/>
                  <a:pt x="93" y="456"/>
                  <a:pt x="94" y="458"/>
                </a:cubicBezTo>
                <a:cubicBezTo>
                  <a:pt x="96" y="459"/>
                  <a:pt x="97" y="461"/>
                  <a:pt x="99" y="462"/>
                </a:cubicBezTo>
                <a:cubicBezTo>
                  <a:pt x="102" y="464"/>
                  <a:pt x="104" y="464"/>
                  <a:pt x="106" y="465"/>
                </a:cubicBezTo>
                <a:cubicBezTo>
                  <a:pt x="108" y="465"/>
                  <a:pt x="110" y="466"/>
                  <a:pt x="112" y="467"/>
                </a:cubicBezTo>
                <a:cubicBezTo>
                  <a:pt x="112" y="467"/>
                  <a:pt x="113" y="468"/>
                  <a:pt x="113" y="469"/>
                </a:cubicBezTo>
                <a:cubicBezTo>
                  <a:pt x="114" y="470"/>
                  <a:pt x="113" y="471"/>
                  <a:pt x="114" y="472"/>
                </a:cubicBezTo>
                <a:cubicBezTo>
                  <a:pt x="114" y="473"/>
                  <a:pt x="116" y="474"/>
                  <a:pt x="117" y="475"/>
                </a:cubicBezTo>
                <a:cubicBezTo>
                  <a:pt x="118" y="475"/>
                  <a:pt x="120" y="476"/>
                  <a:pt x="121" y="477"/>
                </a:cubicBezTo>
                <a:cubicBezTo>
                  <a:pt x="123" y="478"/>
                  <a:pt x="126" y="480"/>
                  <a:pt x="129" y="480"/>
                </a:cubicBezTo>
                <a:cubicBezTo>
                  <a:pt x="130" y="480"/>
                  <a:pt x="131" y="477"/>
                  <a:pt x="132" y="476"/>
                </a:cubicBezTo>
                <a:cubicBezTo>
                  <a:pt x="134" y="474"/>
                  <a:pt x="138" y="475"/>
                  <a:pt x="140" y="476"/>
                </a:cubicBezTo>
                <a:cubicBezTo>
                  <a:pt x="141" y="476"/>
                  <a:pt x="143" y="476"/>
                  <a:pt x="144" y="477"/>
                </a:cubicBezTo>
                <a:cubicBezTo>
                  <a:pt x="144" y="477"/>
                  <a:pt x="145" y="478"/>
                  <a:pt x="145" y="479"/>
                </a:cubicBezTo>
                <a:cubicBezTo>
                  <a:pt x="147" y="481"/>
                  <a:pt x="150" y="483"/>
                  <a:pt x="152" y="484"/>
                </a:cubicBezTo>
                <a:cubicBezTo>
                  <a:pt x="154" y="486"/>
                  <a:pt x="156" y="487"/>
                  <a:pt x="159" y="488"/>
                </a:cubicBezTo>
                <a:cubicBezTo>
                  <a:pt x="161" y="490"/>
                  <a:pt x="164" y="490"/>
                  <a:pt x="166" y="492"/>
                </a:cubicBezTo>
                <a:cubicBezTo>
                  <a:pt x="168" y="493"/>
                  <a:pt x="169" y="496"/>
                  <a:pt x="171" y="497"/>
                </a:cubicBezTo>
                <a:cubicBezTo>
                  <a:pt x="173" y="498"/>
                  <a:pt x="176" y="496"/>
                  <a:pt x="179" y="497"/>
                </a:cubicBezTo>
                <a:cubicBezTo>
                  <a:pt x="180" y="498"/>
                  <a:pt x="181" y="500"/>
                  <a:pt x="181" y="502"/>
                </a:cubicBezTo>
                <a:cubicBezTo>
                  <a:pt x="182" y="504"/>
                  <a:pt x="184" y="505"/>
                  <a:pt x="186" y="506"/>
                </a:cubicBezTo>
                <a:cubicBezTo>
                  <a:pt x="188" y="507"/>
                  <a:pt x="190" y="508"/>
                  <a:pt x="192" y="508"/>
                </a:cubicBezTo>
                <a:cubicBezTo>
                  <a:pt x="194" y="508"/>
                  <a:pt x="196" y="508"/>
                  <a:pt x="197" y="511"/>
                </a:cubicBezTo>
                <a:cubicBezTo>
                  <a:pt x="197" y="513"/>
                  <a:pt x="198" y="513"/>
                  <a:pt x="200" y="513"/>
                </a:cubicBezTo>
                <a:cubicBezTo>
                  <a:pt x="202" y="513"/>
                  <a:pt x="205" y="513"/>
                  <a:pt x="207" y="515"/>
                </a:cubicBezTo>
                <a:cubicBezTo>
                  <a:pt x="208" y="515"/>
                  <a:pt x="208" y="516"/>
                  <a:pt x="209" y="517"/>
                </a:cubicBezTo>
                <a:cubicBezTo>
                  <a:pt x="209" y="518"/>
                  <a:pt x="210" y="519"/>
                  <a:pt x="210" y="520"/>
                </a:cubicBezTo>
                <a:cubicBezTo>
                  <a:pt x="211" y="520"/>
                  <a:pt x="213" y="518"/>
                  <a:pt x="213" y="518"/>
                </a:cubicBezTo>
                <a:cubicBezTo>
                  <a:pt x="215" y="518"/>
                  <a:pt x="216" y="518"/>
                  <a:pt x="217" y="519"/>
                </a:cubicBezTo>
                <a:cubicBezTo>
                  <a:pt x="219" y="520"/>
                  <a:pt x="220" y="518"/>
                  <a:pt x="223" y="518"/>
                </a:cubicBezTo>
                <a:cubicBezTo>
                  <a:pt x="226" y="518"/>
                  <a:pt x="228" y="520"/>
                  <a:pt x="230" y="521"/>
                </a:cubicBezTo>
                <a:cubicBezTo>
                  <a:pt x="233" y="521"/>
                  <a:pt x="235" y="522"/>
                  <a:pt x="238" y="522"/>
                </a:cubicBezTo>
                <a:cubicBezTo>
                  <a:pt x="240" y="522"/>
                  <a:pt x="243" y="523"/>
                  <a:pt x="246" y="522"/>
                </a:cubicBezTo>
                <a:cubicBezTo>
                  <a:pt x="249" y="520"/>
                  <a:pt x="252" y="516"/>
                  <a:pt x="257" y="518"/>
                </a:cubicBezTo>
                <a:cubicBezTo>
                  <a:pt x="258" y="518"/>
                  <a:pt x="260" y="520"/>
                  <a:pt x="260" y="522"/>
                </a:cubicBezTo>
                <a:cubicBezTo>
                  <a:pt x="260" y="524"/>
                  <a:pt x="259" y="525"/>
                  <a:pt x="259" y="526"/>
                </a:cubicBezTo>
                <a:cubicBezTo>
                  <a:pt x="259" y="528"/>
                  <a:pt x="260" y="529"/>
                  <a:pt x="260" y="530"/>
                </a:cubicBezTo>
                <a:cubicBezTo>
                  <a:pt x="261" y="528"/>
                  <a:pt x="263" y="526"/>
                  <a:pt x="265" y="523"/>
                </a:cubicBezTo>
                <a:cubicBezTo>
                  <a:pt x="266" y="521"/>
                  <a:pt x="269" y="520"/>
                  <a:pt x="271" y="519"/>
                </a:cubicBezTo>
                <a:cubicBezTo>
                  <a:pt x="273" y="517"/>
                  <a:pt x="274" y="515"/>
                  <a:pt x="277" y="515"/>
                </a:cubicBezTo>
                <a:cubicBezTo>
                  <a:pt x="280" y="514"/>
                  <a:pt x="282" y="513"/>
                  <a:pt x="285" y="516"/>
                </a:cubicBezTo>
                <a:cubicBezTo>
                  <a:pt x="286" y="518"/>
                  <a:pt x="288" y="518"/>
                  <a:pt x="291" y="518"/>
                </a:cubicBezTo>
                <a:cubicBezTo>
                  <a:pt x="292" y="518"/>
                  <a:pt x="293" y="519"/>
                  <a:pt x="294" y="519"/>
                </a:cubicBezTo>
                <a:cubicBezTo>
                  <a:pt x="296" y="519"/>
                  <a:pt x="297" y="519"/>
                  <a:pt x="299" y="518"/>
                </a:cubicBezTo>
                <a:cubicBezTo>
                  <a:pt x="301" y="518"/>
                  <a:pt x="304" y="518"/>
                  <a:pt x="306" y="519"/>
                </a:cubicBezTo>
                <a:cubicBezTo>
                  <a:pt x="307" y="520"/>
                  <a:pt x="308" y="521"/>
                  <a:pt x="309" y="522"/>
                </a:cubicBezTo>
                <a:cubicBezTo>
                  <a:pt x="309" y="523"/>
                  <a:pt x="310" y="523"/>
                  <a:pt x="311" y="523"/>
                </a:cubicBezTo>
                <a:cubicBezTo>
                  <a:pt x="314" y="523"/>
                  <a:pt x="316" y="523"/>
                  <a:pt x="319" y="523"/>
                </a:cubicBezTo>
                <a:cubicBezTo>
                  <a:pt x="322" y="523"/>
                  <a:pt x="323" y="520"/>
                  <a:pt x="324" y="518"/>
                </a:cubicBezTo>
                <a:cubicBezTo>
                  <a:pt x="325" y="516"/>
                  <a:pt x="328" y="514"/>
                  <a:pt x="330" y="513"/>
                </a:cubicBezTo>
                <a:cubicBezTo>
                  <a:pt x="331" y="511"/>
                  <a:pt x="332" y="508"/>
                  <a:pt x="334" y="507"/>
                </a:cubicBezTo>
                <a:cubicBezTo>
                  <a:pt x="336" y="506"/>
                  <a:pt x="338" y="506"/>
                  <a:pt x="341" y="506"/>
                </a:cubicBezTo>
                <a:cubicBezTo>
                  <a:pt x="344" y="506"/>
                  <a:pt x="346" y="504"/>
                  <a:pt x="348" y="502"/>
                </a:cubicBezTo>
                <a:cubicBezTo>
                  <a:pt x="350" y="500"/>
                  <a:pt x="352" y="498"/>
                  <a:pt x="354" y="496"/>
                </a:cubicBezTo>
                <a:cubicBezTo>
                  <a:pt x="356" y="494"/>
                  <a:pt x="358" y="496"/>
                  <a:pt x="360" y="497"/>
                </a:cubicBezTo>
                <a:cubicBezTo>
                  <a:pt x="362" y="498"/>
                  <a:pt x="364" y="498"/>
                  <a:pt x="366" y="498"/>
                </a:cubicBezTo>
                <a:cubicBezTo>
                  <a:pt x="367" y="498"/>
                  <a:pt x="368" y="499"/>
                  <a:pt x="369" y="499"/>
                </a:cubicBezTo>
                <a:cubicBezTo>
                  <a:pt x="370" y="499"/>
                  <a:pt x="371" y="500"/>
                  <a:pt x="372" y="500"/>
                </a:cubicBezTo>
                <a:cubicBezTo>
                  <a:pt x="375" y="498"/>
                  <a:pt x="377" y="495"/>
                  <a:pt x="379" y="494"/>
                </a:cubicBezTo>
                <a:cubicBezTo>
                  <a:pt x="382" y="492"/>
                  <a:pt x="387" y="493"/>
                  <a:pt x="387" y="497"/>
                </a:cubicBezTo>
                <a:cubicBezTo>
                  <a:pt x="387" y="498"/>
                  <a:pt x="385" y="499"/>
                  <a:pt x="384" y="500"/>
                </a:cubicBezTo>
                <a:cubicBezTo>
                  <a:pt x="384" y="500"/>
                  <a:pt x="383" y="503"/>
                  <a:pt x="384" y="503"/>
                </a:cubicBezTo>
                <a:cubicBezTo>
                  <a:pt x="386" y="502"/>
                  <a:pt x="387" y="501"/>
                  <a:pt x="388" y="501"/>
                </a:cubicBezTo>
                <a:cubicBezTo>
                  <a:pt x="390" y="501"/>
                  <a:pt x="392" y="503"/>
                  <a:pt x="392" y="505"/>
                </a:cubicBezTo>
                <a:cubicBezTo>
                  <a:pt x="393" y="507"/>
                  <a:pt x="392" y="507"/>
                  <a:pt x="390" y="508"/>
                </a:cubicBezTo>
                <a:cubicBezTo>
                  <a:pt x="390" y="509"/>
                  <a:pt x="387" y="512"/>
                  <a:pt x="388" y="512"/>
                </a:cubicBezTo>
                <a:cubicBezTo>
                  <a:pt x="389" y="513"/>
                  <a:pt x="390" y="512"/>
                  <a:pt x="390" y="512"/>
                </a:cubicBezTo>
                <a:cubicBezTo>
                  <a:pt x="392" y="512"/>
                  <a:pt x="393" y="512"/>
                  <a:pt x="394" y="512"/>
                </a:cubicBezTo>
                <a:cubicBezTo>
                  <a:pt x="395" y="512"/>
                  <a:pt x="397" y="512"/>
                  <a:pt x="398" y="512"/>
                </a:cubicBezTo>
                <a:cubicBezTo>
                  <a:pt x="400" y="512"/>
                  <a:pt x="401" y="513"/>
                  <a:pt x="403" y="515"/>
                </a:cubicBezTo>
                <a:cubicBezTo>
                  <a:pt x="404" y="513"/>
                  <a:pt x="406" y="510"/>
                  <a:pt x="408" y="510"/>
                </a:cubicBezTo>
                <a:cubicBezTo>
                  <a:pt x="411" y="511"/>
                  <a:pt x="413" y="514"/>
                  <a:pt x="415" y="515"/>
                </a:cubicBezTo>
                <a:cubicBezTo>
                  <a:pt x="417" y="517"/>
                  <a:pt x="418" y="518"/>
                  <a:pt x="418" y="521"/>
                </a:cubicBezTo>
                <a:cubicBezTo>
                  <a:pt x="418" y="524"/>
                  <a:pt x="419" y="525"/>
                  <a:pt x="422" y="525"/>
                </a:cubicBezTo>
                <a:cubicBezTo>
                  <a:pt x="424" y="525"/>
                  <a:pt x="426" y="526"/>
                  <a:pt x="427" y="528"/>
                </a:cubicBezTo>
                <a:cubicBezTo>
                  <a:pt x="428" y="530"/>
                  <a:pt x="428" y="533"/>
                  <a:pt x="428" y="535"/>
                </a:cubicBezTo>
                <a:cubicBezTo>
                  <a:pt x="428" y="538"/>
                  <a:pt x="428" y="541"/>
                  <a:pt x="429" y="543"/>
                </a:cubicBezTo>
                <a:cubicBezTo>
                  <a:pt x="429" y="546"/>
                  <a:pt x="428" y="549"/>
                  <a:pt x="426" y="552"/>
                </a:cubicBezTo>
                <a:cubicBezTo>
                  <a:pt x="425" y="554"/>
                  <a:pt x="427" y="556"/>
                  <a:pt x="427" y="558"/>
                </a:cubicBezTo>
                <a:cubicBezTo>
                  <a:pt x="428" y="561"/>
                  <a:pt x="425" y="563"/>
                  <a:pt x="423" y="564"/>
                </a:cubicBezTo>
                <a:cubicBezTo>
                  <a:pt x="422" y="565"/>
                  <a:pt x="421" y="566"/>
                  <a:pt x="420" y="566"/>
                </a:cubicBezTo>
                <a:cubicBezTo>
                  <a:pt x="419" y="566"/>
                  <a:pt x="418" y="566"/>
                  <a:pt x="418" y="567"/>
                </a:cubicBezTo>
                <a:cubicBezTo>
                  <a:pt x="417" y="569"/>
                  <a:pt x="415" y="570"/>
                  <a:pt x="414" y="571"/>
                </a:cubicBezTo>
                <a:cubicBezTo>
                  <a:pt x="412" y="573"/>
                  <a:pt x="413" y="576"/>
                  <a:pt x="412" y="578"/>
                </a:cubicBezTo>
                <a:cubicBezTo>
                  <a:pt x="412" y="579"/>
                  <a:pt x="411" y="579"/>
                  <a:pt x="410" y="580"/>
                </a:cubicBezTo>
                <a:cubicBezTo>
                  <a:pt x="409" y="580"/>
                  <a:pt x="408" y="582"/>
                  <a:pt x="408" y="583"/>
                </a:cubicBezTo>
                <a:cubicBezTo>
                  <a:pt x="408" y="585"/>
                  <a:pt x="411" y="586"/>
                  <a:pt x="411" y="589"/>
                </a:cubicBezTo>
                <a:cubicBezTo>
                  <a:pt x="411" y="590"/>
                  <a:pt x="408" y="591"/>
                  <a:pt x="408" y="593"/>
                </a:cubicBezTo>
                <a:cubicBezTo>
                  <a:pt x="409" y="597"/>
                  <a:pt x="415" y="591"/>
                  <a:pt x="416" y="591"/>
                </a:cubicBezTo>
                <a:cubicBezTo>
                  <a:pt x="419" y="589"/>
                  <a:pt x="421" y="591"/>
                  <a:pt x="424" y="591"/>
                </a:cubicBezTo>
                <a:cubicBezTo>
                  <a:pt x="425" y="590"/>
                  <a:pt x="428" y="588"/>
                  <a:pt x="430" y="590"/>
                </a:cubicBezTo>
                <a:cubicBezTo>
                  <a:pt x="431" y="592"/>
                  <a:pt x="429" y="594"/>
                  <a:pt x="429" y="595"/>
                </a:cubicBezTo>
                <a:cubicBezTo>
                  <a:pt x="428" y="598"/>
                  <a:pt x="430" y="601"/>
                  <a:pt x="431" y="603"/>
                </a:cubicBezTo>
                <a:cubicBezTo>
                  <a:pt x="431" y="605"/>
                  <a:pt x="432" y="607"/>
                  <a:pt x="434" y="607"/>
                </a:cubicBezTo>
                <a:cubicBezTo>
                  <a:pt x="436" y="608"/>
                  <a:pt x="438" y="608"/>
                  <a:pt x="440" y="609"/>
                </a:cubicBezTo>
                <a:cubicBezTo>
                  <a:pt x="441" y="611"/>
                  <a:pt x="441" y="613"/>
                  <a:pt x="440" y="615"/>
                </a:cubicBezTo>
                <a:cubicBezTo>
                  <a:pt x="439" y="617"/>
                  <a:pt x="438" y="619"/>
                  <a:pt x="437" y="622"/>
                </a:cubicBezTo>
                <a:cubicBezTo>
                  <a:pt x="436" y="624"/>
                  <a:pt x="436" y="625"/>
                  <a:pt x="439" y="626"/>
                </a:cubicBezTo>
                <a:cubicBezTo>
                  <a:pt x="441" y="626"/>
                  <a:pt x="444" y="626"/>
                  <a:pt x="446" y="626"/>
                </a:cubicBezTo>
                <a:cubicBezTo>
                  <a:pt x="448" y="627"/>
                  <a:pt x="449" y="628"/>
                  <a:pt x="449" y="630"/>
                </a:cubicBezTo>
                <a:cubicBezTo>
                  <a:pt x="450" y="632"/>
                  <a:pt x="450" y="634"/>
                  <a:pt x="451" y="636"/>
                </a:cubicBezTo>
                <a:cubicBezTo>
                  <a:pt x="452" y="638"/>
                  <a:pt x="453" y="638"/>
                  <a:pt x="455" y="636"/>
                </a:cubicBezTo>
                <a:cubicBezTo>
                  <a:pt x="458" y="635"/>
                  <a:pt x="461" y="634"/>
                  <a:pt x="464" y="633"/>
                </a:cubicBezTo>
                <a:cubicBezTo>
                  <a:pt x="466" y="633"/>
                  <a:pt x="468" y="633"/>
                  <a:pt x="469" y="636"/>
                </a:cubicBezTo>
                <a:cubicBezTo>
                  <a:pt x="470" y="638"/>
                  <a:pt x="471" y="641"/>
                  <a:pt x="472" y="642"/>
                </a:cubicBezTo>
                <a:cubicBezTo>
                  <a:pt x="474" y="643"/>
                  <a:pt x="476" y="644"/>
                  <a:pt x="478" y="643"/>
                </a:cubicBezTo>
                <a:cubicBezTo>
                  <a:pt x="479" y="643"/>
                  <a:pt x="478" y="640"/>
                  <a:pt x="478" y="639"/>
                </a:cubicBezTo>
                <a:cubicBezTo>
                  <a:pt x="477" y="638"/>
                  <a:pt x="477" y="637"/>
                  <a:pt x="477" y="635"/>
                </a:cubicBezTo>
                <a:cubicBezTo>
                  <a:pt x="477" y="634"/>
                  <a:pt x="478" y="633"/>
                  <a:pt x="477" y="632"/>
                </a:cubicBezTo>
                <a:cubicBezTo>
                  <a:pt x="476" y="629"/>
                  <a:pt x="473" y="627"/>
                  <a:pt x="474" y="624"/>
                </a:cubicBezTo>
                <a:cubicBezTo>
                  <a:pt x="475" y="622"/>
                  <a:pt x="477" y="620"/>
                  <a:pt x="480" y="620"/>
                </a:cubicBezTo>
                <a:cubicBezTo>
                  <a:pt x="482" y="620"/>
                  <a:pt x="484" y="621"/>
                  <a:pt x="486" y="620"/>
                </a:cubicBezTo>
                <a:cubicBezTo>
                  <a:pt x="488" y="617"/>
                  <a:pt x="490" y="614"/>
                  <a:pt x="494" y="616"/>
                </a:cubicBezTo>
                <a:cubicBezTo>
                  <a:pt x="495" y="617"/>
                  <a:pt x="498" y="620"/>
                  <a:pt x="500" y="619"/>
                </a:cubicBezTo>
                <a:cubicBezTo>
                  <a:pt x="502" y="618"/>
                  <a:pt x="503" y="616"/>
                  <a:pt x="505" y="615"/>
                </a:cubicBezTo>
                <a:cubicBezTo>
                  <a:pt x="506" y="615"/>
                  <a:pt x="507" y="615"/>
                  <a:pt x="508" y="616"/>
                </a:cubicBezTo>
                <a:cubicBezTo>
                  <a:pt x="508" y="617"/>
                  <a:pt x="509" y="616"/>
                  <a:pt x="510" y="616"/>
                </a:cubicBezTo>
                <a:cubicBezTo>
                  <a:pt x="512" y="616"/>
                  <a:pt x="513" y="616"/>
                  <a:pt x="514" y="617"/>
                </a:cubicBezTo>
                <a:cubicBezTo>
                  <a:pt x="515" y="617"/>
                  <a:pt x="516" y="618"/>
                  <a:pt x="517" y="617"/>
                </a:cubicBezTo>
                <a:cubicBezTo>
                  <a:pt x="518" y="616"/>
                  <a:pt x="520" y="614"/>
                  <a:pt x="523" y="614"/>
                </a:cubicBezTo>
                <a:cubicBezTo>
                  <a:pt x="526" y="615"/>
                  <a:pt x="528" y="612"/>
                  <a:pt x="530" y="610"/>
                </a:cubicBezTo>
                <a:cubicBezTo>
                  <a:pt x="532" y="608"/>
                  <a:pt x="534" y="606"/>
                  <a:pt x="536" y="605"/>
                </a:cubicBezTo>
                <a:cubicBezTo>
                  <a:pt x="539" y="604"/>
                  <a:pt x="541" y="606"/>
                  <a:pt x="543" y="608"/>
                </a:cubicBezTo>
                <a:cubicBezTo>
                  <a:pt x="545" y="609"/>
                  <a:pt x="547" y="611"/>
                  <a:pt x="549" y="611"/>
                </a:cubicBezTo>
                <a:cubicBezTo>
                  <a:pt x="553" y="612"/>
                  <a:pt x="556" y="612"/>
                  <a:pt x="559" y="612"/>
                </a:cubicBezTo>
                <a:cubicBezTo>
                  <a:pt x="561" y="612"/>
                  <a:pt x="564" y="612"/>
                  <a:pt x="564" y="615"/>
                </a:cubicBezTo>
                <a:cubicBezTo>
                  <a:pt x="564" y="617"/>
                  <a:pt x="561" y="619"/>
                  <a:pt x="562" y="622"/>
                </a:cubicBezTo>
                <a:cubicBezTo>
                  <a:pt x="562" y="623"/>
                  <a:pt x="563" y="624"/>
                  <a:pt x="563" y="625"/>
                </a:cubicBezTo>
                <a:cubicBezTo>
                  <a:pt x="563" y="626"/>
                  <a:pt x="563" y="628"/>
                  <a:pt x="564" y="628"/>
                </a:cubicBezTo>
                <a:cubicBezTo>
                  <a:pt x="565" y="629"/>
                  <a:pt x="567" y="629"/>
                  <a:pt x="569" y="630"/>
                </a:cubicBezTo>
                <a:cubicBezTo>
                  <a:pt x="571" y="630"/>
                  <a:pt x="571" y="633"/>
                  <a:pt x="573" y="634"/>
                </a:cubicBezTo>
                <a:cubicBezTo>
                  <a:pt x="576" y="635"/>
                  <a:pt x="579" y="635"/>
                  <a:pt x="581" y="635"/>
                </a:cubicBezTo>
                <a:cubicBezTo>
                  <a:pt x="583" y="636"/>
                  <a:pt x="584" y="636"/>
                  <a:pt x="585" y="636"/>
                </a:cubicBezTo>
                <a:cubicBezTo>
                  <a:pt x="586" y="636"/>
                  <a:pt x="587" y="635"/>
                  <a:pt x="589" y="635"/>
                </a:cubicBezTo>
                <a:cubicBezTo>
                  <a:pt x="589" y="635"/>
                  <a:pt x="590" y="635"/>
                  <a:pt x="591" y="634"/>
                </a:cubicBezTo>
                <a:cubicBezTo>
                  <a:pt x="592" y="633"/>
                  <a:pt x="592" y="632"/>
                  <a:pt x="592" y="631"/>
                </a:cubicBezTo>
                <a:cubicBezTo>
                  <a:pt x="593" y="629"/>
                  <a:pt x="595" y="630"/>
                  <a:pt x="595" y="632"/>
                </a:cubicBezTo>
                <a:cubicBezTo>
                  <a:pt x="596" y="633"/>
                  <a:pt x="596" y="633"/>
                  <a:pt x="598" y="633"/>
                </a:cubicBezTo>
                <a:cubicBezTo>
                  <a:pt x="598" y="634"/>
                  <a:pt x="600" y="633"/>
                  <a:pt x="601" y="634"/>
                </a:cubicBezTo>
                <a:cubicBezTo>
                  <a:pt x="601" y="635"/>
                  <a:pt x="603" y="636"/>
                  <a:pt x="604" y="638"/>
                </a:cubicBezTo>
                <a:cubicBezTo>
                  <a:pt x="605" y="639"/>
                  <a:pt x="606" y="639"/>
                  <a:pt x="607" y="639"/>
                </a:cubicBezTo>
                <a:cubicBezTo>
                  <a:pt x="608" y="638"/>
                  <a:pt x="609" y="638"/>
                  <a:pt x="610" y="638"/>
                </a:cubicBezTo>
                <a:cubicBezTo>
                  <a:pt x="612" y="637"/>
                  <a:pt x="608" y="634"/>
                  <a:pt x="611" y="633"/>
                </a:cubicBezTo>
                <a:cubicBezTo>
                  <a:pt x="612" y="632"/>
                  <a:pt x="614" y="636"/>
                  <a:pt x="615" y="637"/>
                </a:cubicBezTo>
                <a:cubicBezTo>
                  <a:pt x="617" y="637"/>
                  <a:pt x="619" y="638"/>
                  <a:pt x="617" y="639"/>
                </a:cubicBezTo>
                <a:cubicBezTo>
                  <a:pt x="616" y="640"/>
                  <a:pt x="616" y="641"/>
                  <a:pt x="615" y="642"/>
                </a:cubicBezTo>
                <a:cubicBezTo>
                  <a:pt x="615" y="644"/>
                  <a:pt x="614" y="645"/>
                  <a:pt x="613" y="646"/>
                </a:cubicBezTo>
                <a:cubicBezTo>
                  <a:pt x="612" y="649"/>
                  <a:pt x="613" y="652"/>
                  <a:pt x="615" y="654"/>
                </a:cubicBezTo>
                <a:cubicBezTo>
                  <a:pt x="616" y="656"/>
                  <a:pt x="617" y="658"/>
                  <a:pt x="618" y="660"/>
                </a:cubicBezTo>
                <a:cubicBezTo>
                  <a:pt x="619" y="661"/>
                  <a:pt x="620" y="661"/>
                  <a:pt x="621" y="661"/>
                </a:cubicBezTo>
                <a:cubicBezTo>
                  <a:pt x="622" y="661"/>
                  <a:pt x="622" y="660"/>
                  <a:pt x="623" y="659"/>
                </a:cubicBezTo>
                <a:cubicBezTo>
                  <a:pt x="625" y="658"/>
                  <a:pt x="627" y="658"/>
                  <a:pt x="626" y="656"/>
                </a:cubicBezTo>
                <a:cubicBezTo>
                  <a:pt x="625" y="654"/>
                  <a:pt x="624" y="654"/>
                  <a:pt x="624" y="652"/>
                </a:cubicBezTo>
                <a:cubicBezTo>
                  <a:pt x="623" y="651"/>
                  <a:pt x="623" y="650"/>
                  <a:pt x="622" y="650"/>
                </a:cubicBezTo>
                <a:cubicBezTo>
                  <a:pt x="622" y="649"/>
                  <a:pt x="621" y="648"/>
                  <a:pt x="621" y="647"/>
                </a:cubicBezTo>
                <a:cubicBezTo>
                  <a:pt x="621" y="646"/>
                  <a:pt x="622" y="645"/>
                  <a:pt x="623" y="644"/>
                </a:cubicBezTo>
                <a:cubicBezTo>
                  <a:pt x="625" y="643"/>
                  <a:pt x="622" y="639"/>
                  <a:pt x="625" y="639"/>
                </a:cubicBezTo>
                <a:cubicBezTo>
                  <a:pt x="627" y="638"/>
                  <a:pt x="627" y="642"/>
                  <a:pt x="629" y="642"/>
                </a:cubicBezTo>
                <a:cubicBezTo>
                  <a:pt x="630" y="642"/>
                  <a:pt x="631" y="641"/>
                  <a:pt x="632" y="641"/>
                </a:cubicBezTo>
                <a:cubicBezTo>
                  <a:pt x="633" y="640"/>
                  <a:pt x="633" y="640"/>
                  <a:pt x="634" y="639"/>
                </a:cubicBezTo>
                <a:cubicBezTo>
                  <a:pt x="637" y="638"/>
                  <a:pt x="640" y="637"/>
                  <a:pt x="643" y="636"/>
                </a:cubicBezTo>
                <a:cubicBezTo>
                  <a:pt x="644" y="636"/>
                  <a:pt x="645" y="636"/>
                  <a:pt x="647" y="635"/>
                </a:cubicBezTo>
                <a:cubicBezTo>
                  <a:pt x="648" y="635"/>
                  <a:pt x="649" y="634"/>
                  <a:pt x="650" y="634"/>
                </a:cubicBezTo>
                <a:cubicBezTo>
                  <a:pt x="651" y="634"/>
                  <a:pt x="651" y="632"/>
                  <a:pt x="652" y="632"/>
                </a:cubicBezTo>
                <a:cubicBezTo>
                  <a:pt x="653" y="631"/>
                  <a:pt x="654" y="632"/>
                  <a:pt x="655" y="632"/>
                </a:cubicBezTo>
                <a:cubicBezTo>
                  <a:pt x="656" y="633"/>
                  <a:pt x="656" y="633"/>
                  <a:pt x="657" y="632"/>
                </a:cubicBezTo>
                <a:cubicBezTo>
                  <a:pt x="658" y="631"/>
                  <a:pt x="658" y="630"/>
                  <a:pt x="659" y="629"/>
                </a:cubicBezTo>
                <a:cubicBezTo>
                  <a:pt x="660" y="627"/>
                  <a:pt x="660" y="629"/>
                  <a:pt x="661" y="630"/>
                </a:cubicBezTo>
                <a:cubicBezTo>
                  <a:pt x="662" y="630"/>
                  <a:pt x="663" y="630"/>
                  <a:pt x="664" y="630"/>
                </a:cubicBezTo>
                <a:cubicBezTo>
                  <a:pt x="666" y="629"/>
                  <a:pt x="667" y="629"/>
                  <a:pt x="668" y="629"/>
                </a:cubicBezTo>
                <a:cubicBezTo>
                  <a:pt x="669" y="629"/>
                  <a:pt x="670" y="629"/>
                  <a:pt x="671" y="628"/>
                </a:cubicBezTo>
                <a:cubicBezTo>
                  <a:pt x="672" y="627"/>
                  <a:pt x="673" y="627"/>
                  <a:pt x="674" y="628"/>
                </a:cubicBezTo>
                <a:cubicBezTo>
                  <a:pt x="677" y="628"/>
                  <a:pt x="679" y="627"/>
                  <a:pt x="679" y="624"/>
                </a:cubicBezTo>
                <a:cubicBezTo>
                  <a:pt x="680" y="622"/>
                  <a:pt x="679" y="619"/>
                  <a:pt x="678" y="617"/>
                </a:cubicBezTo>
                <a:cubicBezTo>
                  <a:pt x="677" y="615"/>
                  <a:pt x="675" y="612"/>
                  <a:pt x="677" y="610"/>
                </a:cubicBezTo>
                <a:cubicBezTo>
                  <a:pt x="678" y="609"/>
                  <a:pt x="682" y="608"/>
                  <a:pt x="683" y="609"/>
                </a:cubicBezTo>
                <a:cubicBezTo>
                  <a:pt x="686" y="610"/>
                  <a:pt x="682" y="611"/>
                  <a:pt x="681" y="612"/>
                </a:cubicBezTo>
                <a:cubicBezTo>
                  <a:pt x="679" y="613"/>
                  <a:pt x="682" y="616"/>
                  <a:pt x="683" y="617"/>
                </a:cubicBezTo>
                <a:cubicBezTo>
                  <a:pt x="684" y="618"/>
                  <a:pt x="685" y="618"/>
                  <a:pt x="686" y="619"/>
                </a:cubicBezTo>
                <a:cubicBezTo>
                  <a:pt x="687" y="620"/>
                  <a:pt x="687" y="621"/>
                  <a:pt x="688" y="622"/>
                </a:cubicBezTo>
                <a:cubicBezTo>
                  <a:pt x="689" y="622"/>
                  <a:pt x="690" y="623"/>
                  <a:pt x="691" y="622"/>
                </a:cubicBezTo>
                <a:cubicBezTo>
                  <a:pt x="692" y="622"/>
                  <a:pt x="692" y="621"/>
                  <a:pt x="693" y="621"/>
                </a:cubicBezTo>
                <a:cubicBezTo>
                  <a:pt x="696" y="620"/>
                  <a:pt x="696" y="620"/>
                  <a:pt x="696" y="617"/>
                </a:cubicBezTo>
                <a:cubicBezTo>
                  <a:pt x="695" y="616"/>
                  <a:pt x="698" y="613"/>
                  <a:pt x="700" y="614"/>
                </a:cubicBezTo>
                <a:cubicBezTo>
                  <a:pt x="701" y="614"/>
                  <a:pt x="699" y="617"/>
                  <a:pt x="700" y="618"/>
                </a:cubicBezTo>
                <a:cubicBezTo>
                  <a:pt x="702" y="619"/>
                  <a:pt x="704" y="618"/>
                  <a:pt x="705" y="616"/>
                </a:cubicBezTo>
                <a:cubicBezTo>
                  <a:pt x="705" y="615"/>
                  <a:pt x="706" y="614"/>
                  <a:pt x="707" y="614"/>
                </a:cubicBezTo>
                <a:cubicBezTo>
                  <a:pt x="708" y="613"/>
                  <a:pt x="709" y="613"/>
                  <a:pt x="709" y="615"/>
                </a:cubicBezTo>
                <a:cubicBezTo>
                  <a:pt x="710" y="615"/>
                  <a:pt x="709" y="617"/>
                  <a:pt x="711" y="617"/>
                </a:cubicBezTo>
                <a:cubicBezTo>
                  <a:pt x="711" y="617"/>
                  <a:pt x="712" y="616"/>
                  <a:pt x="712" y="615"/>
                </a:cubicBezTo>
                <a:cubicBezTo>
                  <a:pt x="712" y="614"/>
                  <a:pt x="711" y="611"/>
                  <a:pt x="714" y="612"/>
                </a:cubicBezTo>
                <a:cubicBezTo>
                  <a:pt x="716" y="612"/>
                  <a:pt x="716" y="615"/>
                  <a:pt x="717" y="615"/>
                </a:cubicBezTo>
                <a:cubicBezTo>
                  <a:pt x="718" y="615"/>
                  <a:pt x="719" y="614"/>
                  <a:pt x="720" y="613"/>
                </a:cubicBezTo>
                <a:cubicBezTo>
                  <a:pt x="720" y="612"/>
                  <a:pt x="721" y="612"/>
                  <a:pt x="722" y="612"/>
                </a:cubicBezTo>
                <a:cubicBezTo>
                  <a:pt x="724" y="612"/>
                  <a:pt x="726" y="612"/>
                  <a:pt x="727" y="612"/>
                </a:cubicBezTo>
                <a:cubicBezTo>
                  <a:pt x="728" y="611"/>
                  <a:pt x="729" y="611"/>
                  <a:pt x="729" y="610"/>
                </a:cubicBezTo>
                <a:cubicBezTo>
                  <a:pt x="729" y="610"/>
                  <a:pt x="730" y="609"/>
                  <a:pt x="730" y="609"/>
                </a:cubicBezTo>
                <a:cubicBezTo>
                  <a:pt x="730" y="608"/>
                  <a:pt x="731" y="608"/>
                  <a:pt x="731" y="607"/>
                </a:cubicBezTo>
                <a:cubicBezTo>
                  <a:pt x="732" y="606"/>
                  <a:pt x="731" y="605"/>
                  <a:pt x="732" y="604"/>
                </a:cubicBezTo>
                <a:cubicBezTo>
                  <a:pt x="733" y="604"/>
                  <a:pt x="734" y="604"/>
                  <a:pt x="734" y="603"/>
                </a:cubicBezTo>
                <a:cubicBezTo>
                  <a:pt x="735" y="602"/>
                  <a:pt x="736" y="601"/>
                  <a:pt x="737" y="600"/>
                </a:cubicBezTo>
                <a:cubicBezTo>
                  <a:pt x="739" y="599"/>
                  <a:pt x="739" y="602"/>
                  <a:pt x="741" y="601"/>
                </a:cubicBezTo>
                <a:cubicBezTo>
                  <a:pt x="741" y="600"/>
                  <a:pt x="741" y="599"/>
                  <a:pt x="742" y="599"/>
                </a:cubicBezTo>
                <a:cubicBezTo>
                  <a:pt x="743" y="598"/>
                  <a:pt x="744" y="598"/>
                  <a:pt x="744" y="597"/>
                </a:cubicBezTo>
                <a:cubicBezTo>
                  <a:pt x="745" y="596"/>
                  <a:pt x="744" y="593"/>
                  <a:pt x="747" y="594"/>
                </a:cubicBezTo>
                <a:cubicBezTo>
                  <a:pt x="747" y="594"/>
                  <a:pt x="748" y="595"/>
                  <a:pt x="749" y="595"/>
                </a:cubicBezTo>
                <a:cubicBezTo>
                  <a:pt x="750" y="596"/>
                  <a:pt x="751" y="594"/>
                  <a:pt x="751" y="594"/>
                </a:cubicBezTo>
                <a:cubicBezTo>
                  <a:pt x="752" y="593"/>
                  <a:pt x="752" y="592"/>
                  <a:pt x="753" y="591"/>
                </a:cubicBezTo>
                <a:cubicBezTo>
                  <a:pt x="754" y="591"/>
                  <a:pt x="755" y="591"/>
                  <a:pt x="755" y="590"/>
                </a:cubicBezTo>
                <a:cubicBezTo>
                  <a:pt x="756" y="590"/>
                  <a:pt x="756" y="589"/>
                  <a:pt x="756" y="588"/>
                </a:cubicBezTo>
                <a:cubicBezTo>
                  <a:pt x="755" y="587"/>
                  <a:pt x="754" y="587"/>
                  <a:pt x="753" y="587"/>
                </a:cubicBezTo>
                <a:cubicBezTo>
                  <a:pt x="751" y="586"/>
                  <a:pt x="750" y="583"/>
                  <a:pt x="753" y="584"/>
                </a:cubicBezTo>
                <a:cubicBezTo>
                  <a:pt x="754" y="584"/>
                  <a:pt x="755" y="584"/>
                  <a:pt x="756" y="583"/>
                </a:cubicBezTo>
                <a:cubicBezTo>
                  <a:pt x="756" y="582"/>
                  <a:pt x="757" y="582"/>
                  <a:pt x="757" y="582"/>
                </a:cubicBezTo>
                <a:cubicBezTo>
                  <a:pt x="758" y="581"/>
                  <a:pt x="759" y="582"/>
                  <a:pt x="759" y="582"/>
                </a:cubicBezTo>
                <a:cubicBezTo>
                  <a:pt x="761" y="583"/>
                  <a:pt x="763" y="579"/>
                  <a:pt x="764" y="582"/>
                </a:cubicBezTo>
                <a:cubicBezTo>
                  <a:pt x="765" y="584"/>
                  <a:pt x="767" y="581"/>
                  <a:pt x="767" y="580"/>
                </a:cubicBezTo>
                <a:cubicBezTo>
                  <a:pt x="767" y="577"/>
                  <a:pt x="769" y="578"/>
                  <a:pt x="771" y="576"/>
                </a:cubicBezTo>
                <a:cubicBezTo>
                  <a:pt x="771" y="575"/>
                  <a:pt x="771" y="574"/>
                  <a:pt x="771" y="574"/>
                </a:cubicBezTo>
                <a:cubicBezTo>
                  <a:pt x="771" y="572"/>
                  <a:pt x="772" y="571"/>
                  <a:pt x="773" y="571"/>
                </a:cubicBezTo>
                <a:cubicBezTo>
                  <a:pt x="774" y="570"/>
                  <a:pt x="775" y="570"/>
                  <a:pt x="776" y="569"/>
                </a:cubicBezTo>
                <a:cubicBezTo>
                  <a:pt x="776" y="568"/>
                  <a:pt x="776" y="567"/>
                  <a:pt x="777" y="566"/>
                </a:cubicBezTo>
                <a:cubicBezTo>
                  <a:pt x="777" y="565"/>
                  <a:pt x="779" y="565"/>
                  <a:pt x="779" y="564"/>
                </a:cubicBezTo>
                <a:cubicBezTo>
                  <a:pt x="780" y="563"/>
                  <a:pt x="780" y="562"/>
                  <a:pt x="781" y="561"/>
                </a:cubicBezTo>
                <a:cubicBezTo>
                  <a:pt x="782" y="560"/>
                  <a:pt x="784" y="558"/>
                  <a:pt x="782" y="557"/>
                </a:cubicBezTo>
                <a:cubicBezTo>
                  <a:pt x="781" y="556"/>
                  <a:pt x="780" y="557"/>
                  <a:pt x="780" y="557"/>
                </a:cubicBezTo>
                <a:cubicBezTo>
                  <a:pt x="778" y="558"/>
                  <a:pt x="777" y="558"/>
                  <a:pt x="776" y="557"/>
                </a:cubicBezTo>
                <a:cubicBezTo>
                  <a:pt x="775" y="557"/>
                  <a:pt x="774" y="556"/>
                  <a:pt x="775" y="555"/>
                </a:cubicBezTo>
                <a:cubicBezTo>
                  <a:pt x="776" y="554"/>
                  <a:pt x="777" y="555"/>
                  <a:pt x="778" y="555"/>
                </a:cubicBezTo>
                <a:cubicBezTo>
                  <a:pt x="779" y="556"/>
                  <a:pt x="780" y="556"/>
                  <a:pt x="781" y="555"/>
                </a:cubicBezTo>
                <a:cubicBezTo>
                  <a:pt x="782" y="554"/>
                  <a:pt x="781" y="553"/>
                  <a:pt x="783" y="553"/>
                </a:cubicBezTo>
                <a:cubicBezTo>
                  <a:pt x="786" y="552"/>
                  <a:pt x="783" y="550"/>
                  <a:pt x="783" y="549"/>
                </a:cubicBezTo>
                <a:cubicBezTo>
                  <a:pt x="783" y="548"/>
                  <a:pt x="784" y="548"/>
                  <a:pt x="784" y="547"/>
                </a:cubicBezTo>
                <a:cubicBezTo>
                  <a:pt x="785" y="546"/>
                  <a:pt x="783" y="546"/>
                  <a:pt x="782" y="545"/>
                </a:cubicBezTo>
                <a:cubicBezTo>
                  <a:pt x="782" y="545"/>
                  <a:pt x="781" y="544"/>
                  <a:pt x="781" y="543"/>
                </a:cubicBezTo>
                <a:cubicBezTo>
                  <a:pt x="781" y="542"/>
                  <a:pt x="783" y="542"/>
                  <a:pt x="784" y="542"/>
                </a:cubicBezTo>
                <a:cubicBezTo>
                  <a:pt x="785" y="542"/>
                  <a:pt x="786" y="542"/>
                  <a:pt x="787" y="543"/>
                </a:cubicBezTo>
                <a:cubicBezTo>
                  <a:pt x="787" y="543"/>
                  <a:pt x="789" y="544"/>
                  <a:pt x="789" y="543"/>
                </a:cubicBezTo>
                <a:cubicBezTo>
                  <a:pt x="790" y="543"/>
                  <a:pt x="789" y="542"/>
                  <a:pt x="789" y="541"/>
                </a:cubicBezTo>
                <a:cubicBezTo>
                  <a:pt x="790" y="540"/>
                  <a:pt x="791" y="540"/>
                  <a:pt x="791" y="539"/>
                </a:cubicBezTo>
                <a:cubicBezTo>
                  <a:pt x="792" y="539"/>
                  <a:pt x="794" y="538"/>
                  <a:pt x="794" y="537"/>
                </a:cubicBezTo>
                <a:cubicBezTo>
                  <a:pt x="794" y="535"/>
                  <a:pt x="793" y="535"/>
                  <a:pt x="792" y="534"/>
                </a:cubicBezTo>
                <a:cubicBezTo>
                  <a:pt x="791" y="533"/>
                  <a:pt x="792" y="533"/>
                  <a:pt x="793" y="532"/>
                </a:cubicBezTo>
                <a:cubicBezTo>
                  <a:pt x="794" y="532"/>
                  <a:pt x="794" y="532"/>
                  <a:pt x="795" y="533"/>
                </a:cubicBezTo>
                <a:cubicBezTo>
                  <a:pt x="797" y="536"/>
                  <a:pt x="799" y="532"/>
                  <a:pt x="799" y="530"/>
                </a:cubicBezTo>
                <a:cubicBezTo>
                  <a:pt x="800" y="529"/>
                  <a:pt x="800" y="528"/>
                  <a:pt x="800" y="527"/>
                </a:cubicBezTo>
                <a:cubicBezTo>
                  <a:pt x="800" y="526"/>
                  <a:pt x="801" y="525"/>
                  <a:pt x="801" y="524"/>
                </a:cubicBezTo>
                <a:cubicBezTo>
                  <a:pt x="801" y="521"/>
                  <a:pt x="799" y="520"/>
                  <a:pt x="798" y="518"/>
                </a:cubicBezTo>
                <a:cubicBezTo>
                  <a:pt x="798" y="515"/>
                  <a:pt x="801" y="519"/>
                  <a:pt x="802" y="519"/>
                </a:cubicBezTo>
                <a:cubicBezTo>
                  <a:pt x="804" y="520"/>
                  <a:pt x="805" y="517"/>
                  <a:pt x="806" y="516"/>
                </a:cubicBezTo>
                <a:cubicBezTo>
                  <a:pt x="807" y="514"/>
                  <a:pt x="809" y="512"/>
                  <a:pt x="810" y="515"/>
                </a:cubicBezTo>
                <a:cubicBezTo>
                  <a:pt x="811" y="515"/>
                  <a:pt x="811" y="516"/>
                  <a:pt x="812" y="517"/>
                </a:cubicBezTo>
                <a:cubicBezTo>
                  <a:pt x="813" y="517"/>
                  <a:pt x="814" y="516"/>
                  <a:pt x="815" y="515"/>
                </a:cubicBezTo>
                <a:cubicBezTo>
                  <a:pt x="817" y="515"/>
                  <a:pt x="817" y="512"/>
                  <a:pt x="816" y="511"/>
                </a:cubicBezTo>
                <a:cubicBezTo>
                  <a:pt x="814" y="509"/>
                  <a:pt x="811" y="508"/>
                  <a:pt x="809" y="507"/>
                </a:cubicBezTo>
                <a:cubicBezTo>
                  <a:pt x="809" y="506"/>
                  <a:pt x="808" y="506"/>
                  <a:pt x="808" y="505"/>
                </a:cubicBezTo>
                <a:cubicBezTo>
                  <a:pt x="809" y="504"/>
                  <a:pt x="810" y="504"/>
                  <a:pt x="810" y="505"/>
                </a:cubicBezTo>
                <a:cubicBezTo>
                  <a:pt x="811" y="506"/>
                  <a:pt x="813" y="508"/>
                  <a:pt x="815" y="506"/>
                </a:cubicBezTo>
                <a:cubicBezTo>
                  <a:pt x="816" y="506"/>
                  <a:pt x="815" y="505"/>
                  <a:pt x="815" y="504"/>
                </a:cubicBezTo>
                <a:cubicBezTo>
                  <a:pt x="816" y="503"/>
                  <a:pt x="817" y="503"/>
                  <a:pt x="816" y="502"/>
                </a:cubicBezTo>
                <a:cubicBezTo>
                  <a:pt x="816" y="501"/>
                  <a:pt x="813" y="500"/>
                  <a:pt x="814" y="499"/>
                </a:cubicBezTo>
                <a:cubicBezTo>
                  <a:pt x="814" y="498"/>
                  <a:pt x="815" y="497"/>
                  <a:pt x="816" y="497"/>
                </a:cubicBezTo>
                <a:cubicBezTo>
                  <a:pt x="817" y="497"/>
                  <a:pt x="818" y="498"/>
                  <a:pt x="819" y="497"/>
                </a:cubicBezTo>
                <a:cubicBezTo>
                  <a:pt x="820" y="496"/>
                  <a:pt x="820" y="496"/>
                  <a:pt x="821" y="496"/>
                </a:cubicBezTo>
                <a:cubicBezTo>
                  <a:pt x="822" y="496"/>
                  <a:pt x="822" y="495"/>
                  <a:pt x="822" y="494"/>
                </a:cubicBezTo>
                <a:cubicBezTo>
                  <a:pt x="821" y="492"/>
                  <a:pt x="819" y="494"/>
                  <a:pt x="817" y="494"/>
                </a:cubicBezTo>
                <a:cubicBezTo>
                  <a:pt x="817" y="494"/>
                  <a:pt x="814" y="494"/>
                  <a:pt x="814" y="493"/>
                </a:cubicBezTo>
                <a:cubicBezTo>
                  <a:pt x="814" y="492"/>
                  <a:pt x="817" y="491"/>
                  <a:pt x="818" y="491"/>
                </a:cubicBezTo>
                <a:cubicBezTo>
                  <a:pt x="819" y="490"/>
                  <a:pt x="820" y="489"/>
                  <a:pt x="821" y="488"/>
                </a:cubicBezTo>
                <a:cubicBezTo>
                  <a:pt x="822" y="488"/>
                  <a:pt x="824" y="488"/>
                  <a:pt x="824" y="486"/>
                </a:cubicBezTo>
                <a:cubicBezTo>
                  <a:pt x="826" y="484"/>
                  <a:pt x="825" y="484"/>
                  <a:pt x="823" y="484"/>
                </a:cubicBezTo>
                <a:cubicBezTo>
                  <a:pt x="822" y="484"/>
                  <a:pt x="821" y="483"/>
                  <a:pt x="820" y="483"/>
                </a:cubicBezTo>
                <a:cubicBezTo>
                  <a:pt x="819" y="483"/>
                  <a:pt x="817" y="483"/>
                  <a:pt x="816" y="483"/>
                </a:cubicBezTo>
                <a:cubicBezTo>
                  <a:pt x="815" y="482"/>
                  <a:pt x="814" y="480"/>
                  <a:pt x="812" y="479"/>
                </a:cubicBezTo>
                <a:cubicBezTo>
                  <a:pt x="810" y="477"/>
                  <a:pt x="808" y="478"/>
                  <a:pt x="806" y="479"/>
                </a:cubicBezTo>
                <a:cubicBezTo>
                  <a:pt x="804" y="480"/>
                  <a:pt x="801" y="482"/>
                  <a:pt x="800" y="480"/>
                </a:cubicBezTo>
                <a:cubicBezTo>
                  <a:pt x="799" y="479"/>
                  <a:pt x="799" y="478"/>
                  <a:pt x="798" y="478"/>
                </a:cubicBezTo>
                <a:cubicBezTo>
                  <a:pt x="797" y="478"/>
                  <a:pt x="795" y="479"/>
                  <a:pt x="794" y="479"/>
                </a:cubicBezTo>
                <a:cubicBezTo>
                  <a:pt x="793" y="480"/>
                  <a:pt x="791" y="480"/>
                  <a:pt x="792" y="478"/>
                </a:cubicBezTo>
                <a:cubicBezTo>
                  <a:pt x="794" y="476"/>
                  <a:pt x="796" y="476"/>
                  <a:pt x="798" y="476"/>
                </a:cubicBezTo>
                <a:cubicBezTo>
                  <a:pt x="801" y="477"/>
                  <a:pt x="803" y="477"/>
                  <a:pt x="805" y="475"/>
                </a:cubicBezTo>
                <a:cubicBezTo>
                  <a:pt x="807" y="473"/>
                  <a:pt x="809" y="471"/>
                  <a:pt x="811" y="470"/>
                </a:cubicBezTo>
                <a:cubicBezTo>
                  <a:pt x="815" y="468"/>
                  <a:pt x="822" y="467"/>
                  <a:pt x="819" y="461"/>
                </a:cubicBezTo>
                <a:cubicBezTo>
                  <a:pt x="817" y="459"/>
                  <a:pt x="815" y="457"/>
                  <a:pt x="813" y="456"/>
                </a:cubicBezTo>
                <a:cubicBezTo>
                  <a:pt x="811" y="454"/>
                  <a:pt x="808" y="453"/>
                  <a:pt x="806" y="452"/>
                </a:cubicBezTo>
                <a:cubicBezTo>
                  <a:pt x="804" y="451"/>
                  <a:pt x="803" y="449"/>
                  <a:pt x="802" y="448"/>
                </a:cubicBezTo>
                <a:cubicBezTo>
                  <a:pt x="800" y="446"/>
                  <a:pt x="797" y="446"/>
                  <a:pt x="795" y="447"/>
                </a:cubicBezTo>
                <a:cubicBezTo>
                  <a:pt x="792" y="448"/>
                  <a:pt x="790" y="448"/>
                  <a:pt x="788" y="447"/>
                </a:cubicBezTo>
                <a:cubicBezTo>
                  <a:pt x="787" y="446"/>
                  <a:pt x="786" y="445"/>
                  <a:pt x="785" y="445"/>
                </a:cubicBezTo>
                <a:cubicBezTo>
                  <a:pt x="784" y="444"/>
                  <a:pt x="783" y="444"/>
                  <a:pt x="782" y="443"/>
                </a:cubicBezTo>
                <a:cubicBezTo>
                  <a:pt x="782" y="442"/>
                  <a:pt x="782" y="439"/>
                  <a:pt x="784" y="439"/>
                </a:cubicBezTo>
                <a:cubicBezTo>
                  <a:pt x="785" y="440"/>
                  <a:pt x="787" y="441"/>
                  <a:pt x="788" y="443"/>
                </a:cubicBezTo>
                <a:cubicBezTo>
                  <a:pt x="790" y="445"/>
                  <a:pt x="791" y="446"/>
                  <a:pt x="793" y="445"/>
                </a:cubicBezTo>
                <a:cubicBezTo>
                  <a:pt x="795" y="444"/>
                  <a:pt x="798" y="444"/>
                  <a:pt x="800" y="445"/>
                </a:cubicBezTo>
                <a:cubicBezTo>
                  <a:pt x="802" y="445"/>
                  <a:pt x="803" y="447"/>
                  <a:pt x="805" y="448"/>
                </a:cubicBezTo>
                <a:cubicBezTo>
                  <a:pt x="808" y="449"/>
                  <a:pt x="811" y="449"/>
                  <a:pt x="814" y="449"/>
                </a:cubicBezTo>
                <a:cubicBezTo>
                  <a:pt x="815" y="449"/>
                  <a:pt x="816" y="449"/>
                  <a:pt x="817" y="450"/>
                </a:cubicBezTo>
                <a:cubicBezTo>
                  <a:pt x="817" y="451"/>
                  <a:pt x="819" y="452"/>
                  <a:pt x="820" y="451"/>
                </a:cubicBezTo>
                <a:cubicBezTo>
                  <a:pt x="821" y="451"/>
                  <a:pt x="819" y="448"/>
                  <a:pt x="818" y="447"/>
                </a:cubicBezTo>
                <a:cubicBezTo>
                  <a:pt x="817" y="446"/>
                  <a:pt x="817" y="444"/>
                  <a:pt x="815" y="443"/>
                </a:cubicBezTo>
                <a:cubicBezTo>
                  <a:pt x="812" y="443"/>
                  <a:pt x="812" y="441"/>
                  <a:pt x="811" y="438"/>
                </a:cubicBezTo>
                <a:cubicBezTo>
                  <a:pt x="810" y="436"/>
                  <a:pt x="809" y="436"/>
                  <a:pt x="807" y="435"/>
                </a:cubicBezTo>
                <a:cubicBezTo>
                  <a:pt x="804" y="435"/>
                  <a:pt x="804" y="432"/>
                  <a:pt x="803" y="429"/>
                </a:cubicBezTo>
                <a:cubicBezTo>
                  <a:pt x="803" y="426"/>
                  <a:pt x="803" y="424"/>
                  <a:pt x="802" y="421"/>
                </a:cubicBezTo>
                <a:cubicBezTo>
                  <a:pt x="801" y="418"/>
                  <a:pt x="799" y="416"/>
                  <a:pt x="798" y="413"/>
                </a:cubicBezTo>
                <a:cubicBezTo>
                  <a:pt x="797" y="408"/>
                  <a:pt x="795" y="403"/>
                  <a:pt x="790" y="401"/>
                </a:cubicBezTo>
                <a:cubicBezTo>
                  <a:pt x="787" y="400"/>
                  <a:pt x="785" y="400"/>
                  <a:pt x="783" y="398"/>
                </a:cubicBezTo>
                <a:cubicBezTo>
                  <a:pt x="782" y="397"/>
                  <a:pt x="781" y="396"/>
                  <a:pt x="780" y="395"/>
                </a:cubicBezTo>
                <a:cubicBezTo>
                  <a:pt x="779" y="394"/>
                  <a:pt x="777" y="395"/>
                  <a:pt x="776" y="394"/>
                </a:cubicBezTo>
                <a:cubicBezTo>
                  <a:pt x="775" y="393"/>
                  <a:pt x="775" y="390"/>
                  <a:pt x="775" y="389"/>
                </a:cubicBezTo>
                <a:cubicBezTo>
                  <a:pt x="776" y="388"/>
                  <a:pt x="776" y="387"/>
                  <a:pt x="777" y="387"/>
                </a:cubicBezTo>
                <a:cubicBezTo>
                  <a:pt x="778" y="386"/>
                  <a:pt x="779" y="385"/>
                  <a:pt x="780" y="384"/>
                </a:cubicBezTo>
                <a:cubicBezTo>
                  <a:pt x="781" y="382"/>
                  <a:pt x="782" y="378"/>
                  <a:pt x="784" y="377"/>
                </a:cubicBezTo>
                <a:cubicBezTo>
                  <a:pt x="785" y="377"/>
                  <a:pt x="786" y="377"/>
                  <a:pt x="787" y="376"/>
                </a:cubicBezTo>
                <a:cubicBezTo>
                  <a:pt x="788" y="376"/>
                  <a:pt x="788" y="375"/>
                  <a:pt x="788" y="374"/>
                </a:cubicBezTo>
                <a:cubicBezTo>
                  <a:pt x="789" y="373"/>
                  <a:pt x="790" y="372"/>
                  <a:pt x="791" y="372"/>
                </a:cubicBezTo>
                <a:cubicBezTo>
                  <a:pt x="791" y="372"/>
                  <a:pt x="793" y="371"/>
                  <a:pt x="793" y="370"/>
                </a:cubicBezTo>
                <a:cubicBezTo>
                  <a:pt x="794" y="368"/>
                  <a:pt x="789" y="368"/>
                  <a:pt x="790" y="366"/>
                </a:cubicBezTo>
                <a:cubicBezTo>
                  <a:pt x="791" y="364"/>
                  <a:pt x="794" y="363"/>
                  <a:pt x="795" y="365"/>
                </a:cubicBezTo>
                <a:cubicBezTo>
                  <a:pt x="795" y="366"/>
                  <a:pt x="795" y="368"/>
                  <a:pt x="796" y="368"/>
                </a:cubicBezTo>
                <a:cubicBezTo>
                  <a:pt x="797" y="368"/>
                  <a:pt x="798" y="368"/>
                  <a:pt x="799" y="367"/>
                </a:cubicBezTo>
                <a:cubicBezTo>
                  <a:pt x="802" y="367"/>
                  <a:pt x="801" y="365"/>
                  <a:pt x="801" y="363"/>
                </a:cubicBezTo>
                <a:cubicBezTo>
                  <a:pt x="801" y="361"/>
                  <a:pt x="804" y="362"/>
                  <a:pt x="805" y="360"/>
                </a:cubicBezTo>
                <a:cubicBezTo>
                  <a:pt x="805" y="358"/>
                  <a:pt x="802" y="359"/>
                  <a:pt x="803" y="357"/>
                </a:cubicBezTo>
                <a:cubicBezTo>
                  <a:pt x="803" y="356"/>
                  <a:pt x="807" y="356"/>
                  <a:pt x="808" y="356"/>
                </a:cubicBezTo>
                <a:cubicBezTo>
                  <a:pt x="811" y="355"/>
                  <a:pt x="813" y="354"/>
                  <a:pt x="815" y="353"/>
                </a:cubicBezTo>
                <a:cubicBezTo>
                  <a:pt x="818" y="352"/>
                  <a:pt x="821" y="352"/>
                  <a:pt x="824" y="350"/>
                </a:cubicBezTo>
                <a:cubicBezTo>
                  <a:pt x="824" y="350"/>
                  <a:pt x="826" y="349"/>
                  <a:pt x="826" y="350"/>
                </a:cubicBezTo>
                <a:cubicBezTo>
                  <a:pt x="827" y="351"/>
                  <a:pt x="827" y="351"/>
                  <a:pt x="828" y="352"/>
                </a:cubicBezTo>
                <a:cubicBezTo>
                  <a:pt x="829" y="352"/>
                  <a:pt x="830" y="352"/>
                  <a:pt x="831" y="351"/>
                </a:cubicBezTo>
                <a:cubicBezTo>
                  <a:pt x="832" y="350"/>
                  <a:pt x="831" y="349"/>
                  <a:pt x="831" y="348"/>
                </a:cubicBezTo>
                <a:cubicBezTo>
                  <a:pt x="831" y="346"/>
                  <a:pt x="833" y="345"/>
                  <a:pt x="833" y="343"/>
                </a:cubicBezTo>
                <a:cubicBezTo>
                  <a:pt x="834" y="340"/>
                  <a:pt x="830" y="341"/>
                  <a:pt x="829" y="341"/>
                </a:cubicBezTo>
                <a:cubicBezTo>
                  <a:pt x="826" y="341"/>
                  <a:pt x="825" y="338"/>
                  <a:pt x="823" y="340"/>
                </a:cubicBezTo>
                <a:cubicBezTo>
                  <a:pt x="821" y="342"/>
                  <a:pt x="818" y="341"/>
                  <a:pt x="816" y="341"/>
                </a:cubicBezTo>
                <a:cubicBezTo>
                  <a:pt x="813" y="341"/>
                  <a:pt x="811" y="339"/>
                  <a:pt x="809" y="337"/>
                </a:cubicBezTo>
                <a:cubicBezTo>
                  <a:pt x="807" y="336"/>
                  <a:pt x="805" y="335"/>
                  <a:pt x="802" y="334"/>
                </a:cubicBezTo>
                <a:cubicBezTo>
                  <a:pt x="800" y="333"/>
                  <a:pt x="799" y="335"/>
                  <a:pt x="796" y="335"/>
                </a:cubicBezTo>
                <a:cubicBezTo>
                  <a:pt x="795" y="336"/>
                  <a:pt x="794" y="336"/>
                  <a:pt x="793" y="337"/>
                </a:cubicBezTo>
                <a:cubicBezTo>
                  <a:pt x="792" y="337"/>
                  <a:pt x="793" y="339"/>
                  <a:pt x="792" y="340"/>
                </a:cubicBezTo>
                <a:cubicBezTo>
                  <a:pt x="792" y="342"/>
                  <a:pt x="789" y="341"/>
                  <a:pt x="788" y="342"/>
                </a:cubicBezTo>
                <a:cubicBezTo>
                  <a:pt x="785" y="344"/>
                  <a:pt x="784" y="347"/>
                  <a:pt x="781" y="347"/>
                </a:cubicBezTo>
                <a:cubicBezTo>
                  <a:pt x="779" y="347"/>
                  <a:pt x="777" y="345"/>
                  <a:pt x="775" y="345"/>
                </a:cubicBezTo>
                <a:cubicBezTo>
                  <a:pt x="773" y="344"/>
                  <a:pt x="772" y="343"/>
                  <a:pt x="772" y="341"/>
                </a:cubicBezTo>
                <a:cubicBezTo>
                  <a:pt x="771" y="339"/>
                  <a:pt x="773" y="336"/>
                  <a:pt x="773" y="334"/>
                </a:cubicBezTo>
                <a:cubicBezTo>
                  <a:pt x="773" y="331"/>
                  <a:pt x="772" y="328"/>
                  <a:pt x="770" y="327"/>
                </a:cubicBezTo>
                <a:cubicBezTo>
                  <a:pt x="767" y="326"/>
                  <a:pt x="766" y="329"/>
                  <a:pt x="764" y="330"/>
                </a:cubicBezTo>
                <a:cubicBezTo>
                  <a:pt x="763" y="330"/>
                  <a:pt x="763" y="330"/>
                  <a:pt x="762" y="329"/>
                </a:cubicBezTo>
                <a:cubicBezTo>
                  <a:pt x="762" y="327"/>
                  <a:pt x="761" y="327"/>
                  <a:pt x="760" y="327"/>
                </a:cubicBezTo>
                <a:cubicBezTo>
                  <a:pt x="754" y="327"/>
                  <a:pt x="750" y="324"/>
                  <a:pt x="748" y="319"/>
                </a:cubicBezTo>
                <a:cubicBezTo>
                  <a:pt x="747" y="316"/>
                  <a:pt x="748" y="314"/>
                  <a:pt x="749" y="312"/>
                </a:cubicBezTo>
                <a:cubicBezTo>
                  <a:pt x="750" y="310"/>
                  <a:pt x="751" y="308"/>
                  <a:pt x="753" y="307"/>
                </a:cubicBezTo>
                <a:cubicBezTo>
                  <a:pt x="754" y="307"/>
                  <a:pt x="755" y="306"/>
                  <a:pt x="756" y="307"/>
                </a:cubicBezTo>
                <a:cubicBezTo>
                  <a:pt x="757" y="307"/>
                  <a:pt x="758" y="308"/>
                  <a:pt x="759" y="309"/>
                </a:cubicBezTo>
                <a:cubicBezTo>
                  <a:pt x="760" y="309"/>
                  <a:pt x="761" y="309"/>
                  <a:pt x="762" y="308"/>
                </a:cubicBezTo>
                <a:cubicBezTo>
                  <a:pt x="764" y="308"/>
                  <a:pt x="765" y="308"/>
                  <a:pt x="767" y="308"/>
                </a:cubicBezTo>
                <a:cubicBezTo>
                  <a:pt x="770" y="308"/>
                  <a:pt x="772" y="306"/>
                  <a:pt x="774" y="304"/>
                </a:cubicBezTo>
                <a:cubicBezTo>
                  <a:pt x="775" y="303"/>
                  <a:pt x="776" y="302"/>
                  <a:pt x="777" y="301"/>
                </a:cubicBezTo>
                <a:cubicBezTo>
                  <a:pt x="778" y="300"/>
                  <a:pt x="778" y="299"/>
                  <a:pt x="778" y="298"/>
                </a:cubicBezTo>
                <a:cubicBezTo>
                  <a:pt x="779" y="293"/>
                  <a:pt x="785" y="291"/>
                  <a:pt x="789" y="289"/>
                </a:cubicBezTo>
                <a:cubicBezTo>
                  <a:pt x="795" y="287"/>
                  <a:pt x="799" y="283"/>
                  <a:pt x="802" y="278"/>
                </a:cubicBezTo>
                <a:cubicBezTo>
                  <a:pt x="804" y="277"/>
                  <a:pt x="805" y="274"/>
                  <a:pt x="807" y="273"/>
                </a:cubicBezTo>
                <a:cubicBezTo>
                  <a:pt x="810" y="272"/>
                  <a:pt x="813" y="273"/>
                  <a:pt x="816" y="273"/>
                </a:cubicBezTo>
                <a:cubicBezTo>
                  <a:pt x="817" y="273"/>
                  <a:pt x="818" y="272"/>
                  <a:pt x="820" y="271"/>
                </a:cubicBezTo>
                <a:cubicBezTo>
                  <a:pt x="822" y="270"/>
                  <a:pt x="819" y="273"/>
                  <a:pt x="820" y="274"/>
                </a:cubicBezTo>
                <a:cubicBezTo>
                  <a:pt x="820" y="275"/>
                  <a:pt x="822" y="275"/>
                  <a:pt x="823" y="275"/>
                </a:cubicBezTo>
                <a:cubicBezTo>
                  <a:pt x="824" y="275"/>
                  <a:pt x="825" y="276"/>
                  <a:pt x="825" y="277"/>
                </a:cubicBezTo>
                <a:cubicBezTo>
                  <a:pt x="826" y="278"/>
                  <a:pt x="826" y="279"/>
                  <a:pt x="827" y="280"/>
                </a:cubicBezTo>
                <a:cubicBezTo>
                  <a:pt x="828" y="281"/>
                  <a:pt x="827" y="282"/>
                  <a:pt x="826" y="283"/>
                </a:cubicBezTo>
                <a:cubicBezTo>
                  <a:pt x="824" y="285"/>
                  <a:pt x="822" y="287"/>
                  <a:pt x="821" y="289"/>
                </a:cubicBezTo>
                <a:cubicBezTo>
                  <a:pt x="820" y="291"/>
                  <a:pt x="820" y="293"/>
                  <a:pt x="817" y="293"/>
                </a:cubicBezTo>
                <a:cubicBezTo>
                  <a:pt x="814" y="294"/>
                  <a:pt x="814" y="295"/>
                  <a:pt x="814" y="297"/>
                </a:cubicBezTo>
                <a:cubicBezTo>
                  <a:pt x="813" y="298"/>
                  <a:pt x="811" y="299"/>
                  <a:pt x="811" y="300"/>
                </a:cubicBezTo>
                <a:cubicBezTo>
                  <a:pt x="811" y="302"/>
                  <a:pt x="813" y="303"/>
                  <a:pt x="814" y="303"/>
                </a:cubicBezTo>
                <a:cubicBezTo>
                  <a:pt x="816" y="303"/>
                  <a:pt x="817" y="303"/>
                  <a:pt x="818" y="302"/>
                </a:cubicBezTo>
                <a:cubicBezTo>
                  <a:pt x="819" y="302"/>
                  <a:pt x="821" y="302"/>
                  <a:pt x="821" y="302"/>
                </a:cubicBezTo>
                <a:cubicBezTo>
                  <a:pt x="822" y="303"/>
                  <a:pt x="819" y="305"/>
                  <a:pt x="819" y="305"/>
                </a:cubicBezTo>
                <a:cubicBezTo>
                  <a:pt x="817" y="307"/>
                  <a:pt x="819" y="308"/>
                  <a:pt x="818" y="309"/>
                </a:cubicBezTo>
                <a:cubicBezTo>
                  <a:pt x="818" y="310"/>
                  <a:pt x="816" y="310"/>
                  <a:pt x="815" y="310"/>
                </a:cubicBezTo>
                <a:cubicBezTo>
                  <a:pt x="813" y="310"/>
                  <a:pt x="812" y="310"/>
                  <a:pt x="810" y="311"/>
                </a:cubicBezTo>
                <a:cubicBezTo>
                  <a:pt x="808" y="311"/>
                  <a:pt x="807" y="314"/>
                  <a:pt x="810" y="315"/>
                </a:cubicBezTo>
                <a:cubicBezTo>
                  <a:pt x="811" y="316"/>
                  <a:pt x="812" y="315"/>
                  <a:pt x="813" y="314"/>
                </a:cubicBezTo>
                <a:cubicBezTo>
                  <a:pt x="815" y="313"/>
                  <a:pt x="816" y="312"/>
                  <a:pt x="817" y="311"/>
                </a:cubicBezTo>
                <a:cubicBezTo>
                  <a:pt x="823" y="308"/>
                  <a:pt x="828" y="304"/>
                  <a:pt x="833" y="301"/>
                </a:cubicBezTo>
                <a:cubicBezTo>
                  <a:pt x="838" y="297"/>
                  <a:pt x="843" y="295"/>
                  <a:pt x="849" y="294"/>
                </a:cubicBezTo>
                <a:cubicBezTo>
                  <a:pt x="851" y="294"/>
                  <a:pt x="852" y="294"/>
                  <a:pt x="854" y="294"/>
                </a:cubicBezTo>
                <a:cubicBezTo>
                  <a:pt x="855" y="294"/>
                  <a:pt x="857" y="295"/>
                  <a:pt x="858" y="294"/>
                </a:cubicBezTo>
                <a:cubicBezTo>
                  <a:pt x="858" y="293"/>
                  <a:pt x="859" y="292"/>
                  <a:pt x="859" y="291"/>
                </a:cubicBezTo>
                <a:cubicBezTo>
                  <a:pt x="860" y="289"/>
                  <a:pt x="862" y="288"/>
                  <a:pt x="863" y="287"/>
                </a:cubicBezTo>
                <a:cubicBezTo>
                  <a:pt x="867" y="284"/>
                  <a:pt x="873" y="281"/>
                  <a:pt x="878" y="278"/>
                </a:cubicBezTo>
                <a:cubicBezTo>
                  <a:pt x="880" y="277"/>
                  <a:pt x="882" y="275"/>
                  <a:pt x="884" y="273"/>
                </a:cubicBezTo>
                <a:cubicBezTo>
                  <a:pt x="886" y="271"/>
                  <a:pt x="888" y="272"/>
                  <a:pt x="890" y="271"/>
                </a:cubicBezTo>
                <a:cubicBezTo>
                  <a:pt x="892" y="270"/>
                  <a:pt x="894" y="267"/>
                  <a:pt x="895" y="265"/>
                </a:cubicBezTo>
                <a:cubicBezTo>
                  <a:pt x="897" y="263"/>
                  <a:pt x="898" y="261"/>
                  <a:pt x="900" y="258"/>
                </a:cubicBezTo>
                <a:cubicBezTo>
                  <a:pt x="903" y="254"/>
                  <a:pt x="907" y="252"/>
                  <a:pt x="910" y="256"/>
                </a:cubicBezTo>
                <a:cubicBezTo>
                  <a:pt x="912" y="258"/>
                  <a:pt x="913" y="260"/>
                  <a:pt x="915" y="260"/>
                </a:cubicBezTo>
                <a:cubicBezTo>
                  <a:pt x="918" y="261"/>
                  <a:pt x="920" y="261"/>
                  <a:pt x="923" y="261"/>
                </a:cubicBezTo>
                <a:cubicBezTo>
                  <a:pt x="924" y="261"/>
                  <a:pt x="927" y="262"/>
                  <a:pt x="928" y="260"/>
                </a:cubicBezTo>
                <a:cubicBezTo>
                  <a:pt x="929" y="258"/>
                  <a:pt x="929" y="256"/>
                  <a:pt x="927" y="254"/>
                </a:cubicBezTo>
                <a:cubicBezTo>
                  <a:pt x="926" y="253"/>
                  <a:pt x="924" y="250"/>
                  <a:pt x="926" y="249"/>
                </a:cubicBezTo>
                <a:cubicBezTo>
                  <a:pt x="927" y="248"/>
                  <a:pt x="928" y="248"/>
                  <a:pt x="929" y="248"/>
                </a:cubicBezTo>
                <a:cubicBezTo>
                  <a:pt x="931" y="248"/>
                  <a:pt x="933" y="247"/>
                  <a:pt x="934" y="247"/>
                </a:cubicBezTo>
                <a:cubicBezTo>
                  <a:pt x="936" y="247"/>
                  <a:pt x="937" y="247"/>
                  <a:pt x="939" y="247"/>
                </a:cubicBezTo>
                <a:cubicBezTo>
                  <a:pt x="940" y="247"/>
                  <a:pt x="942" y="247"/>
                  <a:pt x="943" y="246"/>
                </a:cubicBezTo>
                <a:cubicBezTo>
                  <a:pt x="944" y="244"/>
                  <a:pt x="945" y="241"/>
                  <a:pt x="947" y="240"/>
                </a:cubicBezTo>
                <a:cubicBezTo>
                  <a:pt x="948" y="239"/>
                  <a:pt x="950" y="239"/>
                  <a:pt x="951" y="239"/>
                </a:cubicBezTo>
                <a:cubicBezTo>
                  <a:pt x="952" y="238"/>
                  <a:pt x="953" y="238"/>
                  <a:pt x="954" y="238"/>
                </a:cubicBezTo>
                <a:cubicBezTo>
                  <a:pt x="955" y="236"/>
                  <a:pt x="954" y="233"/>
                  <a:pt x="955" y="231"/>
                </a:cubicBezTo>
                <a:cubicBezTo>
                  <a:pt x="955" y="229"/>
                  <a:pt x="957" y="228"/>
                  <a:pt x="960" y="229"/>
                </a:cubicBezTo>
                <a:cubicBezTo>
                  <a:pt x="963" y="230"/>
                  <a:pt x="964" y="231"/>
                  <a:pt x="965" y="234"/>
                </a:cubicBezTo>
                <a:cubicBezTo>
                  <a:pt x="968" y="233"/>
                  <a:pt x="970" y="232"/>
                  <a:pt x="972" y="232"/>
                </a:cubicBezTo>
                <a:cubicBezTo>
                  <a:pt x="975" y="231"/>
                  <a:pt x="977" y="230"/>
                  <a:pt x="978" y="228"/>
                </a:cubicBezTo>
                <a:cubicBezTo>
                  <a:pt x="978" y="225"/>
                  <a:pt x="979" y="222"/>
                  <a:pt x="979" y="219"/>
                </a:cubicBezTo>
                <a:cubicBezTo>
                  <a:pt x="979" y="216"/>
                  <a:pt x="979" y="213"/>
                  <a:pt x="979" y="210"/>
                </a:cubicBezTo>
                <a:cubicBezTo>
                  <a:pt x="979" y="207"/>
                  <a:pt x="979" y="204"/>
                  <a:pt x="978" y="201"/>
                </a:cubicBezTo>
                <a:cubicBezTo>
                  <a:pt x="977" y="198"/>
                  <a:pt x="976" y="195"/>
                  <a:pt x="975" y="193"/>
                </a:cubicBezTo>
                <a:cubicBezTo>
                  <a:pt x="974" y="187"/>
                  <a:pt x="982" y="189"/>
                  <a:pt x="985" y="186"/>
                </a:cubicBezTo>
                <a:cubicBezTo>
                  <a:pt x="986" y="184"/>
                  <a:pt x="988" y="182"/>
                  <a:pt x="990" y="181"/>
                </a:cubicBezTo>
                <a:cubicBezTo>
                  <a:pt x="993" y="180"/>
                  <a:pt x="996" y="182"/>
                  <a:pt x="998" y="183"/>
                </a:cubicBezTo>
                <a:cubicBezTo>
                  <a:pt x="1001" y="184"/>
                  <a:pt x="1003" y="185"/>
                  <a:pt x="1006" y="185"/>
                </a:cubicBezTo>
                <a:cubicBezTo>
                  <a:pt x="1008" y="185"/>
                  <a:pt x="1011" y="186"/>
                  <a:pt x="1011" y="183"/>
                </a:cubicBezTo>
                <a:cubicBezTo>
                  <a:pt x="1011" y="180"/>
                  <a:pt x="1011" y="178"/>
                  <a:pt x="1013" y="177"/>
                </a:cubicBezTo>
                <a:cubicBezTo>
                  <a:pt x="1014" y="176"/>
                  <a:pt x="1015" y="175"/>
                  <a:pt x="1017" y="175"/>
                </a:cubicBezTo>
                <a:cubicBezTo>
                  <a:pt x="1018" y="174"/>
                  <a:pt x="1018" y="174"/>
                  <a:pt x="1018" y="172"/>
                </a:cubicBezTo>
                <a:cubicBezTo>
                  <a:pt x="1018" y="170"/>
                  <a:pt x="1018" y="168"/>
                  <a:pt x="1020" y="166"/>
                </a:cubicBezTo>
                <a:cubicBezTo>
                  <a:pt x="1022" y="164"/>
                  <a:pt x="1024" y="163"/>
                  <a:pt x="1024" y="160"/>
                </a:cubicBezTo>
                <a:cubicBezTo>
                  <a:pt x="1024" y="158"/>
                  <a:pt x="1024" y="155"/>
                  <a:pt x="1026" y="153"/>
                </a:cubicBezTo>
                <a:cubicBezTo>
                  <a:pt x="1028" y="151"/>
                  <a:pt x="1028" y="148"/>
                  <a:pt x="1029" y="145"/>
                </a:cubicBezTo>
                <a:cubicBezTo>
                  <a:pt x="1029" y="143"/>
                  <a:pt x="1029" y="140"/>
                  <a:pt x="1031" y="138"/>
                </a:cubicBezTo>
                <a:cubicBezTo>
                  <a:pt x="1032" y="135"/>
                  <a:pt x="1035" y="133"/>
                  <a:pt x="1037" y="132"/>
                </a:cubicBezTo>
                <a:cubicBezTo>
                  <a:pt x="1039" y="130"/>
                  <a:pt x="1039" y="129"/>
                  <a:pt x="1038" y="127"/>
                </a:cubicBezTo>
                <a:cubicBezTo>
                  <a:pt x="1037" y="126"/>
                  <a:pt x="1036" y="125"/>
                  <a:pt x="1036" y="124"/>
                </a:cubicBezTo>
                <a:cubicBezTo>
                  <a:pt x="1036" y="122"/>
                  <a:pt x="1037" y="121"/>
                  <a:pt x="1037" y="120"/>
                </a:cubicBezTo>
                <a:cubicBezTo>
                  <a:pt x="1038" y="117"/>
                  <a:pt x="1033" y="116"/>
                  <a:pt x="1032" y="116"/>
                </a:cubicBezTo>
                <a:cubicBezTo>
                  <a:pt x="1029" y="117"/>
                  <a:pt x="1026" y="118"/>
                  <a:pt x="1023" y="120"/>
                </a:cubicBezTo>
                <a:cubicBezTo>
                  <a:pt x="1020" y="121"/>
                  <a:pt x="1018" y="122"/>
                  <a:pt x="1015" y="122"/>
                </a:cubicBezTo>
                <a:cubicBezTo>
                  <a:pt x="1012" y="123"/>
                  <a:pt x="1008" y="123"/>
                  <a:pt x="1006" y="125"/>
                </a:cubicBezTo>
                <a:cubicBezTo>
                  <a:pt x="1004" y="127"/>
                  <a:pt x="1004" y="129"/>
                  <a:pt x="1002" y="131"/>
                </a:cubicBezTo>
                <a:cubicBezTo>
                  <a:pt x="1000" y="132"/>
                  <a:pt x="998" y="131"/>
                  <a:pt x="995" y="131"/>
                </a:cubicBezTo>
                <a:cubicBezTo>
                  <a:pt x="992" y="132"/>
                  <a:pt x="989" y="131"/>
                  <a:pt x="986" y="131"/>
                </a:cubicBezTo>
                <a:cubicBezTo>
                  <a:pt x="983" y="131"/>
                  <a:pt x="980" y="132"/>
                  <a:pt x="976" y="131"/>
                </a:cubicBezTo>
                <a:cubicBezTo>
                  <a:pt x="974" y="131"/>
                  <a:pt x="974" y="130"/>
                  <a:pt x="974" y="128"/>
                </a:cubicBezTo>
                <a:cubicBezTo>
                  <a:pt x="974" y="127"/>
                  <a:pt x="974" y="126"/>
                  <a:pt x="973" y="126"/>
                </a:cubicBezTo>
                <a:cubicBezTo>
                  <a:pt x="972" y="125"/>
                  <a:pt x="971" y="125"/>
                  <a:pt x="970" y="124"/>
                </a:cubicBezTo>
                <a:cubicBezTo>
                  <a:pt x="969" y="122"/>
                  <a:pt x="970" y="119"/>
                  <a:pt x="970" y="117"/>
                </a:cubicBezTo>
                <a:cubicBezTo>
                  <a:pt x="971" y="116"/>
                  <a:pt x="971" y="115"/>
                  <a:pt x="971" y="114"/>
                </a:cubicBezTo>
                <a:cubicBezTo>
                  <a:pt x="971" y="113"/>
                  <a:pt x="969" y="112"/>
                  <a:pt x="969" y="112"/>
                </a:cubicBezTo>
                <a:cubicBezTo>
                  <a:pt x="967" y="110"/>
                  <a:pt x="967" y="108"/>
                  <a:pt x="968" y="106"/>
                </a:cubicBezTo>
                <a:cubicBezTo>
                  <a:pt x="968" y="106"/>
                  <a:pt x="963" y="105"/>
                  <a:pt x="962" y="105"/>
                </a:cubicBezTo>
                <a:cubicBezTo>
                  <a:pt x="957" y="103"/>
                  <a:pt x="955" y="98"/>
                  <a:pt x="951" y="95"/>
                </a:cubicBezTo>
                <a:cubicBezTo>
                  <a:pt x="949" y="93"/>
                  <a:pt x="947" y="94"/>
                  <a:pt x="945" y="95"/>
                </a:cubicBezTo>
                <a:cubicBezTo>
                  <a:pt x="942" y="95"/>
                  <a:pt x="939" y="92"/>
                  <a:pt x="937" y="91"/>
                </a:cubicBezTo>
                <a:cubicBezTo>
                  <a:pt x="935" y="90"/>
                  <a:pt x="932" y="90"/>
                  <a:pt x="929" y="90"/>
                </a:cubicBezTo>
                <a:cubicBezTo>
                  <a:pt x="927" y="90"/>
                  <a:pt x="923" y="91"/>
                  <a:pt x="921" y="89"/>
                </a:cubicBezTo>
                <a:cubicBezTo>
                  <a:pt x="919" y="87"/>
                  <a:pt x="918" y="85"/>
                  <a:pt x="917" y="83"/>
                </a:cubicBezTo>
                <a:cubicBezTo>
                  <a:pt x="916" y="82"/>
                  <a:pt x="916" y="80"/>
                  <a:pt x="916" y="79"/>
                </a:cubicBezTo>
                <a:cubicBezTo>
                  <a:pt x="916" y="78"/>
                  <a:pt x="917" y="76"/>
                  <a:pt x="917" y="75"/>
                </a:cubicBezTo>
                <a:cubicBezTo>
                  <a:pt x="917" y="72"/>
                  <a:pt x="915" y="70"/>
                  <a:pt x="913" y="68"/>
                </a:cubicBezTo>
                <a:cubicBezTo>
                  <a:pt x="912" y="65"/>
                  <a:pt x="910" y="62"/>
                  <a:pt x="909" y="60"/>
                </a:cubicBezTo>
                <a:cubicBezTo>
                  <a:pt x="908" y="58"/>
                  <a:pt x="908" y="56"/>
                  <a:pt x="907" y="54"/>
                </a:cubicBezTo>
                <a:cubicBezTo>
                  <a:pt x="907" y="53"/>
                  <a:pt x="907" y="53"/>
                  <a:pt x="907" y="52"/>
                </a:cubicBezTo>
                <a:cubicBezTo>
                  <a:pt x="906" y="51"/>
                  <a:pt x="905" y="51"/>
                  <a:pt x="904" y="51"/>
                </a:cubicBezTo>
                <a:cubicBezTo>
                  <a:pt x="902" y="49"/>
                  <a:pt x="902" y="46"/>
                  <a:pt x="901" y="44"/>
                </a:cubicBezTo>
                <a:cubicBezTo>
                  <a:pt x="900" y="41"/>
                  <a:pt x="898" y="39"/>
                  <a:pt x="897" y="36"/>
                </a:cubicBezTo>
                <a:cubicBezTo>
                  <a:pt x="897" y="33"/>
                  <a:pt x="898" y="31"/>
                  <a:pt x="897" y="29"/>
                </a:cubicBezTo>
                <a:cubicBezTo>
                  <a:pt x="895" y="27"/>
                  <a:pt x="894" y="25"/>
                  <a:pt x="892" y="24"/>
                </a:cubicBezTo>
                <a:cubicBezTo>
                  <a:pt x="889" y="22"/>
                  <a:pt x="889" y="20"/>
                  <a:pt x="890" y="17"/>
                </a:cubicBezTo>
                <a:cubicBezTo>
                  <a:pt x="890" y="17"/>
                  <a:pt x="889" y="16"/>
                  <a:pt x="888" y="15"/>
                </a:cubicBezTo>
                <a:cubicBezTo>
                  <a:pt x="887" y="14"/>
                  <a:pt x="886" y="13"/>
                  <a:pt x="884" y="12"/>
                </a:cubicBezTo>
                <a:cubicBezTo>
                  <a:pt x="882" y="10"/>
                  <a:pt x="880" y="8"/>
                  <a:pt x="877" y="8"/>
                </a:cubicBezTo>
                <a:cubicBezTo>
                  <a:pt x="874" y="8"/>
                  <a:pt x="871" y="9"/>
                  <a:pt x="868" y="9"/>
                </a:cubicBezTo>
                <a:cubicBezTo>
                  <a:pt x="866" y="9"/>
                  <a:pt x="864" y="7"/>
                  <a:pt x="862" y="6"/>
                </a:cubicBezTo>
                <a:cubicBezTo>
                  <a:pt x="859" y="5"/>
                  <a:pt x="856" y="3"/>
                  <a:pt x="853" y="2"/>
                </a:cubicBezTo>
                <a:cubicBezTo>
                  <a:pt x="848" y="0"/>
                  <a:pt x="841" y="1"/>
                  <a:pt x="835" y="2"/>
                </a:cubicBezTo>
                <a:cubicBezTo>
                  <a:pt x="829" y="3"/>
                  <a:pt x="823" y="4"/>
                  <a:pt x="817" y="6"/>
                </a:cubicBezTo>
                <a:cubicBezTo>
                  <a:pt x="814" y="6"/>
                  <a:pt x="811" y="6"/>
                  <a:pt x="808" y="6"/>
                </a:cubicBezTo>
                <a:cubicBezTo>
                  <a:pt x="805" y="6"/>
                  <a:pt x="802" y="8"/>
                  <a:pt x="800" y="10"/>
                </a:cubicBezTo>
                <a:cubicBezTo>
                  <a:pt x="798" y="12"/>
                  <a:pt x="796" y="14"/>
                  <a:pt x="794" y="15"/>
                </a:cubicBezTo>
                <a:cubicBezTo>
                  <a:pt x="792" y="17"/>
                  <a:pt x="790" y="19"/>
                  <a:pt x="792" y="20"/>
                </a:cubicBezTo>
                <a:cubicBezTo>
                  <a:pt x="795" y="22"/>
                  <a:pt x="800" y="18"/>
                  <a:pt x="801" y="23"/>
                </a:cubicBezTo>
                <a:cubicBezTo>
                  <a:pt x="802" y="25"/>
                  <a:pt x="801" y="28"/>
                  <a:pt x="802" y="30"/>
                </a:cubicBezTo>
                <a:cubicBezTo>
                  <a:pt x="803" y="32"/>
                  <a:pt x="801" y="34"/>
                  <a:pt x="800" y="36"/>
                </a:cubicBezTo>
                <a:cubicBezTo>
                  <a:pt x="796" y="40"/>
                  <a:pt x="792" y="43"/>
                  <a:pt x="789" y="48"/>
                </a:cubicBezTo>
                <a:cubicBezTo>
                  <a:pt x="786" y="52"/>
                  <a:pt x="783" y="57"/>
                  <a:pt x="780" y="63"/>
                </a:cubicBezTo>
                <a:cubicBezTo>
                  <a:pt x="779" y="65"/>
                  <a:pt x="779" y="67"/>
                  <a:pt x="779" y="70"/>
                </a:cubicBezTo>
                <a:cubicBezTo>
                  <a:pt x="779" y="73"/>
                  <a:pt x="779" y="75"/>
                  <a:pt x="777" y="78"/>
                </a:cubicBezTo>
                <a:cubicBezTo>
                  <a:pt x="776" y="80"/>
                  <a:pt x="774" y="81"/>
                  <a:pt x="771" y="82"/>
                </a:cubicBezTo>
                <a:cubicBezTo>
                  <a:pt x="769" y="82"/>
                  <a:pt x="766" y="82"/>
                  <a:pt x="764" y="82"/>
                </a:cubicBezTo>
                <a:cubicBezTo>
                  <a:pt x="759" y="84"/>
                  <a:pt x="756" y="92"/>
                  <a:pt x="750" y="90"/>
                </a:cubicBezTo>
                <a:cubicBezTo>
                  <a:pt x="747" y="89"/>
                  <a:pt x="744" y="88"/>
                  <a:pt x="742" y="87"/>
                </a:cubicBezTo>
                <a:cubicBezTo>
                  <a:pt x="740" y="87"/>
                  <a:pt x="739" y="86"/>
                  <a:pt x="737" y="86"/>
                </a:cubicBezTo>
                <a:cubicBezTo>
                  <a:pt x="737" y="85"/>
                  <a:pt x="736" y="85"/>
                  <a:pt x="735" y="85"/>
                </a:cubicBezTo>
                <a:cubicBezTo>
                  <a:pt x="734" y="84"/>
                  <a:pt x="734" y="84"/>
                  <a:pt x="733" y="86"/>
                </a:cubicBezTo>
                <a:cubicBezTo>
                  <a:pt x="730" y="91"/>
                  <a:pt x="727" y="97"/>
                  <a:pt x="724" y="103"/>
                </a:cubicBezTo>
                <a:cubicBezTo>
                  <a:pt x="722" y="105"/>
                  <a:pt x="721" y="108"/>
                  <a:pt x="720" y="110"/>
                </a:cubicBezTo>
                <a:cubicBezTo>
                  <a:pt x="719" y="112"/>
                  <a:pt x="719" y="113"/>
                  <a:pt x="719" y="114"/>
                </a:cubicBezTo>
                <a:cubicBezTo>
                  <a:pt x="719" y="115"/>
                  <a:pt x="719" y="117"/>
                  <a:pt x="718" y="118"/>
                </a:cubicBezTo>
                <a:cubicBezTo>
                  <a:pt x="717" y="120"/>
                  <a:pt x="714" y="122"/>
                  <a:pt x="715" y="124"/>
                </a:cubicBezTo>
                <a:cubicBezTo>
                  <a:pt x="716" y="126"/>
                  <a:pt x="718" y="129"/>
                  <a:pt x="720" y="129"/>
                </a:cubicBezTo>
                <a:cubicBezTo>
                  <a:pt x="722" y="129"/>
                  <a:pt x="724" y="128"/>
                  <a:pt x="726" y="127"/>
                </a:cubicBezTo>
                <a:cubicBezTo>
                  <a:pt x="727" y="127"/>
                  <a:pt x="729" y="127"/>
                  <a:pt x="730" y="127"/>
                </a:cubicBezTo>
                <a:cubicBezTo>
                  <a:pt x="732" y="126"/>
                  <a:pt x="733" y="126"/>
                  <a:pt x="735" y="126"/>
                </a:cubicBezTo>
                <a:cubicBezTo>
                  <a:pt x="738" y="126"/>
                  <a:pt x="740" y="129"/>
                  <a:pt x="742" y="130"/>
                </a:cubicBezTo>
                <a:cubicBezTo>
                  <a:pt x="745" y="131"/>
                  <a:pt x="746" y="128"/>
                  <a:pt x="747" y="126"/>
                </a:cubicBezTo>
                <a:cubicBezTo>
                  <a:pt x="751" y="123"/>
                  <a:pt x="757" y="123"/>
                  <a:pt x="762" y="123"/>
                </a:cubicBezTo>
                <a:cubicBezTo>
                  <a:pt x="768" y="124"/>
                  <a:pt x="772" y="128"/>
                  <a:pt x="775" y="132"/>
                </a:cubicBezTo>
                <a:cubicBezTo>
                  <a:pt x="780" y="136"/>
                  <a:pt x="784" y="140"/>
                  <a:pt x="788" y="145"/>
                </a:cubicBezTo>
                <a:cubicBezTo>
                  <a:pt x="789" y="147"/>
                  <a:pt x="790" y="149"/>
                  <a:pt x="789" y="151"/>
                </a:cubicBezTo>
                <a:cubicBezTo>
                  <a:pt x="787" y="153"/>
                  <a:pt x="784" y="153"/>
                  <a:pt x="782" y="153"/>
                </a:cubicBezTo>
                <a:cubicBezTo>
                  <a:pt x="776" y="153"/>
                  <a:pt x="769" y="152"/>
                  <a:pt x="763" y="153"/>
                </a:cubicBezTo>
                <a:cubicBezTo>
                  <a:pt x="758" y="154"/>
                  <a:pt x="753" y="157"/>
                  <a:pt x="748" y="159"/>
                </a:cubicBezTo>
                <a:cubicBezTo>
                  <a:pt x="745" y="159"/>
                  <a:pt x="742" y="160"/>
                  <a:pt x="739" y="160"/>
                </a:cubicBezTo>
                <a:cubicBezTo>
                  <a:pt x="736" y="160"/>
                  <a:pt x="734" y="159"/>
                  <a:pt x="731" y="161"/>
                </a:cubicBezTo>
                <a:cubicBezTo>
                  <a:pt x="730" y="163"/>
                  <a:pt x="727" y="165"/>
                  <a:pt x="727" y="167"/>
                </a:cubicBezTo>
                <a:cubicBezTo>
                  <a:pt x="726" y="169"/>
                  <a:pt x="727" y="170"/>
                  <a:pt x="726" y="171"/>
                </a:cubicBezTo>
                <a:cubicBezTo>
                  <a:pt x="726" y="172"/>
                  <a:pt x="725" y="173"/>
                  <a:pt x="724" y="174"/>
                </a:cubicBezTo>
                <a:cubicBezTo>
                  <a:pt x="722" y="175"/>
                  <a:pt x="720" y="177"/>
                  <a:pt x="718" y="178"/>
                </a:cubicBezTo>
                <a:cubicBezTo>
                  <a:pt x="715" y="179"/>
                  <a:pt x="712" y="179"/>
                  <a:pt x="708" y="179"/>
                </a:cubicBezTo>
                <a:cubicBezTo>
                  <a:pt x="706" y="179"/>
                  <a:pt x="703" y="179"/>
                  <a:pt x="700" y="180"/>
                </a:cubicBezTo>
                <a:cubicBezTo>
                  <a:pt x="697" y="180"/>
                  <a:pt x="695" y="182"/>
                  <a:pt x="693" y="184"/>
                </a:cubicBezTo>
                <a:cubicBezTo>
                  <a:pt x="691" y="186"/>
                  <a:pt x="688" y="187"/>
                  <a:pt x="686" y="189"/>
                </a:cubicBezTo>
                <a:cubicBezTo>
                  <a:pt x="684" y="191"/>
                  <a:pt x="682" y="193"/>
                  <a:pt x="679" y="194"/>
                </a:cubicBezTo>
                <a:cubicBezTo>
                  <a:pt x="677" y="194"/>
                  <a:pt x="674" y="194"/>
                  <a:pt x="671" y="193"/>
                </a:cubicBezTo>
                <a:cubicBezTo>
                  <a:pt x="669" y="191"/>
                  <a:pt x="666" y="190"/>
                  <a:pt x="663" y="189"/>
                </a:cubicBezTo>
                <a:cubicBezTo>
                  <a:pt x="658" y="187"/>
                  <a:pt x="654" y="186"/>
                  <a:pt x="650" y="190"/>
                </a:cubicBezTo>
                <a:cubicBezTo>
                  <a:pt x="649" y="192"/>
                  <a:pt x="647" y="194"/>
                  <a:pt x="646" y="196"/>
                </a:cubicBezTo>
                <a:cubicBezTo>
                  <a:pt x="646" y="197"/>
                  <a:pt x="645" y="198"/>
                  <a:pt x="644" y="199"/>
                </a:cubicBezTo>
                <a:cubicBezTo>
                  <a:pt x="644" y="200"/>
                  <a:pt x="645" y="201"/>
                  <a:pt x="646" y="202"/>
                </a:cubicBezTo>
                <a:cubicBezTo>
                  <a:pt x="647" y="204"/>
                  <a:pt x="649" y="207"/>
                  <a:pt x="651" y="209"/>
                </a:cubicBezTo>
                <a:cubicBezTo>
                  <a:pt x="652" y="211"/>
                  <a:pt x="653" y="213"/>
                  <a:pt x="652" y="215"/>
                </a:cubicBezTo>
                <a:cubicBezTo>
                  <a:pt x="650" y="216"/>
                  <a:pt x="649" y="217"/>
                  <a:pt x="647" y="218"/>
                </a:cubicBezTo>
                <a:cubicBezTo>
                  <a:pt x="645" y="219"/>
                  <a:pt x="642" y="221"/>
                  <a:pt x="640" y="222"/>
                </a:cubicBezTo>
                <a:cubicBezTo>
                  <a:pt x="637" y="224"/>
                  <a:pt x="635" y="225"/>
                  <a:pt x="633" y="227"/>
                </a:cubicBezTo>
                <a:cubicBezTo>
                  <a:pt x="631" y="229"/>
                  <a:pt x="629" y="232"/>
                  <a:pt x="627" y="234"/>
                </a:cubicBezTo>
                <a:cubicBezTo>
                  <a:pt x="625" y="236"/>
                  <a:pt x="622" y="237"/>
                  <a:pt x="620" y="238"/>
                </a:cubicBezTo>
                <a:cubicBezTo>
                  <a:pt x="617" y="239"/>
                  <a:pt x="614" y="240"/>
                  <a:pt x="611" y="241"/>
                </a:cubicBezTo>
                <a:cubicBezTo>
                  <a:pt x="605" y="242"/>
                  <a:pt x="598" y="242"/>
                  <a:pt x="592" y="242"/>
                </a:cubicBezTo>
                <a:cubicBezTo>
                  <a:pt x="586" y="242"/>
                  <a:pt x="580" y="243"/>
                  <a:pt x="574" y="244"/>
                </a:cubicBezTo>
                <a:cubicBezTo>
                  <a:pt x="568" y="244"/>
                  <a:pt x="562" y="245"/>
                  <a:pt x="557" y="248"/>
                </a:cubicBezTo>
                <a:cubicBezTo>
                  <a:pt x="551" y="251"/>
                  <a:pt x="545" y="253"/>
                  <a:pt x="540" y="256"/>
                </a:cubicBezTo>
                <a:cubicBezTo>
                  <a:pt x="537" y="258"/>
                  <a:pt x="535" y="259"/>
                  <a:pt x="532" y="259"/>
                </a:cubicBezTo>
                <a:cubicBezTo>
                  <a:pt x="529" y="259"/>
                  <a:pt x="526" y="258"/>
                  <a:pt x="524" y="256"/>
                </a:cubicBezTo>
                <a:cubicBezTo>
                  <a:pt x="522" y="254"/>
                  <a:pt x="519" y="255"/>
                  <a:pt x="517" y="256"/>
                </a:cubicBezTo>
                <a:cubicBezTo>
                  <a:pt x="514" y="256"/>
                  <a:pt x="511" y="255"/>
                  <a:pt x="508" y="254"/>
                </a:cubicBezTo>
                <a:cubicBezTo>
                  <a:pt x="502" y="253"/>
                  <a:pt x="496" y="250"/>
                  <a:pt x="490" y="249"/>
                </a:cubicBezTo>
                <a:cubicBezTo>
                  <a:pt x="487" y="248"/>
                  <a:pt x="485" y="248"/>
                  <a:pt x="483" y="246"/>
                </a:cubicBezTo>
                <a:cubicBezTo>
                  <a:pt x="482" y="243"/>
                  <a:pt x="481" y="243"/>
                  <a:pt x="478" y="242"/>
                </a:cubicBezTo>
                <a:cubicBezTo>
                  <a:pt x="471" y="241"/>
                  <a:pt x="465" y="240"/>
                  <a:pt x="458" y="238"/>
                </a:cubicBezTo>
                <a:cubicBezTo>
                  <a:pt x="455" y="238"/>
                  <a:pt x="452" y="237"/>
                  <a:pt x="449" y="237"/>
                </a:cubicBezTo>
                <a:cubicBezTo>
                  <a:pt x="446" y="238"/>
                  <a:pt x="444" y="239"/>
                  <a:pt x="441" y="240"/>
                </a:cubicBezTo>
                <a:cubicBezTo>
                  <a:pt x="435" y="240"/>
                  <a:pt x="428" y="239"/>
                  <a:pt x="422" y="238"/>
                </a:cubicBezTo>
                <a:cubicBezTo>
                  <a:pt x="416" y="237"/>
                  <a:pt x="410" y="235"/>
                  <a:pt x="404" y="235"/>
                </a:cubicBezTo>
                <a:cubicBezTo>
                  <a:pt x="401" y="235"/>
                  <a:pt x="398" y="235"/>
                  <a:pt x="395" y="236"/>
                </a:cubicBezTo>
                <a:cubicBezTo>
                  <a:pt x="392" y="236"/>
                  <a:pt x="390" y="237"/>
                  <a:pt x="387" y="235"/>
                </a:cubicBezTo>
                <a:cubicBezTo>
                  <a:pt x="384" y="234"/>
                  <a:pt x="384" y="231"/>
                  <a:pt x="382" y="229"/>
                </a:cubicBezTo>
                <a:cubicBezTo>
                  <a:pt x="380" y="227"/>
                  <a:pt x="378" y="226"/>
                  <a:pt x="377" y="223"/>
                </a:cubicBezTo>
                <a:cubicBezTo>
                  <a:pt x="376" y="220"/>
                  <a:pt x="375" y="217"/>
                  <a:pt x="374" y="214"/>
                </a:cubicBezTo>
                <a:cubicBezTo>
                  <a:pt x="373" y="212"/>
                  <a:pt x="371" y="211"/>
                  <a:pt x="370" y="209"/>
                </a:cubicBezTo>
                <a:cubicBezTo>
                  <a:pt x="369" y="207"/>
                  <a:pt x="370" y="204"/>
                  <a:pt x="367" y="204"/>
                </a:cubicBezTo>
                <a:cubicBezTo>
                  <a:pt x="365" y="205"/>
                  <a:pt x="362" y="204"/>
                  <a:pt x="360" y="203"/>
                </a:cubicBezTo>
                <a:cubicBezTo>
                  <a:pt x="357" y="202"/>
                  <a:pt x="355" y="200"/>
                  <a:pt x="353" y="198"/>
                </a:cubicBezTo>
                <a:cubicBezTo>
                  <a:pt x="351" y="197"/>
                  <a:pt x="348" y="195"/>
                  <a:pt x="346" y="193"/>
                </a:cubicBezTo>
                <a:cubicBezTo>
                  <a:pt x="342" y="189"/>
                  <a:pt x="336" y="189"/>
                  <a:pt x="331" y="188"/>
                </a:cubicBezTo>
                <a:cubicBezTo>
                  <a:pt x="324" y="187"/>
                  <a:pt x="318" y="187"/>
                  <a:pt x="311" y="187"/>
                </a:cubicBezTo>
                <a:cubicBezTo>
                  <a:pt x="306" y="187"/>
                  <a:pt x="299" y="187"/>
                  <a:pt x="294" y="184"/>
                </a:cubicBezTo>
                <a:cubicBezTo>
                  <a:pt x="290" y="181"/>
                  <a:pt x="289" y="176"/>
                  <a:pt x="292" y="171"/>
                </a:cubicBezTo>
                <a:cubicBezTo>
                  <a:pt x="293" y="169"/>
                  <a:pt x="295" y="167"/>
                  <a:pt x="295" y="164"/>
                </a:cubicBezTo>
                <a:cubicBezTo>
                  <a:pt x="295" y="163"/>
                  <a:pt x="294" y="162"/>
                  <a:pt x="294" y="160"/>
                </a:cubicBezTo>
                <a:cubicBezTo>
                  <a:pt x="294" y="159"/>
                  <a:pt x="295" y="157"/>
                  <a:pt x="295" y="156"/>
                </a:cubicBezTo>
                <a:cubicBezTo>
                  <a:pt x="295" y="153"/>
                  <a:pt x="295" y="151"/>
                  <a:pt x="293" y="149"/>
                </a:cubicBezTo>
                <a:cubicBezTo>
                  <a:pt x="291" y="147"/>
                  <a:pt x="289" y="145"/>
                  <a:pt x="288" y="142"/>
                </a:cubicBezTo>
                <a:cubicBezTo>
                  <a:pt x="286" y="138"/>
                  <a:pt x="286" y="132"/>
                  <a:pt x="282" y="129"/>
                </a:cubicBezTo>
                <a:cubicBezTo>
                  <a:pt x="280" y="128"/>
                  <a:pt x="277" y="128"/>
                  <a:pt x="275" y="127"/>
                </a:cubicBezTo>
                <a:cubicBezTo>
                  <a:pt x="273" y="126"/>
                  <a:pt x="270" y="124"/>
                  <a:pt x="268" y="124"/>
                </a:cubicBezTo>
                <a:cubicBezTo>
                  <a:pt x="265" y="125"/>
                  <a:pt x="263" y="125"/>
                  <a:pt x="260" y="124"/>
                </a:cubicBezTo>
                <a:cubicBezTo>
                  <a:pt x="258" y="123"/>
                  <a:pt x="256" y="122"/>
                  <a:pt x="255" y="120"/>
                </a:cubicBezTo>
                <a:cubicBezTo>
                  <a:pt x="255" y="119"/>
                  <a:pt x="255" y="118"/>
                  <a:pt x="255" y="117"/>
                </a:cubicBezTo>
                <a:cubicBezTo>
                  <a:pt x="254" y="116"/>
                  <a:pt x="252" y="116"/>
                  <a:pt x="251" y="115"/>
                </a:cubicBezTo>
                <a:cubicBezTo>
                  <a:pt x="249" y="114"/>
                  <a:pt x="247" y="113"/>
                  <a:pt x="245" y="111"/>
                </a:cubicBezTo>
                <a:cubicBezTo>
                  <a:pt x="244" y="110"/>
                  <a:pt x="244" y="109"/>
                  <a:pt x="244" y="108"/>
                </a:cubicBezTo>
                <a:cubicBezTo>
                  <a:pt x="243" y="108"/>
                  <a:pt x="242" y="107"/>
                  <a:pt x="242" y="107"/>
                </a:cubicBezTo>
                <a:cubicBezTo>
                  <a:pt x="240" y="105"/>
                  <a:pt x="241" y="103"/>
                  <a:pt x="241" y="101"/>
                </a:cubicBezTo>
                <a:cubicBezTo>
                  <a:pt x="241" y="101"/>
                  <a:pt x="241" y="101"/>
                  <a:pt x="241" y="101"/>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0" name="Freeform 272">
            <a:extLst>
              <a:ext uri="{FF2B5EF4-FFF2-40B4-BE49-F238E27FC236}">
                <a16:creationId xmlns:a16="http://schemas.microsoft.com/office/drawing/2014/main" id="{1D83DF99-2CD7-550B-C9BE-3ED073D57835}"/>
              </a:ext>
            </a:extLst>
          </p:cNvPr>
          <p:cNvSpPr/>
          <p:nvPr>
            <p:custDataLst>
              <p:tags r:id="rId52"/>
            </p:custDataLst>
          </p:nvPr>
        </p:nvSpPr>
        <p:spPr bwMode="auto">
          <a:xfrm>
            <a:off x="6408307" y="3302808"/>
            <a:ext cx="147160" cy="173188"/>
          </a:xfrm>
          <a:custGeom>
            <a:avLst/>
            <a:gdLst>
              <a:gd name="T0" fmla="*/ 20 w 126"/>
              <a:gd name="T1" fmla="*/ 23 h 148"/>
              <a:gd name="T2" fmla="*/ 10 w 126"/>
              <a:gd name="T3" fmla="*/ 20 h 148"/>
              <a:gd name="T4" fmla="*/ 5 w 126"/>
              <a:gd name="T5" fmla="*/ 30 h 148"/>
              <a:gd name="T6" fmla="*/ 6 w 126"/>
              <a:gd name="T7" fmla="*/ 38 h 148"/>
              <a:gd name="T8" fmla="*/ 6 w 126"/>
              <a:gd name="T9" fmla="*/ 49 h 148"/>
              <a:gd name="T10" fmla="*/ 20 w 126"/>
              <a:gd name="T11" fmla="*/ 60 h 148"/>
              <a:gd name="T12" fmla="*/ 17 w 126"/>
              <a:gd name="T13" fmla="*/ 71 h 148"/>
              <a:gd name="T14" fmla="*/ 16 w 126"/>
              <a:gd name="T15" fmla="*/ 86 h 148"/>
              <a:gd name="T16" fmla="*/ 28 w 126"/>
              <a:gd name="T17" fmla="*/ 76 h 148"/>
              <a:gd name="T18" fmla="*/ 48 w 126"/>
              <a:gd name="T19" fmla="*/ 75 h 148"/>
              <a:gd name="T20" fmla="*/ 65 w 126"/>
              <a:gd name="T21" fmla="*/ 72 h 148"/>
              <a:gd name="T22" fmla="*/ 79 w 126"/>
              <a:gd name="T23" fmla="*/ 91 h 148"/>
              <a:gd name="T24" fmla="*/ 87 w 126"/>
              <a:gd name="T25" fmla="*/ 110 h 148"/>
              <a:gd name="T26" fmla="*/ 91 w 126"/>
              <a:gd name="T27" fmla="*/ 128 h 148"/>
              <a:gd name="T28" fmla="*/ 86 w 126"/>
              <a:gd name="T29" fmla="*/ 143 h 148"/>
              <a:gd name="T30" fmla="*/ 100 w 126"/>
              <a:gd name="T31" fmla="*/ 147 h 148"/>
              <a:gd name="T32" fmla="*/ 102 w 126"/>
              <a:gd name="T33" fmla="*/ 138 h 148"/>
              <a:gd name="T34" fmla="*/ 118 w 126"/>
              <a:gd name="T35" fmla="*/ 140 h 148"/>
              <a:gd name="T36" fmla="*/ 123 w 126"/>
              <a:gd name="T37" fmla="*/ 130 h 148"/>
              <a:gd name="T38" fmla="*/ 122 w 126"/>
              <a:gd name="T39" fmla="*/ 122 h 148"/>
              <a:gd name="T40" fmla="*/ 122 w 126"/>
              <a:gd name="T41" fmla="*/ 113 h 148"/>
              <a:gd name="T42" fmla="*/ 115 w 126"/>
              <a:gd name="T43" fmla="*/ 106 h 148"/>
              <a:gd name="T44" fmla="*/ 109 w 126"/>
              <a:gd name="T45" fmla="*/ 100 h 148"/>
              <a:gd name="T46" fmla="*/ 90 w 126"/>
              <a:gd name="T47" fmla="*/ 78 h 148"/>
              <a:gd name="T48" fmla="*/ 84 w 126"/>
              <a:gd name="T49" fmla="*/ 74 h 148"/>
              <a:gd name="T50" fmla="*/ 81 w 126"/>
              <a:gd name="T51" fmla="*/ 67 h 148"/>
              <a:gd name="T52" fmla="*/ 64 w 126"/>
              <a:gd name="T53" fmla="*/ 55 h 148"/>
              <a:gd name="T54" fmla="*/ 66 w 126"/>
              <a:gd name="T55" fmla="*/ 49 h 148"/>
              <a:gd name="T56" fmla="*/ 79 w 126"/>
              <a:gd name="T57" fmla="*/ 45 h 148"/>
              <a:gd name="T58" fmla="*/ 79 w 126"/>
              <a:gd name="T59" fmla="*/ 39 h 148"/>
              <a:gd name="T60" fmla="*/ 73 w 126"/>
              <a:gd name="T61" fmla="*/ 32 h 148"/>
              <a:gd name="T62" fmla="*/ 65 w 126"/>
              <a:gd name="T63" fmla="*/ 30 h 148"/>
              <a:gd name="T64" fmla="*/ 46 w 126"/>
              <a:gd name="T65" fmla="*/ 22 h 148"/>
              <a:gd name="T66" fmla="*/ 45 w 126"/>
              <a:gd name="T67" fmla="*/ 14 h 148"/>
              <a:gd name="T68" fmla="*/ 41 w 126"/>
              <a:gd name="T69" fmla="*/ 13 h 148"/>
              <a:gd name="T70" fmla="*/ 33 w 126"/>
              <a:gd name="T71" fmla="*/ 1 h 148"/>
              <a:gd name="T72" fmla="*/ 27 w 126"/>
              <a:gd name="T73" fmla="*/ 1 h 148"/>
              <a:gd name="T74" fmla="*/ 28 w 126"/>
              <a:gd name="T75" fmla="*/ 18 h 148"/>
              <a:gd name="T76" fmla="*/ 27 w 126"/>
              <a:gd name="T77" fmla="*/ 2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5" h="148">
                <a:moveTo>
                  <a:pt x="27" y="23"/>
                </a:moveTo>
                <a:cubicBezTo>
                  <a:pt x="25" y="24"/>
                  <a:pt x="22" y="24"/>
                  <a:pt x="20" y="23"/>
                </a:cubicBezTo>
                <a:cubicBezTo>
                  <a:pt x="18" y="22"/>
                  <a:pt x="17" y="19"/>
                  <a:pt x="16" y="17"/>
                </a:cubicBezTo>
                <a:cubicBezTo>
                  <a:pt x="14" y="17"/>
                  <a:pt x="12" y="18"/>
                  <a:pt x="10" y="20"/>
                </a:cubicBezTo>
                <a:cubicBezTo>
                  <a:pt x="8" y="21"/>
                  <a:pt x="8" y="23"/>
                  <a:pt x="8" y="25"/>
                </a:cubicBezTo>
                <a:cubicBezTo>
                  <a:pt x="8" y="28"/>
                  <a:pt x="7" y="29"/>
                  <a:pt x="5" y="30"/>
                </a:cubicBezTo>
                <a:cubicBezTo>
                  <a:pt x="2" y="31"/>
                  <a:pt x="1" y="32"/>
                  <a:pt x="0" y="35"/>
                </a:cubicBezTo>
                <a:cubicBezTo>
                  <a:pt x="2" y="35"/>
                  <a:pt x="4" y="36"/>
                  <a:pt x="6" y="38"/>
                </a:cubicBezTo>
                <a:cubicBezTo>
                  <a:pt x="7" y="40"/>
                  <a:pt x="7" y="42"/>
                  <a:pt x="6" y="44"/>
                </a:cubicBezTo>
                <a:cubicBezTo>
                  <a:pt x="6" y="46"/>
                  <a:pt x="5" y="48"/>
                  <a:pt x="6" y="49"/>
                </a:cubicBezTo>
                <a:cubicBezTo>
                  <a:pt x="8" y="51"/>
                  <a:pt x="11" y="51"/>
                  <a:pt x="13" y="50"/>
                </a:cubicBezTo>
                <a:cubicBezTo>
                  <a:pt x="19" y="50"/>
                  <a:pt x="20" y="55"/>
                  <a:pt x="20" y="60"/>
                </a:cubicBezTo>
                <a:cubicBezTo>
                  <a:pt x="20" y="63"/>
                  <a:pt x="19" y="65"/>
                  <a:pt x="18" y="67"/>
                </a:cubicBezTo>
                <a:cubicBezTo>
                  <a:pt x="18" y="68"/>
                  <a:pt x="17" y="70"/>
                  <a:pt x="17" y="71"/>
                </a:cubicBezTo>
                <a:cubicBezTo>
                  <a:pt x="17" y="72"/>
                  <a:pt x="18" y="73"/>
                  <a:pt x="18" y="75"/>
                </a:cubicBezTo>
                <a:cubicBezTo>
                  <a:pt x="18" y="76"/>
                  <a:pt x="11" y="85"/>
                  <a:pt x="16" y="86"/>
                </a:cubicBezTo>
                <a:cubicBezTo>
                  <a:pt x="18" y="86"/>
                  <a:pt x="20" y="83"/>
                  <a:pt x="22" y="82"/>
                </a:cubicBezTo>
                <a:cubicBezTo>
                  <a:pt x="24" y="80"/>
                  <a:pt x="26" y="77"/>
                  <a:pt x="28" y="76"/>
                </a:cubicBezTo>
                <a:cubicBezTo>
                  <a:pt x="33" y="72"/>
                  <a:pt x="37" y="78"/>
                  <a:pt x="41" y="79"/>
                </a:cubicBezTo>
                <a:cubicBezTo>
                  <a:pt x="44" y="79"/>
                  <a:pt x="46" y="76"/>
                  <a:pt x="48" y="75"/>
                </a:cubicBezTo>
                <a:cubicBezTo>
                  <a:pt x="50" y="73"/>
                  <a:pt x="52" y="70"/>
                  <a:pt x="55" y="70"/>
                </a:cubicBezTo>
                <a:cubicBezTo>
                  <a:pt x="58" y="69"/>
                  <a:pt x="62" y="70"/>
                  <a:pt x="65" y="72"/>
                </a:cubicBezTo>
                <a:cubicBezTo>
                  <a:pt x="68" y="74"/>
                  <a:pt x="70" y="78"/>
                  <a:pt x="72" y="81"/>
                </a:cubicBezTo>
                <a:cubicBezTo>
                  <a:pt x="75" y="84"/>
                  <a:pt x="79" y="87"/>
                  <a:pt x="79" y="91"/>
                </a:cubicBezTo>
                <a:cubicBezTo>
                  <a:pt x="79" y="95"/>
                  <a:pt x="78" y="100"/>
                  <a:pt x="80" y="104"/>
                </a:cubicBezTo>
                <a:cubicBezTo>
                  <a:pt x="82" y="106"/>
                  <a:pt x="85" y="108"/>
                  <a:pt x="87" y="110"/>
                </a:cubicBezTo>
                <a:cubicBezTo>
                  <a:pt x="90" y="113"/>
                  <a:pt x="92" y="117"/>
                  <a:pt x="92" y="121"/>
                </a:cubicBezTo>
                <a:cubicBezTo>
                  <a:pt x="92" y="124"/>
                  <a:pt x="91" y="126"/>
                  <a:pt x="91" y="128"/>
                </a:cubicBezTo>
                <a:cubicBezTo>
                  <a:pt x="91" y="130"/>
                  <a:pt x="91" y="132"/>
                  <a:pt x="91" y="134"/>
                </a:cubicBezTo>
                <a:cubicBezTo>
                  <a:pt x="92" y="138"/>
                  <a:pt x="89" y="141"/>
                  <a:pt x="86" y="143"/>
                </a:cubicBezTo>
                <a:cubicBezTo>
                  <a:pt x="89" y="144"/>
                  <a:pt x="91" y="145"/>
                  <a:pt x="94" y="146"/>
                </a:cubicBezTo>
                <a:cubicBezTo>
                  <a:pt x="95" y="146"/>
                  <a:pt x="98" y="148"/>
                  <a:pt x="100" y="147"/>
                </a:cubicBezTo>
                <a:cubicBezTo>
                  <a:pt x="100" y="147"/>
                  <a:pt x="99" y="144"/>
                  <a:pt x="99" y="144"/>
                </a:cubicBezTo>
                <a:cubicBezTo>
                  <a:pt x="98" y="142"/>
                  <a:pt x="100" y="139"/>
                  <a:pt x="102" y="138"/>
                </a:cubicBezTo>
                <a:cubicBezTo>
                  <a:pt x="104" y="137"/>
                  <a:pt x="107" y="137"/>
                  <a:pt x="110" y="138"/>
                </a:cubicBezTo>
                <a:cubicBezTo>
                  <a:pt x="112" y="139"/>
                  <a:pt x="115" y="141"/>
                  <a:pt x="118" y="140"/>
                </a:cubicBezTo>
                <a:cubicBezTo>
                  <a:pt x="120" y="139"/>
                  <a:pt x="122" y="137"/>
                  <a:pt x="122" y="134"/>
                </a:cubicBezTo>
                <a:cubicBezTo>
                  <a:pt x="123" y="133"/>
                  <a:pt x="123" y="132"/>
                  <a:pt x="123" y="130"/>
                </a:cubicBezTo>
                <a:cubicBezTo>
                  <a:pt x="124" y="129"/>
                  <a:pt x="125" y="128"/>
                  <a:pt x="125" y="127"/>
                </a:cubicBezTo>
                <a:cubicBezTo>
                  <a:pt x="126" y="125"/>
                  <a:pt x="123" y="123"/>
                  <a:pt x="122" y="122"/>
                </a:cubicBezTo>
                <a:cubicBezTo>
                  <a:pt x="120" y="121"/>
                  <a:pt x="117" y="118"/>
                  <a:pt x="118" y="116"/>
                </a:cubicBezTo>
                <a:cubicBezTo>
                  <a:pt x="119" y="114"/>
                  <a:pt x="121" y="114"/>
                  <a:pt x="122" y="113"/>
                </a:cubicBezTo>
                <a:cubicBezTo>
                  <a:pt x="122" y="110"/>
                  <a:pt x="119" y="110"/>
                  <a:pt x="118" y="109"/>
                </a:cubicBezTo>
                <a:cubicBezTo>
                  <a:pt x="117" y="108"/>
                  <a:pt x="116" y="107"/>
                  <a:pt x="115" y="106"/>
                </a:cubicBezTo>
                <a:cubicBezTo>
                  <a:pt x="114" y="105"/>
                  <a:pt x="113" y="106"/>
                  <a:pt x="112" y="105"/>
                </a:cubicBezTo>
                <a:cubicBezTo>
                  <a:pt x="109" y="105"/>
                  <a:pt x="109" y="103"/>
                  <a:pt x="109" y="100"/>
                </a:cubicBezTo>
                <a:cubicBezTo>
                  <a:pt x="108" y="94"/>
                  <a:pt x="103" y="93"/>
                  <a:pt x="99" y="89"/>
                </a:cubicBezTo>
                <a:cubicBezTo>
                  <a:pt x="96" y="86"/>
                  <a:pt x="93" y="81"/>
                  <a:pt x="90" y="78"/>
                </a:cubicBezTo>
                <a:cubicBezTo>
                  <a:pt x="89" y="77"/>
                  <a:pt x="88" y="76"/>
                  <a:pt x="87" y="76"/>
                </a:cubicBezTo>
                <a:cubicBezTo>
                  <a:pt x="86" y="75"/>
                  <a:pt x="85" y="75"/>
                  <a:pt x="84" y="74"/>
                </a:cubicBezTo>
                <a:cubicBezTo>
                  <a:pt x="83" y="73"/>
                  <a:pt x="84" y="71"/>
                  <a:pt x="83" y="70"/>
                </a:cubicBezTo>
                <a:cubicBezTo>
                  <a:pt x="83" y="69"/>
                  <a:pt x="83" y="68"/>
                  <a:pt x="81" y="67"/>
                </a:cubicBezTo>
                <a:cubicBezTo>
                  <a:pt x="77" y="63"/>
                  <a:pt x="72" y="62"/>
                  <a:pt x="67" y="60"/>
                </a:cubicBezTo>
                <a:cubicBezTo>
                  <a:pt x="66" y="59"/>
                  <a:pt x="63" y="57"/>
                  <a:pt x="64" y="55"/>
                </a:cubicBezTo>
                <a:cubicBezTo>
                  <a:pt x="64" y="54"/>
                  <a:pt x="64" y="53"/>
                  <a:pt x="64" y="52"/>
                </a:cubicBezTo>
                <a:cubicBezTo>
                  <a:pt x="65" y="51"/>
                  <a:pt x="65" y="49"/>
                  <a:pt x="66" y="49"/>
                </a:cubicBezTo>
                <a:cubicBezTo>
                  <a:pt x="68" y="48"/>
                  <a:pt x="70" y="49"/>
                  <a:pt x="72" y="49"/>
                </a:cubicBezTo>
                <a:cubicBezTo>
                  <a:pt x="75" y="49"/>
                  <a:pt x="77" y="46"/>
                  <a:pt x="79" y="45"/>
                </a:cubicBezTo>
                <a:cubicBezTo>
                  <a:pt x="80" y="44"/>
                  <a:pt x="80" y="43"/>
                  <a:pt x="80" y="42"/>
                </a:cubicBezTo>
                <a:cubicBezTo>
                  <a:pt x="80" y="41"/>
                  <a:pt x="79" y="40"/>
                  <a:pt x="79" y="39"/>
                </a:cubicBezTo>
                <a:cubicBezTo>
                  <a:pt x="77" y="37"/>
                  <a:pt x="74" y="38"/>
                  <a:pt x="73" y="35"/>
                </a:cubicBezTo>
                <a:cubicBezTo>
                  <a:pt x="73" y="34"/>
                  <a:pt x="73" y="33"/>
                  <a:pt x="73" y="32"/>
                </a:cubicBezTo>
                <a:cubicBezTo>
                  <a:pt x="73" y="31"/>
                  <a:pt x="72" y="30"/>
                  <a:pt x="71" y="30"/>
                </a:cubicBezTo>
                <a:cubicBezTo>
                  <a:pt x="69" y="28"/>
                  <a:pt x="67" y="28"/>
                  <a:pt x="65" y="30"/>
                </a:cubicBezTo>
                <a:cubicBezTo>
                  <a:pt x="61" y="33"/>
                  <a:pt x="54" y="31"/>
                  <a:pt x="51" y="28"/>
                </a:cubicBezTo>
                <a:cubicBezTo>
                  <a:pt x="49" y="26"/>
                  <a:pt x="47" y="24"/>
                  <a:pt x="46" y="22"/>
                </a:cubicBezTo>
                <a:cubicBezTo>
                  <a:pt x="45" y="21"/>
                  <a:pt x="45" y="20"/>
                  <a:pt x="45" y="18"/>
                </a:cubicBezTo>
                <a:cubicBezTo>
                  <a:pt x="45" y="17"/>
                  <a:pt x="46" y="15"/>
                  <a:pt x="45" y="14"/>
                </a:cubicBezTo>
                <a:cubicBezTo>
                  <a:pt x="45" y="14"/>
                  <a:pt x="44" y="14"/>
                  <a:pt x="43" y="14"/>
                </a:cubicBezTo>
                <a:cubicBezTo>
                  <a:pt x="42" y="14"/>
                  <a:pt x="41" y="13"/>
                  <a:pt x="41" y="13"/>
                </a:cubicBezTo>
                <a:cubicBezTo>
                  <a:pt x="39" y="11"/>
                  <a:pt x="39" y="9"/>
                  <a:pt x="38" y="7"/>
                </a:cubicBezTo>
                <a:cubicBezTo>
                  <a:pt x="36" y="5"/>
                  <a:pt x="35" y="3"/>
                  <a:pt x="33" y="1"/>
                </a:cubicBezTo>
                <a:cubicBezTo>
                  <a:pt x="32" y="0"/>
                  <a:pt x="31" y="1"/>
                  <a:pt x="30" y="0"/>
                </a:cubicBezTo>
                <a:cubicBezTo>
                  <a:pt x="29" y="0"/>
                  <a:pt x="28" y="0"/>
                  <a:pt x="27" y="1"/>
                </a:cubicBezTo>
                <a:cubicBezTo>
                  <a:pt x="21" y="4"/>
                  <a:pt x="28" y="7"/>
                  <a:pt x="28" y="11"/>
                </a:cubicBezTo>
                <a:cubicBezTo>
                  <a:pt x="28" y="13"/>
                  <a:pt x="27" y="16"/>
                  <a:pt x="28" y="18"/>
                </a:cubicBezTo>
                <a:cubicBezTo>
                  <a:pt x="28" y="20"/>
                  <a:pt x="29" y="22"/>
                  <a:pt x="27" y="23"/>
                </a:cubicBezTo>
                <a:cubicBezTo>
                  <a:pt x="27" y="23"/>
                  <a:pt x="27" y="23"/>
                  <a:pt x="27" y="23"/>
                </a:cubicBezTo>
                <a:cubicBezTo>
                  <a:pt x="26" y="24"/>
                  <a:pt x="27" y="23"/>
                  <a:pt x="27" y="23"/>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1" name="Freeform 274">
            <a:extLst>
              <a:ext uri="{FF2B5EF4-FFF2-40B4-BE49-F238E27FC236}">
                <a16:creationId xmlns:a16="http://schemas.microsoft.com/office/drawing/2014/main" id="{4F359062-ED28-D52A-1481-87FF1EE31133}"/>
              </a:ext>
            </a:extLst>
          </p:cNvPr>
          <p:cNvSpPr/>
          <p:nvPr>
            <p:custDataLst>
              <p:tags r:id="rId53"/>
            </p:custDataLst>
          </p:nvPr>
        </p:nvSpPr>
        <p:spPr bwMode="auto">
          <a:xfrm>
            <a:off x="6451355" y="3463983"/>
            <a:ext cx="104113" cy="83091"/>
          </a:xfrm>
          <a:custGeom>
            <a:avLst/>
            <a:gdLst>
              <a:gd name="T0" fmla="*/ 87 w 89"/>
              <a:gd name="T1" fmla="*/ 4 h 71"/>
              <a:gd name="T2" fmla="*/ 86 w 89"/>
              <a:gd name="T3" fmla="*/ 0 h 71"/>
              <a:gd name="T4" fmla="*/ 81 w 89"/>
              <a:gd name="T5" fmla="*/ 4 h 71"/>
              <a:gd name="T6" fmla="*/ 73 w 89"/>
              <a:gd name="T7" fmla="*/ 2 h 71"/>
              <a:gd name="T8" fmla="*/ 65 w 89"/>
              <a:gd name="T9" fmla="*/ 3 h 71"/>
              <a:gd name="T10" fmla="*/ 64 w 89"/>
              <a:gd name="T11" fmla="*/ 5 h 71"/>
              <a:gd name="T12" fmla="*/ 65 w 89"/>
              <a:gd name="T13" fmla="*/ 9 h 71"/>
              <a:gd name="T14" fmla="*/ 57 w 89"/>
              <a:gd name="T15" fmla="*/ 10 h 71"/>
              <a:gd name="T16" fmla="*/ 49 w 89"/>
              <a:gd name="T17" fmla="*/ 8 h 71"/>
              <a:gd name="T18" fmla="*/ 42 w 89"/>
              <a:gd name="T19" fmla="*/ 4 h 71"/>
              <a:gd name="T20" fmla="*/ 33 w 89"/>
              <a:gd name="T21" fmla="*/ 4 h 71"/>
              <a:gd name="T22" fmla="*/ 23 w 89"/>
              <a:gd name="T23" fmla="*/ 4 h 71"/>
              <a:gd name="T24" fmla="*/ 8 w 89"/>
              <a:gd name="T25" fmla="*/ 10 h 71"/>
              <a:gd name="T26" fmla="*/ 4 w 89"/>
              <a:gd name="T27" fmla="*/ 16 h 71"/>
              <a:gd name="T28" fmla="*/ 2 w 89"/>
              <a:gd name="T29" fmla="*/ 22 h 71"/>
              <a:gd name="T30" fmla="*/ 4 w 89"/>
              <a:gd name="T31" fmla="*/ 29 h 71"/>
              <a:gd name="T32" fmla="*/ 4 w 89"/>
              <a:gd name="T33" fmla="*/ 33 h 71"/>
              <a:gd name="T34" fmla="*/ 7 w 89"/>
              <a:gd name="T35" fmla="*/ 36 h 71"/>
              <a:gd name="T36" fmla="*/ 8 w 89"/>
              <a:gd name="T37" fmla="*/ 43 h 71"/>
              <a:gd name="T38" fmla="*/ 9 w 89"/>
              <a:gd name="T39" fmla="*/ 45 h 71"/>
              <a:gd name="T40" fmla="*/ 10 w 89"/>
              <a:gd name="T41" fmla="*/ 46 h 71"/>
              <a:gd name="T42" fmla="*/ 11 w 89"/>
              <a:gd name="T43" fmla="*/ 48 h 71"/>
              <a:gd name="T44" fmla="*/ 12 w 89"/>
              <a:gd name="T45" fmla="*/ 50 h 71"/>
              <a:gd name="T46" fmla="*/ 13 w 89"/>
              <a:gd name="T47" fmla="*/ 53 h 71"/>
              <a:gd name="T48" fmla="*/ 11 w 89"/>
              <a:gd name="T49" fmla="*/ 56 h 71"/>
              <a:gd name="T50" fmla="*/ 13 w 89"/>
              <a:gd name="T51" fmla="*/ 58 h 71"/>
              <a:gd name="T52" fmla="*/ 13 w 89"/>
              <a:gd name="T53" fmla="*/ 62 h 71"/>
              <a:gd name="T54" fmla="*/ 18 w 89"/>
              <a:gd name="T55" fmla="*/ 62 h 71"/>
              <a:gd name="T56" fmla="*/ 20 w 89"/>
              <a:gd name="T57" fmla="*/ 59 h 71"/>
              <a:gd name="T58" fmla="*/ 22 w 89"/>
              <a:gd name="T59" fmla="*/ 61 h 71"/>
              <a:gd name="T60" fmla="*/ 22 w 89"/>
              <a:gd name="T61" fmla="*/ 64 h 71"/>
              <a:gd name="T62" fmla="*/ 20 w 89"/>
              <a:gd name="T63" fmla="*/ 67 h 71"/>
              <a:gd name="T64" fmla="*/ 24 w 89"/>
              <a:gd name="T65" fmla="*/ 68 h 71"/>
              <a:gd name="T66" fmla="*/ 32 w 89"/>
              <a:gd name="T67" fmla="*/ 69 h 71"/>
              <a:gd name="T68" fmla="*/ 36 w 89"/>
              <a:gd name="T69" fmla="*/ 70 h 71"/>
              <a:gd name="T70" fmla="*/ 39 w 89"/>
              <a:gd name="T71" fmla="*/ 69 h 71"/>
              <a:gd name="T72" fmla="*/ 47 w 89"/>
              <a:gd name="T73" fmla="*/ 65 h 71"/>
              <a:gd name="T74" fmla="*/ 56 w 89"/>
              <a:gd name="T75" fmla="*/ 61 h 71"/>
              <a:gd name="T76" fmla="*/ 60 w 89"/>
              <a:gd name="T77" fmla="*/ 60 h 71"/>
              <a:gd name="T78" fmla="*/ 59 w 89"/>
              <a:gd name="T79" fmla="*/ 54 h 71"/>
              <a:gd name="T80" fmla="*/ 60 w 89"/>
              <a:gd name="T81" fmla="*/ 49 h 71"/>
              <a:gd name="T82" fmla="*/ 67 w 89"/>
              <a:gd name="T83" fmla="*/ 49 h 71"/>
              <a:gd name="T84" fmla="*/ 70 w 89"/>
              <a:gd name="T85" fmla="*/ 45 h 71"/>
              <a:gd name="T86" fmla="*/ 76 w 89"/>
              <a:gd name="T87" fmla="*/ 41 h 71"/>
              <a:gd name="T88" fmla="*/ 85 w 89"/>
              <a:gd name="T89" fmla="*/ 32 h 71"/>
              <a:gd name="T90" fmla="*/ 88 w 89"/>
              <a:gd name="T91" fmla="*/ 26 h 71"/>
              <a:gd name="T92" fmla="*/ 88 w 89"/>
              <a:gd name="T93" fmla="*/ 19 h 71"/>
              <a:gd name="T94" fmla="*/ 85 w 89"/>
              <a:gd name="T95" fmla="*/ 11 h 71"/>
              <a:gd name="T96" fmla="*/ 87 w 89"/>
              <a:gd name="T97" fmla="*/ 4 h 71"/>
              <a:gd name="T98" fmla="*/ 87 w 89"/>
              <a:gd name="T99" fmla="*/ 4 h 71"/>
              <a:gd name="T100" fmla="*/ 87 w 89"/>
              <a:gd name="T101" fmla="*/ 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9" h="71">
                <a:moveTo>
                  <a:pt x="87" y="4"/>
                </a:moveTo>
                <a:cubicBezTo>
                  <a:pt x="87" y="3"/>
                  <a:pt x="87" y="1"/>
                  <a:pt x="86" y="0"/>
                </a:cubicBezTo>
                <a:cubicBezTo>
                  <a:pt x="85" y="2"/>
                  <a:pt x="83" y="3"/>
                  <a:pt x="81" y="4"/>
                </a:cubicBezTo>
                <a:cubicBezTo>
                  <a:pt x="78" y="5"/>
                  <a:pt x="75" y="4"/>
                  <a:pt x="73" y="2"/>
                </a:cubicBezTo>
                <a:cubicBezTo>
                  <a:pt x="70" y="1"/>
                  <a:pt x="68" y="1"/>
                  <a:pt x="65" y="3"/>
                </a:cubicBezTo>
                <a:cubicBezTo>
                  <a:pt x="65" y="3"/>
                  <a:pt x="64" y="4"/>
                  <a:pt x="64" y="5"/>
                </a:cubicBezTo>
                <a:cubicBezTo>
                  <a:pt x="64" y="6"/>
                  <a:pt x="65" y="7"/>
                  <a:pt x="65" y="9"/>
                </a:cubicBezTo>
                <a:cubicBezTo>
                  <a:pt x="65" y="13"/>
                  <a:pt x="60" y="11"/>
                  <a:pt x="57" y="10"/>
                </a:cubicBezTo>
                <a:cubicBezTo>
                  <a:pt x="55" y="9"/>
                  <a:pt x="52" y="8"/>
                  <a:pt x="49" y="8"/>
                </a:cubicBezTo>
                <a:cubicBezTo>
                  <a:pt x="46" y="7"/>
                  <a:pt x="44" y="5"/>
                  <a:pt x="42" y="4"/>
                </a:cubicBezTo>
                <a:cubicBezTo>
                  <a:pt x="39" y="4"/>
                  <a:pt x="36" y="4"/>
                  <a:pt x="33" y="4"/>
                </a:cubicBezTo>
                <a:cubicBezTo>
                  <a:pt x="30" y="4"/>
                  <a:pt x="26" y="4"/>
                  <a:pt x="23" y="4"/>
                </a:cubicBezTo>
                <a:cubicBezTo>
                  <a:pt x="18" y="4"/>
                  <a:pt x="12" y="6"/>
                  <a:pt x="8" y="10"/>
                </a:cubicBezTo>
                <a:cubicBezTo>
                  <a:pt x="7" y="12"/>
                  <a:pt x="6" y="14"/>
                  <a:pt x="4" y="16"/>
                </a:cubicBezTo>
                <a:cubicBezTo>
                  <a:pt x="3" y="17"/>
                  <a:pt x="0" y="20"/>
                  <a:pt x="2" y="22"/>
                </a:cubicBezTo>
                <a:cubicBezTo>
                  <a:pt x="3" y="24"/>
                  <a:pt x="4" y="26"/>
                  <a:pt x="4" y="29"/>
                </a:cubicBezTo>
                <a:cubicBezTo>
                  <a:pt x="4" y="30"/>
                  <a:pt x="4" y="32"/>
                  <a:pt x="4" y="33"/>
                </a:cubicBezTo>
                <a:cubicBezTo>
                  <a:pt x="5" y="34"/>
                  <a:pt x="6" y="35"/>
                  <a:pt x="7" y="36"/>
                </a:cubicBezTo>
                <a:cubicBezTo>
                  <a:pt x="8" y="38"/>
                  <a:pt x="8" y="40"/>
                  <a:pt x="8" y="43"/>
                </a:cubicBezTo>
                <a:cubicBezTo>
                  <a:pt x="8" y="44"/>
                  <a:pt x="8" y="44"/>
                  <a:pt x="9" y="45"/>
                </a:cubicBezTo>
                <a:cubicBezTo>
                  <a:pt x="9" y="45"/>
                  <a:pt x="10" y="45"/>
                  <a:pt x="10" y="46"/>
                </a:cubicBezTo>
                <a:cubicBezTo>
                  <a:pt x="10" y="46"/>
                  <a:pt x="10" y="47"/>
                  <a:pt x="11" y="48"/>
                </a:cubicBezTo>
                <a:cubicBezTo>
                  <a:pt x="11" y="48"/>
                  <a:pt x="12" y="49"/>
                  <a:pt x="12" y="50"/>
                </a:cubicBezTo>
                <a:cubicBezTo>
                  <a:pt x="12" y="51"/>
                  <a:pt x="13" y="52"/>
                  <a:pt x="13" y="53"/>
                </a:cubicBezTo>
                <a:cubicBezTo>
                  <a:pt x="12" y="54"/>
                  <a:pt x="12" y="55"/>
                  <a:pt x="11" y="56"/>
                </a:cubicBezTo>
                <a:cubicBezTo>
                  <a:pt x="11" y="57"/>
                  <a:pt x="12" y="57"/>
                  <a:pt x="13" y="58"/>
                </a:cubicBezTo>
                <a:cubicBezTo>
                  <a:pt x="13" y="59"/>
                  <a:pt x="12" y="61"/>
                  <a:pt x="13" y="62"/>
                </a:cubicBezTo>
                <a:cubicBezTo>
                  <a:pt x="14" y="64"/>
                  <a:pt x="17" y="63"/>
                  <a:pt x="18" y="62"/>
                </a:cubicBezTo>
                <a:cubicBezTo>
                  <a:pt x="19" y="61"/>
                  <a:pt x="19" y="60"/>
                  <a:pt x="20" y="59"/>
                </a:cubicBezTo>
                <a:cubicBezTo>
                  <a:pt x="21" y="58"/>
                  <a:pt x="21" y="60"/>
                  <a:pt x="22" y="61"/>
                </a:cubicBezTo>
                <a:cubicBezTo>
                  <a:pt x="22" y="62"/>
                  <a:pt x="22" y="63"/>
                  <a:pt x="22" y="64"/>
                </a:cubicBezTo>
                <a:cubicBezTo>
                  <a:pt x="22" y="65"/>
                  <a:pt x="21" y="66"/>
                  <a:pt x="20" y="67"/>
                </a:cubicBezTo>
                <a:cubicBezTo>
                  <a:pt x="19" y="69"/>
                  <a:pt x="23" y="68"/>
                  <a:pt x="24" y="68"/>
                </a:cubicBezTo>
                <a:cubicBezTo>
                  <a:pt x="27" y="68"/>
                  <a:pt x="30" y="68"/>
                  <a:pt x="32" y="69"/>
                </a:cubicBezTo>
                <a:cubicBezTo>
                  <a:pt x="33" y="69"/>
                  <a:pt x="35" y="69"/>
                  <a:pt x="36" y="70"/>
                </a:cubicBezTo>
                <a:cubicBezTo>
                  <a:pt x="36" y="71"/>
                  <a:pt x="38" y="69"/>
                  <a:pt x="39" y="69"/>
                </a:cubicBezTo>
                <a:cubicBezTo>
                  <a:pt x="42" y="68"/>
                  <a:pt x="44" y="66"/>
                  <a:pt x="47" y="65"/>
                </a:cubicBezTo>
                <a:cubicBezTo>
                  <a:pt x="50" y="63"/>
                  <a:pt x="52" y="61"/>
                  <a:pt x="56" y="61"/>
                </a:cubicBezTo>
                <a:cubicBezTo>
                  <a:pt x="57" y="61"/>
                  <a:pt x="60" y="62"/>
                  <a:pt x="60" y="60"/>
                </a:cubicBezTo>
                <a:cubicBezTo>
                  <a:pt x="61" y="58"/>
                  <a:pt x="59" y="56"/>
                  <a:pt x="59" y="54"/>
                </a:cubicBezTo>
                <a:cubicBezTo>
                  <a:pt x="59" y="52"/>
                  <a:pt x="59" y="50"/>
                  <a:pt x="60" y="49"/>
                </a:cubicBezTo>
                <a:cubicBezTo>
                  <a:pt x="62" y="47"/>
                  <a:pt x="64" y="48"/>
                  <a:pt x="67" y="49"/>
                </a:cubicBezTo>
                <a:cubicBezTo>
                  <a:pt x="68" y="49"/>
                  <a:pt x="69" y="46"/>
                  <a:pt x="70" y="45"/>
                </a:cubicBezTo>
                <a:cubicBezTo>
                  <a:pt x="71" y="43"/>
                  <a:pt x="73" y="42"/>
                  <a:pt x="76" y="41"/>
                </a:cubicBezTo>
                <a:cubicBezTo>
                  <a:pt x="81" y="40"/>
                  <a:pt x="83" y="36"/>
                  <a:pt x="85" y="32"/>
                </a:cubicBezTo>
                <a:cubicBezTo>
                  <a:pt x="87" y="30"/>
                  <a:pt x="88" y="28"/>
                  <a:pt x="88" y="26"/>
                </a:cubicBezTo>
                <a:cubicBezTo>
                  <a:pt x="89" y="23"/>
                  <a:pt x="89" y="21"/>
                  <a:pt x="88" y="19"/>
                </a:cubicBezTo>
                <a:cubicBezTo>
                  <a:pt x="87" y="16"/>
                  <a:pt x="86" y="14"/>
                  <a:pt x="85" y="11"/>
                </a:cubicBezTo>
                <a:cubicBezTo>
                  <a:pt x="85" y="9"/>
                  <a:pt x="86" y="6"/>
                  <a:pt x="87" y="4"/>
                </a:cubicBezTo>
                <a:cubicBezTo>
                  <a:pt x="87" y="4"/>
                  <a:pt x="87" y="4"/>
                  <a:pt x="87" y="4"/>
                </a:cubicBezTo>
                <a:cubicBezTo>
                  <a:pt x="87" y="3"/>
                  <a:pt x="87" y="4"/>
                  <a:pt x="87" y="4"/>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2" name="Freeform 275">
            <a:extLst>
              <a:ext uri="{FF2B5EF4-FFF2-40B4-BE49-F238E27FC236}">
                <a16:creationId xmlns:a16="http://schemas.microsoft.com/office/drawing/2014/main" id="{82E99BD5-473F-847E-31CB-A319B46A8D8D}"/>
              </a:ext>
            </a:extLst>
          </p:cNvPr>
          <p:cNvSpPr/>
          <p:nvPr>
            <p:custDataLst>
              <p:tags r:id="rId54"/>
            </p:custDataLst>
          </p:nvPr>
        </p:nvSpPr>
        <p:spPr bwMode="auto">
          <a:xfrm>
            <a:off x="6447350" y="3284789"/>
            <a:ext cx="144157" cy="266289"/>
          </a:xfrm>
          <a:custGeom>
            <a:avLst/>
            <a:gdLst>
              <a:gd name="T0" fmla="*/ 113 w 123"/>
              <a:gd name="T1" fmla="*/ 210 h 228"/>
              <a:gd name="T2" fmla="*/ 118 w 123"/>
              <a:gd name="T3" fmla="*/ 202 h 228"/>
              <a:gd name="T4" fmla="*/ 119 w 123"/>
              <a:gd name="T5" fmla="*/ 196 h 228"/>
              <a:gd name="T6" fmla="*/ 120 w 123"/>
              <a:gd name="T7" fmla="*/ 189 h 228"/>
              <a:gd name="T8" fmla="*/ 122 w 123"/>
              <a:gd name="T9" fmla="*/ 183 h 228"/>
              <a:gd name="T10" fmla="*/ 120 w 123"/>
              <a:gd name="T11" fmla="*/ 171 h 228"/>
              <a:gd name="T12" fmla="*/ 120 w 123"/>
              <a:gd name="T13" fmla="*/ 163 h 228"/>
              <a:gd name="T14" fmla="*/ 112 w 123"/>
              <a:gd name="T15" fmla="*/ 139 h 228"/>
              <a:gd name="T16" fmla="*/ 102 w 123"/>
              <a:gd name="T17" fmla="*/ 128 h 228"/>
              <a:gd name="T18" fmla="*/ 90 w 123"/>
              <a:gd name="T19" fmla="*/ 119 h 228"/>
              <a:gd name="T20" fmla="*/ 78 w 123"/>
              <a:gd name="T21" fmla="*/ 107 h 228"/>
              <a:gd name="T22" fmla="*/ 70 w 123"/>
              <a:gd name="T23" fmla="*/ 98 h 228"/>
              <a:gd name="T24" fmla="*/ 70 w 123"/>
              <a:gd name="T25" fmla="*/ 92 h 228"/>
              <a:gd name="T26" fmla="*/ 59 w 123"/>
              <a:gd name="T27" fmla="*/ 81 h 228"/>
              <a:gd name="T28" fmla="*/ 60 w 123"/>
              <a:gd name="T29" fmla="*/ 68 h 228"/>
              <a:gd name="T30" fmla="*/ 74 w 123"/>
              <a:gd name="T31" fmla="*/ 51 h 228"/>
              <a:gd name="T32" fmla="*/ 76 w 123"/>
              <a:gd name="T33" fmla="*/ 46 h 228"/>
              <a:gd name="T34" fmla="*/ 78 w 123"/>
              <a:gd name="T35" fmla="*/ 41 h 228"/>
              <a:gd name="T36" fmla="*/ 89 w 123"/>
              <a:gd name="T37" fmla="*/ 36 h 228"/>
              <a:gd name="T38" fmla="*/ 95 w 123"/>
              <a:gd name="T39" fmla="*/ 32 h 228"/>
              <a:gd name="T40" fmla="*/ 84 w 123"/>
              <a:gd name="T41" fmla="*/ 28 h 228"/>
              <a:gd name="T42" fmla="*/ 75 w 123"/>
              <a:gd name="T43" fmla="*/ 23 h 228"/>
              <a:gd name="T44" fmla="*/ 74 w 123"/>
              <a:gd name="T45" fmla="*/ 16 h 228"/>
              <a:gd name="T46" fmla="*/ 76 w 123"/>
              <a:gd name="T47" fmla="*/ 8 h 228"/>
              <a:gd name="T48" fmla="*/ 64 w 123"/>
              <a:gd name="T49" fmla="*/ 8 h 228"/>
              <a:gd name="T50" fmla="*/ 51 w 123"/>
              <a:gd name="T51" fmla="*/ 1 h 228"/>
              <a:gd name="T52" fmla="*/ 38 w 123"/>
              <a:gd name="T53" fmla="*/ 11 h 228"/>
              <a:gd name="T54" fmla="*/ 32 w 123"/>
              <a:gd name="T55" fmla="*/ 13 h 228"/>
              <a:gd name="T56" fmla="*/ 23 w 123"/>
              <a:gd name="T57" fmla="*/ 13 h 228"/>
              <a:gd name="T58" fmla="*/ 17 w 123"/>
              <a:gd name="T59" fmla="*/ 14 h 228"/>
              <a:gd name="T60" fmla="*/ 4 w 123"/>
              <a:gd name="T61" fmla="*/ 12 h 228"/>
              <a:gd name="T62" fmla="*/ 3 w 123"/>
              <a:gd name="T63" fmla="*/ 18 h 228"/>
              <a:gd name="T64" fmla="*/ 9 w 123"/>
              <a:gd name="T65" fmla="*/ 27 h 228"/>
              <a:gd name="T66" fmla="*/ 13 w 123"/>
              <a:gd name="T67" fmla="*/ 35 h 228"/>
              <a:gd name="T68" fmla="*/ 24 w 123"/>
              <a:gd name="T69" fmla="*/ 45 h 228"/>
              <a:gd name="T70" fmla="*/ 37 w 123"/>
              <a:gd name="T71" fmla="*/ 43 h 228"/>
              <a:gd name="T72" fmla="*/ 42 w 123"/>
              <a:gd name="T73" fmla="*/ 51 h 228"/>
              <a:gd name="T74" fmla="*/ 48 w 123"/>
              <a:gd name="T75" fmla="*/ 58 h 228"/>
              <a:gd name="T76" fmla="*/ 37 w 123"/>
              <a:gd name="T77" fmla="*/ 67 h 228"/>
              <a:gd name="T78" fmla="*/ 32 w 123"/>
              <a:gd name="T79" fmla="*/ 70 h 228"/>
              <a:gd name="T80" fmla="*/ 45 w 123"/>
              <a:gd name="T81" fmla="*/ 79 h 228"/>
              <a:gd name="T82" fmla="*/ 53 w 123"/>
              <a:gd name="T83" fmla="*/ 89 h 228"/>
              <a:gd name="T84" fmla="*/ 76 w 123"/>
              <a:gd name="T85" fmla="*/ 113 h 228"/>
              <a:gd name="T86" fmla="*/ 79 w 123"/>
              <a:gd name="T87" fmla="*/ 119 h 228"/>
              <a:gd name="T88" fmla="*/ 86 w 123"/>
              <a:gd name="T89" fmla="*/ 123 h 228"/>
              <a:gd name="T90" fmla="*/ 89 w 123"/>
              <a:gd name="T91" fmla="*/ 131 h 228"/>
              <a:gd name="T92" fmla="*/ 87 w 123"/>
              <a:gd name="T93" fmla="*/ 134 h 228"/>
              <a:gd name="T94" fmla="*/ 92 w 123"/>
              <a:gd name="T95" fmla="*/ 146 h 228"/>
              <a:gd name="T96" fmla="*/ 90 w 123"/>
              <a:gd name="T97" fmla="*/ 152 h 228"/>
              <a:gd name="T98" fmla="*/ 91 w 123"/>
              <a:gd name="T99" fmla="*/ 161 h 228"/>
              <a:gd name="T100" fmla="*/ 94 w 123"/>
              <a:gd name="T101" fmla="*/ 180 h 228"/>
              <a:gd name="T102" fmla="*/ 85 w 123"/>
              <a:gd name="T103" fmla="*/ 194 h 228"/>
              <a:gd name="T104" fmla="*/ 74 w 123"/>
              <a:gd name="T105" fmla="*/ 201 h 228"/>
              <a:gd name="T106" fmla="*/ 64 w 123"/>
              <a:gd name="T107" fmla="*/ 205 h 228"/>
              <a:gd name="T108" fmla="*/ 57 w 123"/>
              <a:gd name="T109" fmla="*/ 218 h 228"/>
              <a:gd name="T110" fmla="*/ 57 w 123"/>
              <a:gd name="T111" fmla="*/ 221 h 228"/>
              <a:gd name="T112" fmla="*/ 63 w 123"/>
              <a:gd name="T113" fmla="*/ 226 h 228"/>
              <a:gd name="T114" fmla="*/ 75 w 123"/>
              <a:gd name="T115" fmla="*/ 228 h 228"/>
              <a:gd name="T116" fmla="*/ 78 w 123"/>
              <a:gd name="T117" fmla="*/ 223 h 228"/>
              <a:gd name="T118" fmla="*/ 83 w 123"/>
              <a:gd name="T119" fmla="*/ 223 h 228"/>
              <a:gd name="T120" fmla="*/ 89 w 123"/>
              <a:gd name="T121" fmla="*/ 224 h 228"/>
              <a:gd name="T122" fmla="*/ 102 w 123"/>
              <a:gd name="T123" fmla="*/ 217 h 228"/>
              <a:gd name="T124" fmla="*/ 107 w 123"/>
              <a:gd name="T125" fmla="*/ 21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 h="228">
                <a:moveTo>
                  <a:pt x="107" y="214"/>
                </a:moveTo>
                <a:cubicBezTo>
                  <a:pt x="109" y="212"/>
                  <a:pt x="111" y="211"/>
                  <a:pt x="113" y="210"/>
                </a:cubicBezTo>
                <a:cubicBezTo>
                  <a:pt x="116" y="209"/>
                  <a:pt x="116" y="207"/>
                  <a:pt x="117" y="205"/>
                </a:cubicBezTo>
                <a:cubicBezTo>
                  <a:pt x="118" y="204"/>
                  <a:pt x="119" y="203"/>
                  <a:pt x="118" y="202"/>
                </a:cubicBezTo>
                <a:cubicBezTo>
                  <a:pt x="118" y="201"/>
                  <a:pt x="117" y="200"/>
                  <a:pt x="118" y="199"/>
                </a:cubicBezTo>
                <a:cubicBezTo>
                  <a:pt x="118" y="198"/>
                  <a:pt x="118" y="197"/>
                  <a:pt x="119" y="196"/>
                </a:cubicBezTo>
                <a:cubicBezTo>
                  <a:pt x="119" y="195"/>
                  <a:pt x="118" y="193"/>
                  <a:pt x="119" y="192"/>
                </a:cubicBezTo>
                <a:cubicBezTo>
                  <a:pt x="119" y="191"/>
                  <a:pt x="120" y="190"/>
                  <a:pt x="120" y="189"/>
                </a:cubicBezTo>
                <a:cubicBezTo>
                  <a:pt x="120" y="188"/>
                  <a:pt x="120" y="187"/>
                  <a:pt x="121" y="185"/>
                </a:cubicBezTo>
                <a:cubicBezTo>
                  <a:pt x="121" y="184"/>
                  <a:pt x="122" y="184"/>
                  <a:pt x="122" y="183"/>
                </a:cubicBezTo>
                <a:cubicBezTo>
                  <a:pt x="123" y="181"/>
                  <a:pt x="123" y="180"/>
                  <a:pt x="123" y="179"/>
                </a:cubicBezTo>
                <a:cubicBezTo>
                  <a:pt x="122" y="176"/>
                  <a:pt x="120" y="174"/>
                  <a:pt x="120" y="171"/>
                </a:cubicBezTo>
                <a:cubicBezTo>
                  <a:pt x="120" y="170"/>
                  <a:pt x="121" y="168"/>
                  <a:pt x="121" y="167"/>
                </a:cubicBezTo>
                <a:cubicBezTo>
                  <a:pt x="121" y="166"/>
                  <a:pt x="121" y="164"/>
                  <a:pt x="120" y="163"/>
                </a:cubicBezTo>
                <a:cubicBezTo>
                  <a:pt x="118" y="157"/>
                  <a:pt x="115" y="152"/>
                  <a:pt x="115" y="146"/>
                </a:cubicBezTo>
                <a:cubicBezTo>
                  <a:pt x="115" y="144"/>
                  <a:pt x="114" y="141"/>
                  <a:pt x="112" y="139"/>
                </a:cubicBezTo>
                <a:cubicBezTo>
                  <a:pt x="111" y="137"/>
                  <a:pt x="109" y="135"/>
                  <a:pt x="107" y="134"/>
                </a:cubicBezTo>
                <a:cubicBezTo>
                  <a:pt x="105" y="132"/>
                  <a:pt x="103" y="130"/>
                  <a:pt x="102" y="128"/>
                </a:cubicBezTo>
                <a:cubicBezTo>
                  <a:pt x="101" y="125"/>
                  <a:pt x="99" y="124"/>
                  <a:pt x="97" y="123"/>
                </a:cubicBezTo>
                <a:cubicBezTo>
                  <a:pt x="95" y="122"/>
                  <a:pt x="92" y="120"/>
                  <a:pt x="90" y="119"/>
                </a:cubicBezTo>
                <a:cubicBezTo>
                  <a:pt x="88" y="117"/>
                  <a:pt x="85" y="115"/>
                  <a:pt x="84" y="113"/>
                </a:cubicBezTo>
                <a:cubicBezTo>
                  <a:pt x="82" y="111"/>
                  <a:pt x="80" y="109"/>
                  <a:pt x="78" y="107"/>
                </a:cubicBezTo>
                <a:cubicBezTo>
                  <a:pt x="76" y="105"/>
                  <a:pt x="74" y="103"/>
                  <a:pt x="72" y="102"/>
                </a:cubicBezTo>
                <a:cubicBezTo>
                  <a:pt x="70" y="101"/>
                  <a:pt x="68" y="99"/>
                  <a:pt x="70" y="98"/>
                </a:cubicBezTo>
                <a:cubicBezTo>
                  <a:pt x="71" y="97"/>
                  <a:pt x="72" y="96"/>
                  <a:pt x="72" y="95"/>
                </a:cubicBezTo>
                <a:cubicBezTo>
                  <a:pt x="72" y="94"/>
                  <a:pt x="71" y="93"/>
                  <a:pt x="70" y="92"/>
                </a:cubicBezTo>
                <a:cubicBezTo>
                  <a:pt x="69" y="90"/>
                  <a:pt x="67" y="89"/>
                  <a:pt x="65" y="87"/>
                </a:cubicBezTo>
                <a:cubicBezTo>
                  <a:pt x="63" y="85"/>
                  <a:pt x="61" y="83"/>
                  <a:pt x="59" y="81"/>
                </a:cubicBezTo>
                <a:cubicBezTo>
                  <a:pt x="58" y="79"/>
                  <a:pt x="58" y="77"/>
                  <a:pt x="59" y="75"/>
                </a:cubicBezTo>
                <a:cubicBezTo>
                  <a:pt x="60" y="72"/>
                  <a:pt x="61" y="71"/>
                  <a:pt x="60" y="68"/>
                </a:cubicBezTo>
                <a:cubicBezTo>
                  <a:pt x="60" y="62"/>
                  <a:pt x="64" y="59"/>
                  <a:pt x="68" y="56"/>
                </a:cubicBezTo>
                <a:cubicBezTo>
                  <a:pt x="70" y="55"/>
                  <a:pt x="73" y="54"/>
                  <a:pt x="74" y="51"/>
                </a:cubicBezTo>
                <a:cubicBezTo>
                  <a:pt x="74" y="50"/>
                  <a:pt x="74" y="49"/>
                  <a:pt x="74" y="48"/>
                </a:cubicBezTo>
                <a:cubicBezTo>
                  <a:pt x="74" y="47"/>
                  <a:pt x="75" y="46"/>
                  <a:pt x="76" y="46"/>
                </a:cubicBezTo>
                <a:cubicBezTo>
                  <a:pt x="78" y="45"/>
                  <a:pt x="76" y="43"/>
                  <a:pt x="75" y="42"/>
                </a:cubicBezTo>
                <a:cubicBezTo>
                  <a:pt x="74" y="40"/>
                  <a:pt x="77" y="40"/>
                  <a:pt x="78" y="41"/>
                </a:cubicBezTo>
                <a:cubicBezTo>
                  <a:pt x="80" y="42"/>
                  <a:pt x="82" y="42"/>
                  <a:pt x="85" y="41"/>
                </a:cubicBezTo>
                <a:cubicBezTo>
                  <a:pt x="87" y="41"/>
                  <a:pt x="87" y="37"/>
                  <a:pt x="89" y="36"/>
                </a:cubicBezTo>
                <a:cubicBezTo>
                  <a:pt x="90" y="35"/>
                  <a:pt x="91" y="35"/>
                  <a:pt x="92" y="34"/>
                </a:cubicBezTo>
                <a:cubicBezTo>
                  <a:pt x="93" y="33"/>
                  <a:pt x="94" y="32"/>
                  <a:pt x="95" y="32"/>
                </a:cubicBezTo>
                <a:cubicBezTo>
                  <a:pt x="93" y="31"/>
                  <a:pt x="90" y="31"/>
                  <a:pt x="87" y="30"/>
                </a:cubicBezTo>
                <a:cubicBezTo>
                  <a:pt x="86" y="30"/>
                  <a:pt x="85" y="29"/>
                  <a:pt x="84" y="28"/>
                </a:cubicBezTo>
                <a:cubicBezTo>
                  <a:pt x="83" y="27"/>
                  <a:pt x="83" y="26"/>
                  <a:pt x="82" y="25"/>
                </a:cubicBezTo>
                <a:cubicBezTo>
                  <a:pt x="79" y="25"/>
                  <a:pt x="77" y="25"/>
                  <a:pt x="75" y="23"/>
                </a:cubicBezTo>
                <a:cubicBezTo>
                  <a:pt x="75" y="23"/>
                  <a:pt x="75" y="21"/>
                  <a:pt x="75" y="20"/>
                </a:cubicBezTo>
                <a:cubicBezTo>
                  <a:pt x="75" y="19"/>
                  <a:pt x="74" y="18"/>
                  <a:pt x="74" y="16"/>
                </a:cubicBezTo>
                <a:cubicBezTo>
                  <a:pt x="73" y="14"/>
                  <a:pt x="74" y="12"/>
                  <a:pt x="75" y="11"/>
                </a:cubicBezTo>
                <a:cubicBezTo>
                  <a:pt x="75" y="10"/>
                  <a:pt x="76" y="9"/>
                  <a:pt x="76" y="8"/>
                </a:cubicBezTo>
                <a:cubicBezTo>
                  <a:pt x="75" y="7"/>
                  <a:pt x="73" y="8"/>
                  <a:pt x="72" y="8"/>
                </a:cubicBezTo>
                <a:cubicBezTo>
                  <a:pt x="69" y="8"/>
                  <a:pt x="67" y="8"/>
                  <a:pt x="64" y="8"/>
                </a:cubicBezTo>
                <a:cubicBezTo>
                  <a:pt x="61" y="7"/>
                  <a:pt x="59" y="6"/>
                  <a:pt x="56" y="4"/>
                </a:cubicBezTo>
                <a:cubicBezTo>
                  <a:pt x="55" y="3"/>
                  <a:pt x="53" y="0"/>
                  <a:pt x="51" y="1"/>
                </a:cubicBezTo>
                <a:cubicBezTo>
                  <a:pt x="49" y="2"/>
                  <a:pt x="47" y="5"/>
                  <a:pt x="45" y="7"/>
                </a:cubicBezTo>
                <a:cubicBezTo>
                  <a:pt x="43" y="8"/>
                  <a:pt x="41" y="11"/>
                  <a:pt x="38" y="11"/>
                </a:cubicBezTo>
                <a:cubicBezTo>
                  <a:pt x="37" y="11"/>
                  <a:pt x="36" y="10"/>
                  <a:pt x="35" y="11"/>
                </a:cubicBezTo>
                <a:cubicBezTo>
                  <a:pt x="33" y="12"/>
                  <a:pt x="33" y="12"/>
                  <a:pt x="32" y="13"/>
                </a:cubicBezTo>
                <a:cubicBezTo>
                  <a:pt x="30" y="15"/>
                  <a:pt x="28" y="13"/>
                  <a:pt x="26" y="12"/>
                </a:cubicBezTo>
                <a:cubicBezTo>
                  <a:pt x="25" y="12"/>
                  <a:pt x="24" y="12"/>
                  <a:pt x="23" y="13"/>
                </a:cubicBezTo>
                <a:cubicBezTo>
                  <a:pt x="22" y="13"/>
                  <a:pt x="21" y="13"/>
                  <a:pt x="21" y="12"/>
                </a:cubicBezTo>
                <a:cubicBezTo>
                  <a:pt x="19" y="10"/>
                  <a:pt x="18" y="12"/>
                  <a:pt x="17" y="14"/>
                </a:cubicBezTo>
                <a:cubicBezTo>
                  <a:pt x="15" y="16"/>
                  <a:pt x="12" y="16"/>
                  <a:pt x="10" y="14"/>
                </a:cubicBezTo>
                <a:cubicBezTo>
                  <a:pt x="8" y="13"/>
                  <a:pt x="6" y="10"/>
                  <a:pt x="4" y="12"/>
                </a:cubicBezTo>
                <a:cubicBezTo>
                  <a:pt x="3" y="13"/>
                  <a:pt x="2" y="14"/>
                  <a:pt x="1" y="15"/>
                </a:cubicBezTo>
                <a:cubicBezTo>
                  <a:pt x="0" y="16"/>
                  <a:pt x="2" y="18"/>
                  <a:pt x="3" y="18"/>
                </a:cubicBezTo>
                <a:cubicBezTo>
                  <a:pt x="4" y="20"/>
                  <a:pt x="7" y="22"/>
                  <a:pt x="7" y="24"/>
                </a:cubicBezTo>
                <a:cubicBezTo>
                  <a:pt x="8" y="25"/>
                  <a:pt x="8" y="26"/>
                  <a:pt x="9" y="27"/>
                </a:cubicBezTo>
                <a:cubicBezTo>
                  <a:pt x="10" y="29"/>
                  <a:pt x="11" y="28"/>
                  <a:pt x="12" y="28"/>
                </a:cubicBezTo>
                <a:cubicBezTo>
                  <a:pt x="15" y="29"/>
                  <a:pt x="13" y="33"/>
                  <a:pt x="13" y="35"/>
                </a:cubicBezTo>
                <a:cubicBezTo>
                  <a:pt x="13" y="38"/>
                  <a:pt x="15" y="40"/>
                  <a:pt x="17" y="41"/>
                </a:cubicBezTo>
                <a:cubicBezTo>
                  <a:pt x="19" y="43"/>
                  <a:pt x="21" y="45"/>
                  <a:pt x="24" y="45"/>
                </a:cubicBezTo>
                <a:cubicBezTo>
                  <a:pt x="27" y="45"/>
                  <a:pt x="28" y="45"/>
                  <a:pt x="30" y="43"/>
                </a:cubicBezTo>
                <a:cubicBezTo>
                  <a:pt x="33" y="41"/>
                  <a:pt x="35" y="42"/>
                  <a:pt x="37" y="43"/>
                </a:cubicBezTo>
                <a:cubicBezTo>
                  <a:pt x="39" y="44"/>
                  <a:pt x="41" y="46"/>
                  <a:pt x="41" y="49"/>
                </a:cubicBezTo>
                <a:cubicBezTo>
                  <a:pt x="41" y="49"/>
                  <a:pt x="41" y="50"/>
                  <a:pt x="42" y="51"/>
                </a:cubicBezTo>
                <a:cubicBezTo>
                  <a:pt x="42" y="52"/>
                  <a:pt x="43" y="52"/>
                  <a:pt x="44" y="52"/>
                </a:cubicBezTo>
                <a:cubicBezTo>
                  <a:pt x="46" y="53"/>
                  <a:pt x="48" y="56"/>
                  <a:pt x="48" y="58"/>
                </a:cubicBezTo>
                <a:cubicBezTo>
                  <a:pt x="49" y="61"/>
                  <a:pt x="46" y="62"/>
                  <a:pt x="45" y="64"/>
                </a:cubicBezTo>
                <a:cubicBezTo>
                  <a:pt x="43" y="66"/>
                  <a:pt x="40" y="67"/>
                  <a:pt x="37" y="67"/>
                </a:cubicBezTo>
                <a:cubicBezTo>
                  <a:pt x="36" y="67"/>
                  <a:pt x="34" y="66"/>
                  <a:pt x="33" y="67"/>
                </a:cubicBezTo>
                <a:cubicBezTo>
                  <a:pt x="33" y="67"/>
                  <a:pt x="32" y="69"/>
                  <a:pt x="32" y="70"/>
                </a:cubicBezTo>
                <a:cubicBezTo>
                  <a:pt x="32" y="72"/>
                  <a:pt x="32" y="73"/>
                  <a:pt x="34" y="74"/>
                </a:cubicBezTo>
                <a:cubicBezTo>
                  <a:pt x="37" y="76"/>
                  <a:pt x="42" y="77"/>
                  <a:pt x="45" y="79"/>
                </a:cubicBezTo>
                <a:cubicBezTo>
                  <a:pt x="47" y="80"/>
                  <a:pt x="50" y="81"/>
                  <a:pt x="51" y="83"/>
                </a:cubicBezTo>
                <a:cubicBezTo>
                  <a:pt x="52" y="86"/>
                  <a:pt x="51" y="88"/>
                  <a:pt x="53" y="89"/>
                </a:cubicBezTo>
                <a:cubicBezTo>
                  <a:pt x="58" y="92"/>
                  <a:pt x="61" y="97"/>
                  <a:pt x="65" y="102"/>
                </a:cubicBezTo>
                <a:cubicBezTo>
                  <a:pt x="68" y="105"/>
                  <a:pt x="74" y="107"/>
                  <a:pt x="76" y="113"/>
                </a:cubicBezTo>
                <a:cubicBezTo>
                  <a:pt x="77" y="115"/>
                  <a:pt x="76" y="116"/>
                  <a:pt x="77" y="118"/>
                </a:cubicBezTo>
                <a:cubicBezTo>
                  <a:pt x="77" y="119"/>
                  <a:pt x="78" y="119"/>
                  <a:pt x="79" y="119"/>
                </a:cubicBezTo>
                <a:cubicBezTo>
                  <a:pt x="80" y="119"/>
                  <a:pt x="81" y="120"/>
                  <a:pt x="82" y="121"/>
                </a:cubicBezTo>
                <a:cubicBezTo>
                  <a:pt x="83" y="122"/>
                  <a:pt x="84" y="123"/>
                  <a:pt x="86" y="123"/>
                </a:cubicBezTo>
                <a:cubicBezTo>
                  <a:pt x="87" y="124"/>
                  <a:pt x="88" y="124"/>
                  <a:pt x="89" y="125"/>
                </a:cubicBezTo>
                <a:cubicBezTo>
                  <a:pt x="90" y="126"/>
                  <a:pt x="91" y="130"/>
                  <a:pt x="89" y="131"/>
                </a:cubicBezTo>
                <a:cubicBezTo>
                  <a:pt x="88" y="132"/>
                  <a:pt x="87" y="132"/>
                  <a:pt x="86" y="132"/>
                </a:cubicBezTo>
                <a:cubicBezTo>
                  <a:pt x="85" y="133"/>
                  <a:pt x="86" y="134"/>
                  <a:pt x="87" y="134"/>
                </a:cubicBezTo>
                <a:cubicBezTo>
                  <a:pt x="89" y="136"/>
                  <a:pt x="91" y="137"/>
                  <a:pt x="93" y="140"/>
                </a:cubicBezTo>
                <a:cubicBezTo>
                  <a:pt x="94" y="142"/>
                  <a:pt x="93" y="144"/>
                  <a:pt x="92" y="146"/>
                </a:cubicBezTo>
                <a:cubicBezTo>
                  <a:pt x="91" y="148"/>
                  <a:pt x="91" y="149"/>
                  <a:pt x="91" y="150"/>
                </a:cubicBezTo>
                <a:cubicBezTo>
                  <a:pt x="91" y="151"/>
                  <a:pt x="91" y="151"/>
                  <a:pt x="90" y="152"/>
                </a:cubicBezTo>
                <a:cubicBezTo>
                  <a:pt x="91" y="152"/>
                  <a:pt x="92" y="153"/>
                  <a:pt x="92" y="154"/>
                </a:cubicBezTo>
                <a:cubicBezTo>
                  <a:pt x="93" y="157"/>
                  <a:pt x="92" y="159"/>
                  <a:pt x="91" y="161"/>
                </a:cubicBezTo>
                <a:cubicBezTo>
                  <a:pt x="90" y="163"/>
                  <a:pt x="90" y="165"/>
                  <a:pt x="91" y="167"/>
                </a:cubicBezTo>
                <a:cubicBezTo>
                  <a:pt x="93" y="172"/>
                  <a:pt x="95" y="175"/>
                  <a:pt x="94" y="180"/>
                </a:cubicBezTo>
                <a:cubicBezTo>
                  <a:pt x="93" y="183"/>
                  <a:pt x="91" y="185"/>
                  <a:pt x="90" y="187"/>
                </a:cubicBezTo>
                <a:cubicBezTo>
                  <a:pt x="89" y="190"/>
                  <a:pt x="87" y="192"/>
                  <a:pt x="85" y="194"/>
                </a:cubicBezTo>
                <a:cubicBezTo>
                  <a:pt x="83" y="196"/>
                  <a:pt x="81" y="197"/>
                  <a:pt x="79" y="197"/>
                </a:cubicBezTo>
                <a:cubicBezTo>
                  <a:pt x="77" y="198"/>
                  <a:pt x="75" y="199"/>
                  <a:pt x="74" y="201"/>
                </a:cubicBezTo>
                <a:cubicBezTo>
                  <a:pt x="73" y="202"/>
                  <a:pt x="72" y="204"/>
                  <a:pt x="71" y="205"/>
                </a:cubicBezTo>
                <a:cubicBezTo>
                  <a:pt x="69" y="205"/>
                  <a:pt x="65" y="203"/>
                  <a:pt x="64" y="205"/>
                </a:cubicBezTo>
                <a:cubicBezTo>
                  <a:pt x="63" y="209"/>
                  <a:pt x="68" y="214"/>
                  <a:pt x="64" y="217"/>
                </a:cubicBezTo>
                <a:cubicBezTo>
                  <a:pt x="61" y="218"/>
                  <a:pt x="59" y="216"/>
                  <a:pt x="57" y="218"/>
                </a:cubicBezTo>
                <a:cubicBezTo>
                  <a:pt x="56" y="218"/>
                  <a:pt x="55" y="218"/>
                  <a:pt x="56" y="219"/>
                </a:cubicBezTo>
                <a:cubicBezTo>
                  <a:pt x="56" y="220"/>
                  <a:pt x="56" y="220"/>
                  <a:pt x="57" y="221"/>
                </a:cubicBezTo>
                <a:cubicBezTo>
                  <a:pt x="57" y="222"/>
                  <a:pt x="58" y="223"/>
                  <a:pt x="59" y="224"/>
                </a:cubicBezTo>
                <a:cubicBezTo>
                  <a:pt x="60" y="225"/>
                  <a:pt x="61" y="226"/>
                  <a:pt x="63" y="226"/>
                </a:cubicBezTo>
                <a:cubicBezTo>
                  <a:pt x="64" y="227"/>
                  <a:pt x="65" y="227"/>
                  <a:pt x="66" y="227"/>
                </a:cubicBezTo>
                <a:cubicBezTo>
                  <a:pt x="69" y="227"/>
                  <a:pt x="72" y="228"/>
                  <a:pt x="75" y="228"/>
                </a:cubicBezTo>
                <a:cubicBezTo>
                  <a:pt x="77" y="228"/>
                  <a:pt x="76" y="228"/>
                  <a:pt x="76" y="226"/>
                </a:cubicBezTo>
                <a:cubicBezTo>
                  <a:pt x="76" y="225"/>
                  <a:pt x="76" y="223"/>
                  <a:pt x="78" y="223"/>
                </a:cubicBezTo>
                <a:cubicBezTo>
                  <a:pt x="79" y="223"/>
                  <a:pt x="79" y="224"/>
                  <a:pt x="80" y="223"/>
                </a:cubicBezTo>
                <a:cubicBezTo>
                  <a:pt x="81" y="223"/>
                  <a:pt x="82" y="222"/>
                  <a:pt x="83" y="223"/>
                </a:cubicBezTo>
                <a:cubicBezTo>
                  <a:pt x="83" y="224"/>
                  <a:pt x="83" y="226"/>
                  <a:pt x="84" y="227"/>
                </a:cubicBezTo>
                <a:cubicBezTo>
                  <a:pt x="85" y="227"/>
                  <a:pt x="88" y="225"/>
                  <a:pt x="89" y="224"/>
                </a:cubicBezTo>
                <a:cubicBezTo>
                  <a:pt x="91" y="223"/>
                  <a:pt x="93" y="221"/>
                  <a:pt x="95" y="220"/>
                </a:cubicBezTo>
                <a:cubicBezTo>
                  <a:pt x="97" y="219"/>
                  <a:pt x="100" y="218"/>
                  <a:pt x="102" y="217"/>
                </a:cubicBezTo>
                <a:cubicBezTo>
                  <a:pt x="104" y="216"/>
                  <a:pt x="106" y="215"/>
                  <a:pt x="107" y="214"/>
                </a:cubicBezTo>
                <a:cubicBezTo>
                  <a:pt x="107" y="214"/>
                  <a:pt x="107" y="214"/>
                  <a:pt x="107" y="214"/>
                </a:cubicBezTo>
                <a:cubicBezTo>
                  <a:pt x="109" y="212"/>
                  <a:pt x="107" y="214"/>
                  <a:pt x="107" y="214"/>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3" name="Freeform 277">
            <a:extLst>
              <a:ext uri="{FF2B5EF4-FFF2-40B4-BE49-F238E27FC236}">
                <a16:creationId xmlns:a16="http://schemas.microsoft.com/office/drawing/2014/main" id="{8DD06EA1-EE62-AA7A-5F9D-A88FE6B459A3}"/>
              </a:ext>
            </a:extLst>
          </p:cNvPr>
          <p:cNvSpPr/>
          <p:nvPr>
            <p:custDataLst>
              <p:tags r:id="rId55"/>
            </p:custDataLst>
          </p:nvPr>
        </p:nvSpPr>
        <p:spPr bwMode="auto">
          <a:xfrm>
            <a:off x="6771702" y="3709250"/>
            <a:ext cx="6006" cy="5006"/>
          </a:xfrm>
          <a:custGeom>
            <a:avLst/>
            <a:gdLst>
              <a:gd name="T0" fmla="*/ 1 w 5"/>
              <a:gd name="T1" fmla="*/ 1 h 5"/>
              <a:gd name="T2" fmla="*/ 4 w 5"/>
              <a:gd name="T3" fmla="*/ 4 h 5"/>
              <a:gd name="T4" fmla="*/ 1 w 5"/>
              <a:gd name="T5" fmla="*/ 1 h 5"/>
              <a:gd name="T6" fmla="*/ 1 w 5"/>
              <a:gd name="T7" fmla="*/ 1 h 5"/>
              <a:gd name="T8" fmla="*/ 1 w 5"/>
              <a:gd name="T9" fmla="*/ 1 h 5"/>
            </a:gdLst>
            <a:ahLst/>
            <a:cxnLst>
              <a:cxn ang="0">
                <a:pos x="T0" y="T1"/>
              </a:cxn>
              <a:cxn ang="0">
                <a:pos x="T2" y="T3"/>
              </a:cxn>
              <a:cxn ang="0">
                <a:pos x="T4" y="T5"/>
              </a:cxn>
              <a:cxn ang="0">
                <a:pos x="T6" y="T7"/>
              </a:cxn>
              <a:cxn ang="0">
                <a:pos x="T8" y="T9"/>
              </a:cxn>
            </a:cxnLst>
            <a:rect l="0" t="0" r="r" b="b"/>
            <a:pathLst>
              <a:path w="5" h="5">
                <a:moveTo>
                  <a:pt x="1" y="1"/>
                </a:moveTo>
                <a:cubicBezTo>
                  <a:pt x="0" y="2"/>
                  <a:pt x="3" y="5"/>
                  <a:pt x="4" y="4"/>
                </a:cubicBezTo>
                <a:cubicBezTo>
                  <a:pt x="5" y="3"/>
                  <a:pt x="2" y="0"/>
                  <a:pt x="1" y="1"/>
                </a:cubicBezTo>
                <a:cubicBezTo>
                  <a:pt x="1" y="1"/>
                  <a:pt x="1" y="1"/>
                  <a:pt x="1" y="1"/>
                </a:cubicBezTo>
                <a:cubicBezTo>
                  <a:pt x="0" y="2"/>
                  <a:pt x="1" y="1"/>
                  <a:pt x="1" y="1"/>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4" name="Freeform 280">
            <a:extLst>
              <a:ext uri="{FF2B5EF4-FFF2-40B4-BE49-F238E27FC236}">
                <a16:creationId xmlns:a16="http://schemas.microsoft.com/office/drawing/2014/main" id="{77D5D3A0-C123-1856-2AD1-2C20693B60AA}"/>
              </a:ext>
            </a:extLst>
          </p:cNvPr>
          <p:cNvSpPr/>
          <p:nvPr>
            <p:custDataLst>
              <p:tags r:id="rId56"/>
            </p:custDataLst>
          </p:nvPr>
        </p:nvSpPr>
        <p:spPr bwMode="auto">
          <a:xfrm>
            <a:off x="6791725" y="3275778"/>
            <a:ext cx="5006" cy="5006"/>
          </a:xfrm>
          <a:custGeom>
            <a:avLst/>
            <a:gdLst>
              <a:gd name="T0" fmla="*/ 4 w 5"/>
              <a:gd name="T1" fmla="*/ 2 h 4"/>
              <a:gd name="T2" fmla="*/ 1 w 5"/>
              <a:gd name="T3" fmla="*/ 2 h 4"/>
              <a:gd name="T4" fmla="*/ 2 w 5"/>
              <a:gd name="T5" fmla="*/ 4 h 4"/>
              <a:gd name="T6" fmla="*/ 4 w 5"/>
              <a:gd name="T7" fmla="*/ 2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0"/>
                  <a:pt x="1" y="1"/>
                  <a:pt x="1" y="2"/>
                </a:cubicBezTo>
                <a:cubicBezTo>
                  <a:pt x="0" y="3"/>
                  <a:pt x="1" y="3"/>
                  <a:pt x="2" y="4"/>
                </a:cubicBezTo>
                <a:cubicBezTo>
                  <a:pt x="3" y="4"/>
                  <a:pt x="4" y="3"/>
                  <a:pt x="4" y="2"/>
                </a:cubicBezTo>
                <a:cubicBezTo>
                  <a:pt x="4" y="2"/>
                  <a:pt x="4" y="2"/>
                  <a:pt x="4" y="2"/>
                </a:cubicBezTo>
                <a:cubicBezTo>
                  <a:pt x="5" y="0"/>
                  <a:pt x="4" y="2"/>
                  <a:pt x="4" y="2"/>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5" name="Freeform 282">
            <a:extLst>
              <a:ext uri="{FF2B5EF4-FFF2-40B4-BE49-F238E27FC236}">
                <a16:creationId xmlns:a16="http://schemas.microsoft.com/office/drawing/2014/main" id="{C4D62434-6EE9-3A8A-5F7C-12E060D9B7EE}"/>
              </a:ext>
            </a:extLst>
          </p:cNvPr>
          <p:cNvSpPr/>
          <p:nvPr>
            <p:custDataLst>
              <p:tags r:id="rId57"/>
            </p:custDataLst>
          </p:nvPr>
        </p:nvSpPr>
        <p:spPr bwMode="auto">
          <a:xfrm>
            <a:off x="5110897" y="3069555"/>
            <a:ext cx="83091" cy="87095"/>
          </a:xfrm>
          <a:custGeom>
            <a:avLst/>
            <a:gdLst>
              <a:gd name="T0" fmla="*/ 38 w 71"/>
              <a:gd name="T1" fmla="*/ 31 h 75"/>
              <a:gd name="T2" fmla="*/ 45 w 71"/>
              <a:gd name="T3" fmla="*/ 30 h 75"/>
              <a:gd name="T4" fmla="*/ 51 w 71"/>
              <a:gd name="T5" fmla="*/ 28 h 75"/>
              <a:gd name="T6" fmla="*/ 66 w 71"/>
              <a:gd name="T7" fmla="*/ 22 h 75"/>
              <a:gd name="T8" fmla="*/ 70 w 71"/>
              <a:gd name="T9" fmla="*/ 20 h 75"/>
              <a:gd name="T10" fmla="*/ 69 w 71"/>
              <a:gd name="T11" fmla="*/ 18 h 75"/>
              <a:gd name="T12" fmla="*/ 68 w 71"/>
              <a:gd name="T13" fmla="*/ 15 h 75"/>
              <a:gd name="T14" fmla="*/ 65 w 71"/>
              <a:gd name="T15" fmla="*/ 0 h 75"/>
              <a:gd name="T16" fmla="*/ 52 w 71"/>
              <a:gd name="T17" fmla="*/ 6 h 75"/>
              <a:gd name="T18" fmla="*/ 38 w 71"/>
              <a:gd name="T19" fmla="*/ 15 h 75"/>
              <a:gd name="T20" fmla="*/ 32 w 71"/>
              <a:gd name="T21" fmla="*/ 18 h 75"/>
              <a:gd name="T22" fmla="*/ 25 w 71"/>
              <a:gd name="T23" fmla="*/ 17 h 75"/>
              <a:gd name="T24" fmla="*/ 11 w 71"/>
              <a:gd name="T25" fmla="*/ 10 h 75"/>
              <a:gd name="T26" fmla="*/ 11 w 71"/>
              <a:gd name="T27" fmla="*/ 26 h 75"/>
              <a:gd name="T28" fmla="*/ 8 w 71"/>
              <a:gd name="T29" fmla="*/ 42 h 75"/>
              <a:gd name="T30" fmla="*/ 0 w 71"/>
              <a:gd name="T31" fmla="*/ 74 h 75"/>
              <a:gd name="T32" fmla="*/ 13 w 71"/>
              <a:gd name="T33" fmla="*/ 74 h 75"/>
              <a:gd name="T34" fmla="*/ 18 w 71"/>
              <a:gd name="T35" fmla="*/ 74 h 75"/>
              <a:gd name="T36" fmla="*/ 22 w 71"/>
              <a:gd name="T37" fmla="*/ 71 h 75"/>
              <a:gd name="T38" fmla="*/ 29 w 71"/>
              <a:gd name="T39" fmla="*/ 64 h 75"/>
              <a:gd name="T40" fmla="*/ 34 w 71"/>
              <a:gd name="T41" fmla="*/ 62 h 75"/>
              <a:gd name="T42" fmla="*/ 40 w 71"/>
              <a:gd name="T43" fmla="*/ 61 h 75"/>
              <a:gd name="T44" fmla="*/ 48 w 71"/>
              <a:gd name="T45" fmla="*/ 55 h 75"/>
              <a:gd name="T46" fmla="*/ 49 w 71"/>
              <a:gd name="T47" fmla="*/ 52 h 75"/>
              <a:gd name="T48" fmla="*/ 45 w 71"/>
              <a:gd name="T49" fmla="*/ 47 h 75"/>
              <a:gd name="T50" fmla="*/ 36 w 71"/>
              <a:gd name="T51" fmla="*/ 38 h 75"/>
              <a:gd name="T52" fmla="*/ 35 w 71"/>
              <a:gd name="T53" fmla="*/ 33 h 75"/>
              <a:gd name="T54" fmla="*/ 38 w 71"/>
              <a:gd name="T55" fmla="*/ 31 h 75"/>
              <a:gd name="T56" fmla="*/ 38 w 71"/>
              <a:gd name="T57" fmla="*/ 31 h 75"/>
              <a:gd name="T58" fmla="*/ 38 w 71"/>
              <a:gd name="T59" fmla="*/ 3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1" h="75">
                <a:moveTo>
                  <a:pt x="38" y="31"/>
                </a:moveTo>
                <a:cubicBezTo>
                  <a:pt x="40" y="31"/>
                  <a:pt x="42" y="31"/>
                  <a:pt x="45" y="30"/>
                </a:cubicBezTo>
                <a:cubicBezTo>
                  <a:pt x="47" y="29"/>
                  <a:pt x="49" y="28"/>
                  <a:pt x="51" y="28"/>
                </a:cubicBezTo>
                <a:cubicBezTo>
                  <a:pt x="56" y="26"/>
                  <a:pt x="61" y="24"/>
                  <a:pt x="66" y="22"/>
                </a:cubicBezTo>
                <a:cubicBezTo>
                  <a:pt x="67" y="22"/>
                  <a:pt x="71" y="20"/>
                  <a:pt x="70" y="20"/>
                </a:cubicBezTo>
                <a:cubicBezTo>
                  <a:pt x="70" y="19"/>
                  <a:pt x="69" y="19"/>
                  <a:pt x="69" y="18"/>
                </a:cubicBezTo>
                <a:cubicBezTo>
                  <a:pt x="68" y="17"/>
                  <a:pt x="68" y="16"/>
                  <a:pt x="68" y="15"/>
                </a:cubicBezTo>
                <a:cubicBezTo>
                  <a:pt x="66" y="10"/>
                  <a:pt x="66" y="5"/>
                  <a:pt x="65" y="0"/>
                </a:cubicBezTo>
                <a:cubicBezTo>
                  <a:pt x="60" y="1"/>
                  <a:pt x="56" y="4"/>
                  <a:pt x="52" y="6"/>
                </a:cubicBezTo>
                <a:cubicBezTo>
                  <a:pt x="48" y="10"/>
                  <a:pt x="43" y="13"/>
                  <a:pt x="38" y="15"/>
                </a:cubicBezTo>
                <a:cubicBezTo>
                  <a:pt x="36" y="16"/>
                  <a:pt x="35" y="18"/>
                  <a:pt x="32" y="18"/>
                </a:cubicBezTo>
                <a:cubicBezTo>
                  <a:pt x="30" y="19"/>
                  <a:pt x="27" y="18"/>
                  <a:pt x="25" y="17"/>
                </a:cubicBezTo>
                <a:cubicBezTo>
                  <a:pt x="20" y="16"/>
                  <a:pt x="16" y="13"/>
                  <a:pt x="11" y="10"/>
                </a:cubicBezTo>
                <a:cubicBezTo>
                  <a:pt x="11" y="16"/>
                  <a:pt x="12" y="21"/>
                  <a:pt x="11" y="26"/>
                </a:cubicBezTo>
                <a:cubicBezTo>
                  <a:pt x="11" y="31"/>
                  <a:pt x="9" y="36"/>
                  <a:pt x="8" y="42"/>
                </a:cubicBezTo>
                <a:cubicBezTo>
                  <a:pt x="6" y="52"/>
                  <a:pt x="3" y="63"/>
                  <a:pt x="0" y="74"/>
                </a:cubicBezTo>
                <a:cubicBezTo>
                  <a:pt x="4" y="73"/>
                  <a:pt x="9" y="74"/>
                  <a:pt x="13" y="74"/>
                </a:cubicBezTo>
                <a:cubicBezTo>
                  <a:pt x="14" y="74"/>
                  <a:pt x="17" y="75"/>
                  <a:pt x="18" y="74"/>
                </a:cubicBezTo>
                <a:cubicBezTo>
                  <a:pt x="20" y="74"/>
                  <a:pt x="21" y="72"/>
                  <a:pt x="22" y="71"/>
                </a:cubicBezTo>
                <a:cubicBezTo>
                  <a:pt x="24" y="68"/>
                  <a:pt x="26" y="66"/>
                  <a:pt x="29" y="64"/>
                </a:cubicBezTo>
                <a:cubicBezTo>
                  <a:pt x="31" y="63"/>
                  <a:pt x="33" y="62"/>
                  <a:pt x="34" y="62"/>
                </a:cubicBezTo>
                <a:cubicBezTo>
                  <a:pt x="36" y="62"/>
                  <a:pt x="38" y="62"/>
                  <a:pt x="40" y="61"/>
                </a:cubicBezTo>
                <a:cubicBezTo>
                  <a:pt x="43" y="59"/>
                  <a:pt x="45" y="57"/>
                  <a:pt x="48" y="55"/>
                </a:cubicBezTo>
                <a:cubicBezTo>
                  <a:pt x="49" y="54"/>
                  <a:pt x="50" y="53"/>
                  <a:pt x="49" y="52"/>
                </a:cubicBezTo>
                <a:cubicBezTo>
                  <a:pt x="47" y="50"/>
                  <a:pt x="46" y="49"/>
                  <a:pt x="45" y="47"/>
                </a:cubicBezTo>
                <a:cubicBezTo>
                  <a:pt x="42" y="44"/>
                  <a:pt x="39" y="41"/>
                  <a:pt x="36" y="38"/>
                </a:cubicBezTo>
                <a:cubicBezTo>
                  <a:pt x="35" y="36"/>
                  <a:pt x="34" y="34"/>
                  <a:pt x="35" y="33"/>
                </a:cubicBezTo>
                <a:cubicBezTo>
                  <a:pt x="35" y="32"/>
                  <a:pt x="37" y="31"/>
                  <a:pt x="38" y="31"/>
                </a:cubicBezTo>
                <a:cubicBezTo>
                  <a:pt x="38" y="31"/>
                  <a:pt x="38" y="31"/>
                  <a:pt x="38" y="31"/>
                </a:cubicBezTo>
                <a:cubicBezTo>
                  <a:pt x="40" y="31"/>
                  <a:pt x="38" y="31"/>
                  <a:pt x="38" y="31"/>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76" name="Freeform 283">
            <a:extLst>
              <a:ext uri="{FF2B5EF4-FFF2-40B4-BE49-F238E27FC236}">
                <a16:creationId xmlns:a16="http://schemas.microsoft.com/office/drawing/2014/main" id="{1E9668D8-5FA1-B6AE-5646-A51872EE5050}"/>
              </a:ext>
            </a:extLst>
          </p:cNvPr>
          <p:cNvSpPr/>
          <p:nvPr>
            <p:custDataLst>
              <p:tags r:id="rId58"/>
            </p:custDataLst>
          </p:nvPr>
        </p:nvSpPr>
        <p:spPr bwMode="auto">
          <a:xfrm>
            <a:off x="6687612" y="3655191"/>
            <a:ext cx="21023" cy="19020"/>
          </a:xfrm>
          <a:custGeom>
            <a:avLst/>
            <a:gdLst>
              <a:gd name="T0" fmla="*/ 10 w 18"/>
              <a:gd name="T1" fmla="*/ 10 h 16"/>
              <a:gd name="T2" fmla="*/ 17 w 18"/>
              <a:gd name="T3" fmla="*/ 10 h 16"/>
              <a:gd name="T4" fmla="*/ 17 w 18"/>
              <a:gd name="T5" fmla="*/ 7 h 16"/>
              <a:gd name="T6" fmla="*/ 17 w 18"/>
              <a:gd name="T7" fmla="*/ 2 h 16"/>
              <a:gd name="T8" fmla="*/ 8 w 18"/>
              <a:gd name="T9" fmla="*/ 3 h 16"/>
              <a:gd name="T10" fmla="*/ 5 w 18"/>
              <a:gd name="T11" fmla="*/ 7 h 16"/>
              <a:gd name="T12" fmla="*/ 0 w 18"/>
              <a:gd name="T13" fmla="*/ 9 h 16"/>
              <a:gd name="T14" fmla="*/ 7 w 18"/>
              <a:gd name="T15" fmla="*/ 16 h 16"/>
              <a:gd name="T16" fmla="*/ 9 w 18"/>
              <a:gd name="T17" fmla="*/ 14 h 16"/>
              <a:gd name="T18" fmla="*/ 11 w 18"/>
              <a:gd name="T19" fmla="*/ 10 h 16"/>
              <a:gd name="T20" fmla="*/ 10 w 18"/>
              <a:gd name="T21" fmla="*/ 10 h 16"/>
              <a:gd name="T22" fmla="*/ 10 w 18"/>
              <a:gd name="T23"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0" y="10"/>
                </a:moveTo>
                <a:cubicBezTo>
                  <a:pt x="12" y="8"/>
                  <a:pt x="15" y="12"/>
                  <a:pt x="17" y="10"/>
                </a:cubicBezTo>
                <a:cubicBezTo>
                  <a:pt x="18" y="10"/>
                  <a:pt x="18" y="8"/>
                  <a:pt x="17" y="7"/>
                </a:cubicBezTo>
                <a:cubicBezTo>
                  <a:pt x="17" y="5"/>
                  <a:pt x="17" y="3"/>
                  <a:pt x="17" y="2"/>
                </a:cubicBezTo>
                <a:cubicBezTo>
                  <a:pt x="15" y="0"/>
                  <a:pt x="9" y="3"/>
                  <a:pt x="8" y="3"/>
                </a:cubicBezTo>
                <a:cubicBezTo>
                  <a:pt x="7" y="4"/>
                  <a:pt x="6" y="6"/>
                  <a:pt x="5" y="7"/>
                </a:cubicBezTo>
                <a:cubicBezTo>
                  <a:pt x="3" y="8"/>
                  <a:pt x="2" y="8"/>
                  <a:pt x="0" y="9"/>
                </a:cubicBezTo>
                <a:cubicBezTo>
                  <a:pt x="2" y="11"/>
                  <a:pt x="4" y="15"/>
                  <a:pt x="7" y="16"/>
                </a:cubicBezTo>
                <a:cubicBezTo>
                  <a:pt x="8" y="16"/>
                  <a:pt x="9" y="15"/>
                  <a:pt x="9" y="14"/>
                </a:cubicBezTo>
                <a:cubicBezTo>
                  <a:pt x="9" y="12"/>
                  <a:pt x="9" y="11"/>
                  <a:pt x="11" y="10"/>
                </a:cubicBezTo>
                <a:cubicBezTo>
                  <a:pt x="10" y="10"/>
                  <a:pt x="10" y="10"/>
                  <a:pt x="10" y="10"/>
                </a:cubicBezTo>
                <a:cubicBezTo>
                  <a:pt x="11" y="9"/>
                  <a:pt x="10" y="10"/>
                  <a:pt x="10" y="10"/>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77" name="Freeform 284">
            <a:extLst>
              <a:ext uri="{FF2B5EF4-FFF2-40B4-BE49-F238E27FC236}">
                <a16:creationId xmlns:a16="http://schemas.microsoft.com/office/drawing/2014/main" id="{883764E7-D36D-71BE-4314-6AAB2C0D2346}"/>
              </a:ext>
            </a:extLst>
          </p:cNvPr>
          <p:cNvSpPr/>
          <p:nvPr>
            <p:custDataLst>
              <p:tags r:id="rId59"/>
            </p:custDataLst>
          </p:nvPr>
        </p:nvSpPr>
        <p:spPr bwMode="auto">
          <a:xfrm>
            <a:off x="6493400" y="3544070"/>
            <a:ext cx="33037" cy="40044"/>
          </a:xfrm>
          <a:custGeom>
            <a:avLst/>
            <a:gdLst>
              <a:gd name="T0" fmla="*/ 11 w 28"/>
              <a:gd name="T1" fmla="*/ 33 h 34"/>
              <a:gd name="T2" fmla="*/ 19 w 28"/>
              <a:gd name="T3" fmla="*/ 25 h 34"/>
              <a:gd name="T4" fmla="*/ 26 w 28"/>
              <a:gd name="T5" fmla="*/ 22 h 34"/>
              <a:gd name="T6" fmla="*/ 27 w 28"/>
              <a:gd name="T7" fmla="*/ 17 h 34"/>
              <a:gd name="T8" fmla="*/ 22 w 28"/>
              <a:gd name="T9" fmla="*/ 12 h 34"/>
              <a:gd name="T10" fmla="*/ 19 w 28"/>
              <a:gd name="T11" fmla="*/ 9 h 34"/>
              <a:gd name="T12" fmla="*/ 16 w 28"/>
              <a:gd name="T13" fmla="*/ 7 h 34"/>
              <a:gd name="T14" fmla="*/ 13 w 28"/>
              <a:gd name="T15" fmla="*/ 1 h 34"/>
              <a:gd name="T16" fmla="*/ 10 w 28"/>
              <a:gd name="T17" fmla="*/ 0 h 34"/>
              <a:gd name="T18" fmla="*/ 6 w 28"/>
              <a:gd name="T19" fmla="*/ 2 h 34"/>
              <a:gd name="T20" fmla="*/ 3 w 28"/>
              <a:gd name="T21" fmla="*/ 3 h 34"/>
              <a:gd name="T22" fmla="*/ 1 w 28"/>
              <a:gd name="T23" fmla="*/ 4 h 34"/>
              <a:gd name="T24" fmla="*/ 1 w 28"/>
              <a:gd name="T25" fmla="*/ 6 h 34"/>
              <a:gd name="T26" fmla="*/ 3 w 28"/>
              <a:gd name="T27" fmla="*/ 9 h 34"/>
              <a:gd name="T28" fmla="*/ 5 w 28"/>
              <a:gd name="T29" fmla="*/ 10 h 34"/>
              <a:gd name="T30" fmla="*/ 9 w 28"/>
              <a:gd name="T31" fmla="*/ 11 h 34"/>
              <a:gd name="T32" fmla="*/ 9 w 28"/>
              <a:gd name="T33" fmla="*/ 14 h 34"/>
              <a:gd name="T34" fmla="*/ 5 w 28"/>
              <a:gd name="T35" fmla="*/ 27 h 34"/>
              <a:gd name="T36" fmla="*/ 4 w 28"/>
              <a:gd name="T37" fmla="*/ 31 h 34"/>
              <a:gd name="T38" fmla="*/ 6 w 28"/>
              <a:gd name="T39" fmla="*/ 33 h 34"/>
              <a:gd name="T40" fmla="*/ 9 w 28"/>
              <a:gd name="T41" fmla="*/ 34 h 34"/>
              <a:gd name="T42" fmla="*/ 12 w 28"/>
              <a:gd name="T43" fmla="*/ 33 h 34"/>
              <a:gd name="T44" fmla="*/ 11 w 28"/>
              <a:gd name="T45" fmla="*/ 33 h 34"/>
              <a:gd name="T46" fmla="*/ 11 w 28"/>
              <a:gd name="T47"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34">
                <a:moveTo>
                  <a:pt x="11" y="33"/>
                </a:moveTo>
                <a:cubicBezTo>
                  <a:pt x="15" y="31"/>
                  <a:pt x="16" y="27"/>
                  <a:pt x="19" y="25"/>
                </a:cubicBezTo>
                <a:cubicBezTo>
                  <a:pt x="21" y="23"/>
                  <a:pt x="24" y="23"/>
                  <a:pt x="26" y="22"/>
                </a:cubicBezTo>
                <a:cubicBezTo>
                  <a:pt x="28" y="21"/>
                  <a:pt x="28" y="19"/>
                  <a:pt x="27" y="17"/>
                </a:cubicBezTo>
                <a:cubicBezTo>
                  <a:pt x="25" y="15"/>
                  <a:pt x="24" y="14"/>
                  <a:pt x="22" y="12"/>
                </a:cubicBezTo>
                <a:cubicBezTo>
                  <a:pt x="21" y="11"/>
                  <a:pt x="20" y="10"/>
                  <a:pt x="19" y="9"/>
                </a:cubicBezTo>
                <a:cubicBezTo>
                  <a:pt x="18" y="8"/>
                  <a:pt x="17" y="8"/>
                  <a:pt x="16" y="7"/>
                </a:cubicBezTo>
                <a:cubicBezTo>
                  <a:pt x="15" y="5"/>
                  <a:pt x="14" y="3"/>
                  <a:pt x="13" y="1"/>
                </a:cubicBezTo>
                <a:cubicBezTo>
                  <a:pt x="12" y="0"/>
                  <a:pt x="11" y="0"/>
                  <a:pt x="10" y="0"/>
                </a:cubicBezTo>
                <a:cubicBezTo>
                  <a:pt x="9" y="1"/>
                  <a:pt x="7" y="1"/>
                  <a:pt x="6" y="2"/>
                </a:cubicBezTo>
                <a:cubicBezTo>
                  <a:pt x="5" y="2"/>
                  <a:pt x="4" y="3"/>
                  <a:pt x="3" y="3"/>
                </a:cubicBezTo>
                <a:cubicBezTo>
                  <a:pt x="2" y="4"/>
                  <a:pt x="2" y="4"/>
                  <a:pt x="1" y="4"/>
                </a:cubicBezTo>
                <a:cubicBezTo>
                  <a:pt x="0" y="5"/>
                  <a:pt x="0" y="5"/>
                  <a:pt x="1" y="6"/>
                </a:cubicBezTo>
                <a:cubicBezTo>
                  <a:pt x="2" y="7"/>
                  <a:pt x="2" y="8"/>
                  <a:pt x="3" y="9"/>
                </a:cubicBezTo>
                <a:cubicBezTo>
                  <a:pt x="4" y="9"/>
                  <a:pt x="4" y="10"/>
                  <a:pt x="5" y="10"/>
                </a:cubicBezTo>
                <a:cubicBezTo>
                  <a:pt x="6" y="10"/>
                  <a:pt x="8" y="10"/>
                  <a:pt x="9" y="11"/>
                </a:cubicBezTo>
                <a:cubicBezTo>
                  <a:pt x="11" y="12"/>
                  <a:pt x="10" y="14"/>
                  <a:pt x="9" y="14"/>
                </a:cubicBezTo>
                <a:cubicBezTo>
                  <a:pt x="4" y="16"/>
                  <a:pt x="6" y="23"/>
                  <a:pt x="5" y="27"/>
                </a:cubicBezTo>
                <a:cubicBezTo>
                  <a:pt x="5" y="29"/>
                  <a:pt x="4" y="30"/>
                  <a:pt x="4" y="31"/>
                </a:cubicBezTo>
                <a:cubicBezTo>
                  <a:pt x="4" y="32"/>
                  <a:pt x="6" y="32"/>
                  <a:pt x="6" y="33"/>
                </a:cubicBezTo>
                <a:cubicBezTo>
                  <a:pt x="7" y="33"/>
                  <a:pt x="8" y="34"/>
                  <a:pt x="9" y="34"/>
                </a:cubicBezTo>
                <a:cubicBezTo>
                  <a:pt x="10" y="34"/>
                  <a:pt x="11" y="33"/>
                  <a:pt x="12" y="33"/>
                </a:cubicBezTo>
                <a:cubicBezTo>
                  <a:pt x="12" y="33"/>
                  <a:pt x="12" y="33"/>
                  <a:pt x="11" y="33"/>
                </a:cubicBezTo>
                <a:cubicBezTo>
                  <a:pt x="15" y="32"/>
                  <a:pt x="11" y="33"/>
                  <a:pt x="11" y="33"/>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nvGrpSpPr>
          <p:cNvPr id="78" name="Group 77">
            <a:extLst>
              <a:ext uri="{FF2B5EF4-FFF2-40B4-BE49-F238E27FC236}">
                <a16:creationId xmlns:a16="http://schemas.microsoft.com/office/drawing/2014/main" id="{2BEF13BE-3239-94C3-7D5C-736B74194DDA}"/>
              </a:ext>
            </a:extLst>
          </p:cNvPr>
          <p:cNvGrpSpPr/>
          <p:nvPr>
            <p:custDataLst>
              <p:tags r:id="rId60"/>
            </p:custDataLst>
          </p:nvPr>
        </p:nvGrpSpPr>
        <p:grpSpPr>
          <a:xfrm>
            <a:off x="6745674" y="3363874"/>
            <a:ext cx="187204" cy="280304"/>
            <a:chOff x="9418638" y="3959226"/>
            <a:chExt cx="296863" cy="444500"/>
          </a:xfrm>
        </p:grpSpPr>
        <p:sp>
          <p:nvSpPr>
            <p:cNvPr id="79" name="Freeform 140">
              <a:extLst>
                <a:ext uri="{FF2B5EF4-FFF2-40B4-BE49-F238E27FC236}">
                  <a16:creationId xmlns:a16="http://schemas.microsoft.com/office/drawing/2014/main" id="{EDA287A3-2C33-2A9C-1729-08BE8FB42F38}"/>
                </a:ext>
              </a:extLst>
            </p:cNvPr>
            <p:cNvSpPr/>
            <p:nvPr>
              <p:custDataLst>
                <p:tags r:id="rId297"/>
              </p:custDataLst>
            </p:nvPr>
          </p:nvSpPr>
          <p:spPr bwMode="auto">
            <a:xfrm>
              <a:off x="9563101" y="4151313"/>
              <a:ext cx="11113" cy="11113"/>
            </a:xfrm>
            <a:custGeom>
              <a:avLst/>
              <a:gdLst>
                <a:gd name="T0" fmla="*/ 3 w 6"/>
                <a:gd name="T1" fmla="*/ 0 h 6"/>
                <a:gd name="T2" fmla="*/ 1 w 6"/>
                <a:gd name="T3" fmla="*/ 3 h 6"/>
                <a:gd name="T4" fmla="*/ 3 w 6"/>
                <a:gd name="T5" fmla="*/ 4 h 6"/>
                <a:gd name="T6" fmla="*/ 4 w 6"/>
                <a:gd name="T7" fmla="*/ 5 h 6"/>
                <a:gd name="T8" fmla="*/ 6 w 6"/>
                <a:gd name="T9" fmla="*/ 2 h 6"/>
                <a:gd name="T10" fmla="*/ 2 w 6"/>
                <a:gd name="T11" fmla="*/ 0 h 6"/>
                <a:gd name="T12" fmla="*/ 3 w 6"/>
                <a:gd name="T13" fmla="*/ 0 h 6"/>
                <a:gd name="T14" fmla="*/ 3 w 6"/>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3" y="0"/>
                  </a:moveTo>
                  <a:cubicBezTo>
                    <a:pt x="1" y="0"/>
                    <a:pt x="0" y="2"/>
                    <a:pt x="1" y="3"/>
                  </a:cubicBezTo>
                  <a:cubicBezTo>
                    <a:pt x="2" y="4"/>
                    <a:pt x="3" y="4"/>
                    <a:pt x="3" y="4"/>
                  </a:cubicBezTo>
                  <a:cubicBezTo>
                    <a:pt x="4" y="4"/>
                    <a:pt x="4" y="5"/>
                    <a:pt x="4" y="5"/>
                  </a:cubicBezTo>
                  <a:cubicBezTo>
                    <a:pt x="6" y="6"/>
                    <a:pt x="6" y="3"/>
                    <a:pt x="6" y="2"/>
                  </a:cubicBezTo>
                  <a:cubicBezTo>
                    <a:pt x="6" y="0"/>
                    <a:pt x="4" y="0"/>
                    <a:pt x="2" y="0"/>
                  </a:cubicBezTo>
                  <a:cubicBezTo>
                    <a:pt x="2" y="0"/>
                    <a:pt x="2" y="0"/>
                    <a:pt x="3" y="0"/>
                  </a:cubicBezTo>
                  <a:cubicBezTo>
                    <a:pt x="1" y="0"/>
                    <a:pt x="3" y="0"/>
                    <a:pt x="3" y="0"/>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0" name="Freeform 142">
              <a:extLst>
                <a:ext uri="{FF2B5EF4-FFF2-40B4-BE49-F238E27FC236}">
                  <a16:creationId xmlns:a16="http://schemas.microsoft.com/office/drawing/2014/main" id="{1CBF547C-87DD-EC1D-11CE-C9662C14CBB0}"/>
                </a:ext>
              </a:extLst>
            </p:cNvPr>
            <p:cNvSpPr/>
            <p:nvPr>
              <p:custDataLst>
                <p:tags r:id="rId298"/>
              </p:custDataLst>
            </p:nvPr>
          </p:nvSpPr>
          <p:spPr bwMode="auto">
            <a:xfrm>
              <a:off x="9636126" y="4137026"/>
              <a:ext cx="11113" cy="12700"/>
            </a:xfrm>
            <a:custGeom>
              <a:avLst/>
              <a:gdLst>
                <a:gd name="T0" fmla="*/ 2 w 6"/>
                <a:gd name="T1" fmla="*/ 1 h 7"/>
                <a:gd name="T2" fmla="*/ 1 w 6"/>
                <a:gd name="T3" fmla="*/ 3 h 7"/>
                <a:gd name="T4" fmla="*/ 1 w 6"/>
                <a:gd name="T5" fmla="*/ 5 h 7"/>
                <a:gd name="T6" fmla="*/ 2 w 6"/>
                <a:gd name="T7" fmla="*/ 7 h 7"/>
                <a:gd name="T8" fmla="*/ 4 w 6"/>
                <a:gd name="T9" fmla="*/ 4 h 7"/>
                <a:gd name="T10" fmla="*/ 5 w 6"/>
                <a:gd name="T11" fmla="*/ 1 h 7"/>
                <a:gd name="T12" fmla="*/ 2 w 6"/>
                <a:gd name="T13" fmla="*/ 2 h 7"/>
                <a:gd name="T14" fmla="*/ 2 w 6"/>
                <a:gd name="T15" fmla="*/ 1 h 7"/>
                <a:gd name="T16" fmla="*/ 2 w 6"/>
                <a:gd name="T17"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2" y="1"/>
                  </a:moveTo>
                  <a:cubicBezTo>
                    <a:pt x="2" y="2"/>
                    <a:pt x="2" y="3"/>
                    <a:pt x="1" y="3"/>
                  </a:cubicBezTo>
                  <a:cubicBezTo>
                    <a:pt x="1" y="4"/>
                    <a:pt x="0" y="5"/>
                    <a:pt x="1" y="5"/>
                  </a:cubicBezTo>
                  <a:cubicBezTo>
                    <a:pt x="1" y="6"/>
                    <a:pt x="2" y="7"/>
                    <a:pt x="2" y="7"/>
                  </a:cubicBezTo>
                  <a:cubicBezTo>
                    <a:pt x="3" y="6"/>
                    <a:pt x="3" y="5"/>
                    <a:pt x="4" y="4"/>
                  </a:cubicBezTo>
                  <a:cubicBezTo>
                    <a:pt x="5" y="3"/>
                    <a:pt x="6" y="3"/>
                    <a:pt x="5" y="1"/>
                  </a:cubicBezTo>
                  <a:cubicBezTo>
                    <a:pt x="3" y="0"/>
                    <a:pt x="2" y="1"/>
                    <a:pt x="2" y="2"/>
                  </a:cubicBezTo>
                  <a:cubicBezTo>
                    <a:pt x="2" y="1"/>
                    <a:pt x="2" y="1"/>
                    <a:pt x="2" y="1"/>
                  </a:cubicBezTo>
                  <a:cubicBezTo>
                    <a:pt x="2" y="2"/>
                    <a:pt x="2" y="1"/>
                    <a:pt x="2" y="1"/>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1" name="Freeform 143">
              <a:extLst>
                <a:ext uri="{FF2B5EF4-FFF2-40B4-BE49-F238E27FC236}">
                  <a16:creationId xmlns:a16="http://schemas.microsoft.com/office/drawing/2014/main" id="{D5442FB0-628F-4B11-1F4C-87136D244BBB}"/>
                </a:ext>
              </a:extLst>
            </p:cNvPr>
            <p:cNvSpPr/>
            <p:nvPr>
              <p:custDataLst>
                <p:tags r:id="rId299"/>
              </p:custDataLst>
            </p:nvPr>
          </p:nvSpPr>
          <p:spPr bwMode="auto">
            <a:xfrm>
              <a:off x="9680576" y="4249738"/>
              <a:ext cx="4763" cy="19050"/>
            </a:xfrm>
            <a:custGeom>
              <a:avLst/>
              <a:gdLst>
                <a:gd name="T0" fmla="*/ 2 w 3"/>
                <a:gd name="T1" fmla="*/ 2 h 10"/>
                <a:gd name="T2" fmla="*/ 1 w 3"/>
                <a:gd name="T3" fmla="*/ 5 h 10"/>
                <a:gd name="T4" fmla="*/ 3 w 3"/>
                <a:gd name="T5" fmla="*/ 8 h 10"/>
                <a:gd name="T6" fmla="*/ 3 w 3"/>
                <a:gd name="T7" fmla="*/ 3 h 10"/>
                <a:gd name="T8" fmla="*/ 1 w 3"/>
                <a:gd name="T9" fmla="*/ 2 h 10"/>
                <a:gd name="T10" fmla="*/ 2 w 3"/>
                <a:gd name="T11" fmla="*/ 2 h 10"/>
                <a:gd name="T12" fmla="*/ 2 w 3"/>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3" h="10">
                  <a:moveTo>
                    <a:pt x="2" y="2"/>
                  </a:moveTo>
                  <a:cubicBezTo>
                    <a:pt x="1" y="3"/>
                    <a:pt x="0" y="4"/>
                    <a:pt x="1" y="5"/>
                  </a:cubicBezTo>
                  <a:cubicBezTo>
                    <a:pt x="1" y="6"/>
                    <a:pt x="2" y="10"/>
                    <a:pt x="3" y="8"/>
                  </a:cubicBezTo>
                  <a:cubicBezTo>
                    <a:pt x="3" y="6"/>
                    <a:pt x="3" y="5"/>
                    <a:pt x="3" y="3"/>
                  </a:cubicBezTo>
                  <a:cubicBezTo>
                    <a:pt x="3" y="2"/>
                    <a:pt x="2" y="0"/>
                    <a:pt x="1" y="2"/>
                  </a:cubicBezTo>
                  <a:cubicBezTo>
                    <a:pt x="2" y="2"/>
                    <a:pt x="2" y="2"/>
                    <a:pt x="2" y="2"/>
                  </a:cubicBezTo>
                  <a:cubicBezTo>
                    <a:pt x="1" y="3"/>
                    <a:pt x="2" y="2"/>
                    <a:pt x="2" y="2"/>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2" name="Freeform 144">
              <a:extLst>
                <a:ext uri="{FF2B5EF4-FFF2-40B4-BE49-F238E27FC236}">
                  <a16:creationId xmlns:a16="http://schemas.microsoft.com/office/drawing/2014/main" id="{6B02A02F-87F2-0346-1930-7BC85F2C9491}"/>
                </a:ext>
              </a:extLst>
            </p:cNvPr>
            <p:cNvSpPr/>
            <p:nvPr>
              <p:custDataLst>
                <p:tags r:id="rId300"/>
              </p:custDataLst>
            </p:nvPr>
          </p:nvSpPr>
          <p:spPr bwMode="auto">
            <a:xfrm>
              <a:off x="9569451" y="4178301"/>
              <a:ext cx="6350" cy="14288"/>
            </a:xfrm>
            <a:custGeom>
              <a:avLst/>
              <a:gdLst>
                <a:gd name="T0" fmla="*/ 1 w 4"/>
                <a:gd name="T1" fmla="*/ 2 h 8"/>
                <a:gd name="T2" fmla="*/ 0 w 4"/>
                <a:gd name="T3" fmla="*/ 3 h 8"/>
                <a:gd name="T4" fmla="*/ 0 w 4"/>
                <a:gd name="T5" fmla="*/ 7 h 8"/>
                <a:gd name="T6" fmla="*/ 1 w 4"/>
                <a:gd name="T7" fmla="*/ 8 h 8"/>
                <a:gd name="T8" fmla="*/ 2 w 4"/>
                <a:gd name="T9" fmla="*/ 7 h 8"/>
                <a:gd name="T10" fmla="*/ 3 w 4"/>
                <a:gd name="T11" fmla="*/ 3 h 8"/>
                <a:gd name="T12" fmla="*/ 1 w 4"/>
                <a:gd name="T13" fmla="*/ 2 h 8"/>
                <a:gd name="T14" fmla="*/ 1 w 4"/>
                <a:gd name="T15" fmla="*/ 2 h 8"/>
                <a:gd name="T16" fmla="*/ 1 w 4"/>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1" y="2"/>
                  </a:moveTo>
                  <a:cubicBezTo>
                    <a:pt x="1" y="2"/>
                    <a:pt x="1" y="3"/>
                    <a:pt x="0" y="3"/>
                  </a:cubicBezTo>
                  <a:cubicBezTo>
                    <a:pt x="0" y="4"/>
                    <a:pt x="0" y="5"/>
                    <a:pt x="0" y="7"/>
                  </a:cubicBezTo>
                  <a:cubicBezTo>
                    <a:pt x="0" y="7"/>
                    <a:pt x="0" y="8"/>
                    <a:pt x="1" y="8"/>
                  </a:cubicBezTo>
                  <a:cubicBezTo>
                    <a:pt x="1" y="8"/>
                    <a:pt x="2" y="8"/>
                    <a:pt x="2" y="7"/>
                  </a:cubicBezTo>
                  <a:cubicBezTo>
                    <a:pt x="3" y="6"/>
                    <a:pt x="4" y="5"/>
                    <a:pt x="3" y="3"/>
                  </a:cubicBezTo>
                  <a:cubicBezTo>
                    <a:pt x="3" y="2"/>
                    <a:pt x="2" y="0"/>
                    <a:pt x="1" y="2"/>
                  </a:cubicBezTo>
                  <a:cubicBezTo>
                    <a:pt x="1" y="2"/>
                    <a:pt x="1" y="2"/>
                    <a:pt x="1" y="2"/>
                  </a:cubicBezTo>
                  <a:cubicBezTo>
                    <a:pt x="1" y="2"/>
                    <a:pt x="1" y="2"/>
                    <a:pt x="1" y="2"/>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3" name="Freeform 147">
              <a:extLst>
                <a:ext uri="{FF2B5EF4-FFF2-40B4-BE49-F238E27FC236}">
                  <a16:creationId xmlns:a16="http://schemas.microsoft.com/office/drawing/2014/main" id="{687FC032-C726-1E74-7F87-DD41A8097EC9}"/>
                </a:ext>
              </a:extLst>
            </p:cNvPr>
            <p:cNvSpPr/>
            <p:nvPr>
              <p:custDataLst>
                <p:tags r:id="rId301"/>
              </p:custDataLst>
            </p:nvPr>
          </p:nvSpPr>
          <p:spPr bwMode="auto">
            <a:xfrm>
              <a:off x="9505951" y="4192588"/>
              <a:ext cx="11113" cy="12700"/>
            </a:xfrm>
            <a:custGeom>
              <a:avLst/>
              <a:gdLst>
                <a:gd name="T0" fmla="*/ 5 w 6"/>
                <a:gd name="T1" fmla="*/ 2 h 7"/>
                <a:gd name="T2" fmla="*/ 3 w 6"/>
                <a:gd name="T3" fmla="*/ 1 h 7"/>
                <a:gd name="T4" fmla="*/ 1 w 6"/>
                <a:gd name="T5" fmla="*/ 1 h 7"/>
                <a:gd name="T6" fmla="*/ 1 w 6"/>
                <a:gd name="T7" fmla="*/ 4 h 7"/>
                <a:gd name="T8" fmla="*/ 1 w 6"/>
                <a:gd name="T9" fmla="*/ 6 h 7"/>
                <a:gd name="T10" fmla="*/ 3 w 6"/>
                <a:gd name="T11" fmla="*/ 5 h 7"/>
                <a:gd name="T12" fmla="*/ 5 w 6"/>
                <a:gd name="T13" fmla="*/ 1 h 7"/>
                <a:gd name="T14" fmla="*/ 5 w 6"/>
                <a:gd name="T15" fmla="*/ 2 h 7"/>
                <a:gd name="T16" fmla="*/ 5 w 6"/>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5" y="2"/>
                  </a:moveTo>
                  <a:cubicBezTo>
                    <a:pt x="5" y="1"/>
                    <a:pt x="4" y="2"/>
                    <a:pt x="3" y="1"/>
                  </a:cubicBezTo>
                  <a:cubicBezTo>
                    <a:pt x="3" y="1"/>
                    <a:pt x="2" y="0"/>
                    <a:pt x="1" y="1"/>
                  </a:cubicBezTo>
                  <a:cubicBezTo>
                    <a:pt x="0" y="1"/>
                    <a:pt x="1" y="3"/>
                    <a:pt x="1" y="4"/>
                  </a:cubicBezTo>
                  <a:cubicBezTo>
                    <a:pt x="0" y="5"/>
                    <a:pt x="0" y="5"/>
                    <a:pt x="1" y="6"/>
                  </a:cubicBezTo>
                  <a:cubicBezTo>
                    <a:pt x="2" y="7"/>
                    <a:pt x="2" y="5"/>
                    <a:pt x="3" y="5"/>
                  </a:cubicBezTo>
                  <a:cubicBezTo>
                    <a:pt x="5" y="4"/>
                    <a:pt x="6" y="4"/>
                    <a:pt x="5" y="1"/>
                  </a:cubicBezTo>
                  <a:cubicBezTo>
                    <a:pt x="5" y="2"/>
                    <a:pt x="5" y="2"/>
                    <a:pt x="5" y="2"/>
                  </a:cubicBezTo>
                  <a:cubicBezTo>
                    <a:pt x="5" y="1"/>
                    <a:pt x="5" y="2"/>
                    <a:pt x="5" y="2"/>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4" name="Freeform 148">
              <a:extLst>
                <a:ext uri="{FF2B5EF4-FFF2-40B4-BE49-F238E27FC236}">
                  <a16:creationId xmlns:a16="http://schemas.microsoft.com/office/drawing/2014/main" id="{28AC57C7-E434-136B-F639-6656B953B076}"/>
                </a:ext>
              </a:extLst>
            </p:cNvPr>
            <p:cNvSpPr/>
            <p:nvPr>
              <p:custDataLst>
                <p:tags r:id="rId302"/>
              </p:custDataLst>
            </p:nvPr>
          </p:nvSpPr>
          <p:spPr bwMode="auto">
            <a:xfrm>
              <a:off x="9517064" y="4149726"/>
              <a:ext cx="38100" cy="44450"/>
            </a:xfrm>
            <a:custGeom>
              <a:avLst/>
              <a:gdLst>
                <a:gd name="T0" fmla="*/ 20 w 21"/>
                <a:gd name="T1" fmla="*/ 9 h 24"/>
                <a:gd name="T2" fmla="*/ 20 w 21"/>
                <a:gd name="T3" fmla="*/ 7 h 24"/>
                <a:gd name="T4" fmla="*/ 16 w 21"/>
                <a:gd name="T5" fmla="*/ 5 h 24"/>
                <a:gd name="T6" fmla="*/ 13 w 21"/>
                <a:gd name="T7" fmla="*/ 2 h 24"/>
                <a:gd name="T8" fmla="*/ 8 w 21"/>
                <a:gd name="T9" fmla="*/ 2 h 24"/>
                <a:gd name="T10" fmla="*/ 3 w 21"/>
                <a:gd name="T11" fmla="*/ 0 h 24"/>
                <a:gd name="T12" fmla="*/ 1 w 21"/>
                <a:gd name="T13" fmla="*/ 2 h 24"/>
                <a:gd name="T14" fmla="*/ 8 w 21"/>
                <a:gd name="T15" fmla="*/ 9 h 24"/>
                <a:gd name="T16" fmla="*/ 8 w 21"/>
                <a:gd name="T17" fmla="*/ 13 h 24"/>
                <a:gd name="T18" fmla="*/ 10 w 21"/>
                <a:gd name="T19" fmla="*/ 16 h 24"/>
                <a:gd name="T20" fmla="*/ 13 w 21"/>
                <a:gd name="T21" fmla="*/ 18 h 24"/>
                <a:gd name="T22" fmla="*/ 15 w 21"/>
                <a:gd name="T23" fmla="*/ 23 h 24"/>
                <a:gd name="T24" fmla="*/ 18 w 21"/>
                <a:gd name="T25" fmla="*/ 21 h 24"/>
                <a:gd name="T26" fmla="*/ 20 w 21"/>
                <a:gd name="T27" fmla="*/ 17 h 24"/>
                <a:gd name="T28" fmla="*/ 21 w 21"/>
                <a:gd name="T29" fmla="*/ 9 h 24"/>
                <a:gd name="T30" fmla="*/ 20 w 21"/>
                <a:gd name="T31" fmla="*/ 9 h 24"/>
                <a:gd name="T32" fmla="*/ 20 w 21"/>
                <a:gd name="T33"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24">
                  <a:moveTo>
                    <a:pt x="20" y="9"/>
                  </a:moveTo>
                  <a:cubicBezTo>
                    <a:pt x="21" y="8"/>
                    <a:pt x="21" y="7"/>
                    <a:pt x="20" y="7"/>
                  </a:cubicBezTo>
                  <a:cubicBezTo>
                    <a:pt x="19" y="6"/>
                    <a:pt x="17" y="6"/>
                    <a:pt x="16" y="5"/>
                  </a:cubicBezTo>
                  <a:cubicBezTo>
                    <a:pt x="15" y="5"/>
                    <a:pt x="14" y="3"/>
                    <a:pt x="13" y="2"/>
                  </a:cubicBezTo>
                  <a:cubicBezTo>
                    <a:pt x="11" y="2"/>
                    <a:pt x="9" y="2"/>
                    <a:pt x="8" y="2"/>
                  </a:cubicBezTo>
                  <a:cubicBezTo>
                    <a:pt x="6" y="1"/>
                    <a:pt x="5" y="1"/>
                    <a:pt x="3" y="0"/>
                  </a:cubicBezTo>
                  <a:cubicBezTo>
                    <a:pt x="2" y="0"/>
                    <a:pt x="0" y="1"/>
                    <a:pt x="1" y="2"/>
                  </a:cubicBezTo>
                  <a:cubicBezTo>
                    <a:pt x="2" y="5"/>
                    <a:pt x="6" y="6"/>
                    <a:pt x="8" y="9"/>
                  </a:cubicBezTo>
                  <a:cubicBezTo>
                    <a:pt x="8" y="10"/>
                    <a:pt x="8" y="12"/>
                    <a:pt x="8" y="13"/>
                  </a:cubicBezTo>
                  <a:cubicBezTo>
                    <a:pt x="7" y="14"/>
                    <a:pt x="8" y="15"/>
                    <a:pt x="10" y="16"/>
                  </a:cubicBezTo>
                  <a:cubicBezTo>
                    <a:pt x="11" y="17"/>
                    <a:pt x="12" y="17"/>
                    <a:pt x="13" y="18"/>
                  </a:cubicBezTo>
                  <a:cubicBezTo>
                    <a:pt x="13" y="19"/>
                    <a:pt x="14" y="21"/>
                    <a:pt x="15" y="23"/>
                  </a:cubicBezTo>
                  <a:cubicBezTo>
                    <a:pt x="16" y="24"/>
                    <a:pt x="17" y="23"/>
                    <a:pt x="18" y="21"/>
                  </a:cubicBezTo>
                  <a:cubicBezTo>
                    <a:pt x="19" y="20"/>
                    <a:pt x="20" y="19"/>
                    <a:pt x="20" y="17"/>
                  </a:cubicBezTo>
                  <a:cubicBezTo>
                    <a:pt x="21" y="15"/>
                    <a:pt x="18" y="10"/>
                    <a:pt x="21" y="9"/>
                  </a:cubicBezTo>
                  <a:cubicBezTo>
                    <a:pt x="20" y="9"/>
                    <a:pt x="20" y="9"/>
                    <a:pt x="20" y="9"/>
                  </a:cubicBezTo>
                  <a:cubicBezTo>
                    <a:pt x="21" y="8"/>
                    <a:pt x="20" y="9"/>
                    <a:pt x="20" y="9"/>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5" name="Freeform 149">
              <a:extLst>
                <a:ext uri="{FF2B5EF4-FFF2-40B4-BE49-F238E27FC236}">
                  <a16:creationId xmlns:a16="http://schemas.microsoft.com/office/drawing/2014/main" id="{29B83880-5258-393E-5829-A5106019BEAA}"/>
                </a:ext>
              </a:extLst>
            </p:cNvPr>
            <p:cNvSpPr/>
            <p:nvPr>
              <p:custDataLst>
                <p:tags r:id="rId303"/>
              </p:custDataLst>
            </p:nvPr>
          </p:nvSpPr>
          <p:spPr bwMode="auto">
            <a:xfrm>
              <a:off x="9564689" y="4202113"/>
              <a:ext cx="46038" cy="50800"/>
            </a:xfrm>
            <a:custGeom>
              <a:avLst/>
              <a:gdLst>
                <a:gd name="T0" fmla="*/ 12 w 25"/>
                <a:gd name="T1" fmla="*/ 7 h 27"/>
                <a:gd name="T2" fmla="*/ 6 w 25"/>
                <a:gd name="T3" fmla="*/ 3 h 27"/>
                <a:gd name="T4" fmla="*/ 3 w 25"/>
                <a:gd name="T5" fmla="*/ 1 h 27"/>
                <a:gd name="T6" fmla="*/ 1 w 25"/>
                <a:gd name="T7" fmla="*/ 4 h 27"/>
                <a:gd name="T8" fmla="*/ 4 w 25"/>
                <a:gd name="T9" fmla="*/ 5 h 27"/>
                <a:gd name="T10" fmla="*/ 3 w 25"/>
                <a:gd name="T11" fmla="*/ 12 h 27"/>
                <a:gd name="T12" fmla="*/ 2 w 25"/>
                <a:gd name="T13" fmla="*/ 19 h 27"/>
                <a:gd name="T14" fmla="*/ 1 w 25"/>
                <a:gd name="T15" fmla="*/ 26 h 27"/>
                <a:gd name="T16" fmla="*/ 5 w 25"/>
                <a:gd name="T17" fmla="*/ 25 h 27"/>
                <a:gd name="T18" fmla="*/ 9 w 25"/>
                <a:gd name="T19" fmla="*/ 21 h 27"/>
                <a:gd name="T20" fmla="*/ 15 w 25"/>
                <a:gd name="T21" fmla="*/ 19 h 27"/>
                <a:gd name="T22" fmla="*/ 19 w 25"/>
                <a:gd name="T23" fmla="*/ 13 h 27"/>
                <a:gd name="T24" fmla="*/ 20 w 25"/>
                <a:gd name="T25" fmla="*/ 7 h 27"/>
                <a:gd name="T26" fmla="*/ 16 w 25"/>
                <a:gd name="T27" fmla="*/ 8 h 27"/>
                <a:gd name="T28" fmla="*/ 11 w 25"/>
                <a:gd name="T29" fmla="*/ 6 h 27"/>
                <a:gd name="T30" fmla="*/ 12 w 25"/>
                <a:gd name="T31" fmla="*/ 7 h 27"/>
                <a:gd name="T32" fmla="*/ 12 w 25"/>
                <a:gd name="T33"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27">
                  <a:moveTo>
                    <a:pt x="12" y="7"/>
                  </a:moveTo>
                  <a:cubicBezTo>
                    <a:pt x="10" y="5"/>
                    <a:pt x="8" y="5"/>
                    <a:pt x="6" y="3"/>
                  </a:cubicBezTo>
                  <a:cubicBezTo>
                    <a:pt x="5" y="3"/>
                    <a:pt x="4" y="0"/>
                    <a:pt x="3" y="1"/>
                  </a:cubicBezTo>
                  <a:cubicBezTo>
                    <a:pt x="2" y="1"/>
                    <a:pt x="0" y="3"/>
                    <a:pt x="1" y="4"/>
                  </a:cubicBezTo>
                  <a:cubicBezTo>
                    <a:pt x="1" y="6"/>
                    <a:pt x="3" y="5"/>
                    <a:pt x="4" y="5"/>
                  </a:cubicBezTo>
                  <a:cubicBezTo>
                    <a:pt x="5" y="7"/>
                    <a:pt x="4" y="10"/>
                    <a:pt x="3" y="12"/>
                  </a:cubicBezTo>
                  <a:cubicBezTo>
                    <a:pt x="3" y="14"/>
                    <a:pt x="3" y="16"/>
                    <a:pt x="2" y="19"/>
                  </a:cubicBezTo>
                  <a:cubicBezTo>
                    <a:pt x="2" y="20"/>
                    <a:pt x="0" y="25"/>
                    <a:pt x="1" y="26"/>
                  </a:cubicBezTo>
                  <a:cubicBezTo>
                    <a:pt x="2" y="27"/>
                    <a:pt x="5" y="26"/>
                    <a:pt x="5" y="25"/>
                  </a:cubicBezTo>
                  <a:cubicBezTo>
                    <a:pt x="7" y="23"/>
                    <a:pt x="8" y="22"/>
                    <a:pt x="9" y="21"/>
                  </a:cubicBezTo>
                  <a:cubicBezTo>
                    <a:pt x="11" y="20"/>
                    <a:pt x="14" y="20"/>
                    <a:pt x="15" y="19"/>
                  </a:cubicBezTo>
                  <a:cubicBezTo>
                    <a:pt x="17" y="17"/>
                    <a:pt x="17" y="15"/>
                    <a:pt x="19" y="13"/>
                  </a:cubicBezTo>
                  <a:cubicBezTo>
                    <a:pt x="20" y="12"/>
                    <a:pt x="25" y="7"/>
                    <a:pt x="20" y="7"/>
                  </a:cubicBezTo>
                  <a:cubicBezTo>
                    <a:pt x="19" y="7"/>
                    <a:pt x="17" y="8"/>
                    <a:pt x="16" y="8"/>
                  </a:cubicBezTo>
                  <a:cubicBezTo>
                    <a:pt x="14" y="8"/>
                    <a:pt x="12" y="8"/>
                    <a:pt x="11" y="6"/>
                  </a:cubicBezTo>
                  <a:cubicBezTo>
                    <a:pt x="11" y="7"/>
                    <a:pt x="11" y="7"/>
                    <a:pt x="12" y="7"/>
                  </a:cubicBezTo>
                  <a:cubicBezTo>
                    <a:pt x="10" y="6"/>
                    <a:pt x="12" y="7"/>
                    <a:pt x="12" y="7"/>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6" name="Freeform 150">
              <a:extLst>
                <a:ext uri="{FF2B5EF4-FFF2-40B4-BE49-F238E27FC236}">
                  <a16:creationId xmlns:a16="http://schemas.microsoft.com/office/drawing/2014/main" id="{E1DCCD28-C793-CECE-C895-D621B174E264}"/>
                </a:ext>
              </a:extLst>
            </p:cNvPr>
            <p:cNvSpPr/>
            <p:nvPr>
              <p:custDataLst>
                <p:tags r:id="rId304"/>
              </p:custDataLst>
            </p:nvPr>
          </p:nvSpPr>
          <p:spPr bwMode="auto">
            <a:xfrm>
              <a:off x="9566276" y="3973513"/>
              <a:ext cx="4763" cy="6350"/>
            </a:xfrm>
            <a:custGeom>
              <a:avLst/>
              <a:gdLst>
                <a:gd name="T0" fmla="*/ 0 w 2"/>
                <a:gd name="T1" fmla="*/ 1 h 3"/>
                <a:gd name="T2" fmla="*/ 0 w 2"/>
                <a:gd name="T3" fmla="*/ 2 h 3"/>
                <a:gd name="T4" fmla="*/ 1 w 2"/>
                <a:gd name="T5" fmla="*/ 2 h 3"/>
                <a:gd name="T6" fmla="*/ 1 w 2"/>
                <a:gd name="T7" fmla="*/ 1 h 3"/>
                <a:gd name="T8" fmla="*/ 0 w 2"/>
                <a:gd name="T9" fmla="*/ 1 h 3"/>
                <a:gd name="T10" fmla="*/ 0 w 2"/>
                <a:gd name="T11" fmla="*/ 1 h 3"/>
                <a:gd name="T12" fmla="*/ 0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1"/>
                  </a:moveTo>
                  <a:cubicBezTo>
                    <a:pt x="0" y="1"/>
                    <a:pt x="0" y="1"/>
                    <a:pt x="0" y="2"/>
                  </a:cubicBezTo>
                  <a:cubicBezTo>
                    <a:pt x="0" y="3"/>
                    <a:pt x="0" y="3"/>
                    <a:pt x="1" y="2"/>
                  </a:cubicBezTo>
                  <a:cubicBezTo>
                    <a:pt x="1" y="2"/>
                    <a:pt x="2" y="1"/>
                    <a:pt x="1" y="1"/>
                  </a:cubicBezTo>
                  <a:cubicBezTo>
                    <a:pt x="1" y="0"/>
                    <a:pt x="0" y="1"/>
                    <a:pt x="0" y="1"/>
                  </a:cubicBezTo>
                  <a:cubicBezTo>
                    <a:pt x="0" y="1"/>
                    <a:pt x="0" y="1"/>
                    <a:pt x="0" y="1"/>
                  </a:cubicBezTo>
                  <a:cubicBezTo>
                    <a:pt x="0" y="1"/>
                    <a:pt x="0" y="1"/>
                    <a:pt x="0" y="1"/>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7" name="Freeform 151">
              <a:extLst>
                <a:ext uri="{FF2B5EF4-FFF2-40B4-BE49-F238E27FC236}">
                  <a16:creationId xmlns:a16="http://schemas.microsoft.com/office/drawing/2014/main" id="{C6607CB2-DE67-4230-F88F-ED6415BDB138}"/>
                </a:ext>
              </a:extLst>
            </p:cNvPr>
            <p:cNvSpPr/>
            <p:nvPr>
              <p:custDataLst>
                <p:tags r:id="rId305"/>
              </p:custDataLst>
            </p:nvPr>
          </p:nvSpPr>
          <p:spPr bwMode="auto">
            <a:xfrm>
              <a:off x="9642476" y="4181476"/>
              <a:ext cx="42863" cy="44450"/>
            </a:xfrm>
            <a:custGeom>
              <a:avLst/>
              <a:gdLst>
                <a:gd name="T0" fmla="*/ 3 w 23"/>
                <a:gd name="T1" fmla="*/ 1 h 24"/>
                <a:gd name="T2" fmla="*/ 0 w 23"/>
                <a:gd name="T3" fmla="*/ 3 h 24"/>
                <a:gd name="T4" fmla="*/ 2 w 23"/>
                <a:gd name="T5" fmla="*/ 6 h 24"/>
                <a:gd name="T6" fmla="*/ 10 w 23"/>
                <a:gd name="T7" fmla="*/ 12 h 24"/>
                <a:gd name="T8" fmla="*/ 12 w 23"/>
                <a:gd name="T9" fmla="*/ 16 h 24"/>
                <a:gd name="T10" fmla="*/ 12 w 23"/>
                <a:gd name="T11" fmla="*/ 20 h 24"/>
                <a:gd name="T12" fmla="*/ 15 w 23"/>
                <a:gd name="T13" fmla="*/ 23 h 24"/>
                <a:gd name="T14" fmla="*/ 20 w 23"/>
                <a:gd name="T15" fmla="*/ 23 h 24"/>
                <a:gd name="T16" fmla="*/ 22 w 23"/>
                <a:gd name="T17" fmla="*/ 19 h 24"/>
                <a:gd name="T18" fmla="*/ 21 w 23"/>
                <a:gd name="T19" fmla="*/ 15 h 24"/>
                <a:gd name="T20" fmla="*/ 21 w 23"/>
                <a:gd name="T21" fmla="*/ 9 h 24"/>
                <a:gd name="T22" fmla="*/ 19 w 23"/>
                <a:gd name="T23" fmla="*/ 5 h 24"/>
                <a:gd name="T24" fmla="*/ 17 w 23"/>
                <a:gd name="T25" fmla="*/ 1 h 24"/>
                <a:gd name="T26" fmla="*/ 12 w 23"/>
                <a:gd name="T27" fmla="*/ 0 h 24"/>
                <a:gd name="T28" fmla="*/ 7 w 23"/>
                <a:gd name="T29" fmla="*/ 1 h 24"/>
                <a:gd name="T30" fmla="*/ 2 w 23"/>
                <a:gd name="T31" fmla="*/ 1 h 24"/>
                <a:gd name="T32" fmla="*/ 3 w 23"/>
                <a:gd name="T33" fmla="*/ 1 h 24"/>
                <a:gd name="T34" fmla="*/ 3 w 23"/>
                <a:gd name="T35"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4">
                  <a:moveTo>
                    <a:pt x="3" y="1"/>
                  </a:moveTo>
                  <a:cubicBezTo>
                    <a:pt x="2" y="2"/>
                    <a:pt x="1" y="2"/>
                    <a:pt x="0" y="3"/>
                  </a:cubicBezTo>
                  <a:cubicBezTo>
                    <a:pt x="0" y="4"/>
                    <a:pt x="1" y="5"/>
                    <a:pt x="2" y="6"/>
                  </a:cubicBezTo>
                  <a:cubicBezTo>
                    <a:pt x="4" y="9"/>
                    <a:pt x="7" y="10"/>
                    <a:pt x="10" y="12"/>
                  </a:cubicBezTo>
                  <a:cubicBezTo>
                    <a:pt x="11" y="13"/>
                    <a:pt x="12" y="14"/>
                    <a:pt x="12" y="16"/>
                  </a:cubicBezTo>
                  <a:cubicBezTo>
                    <a:pt x="12" y="17"/>
                    <a:pt x="11" y="18"/>
                    <a:pt x="12" y="20"/>
                  </a:cubicBezTo>
                  <a:cubicBezTo>
                    <a:pt x="13" y="21"/>
                    <a:pt x="14" y="22"/>
                    <a:pt x="15" y="23"/>
                  </a:cubicBezTo>
                  <a:cubicBezTo>
                    <a:pt x="17" y="24"/>
                    <a:pt x="19" y="24"/>
                    <a:pt x="20" y="23"/>
                  </a:cubicBezTo>
                  <a:cubicBezTo>
                    <a:pt x="21" y="22"/>
                    <a:pt x="22" y="21"/>
                    <a:pt x="22" y="19"/>
                  </a:cubicBezTo>
                  <a:cubicBezTo>
                    <a:pt x="23" y="18"/>
                    <a:pt x="22" y="16"/>
                    <a:pt x="21" y="15"/>
                  </a:cubicBezTo>
                  <a:cubicBezTo>
                    <a:pt x="21" y="13"/>
                    <a:pt x="21" y="11"/>
                    <a:pt x="21" y="9"/>
                  </a:cubicBezTo>
                  <a:cubicBezTo>
                    <a:pt x="21" y="7"/>
                    <a:pt x="20" y="6"/>
                    <a:pt x="19" y="5"/>
                  </a:cubicBezTo>
                  <a:cubicBezTo>
                    <a:pt x="18" y="4"/>
                    <a:pt x="18" y="3"/>
                    <a:pt x="17" y="1"/>
                  </a:cubicBezTo>
                  <a:cubicBezTo>
                    <a:pt x="15" y="0"/>
                    <a:pt x="14" y="0"/>
                    <a:pt x="12" y="0"/>
                  </a:cubicBezTo>
                  <a:cubicBezTo>
                    <a:pt x="11" y="1"/>
                    <a:pt x="9" y="1"/>
                    <a:pt x="7" y="1"/>
                  </a:cubicBezTo>
                  <a:cubicBezTo>
                    <a:pt x="5" y="1"/>
                    <a:pt x="4" y="0"/>
                    <a:pt x="2" y="1"/>
                  </a:cubicBezTo>
                  <a:cubicBezTo>
                    <a:pt x="2" y="1"/>
                    <a:pt x="3" y="1"/>
                    <a:pt x="3" y="1"/>
                  </a:cubicBezTo>
                  <a:cubicBezTo>
                    <a:pt x="2" y="1"/>
                    <a:pt x="3" y="1"/>
                    <a:pt x="3" y="1"/>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8" name="Freeform 152">
              <a:extLst>
                <a:ext uri="{FF2B5EF4-FFF2-40B4-BE49-F238E27FC236}">
                  <a16:creationId xmlns:a16="http://schemas.microsoft.com/office/drawing/2014/main" id="{8E3B2C5B-9FAF-0418-8C0E-271F96480627}"/>
                </a:ext>
              </a:extLst>
            </p:cNvPr>
            <p:cNvSpPr/>
            <p:nvPr>
              <p:custDataLst>
                <p:tags r:id="rId306"/>
              </p:custDataLst>
            </p:nvPr>
          </p:nvSpPr>
          <p:spPr bwMode="auto">
            <a:xfrm>
              <a:off x="9564689" y="4103688"/>
              <a:ext cx="7938" cy="11113"/>
            </a:xfrm>
            <a:custGeom>
              <a:avLst/>
              <a:gdLst>
                <a:gd name="T0" fmla="*/ 1 w 4"/>
                <a:gd name="T1" fmla="*/ 6 h 6"/>
                <a:gd name="T2" fmla="*/ 3 w 4"/>
                <a:gd name="T3" fmla="*/ 4 h 6"/>
                <a:gd name="T4" fmla="*/ 2 w 4"/>
                <a:gd name="T5" fmla="*/ 0 h 6"/>
                <a:gd name="T6" fmla="*/ 1 w 4"/>
                <a:gd name="T7" fmla="*/ 2 h 6"/>
                <a:gd name="T8" fmla="*/ 2 w 4"/>
                <a:gd name="T9" fmla="*/ 6 h 6"/>
                <a:gd name="T10" fmla="*/ 1 w 4"/>
                <a:gd name="T11" fmla="*/ 6 h 6"/>
                <a:gd name="T12" fmla="*/ 1 w 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1" y="6"/>
                  </a:moveTo>
                  <a:cubicBezTo>
                    <a:pt x="3" y="6"/>
                    <a:pt x="2" y="5"/>
                    <a:pt x="3" y="4"/>
                  </a:cubicBezTo>
                  <a:cubicBezTo>
                    <a:pt x="3" y="2"/>
                    <a:pt x="4" y="0"/>
                    <a:pt x="2" y="0"/>
                  </a:cubicBezTo>
                  <a:cubicBezTo>
                    <a:pt x="0" y="0"/>
                    <a:pt x="0" y="1"/>
                    <a:pt x="1" y="2"/>
                  </a:cubicBezTo>
                  <a:cubicBezTo>
                    <a:pt x="1" y="3"/>
                    <a:pt x="1" y="5"/>
                    <a:pt x="2" y="6"/>
                  </a:cubicBezTo>
                  <a:cubicBezTo>
                    <a:pt x="2" y="6"/>
                    <a:pt x="1" y="6"/>
                    <a:pt x="1" y="6"/>
                  </a:cubicBezTo>
                  <a:cubicBezTo>
                    <a:pt x="3" y="6"/>
                    <a:pt x="1" y="6"/>
                    <a:pt x="1" y="6"/>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89" name="Freeform 153">
              <a:extLst>
                <a:ext uri="{FF2B5EF4-FFF2-40B4-BE49-F238E27FC236}">
                  <a16:creationId xmlns:a16="http://schemas.microsoft.com/office/drawing/2014/main" id="{A64A3447-801A-F4AE-FF44-E7F7D7764DD6}"/>
                </a:ext>
              </a:extLst>
            </p:cNvPr>
            <p:cNvSpPr/>
            <p:nvPr>
              <p:custDataLst>
                <p:tags r:id="rId307"/>
              </p:custDataLst>
            </p:nvPr>
          </p:nvSpPr>
          <p:spPr bwMode="auto">
            <a:xfrm>
              <a:off x="9498014" y="3989388"/>
              <a:ext cx="142875" cy="193675"/>
            </a:xfrm>
            <a:custGeom>
              <a:avLst/>
              <a:gdLst>
                <a:gd name="T0" fmla="*/ 2 w 77"/>
                <a:gd name="T1" fmla="*/ 45 h 105"/>
                <a:gd name="T2" fmla="*/ 5 w 77"/>
                <a:gd name="T3" fmla="*/ 53 h 105"/>
                <a:gd name="T4" fmla="*/ 8 w 77"/>
                <a:gd name="T5" fmla="*/ 67 h 105"/>
                <a:gd name="T6" fmla="*/ 10 w 77"/>
                <a:gd name="T7" fmla="*/ 69 h 105"/>
                <a:gd name="T8" fmla="*/ 14 w 77"/>
                <a:gd name="T9" fmla="*/ 72 h 105"/>
                <a:gd name="T10" fmla="*/ 15 w 77"/>
                <a:gd name="T11" fmla="*/ 65 h 105"/>
                <a:gd name="T12" fmla="*/ 20 w 77"/>
                <a:gd name="T13" fmla="*/ 70 h 105"/>
                <a:gd name="T14" fmla="*/ 15 w 77"/>
                <a:gd name="T15" fmla="*/ 76 h 105"/>
                <a:gd name="T16" fmla="*/ 17 w 77"/>
                <a:gd name="T17" fmla="*/ 81 h 105"/>
                <a:gd name="T18" fmla="*/ 21 w 77"/>
                <a:gd name="T19" fmla="*/ 84 h 105"/>
                <a:gd name="T20" fmla="*/ 29 w 77"/>
                <a:gd name="T21" fmla="*/ 84 h 105"/>
                <a:gd name="T22" fmla="*/ 34 w 77"/>
                <a:gd name="T23" fmla="*/ 81 h 105"/>
                <a:gd name="T24" fmla="*/ 44 w 77"/>
                <a:gd name="T25" fmla="*/ 86 h 105"/>
                <a:gd name="T26" fmla="*/ 47 w 77"/>
                <a:gd name="T27" fmla="*/ 89 h 105"/>
                <a:gd name="T28" fmla="*/ 47 w 77"/>
                <a:gd name="T29" fmla="*/ 81 h 105"/>
                <a:gd name="T30" fmla="*/ 53 w 77"/>
                <a:gd name="T31" fmla="*/ 85 h 105"/>
                <a:gd name="T32" fmla="*/ 59 w 77"/>
                <a:gd name="T33" fmla="*/ 91 h 105"/>
                <a:gd name="T34" fmla="*/ 65 w 77"/>
                <a:gd name="T35" fmla="*/ 97 h 105"/>
                <a:gd name="T36" fmla="*/ 73 w 77"/>
                <a:gd name="T37" fmla="*/ 99 h 105"/>
                <a:gd name="T38" fmla="*/ 75 w 77"/>
                <a:gd name="T39" fmla="*/ 104 h 105"/>
                <a:gd name="T40" fmla="*/ 76 w 77"/>
                <a:gd name="T41" fmla="*/ 101 h 105"/>
                <a:gd name="T42" fmla="*/ 74 w 77"/>
                <a:gd name="T43" fmla="*/ 95 h 105"/>
                <a:gd name="T44" fmla="*/ 71 w 77"/>
                <a:gd name="T45" fmla="*/ 92 h 105"/>
                <a:gd name="T46" fmla="*/ 66 w 77"/>
                <a:gd name="T47" fmla="*/ 85 h 105"/>
                <a:gd name="T48" fmla="*/ 69 w 77"/>
                <a:gd name="T49" fmla="*/ 83 h 105"/>
                <a:gd name="T50" fmla="*/ 62 w 77"/>
                <a:gd name="T51" fmla="*/ 80 h 105"/>
                <a:gd name="T52" fmla="*/ 59 w 77"/>
                <a:gd name="T53" fmla="*/ 84 h 105"/>
                <a:gd name="T54" fmla="*/ 53 w 77"/>
                <a:gd name="T55" fmla="*/ 76 h 105"/>
                <a:gd name="T56" fmla="*/ 43 w 77"/>
                <a:gd name="T57" fmla="*/ 80 h 105"/>
                <a:gd name="T58" fmla="*/ 34 w 77"/>
                <a:gd name="T59" fmla="*/ 76 h 105"/>
                <a:gd name="T60" fmla="*/ 34 w 77"/>
                <a:gd name="T61" fmla="*/ 69 h 105"/>
                <a:gd name="T62" fmla="*/ 32 w 77"/>
                <a:gd name="T63" fmla="*/ 63 h 105"/>
                <a:gd name="T64" fmla="*/ 28 w 77"/>
                <a:gd name="T65" fmla="*/ 56 h 105"/>
                <a:gd name="T66" fmla="*/ 31 w 77"/>
                <a:gd name="T67" fmla="*/ 48 h 105"/>
                <a:gd name="T68" fmla="*/ 39 w 77"/>
                <a:gd name="T69" fmla="*/ 43 h 105"/>
                <a:gd name="T70" fmla="*/ 41 w 77"/>
                <a:gd name="T71" fmla="*/ 40 h 105"/>
                <a:gd name="T72" fmla="*/ 44 w 77"/>
                <a:gd name="T73" fmla="*/ 35 h 105"/>
                <a:gd name="T74" fmla="*/ 47 w 77"/>
                <a:gd name="T75" fmla="*/ 25 h 105"/>
                <a:gd name="T76" fmla="*/ 42 w 77"/>
                <a:gd name="T77" fmla="*/ 17 h 105"/>
                <a:gd name="T78" fmla="*/ 44 w 77"/>
                <a:gd name="T79" fmla="*/ 3 h 105"/>
                <a:gd name="T80" fmla="*/ 39 w 77"/>
                <a:gd name="T81" fmla="*/ 4 h 105"/>
                <a:gd name="T82" fmla="*/ 34 w 77"/>
                <a:gd name="T83" fmla="*/ 7 h 105"/>
                <a:gd name="T84" fmla="*/ 32 w 77"/>
                <a:gd name="T85" fmla="*/ 5 h 105"/>
                <a:gd name="T86" fmla="*/ 27 w 77"/>
                <a:gd name="T87" fmla="*/ 2 h 105"/>
                <a:gd name="T88" fmla="*/ 19 w 77"/>
                <a:gd name="T89" fmla="*/ 1 h 105"/>
                <a:gd name="T90" fmla="*/ 14 w 77"/>
                <a:gd name="T91" fmla="*/ 8 h 105"/>
                <a:gd name="T92" fmla="*/ 12 w 77"/>
                <a:gd name="T93" fmla="*/ 21 h 105"/>
                <a:gd name="T94" fmla="*/ 10 w 77"/>
                <a:gd name="T95" fmla="*/ 33 h 105"/>
                <a:gd name="T96" fmla="*/ 11 w 77"/>
                <a:gd name="T97" fmla="*/ 43 h 105"/>
                <a:gd name="T98" fmla="*/ 4 w 77"/>
                <a:gd name="T99" fmla="*/ 39 h 105"/>
                <a:gd name="T100" fmla="*/ 1 w 77"/>
                <a:gd name="T101" fmla="*/ 4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7" h="105">
                  <a:moveTo>
                    <a:pt x="1" y="40"/>
                  </a:moveTo>
                  <a:cubicBezTo>
                    <a:pt x="0" y="41"/>
                    <a:pt x="1" y="44"/>
                    <a:pt x="2" y="45"/>
                  </a:cubicBezTo>
                  <a:cubicBezTo>
                    <a:pt x="2" y="46"/>
                    <a:pt x="3" y="48"/>
                    <a:pt x="4" y="49"/>
                  </a:cubicBezTo>
                  <a:cubicBezTo>
                    <a:pt x="4" y="50"/>
                    <a:pt x="5" y="51"/>
                    <a:pt x="5" y="53"/>
                  </a:cubicBezTo>
                  <a:cubicBezTo>
                    <a:pt x="5" y="55"/>
                    <a:pt x="6" y="58"/>
                    <a:pt x="5" y="61"/>
                  </a:cubicBezTo>
                  <a:cubicBezTo>
                    <a:pt x="5" y="63"/>
                    <a:pt x="6" y="66"/>
                    <a:pt x="8" y="67"/>
                  </a:cubicBezTo>
                  <a:cubicBezTo>
                    <a:pt x="8" y="68"/>
                    <a:pt x="9" y="67"/>
                    <a:pt x="9" y="68"/>
                  </a:cubicBezTo>
                  <a:cubicBezTo>
                    <a:pt x="9" y="68"/>
                    <a:pt x="10" y="68"/>
                    <a:pt x="10" y="69"/>
                  </a:cubicBezTo>
                  <a:cubicBezTo>
                    <a:pt x="11" y="70"/>
                    <a:pt x="11" y="71"/>
                    <a:pt x="12" y="72"/>
                  </a:cubicBezTo>
                  <a:cubicBezTo>
                    <a:pt x="12" y="73"/>
                    <a:pt x="14" y="72"/>
                    <a:pt x="14" y="72"/>
                  </a:cubicBezTo>
                  <a:cubicBezTo>
                    <a:pt x="16" y="71"/>
                    <a:pt x="16" y="70"/>
                    <a:pt x="15" y="69"/>
                  </a:cubicBezTo>
                  <a:cubicBezTo>
                    <a:pt x="14" y="68"/>
                    <a:pt x="13" y="65"/>
                    <a:pt x="15" y="65"/>
                  </a:cubicBezTo>
                  <a:cubicBezTo>
                    <a:pt x="16" y="65"/>
                    <a:pt x="17" y="67"/>
                    <a:pt x="17" y="67"/>
                  </a:cubicBezTo>
                  <a:cubicBezTo>
                    <a:pt x="18" y="68"/>
                    <a:pt x="19" y="69"/>
                    <a:pt x="20" y="70"/>
                  </a:cubicBezTo>
                  <a:cubicBezTo>
                    <a:pt x="22" y="72"/>
                    <a:pt x="20" y="74"/>
                    <a:pt x="18" y="75"/>
                  </a:cubicBezTo>
                  <a:cubicBezTo>
                    <a:pt x="18" y="75"/>
                    <a:pt x="15" y="75"/>
                    <a:pt x="15" y="76"/>
                  </a:cubicBezTo>
                  <a:cubicBezTo>
                    <a:pt x="15" y="76"/>
                    <a:pt x="16" y="78"/>
                    <a:pt x="16" y="79"/>
                  </a:cubicBezTo>
                  <a:cubicBezTo>
                    <a:pt x="16" y="79"/>
                    <a:pt x="16" y="81"/>
                    <a:pt x="17" y="81"/>
                  </a:cubicBezTo>
                  <a:cubicBezTo>
                    <a:pt x="17" y="82"/>
                    <a:pt x="18" y="82"/>
                    <a:pt x="19" y="82"/>
                  </a:cubicBezTo>
                  <a:cubicBezTo>
                    <a:pt x="20" y="82"/>
                    <a:pt x="20" y="83"/>
                    <a:pt x="21" y="84"/>
                  </a:cubicBezTo>
                  <a:cubicBezTo>
                    <a:pt x="21" y="85"/>
                    <a:pt x="22" y="85"/>
                    <a:pt x="24" y="86"/>
                  </a:cubicBezTo>
                  <a:cubicBezTo>
                    <a:pt x="26" y="87"/>
                    <a:pt x="27" y="86"/>
                    <a:pt x="29" y="84"/>
                  </a:cubicBezTo>
                  <a:cubicBezTo>
                    <a:pt x="29" y="83"/>
                    <a:pt x="30" y="83"/>
                    <a:pt x="31" y="82"/>
                  </a:cubicBezTo>
                  <a:cubicBezTo>
                    <a:pt x="32" y="81"/>
                    <a:pt x="33" y="81"/>
                    <a:pt x="34" y="81"/>
                  </a:cubicBezTo>
                  <a:cubicBezTo>
                    <a:pt x="37" y="81"/>
                    <a:pt x="38" y="82"/>
                    <a:pt x="41" y="84"/>
                  </a:cubicBezTo>
                  <a:cubicBezTo>
                    <a:pt x="42" y="85"/>
                    <a:pt x="43" y="85"/>
                    <a:pt x="44" y="86"/>
                  </a:cubicBezTo>
                  <a:cubicBezTo>
                    <a:pt x="45" y="87"/>
                    <a:pt x="45" y="88"/>
                    <a:pt x="45" y="89"/>
                  </a:cubicBezTo>
                  <a:cubicBezTo>
                    <a:pt x="46" y="90"/>
                    <a:pt x="47" y="90"/>
                    <a:pt x="47" y="89"/>
                  </a:cubicBezTo>
                  <a:cubicBezTo>
                    <a:pt x="47" y="87"/>
                    <a:pt x="48" y="86"/>
                    <a:pt x="48" y="85"/>
                  </a:cubicBezTo>
                  <a:cubicBezTo>
                    <a:pt x="48" y="84"/>
                    <a:pt x="46" y="81"/>
                    <a:pt x="47" y="81"/>
                  </a:cubicBezTo>
                  <a:cubicBezTo>
                    <a:pt x="48" y="81"/>
                    <a:pt x="51" y="82"/>
                    <a:pt x="52" y="82"/>
                  </a:cubicBezTo>
                  <a:cubicBezTo>
                    <a:pt x="52" y="83"/>
                    <a:pt x="52" y="84"/>
                    <a:pt x="53" y="85"/>
                  </a:cubicBezTo>
                  <a:cubicBezTo>
                    <a:pt x="53" y="86"/>
                    <a:pt x="55" y="86"/>
                    <a:pt x="56" y="87"/>
                  </a:cubicBezTo>
                  <a:cubicBezTo>
                    <a:pt x="57" y="88"/>
                    <a:pt x="57" y="91"/>
                    <a:pt x="59" y="91"/>
                  </a:cubicBezTo>
                  <a:cubicBezTo>
                    <a:pt x="62" y="92"/>
                    <a:pt x="61" y="94"/>
                    <a:pt x="62" y="96"/>
                  </a:cubicBezTo>
                  <a:cubicBezTo>
                    <a:pt x="63" y="97"/>
                    <a:pt x="64" y="97"/>
                    <a:pt x="65" y="97"/>
                  </a:cubicBezTo>
                  <a:cubicBezTo>
                    <a:pt x="66" y="98"/>
                    <a:pt x="67" y="98"/>
                    <a:pt x="68" y="98"/>
                  </a:cubicBezTo>
                  <a:cubicBezTo>
                    <a:pt x="70" y="99"/>
                    <a:pt x="73" y="96"/>
                    <a:pt x="73" y="99"/>
                  </a:cubicBezTo>
                  <a:cubicBezTo>
                    <a:pt x="74" y="100"/>
                    <a:pt x="71" y="100"/>
                    <a:pt x="71" y="102"/>
                  </a:cubicBezTo>
                  <a:cubicBezTo>
                    <a:pt x="71" y="103"/>
                    <a:pt x="74" y="103"/>
                    <a:pt x="75" y="104"/>
                  </a:cubicBezTo>
                  <a:cubicBezTo>
                    <a:pt x="75" y="105"/>
                    <a:pt x="76" y="105"/>
                    <a:pt x="76" y="104"/>
                  </a:cubicBezTo>
                  <a:cubicBezTo>
                    <a:pt x="75" y="103"/>
                    <a:pt x="75" y="102"/>
                    <a:pt x="76" y="101"/>
                  </a:cubicBezTo>
                  <a:cubicBezTo>
                    <a:pt x="76" y="100"/>
                    <a:pt x="77" y="98"/>
                    <a:pt x="76" y="97"/>
                  </a:cubicBezTo>
                  <a:cubicBezTo>
                    <a:pt x="76" y="96"/>
                    <a:pt x="75" y="96"/>
                    <a:pt x="74" y="95"/>
                  </a:cubicBezTo>
                  <a:cubicBezTo>
                    <a:pt x="73" y="95"/>
                    <a:pt x="69" y="96"/>
                    <a:pt x="70" y="94"/>
                  </a:cubicBezTo>
                  <a:cubicBezTo>
                    <a:pt x="71" y="93"/>
                    <a:pt x="71" y="93"/>
                    <a:pt x="71" y="92"/>
                  </a:cubicBezTo>
                  <a:cubicBezTo>
                    <a:pt x="70" y="91"/>
                    <a:pt x="69" y="89"/>
                    <a:pt x="68" y="89"/>
                  </a:cubicBezTo>
                  <a:cubicBezTo>
                    <a:pt x="66" y="89"/>
                    <a:pt x="65" y="87"/>
                    <a:pt x="66" y="85"/>
                  </a:cubicBezTo>
                  <a:cubicBezTo>
                    <a:pt x="67" y="84"/>
                    <a:pt x="70" y="85"/>
                    <a:pt x="71" y="85"/>
                  </a:cubicBezTo>
                  <a:cubicBezTo>
                    <a:pt x="74" y="85"/>
                    <a:pt x="69" y="83"/>
                    <a:pt x="69" y="83"/>
                  </a:cubicBezTo>
                  <a:cubicBezTo>
                    <a:pt x="68" y="82"/>
                    <a:pt x="67" y="81"/>
                    <a:pt x="65" y="81"/>
                  </a:cubicBezTo>
                  <a:cubicBezTo>
                    <a:pt x="65" y="81"/>
                    <a:pt x="63" y="80"/>
                    <a:pt x="62" y="80"/>
                  </a:cubicBezTo>
                  <a:cubicBezTo>
                    <a:pt x="62" y="80"/>
                    <a:pt x="62" y="82"/>
                    <a:pt x="61" y="82"/>
                  </a:cubicBezTo>
                  <a:cubicBezTo>
                    <a:pt x="60" y="83"/>
                    <a:pt x="59" y="84"/>
                    <a:pt x="59" y="84"/>
                  </a:cubicBezTo>
                  <a:cubicBezTo>
                    <a:pt x="57" y="85"/>
                    <a:pt x="57" y="82"/>
                    <a:pt x="57" y="80"/>
                  </a:cubicBezTo>
                  <a:cubicBezTo>
                    <a:pt x="57" y="78"/>
                    <a:pt x="55" y="77"/>
                    <a:pt x="53" y="76"/>
                  </a:cubicBezTo>
                  <a:cubicBezTo>
                    <a:pt x="51" y="75"/>
                    <a:pt x="48" y="73"/>
                    <a:pt x="46" y="75"/>
                  </a:cubicBezTo>
                  <a:cubicBezTo>
                    <a:pt x="44" y="76"/>
                    <a:pt x="44" y="78"/>
                    <a:pt x="43" y="80"/>
                  </a:cubicBezTo>
                  <a:cubicBezTo>
                    <a:pt x="41" y="82"/>
                    <a:pt x="40" y="79"/>
                    <a:pt x="39" y="79"/>
                  </a:cubicBezTo>
                  <a:cubicBezTo>
                    <a:pt x="37" y="78"/>
                    <a:pt x="35" y="79"/>
                    <a:pt x="34" y="76"/>
                  </a:cubicBezTo>
                  <a:cubicBezTo>
                    <a:pt x="34" y="75"/>
                    <a:pt x="35" y="74"/>
                    <a:pt x="35" y="73"/>
                  </a:cubicBezTo>
                  <a:cubicBezTo>
                    <a:pt x="35" y="71"/>
                    <a:pt x="34" y="70"/>
                    <a:pt x="34" y="69"/>
                  </a:cubicBezTo>
                  <a:cubicBezTo>
                    <a:pt x="34" y="68"/>
                    <a:pt x="34" y="66"/>
                    <a:pt x="33" y="66"/>
                  </a:cubicBezTo>
                  <a:cubicBezTo>
                    <a:pt x="33" y="65"/>
                    <a:pt x="32" y="64"/>
                    <a:pt x="32" y="63"/>
                  </a:cubicBezTo>
                  <a:cubicBezTo>
                    <a:pt x="31" y="62"/>
                    <a:pt x="31" y="61"/>
                    <a:pt x="30" y="60"/>
                  </a:cubicBezTo>
                  <a:cubicBezTo>
                    <a:pt x="29" y="59"/>
                    <a:pt x="28" y="58"/>
                    <a:pt x="28" y="56"/>
                  </a:cubicBezTo>
                  <a:cubicBezTo>
                    <a:pt x="29" y="53"/>
                    <a:pt x="31" y="53"/>
                    <a:pt x="33" y="51"/>
                  </a:cubicBezTo>
                  <a:cubicBezTo>
                    <a:pt x="34" y="50"/>
                    <a:pt x="31" y="49"/>
                    <a:pt x="31" y="48"/>
                  </a:cubicBezTo>
                  <a:cubicBezTo>
                    <a:pt x="30" y="46"/>
                    <a:pt x="34" y="45"/>
                    <a:pt x="35" y="44"/>
                  </a:cubicBezTo>
                  <a:cubicBezTo>
                    <a:pt x="36" y="44"/>
                    <a:pt x="38" y="43"/>
                    <a:pt x="39" y="43"/>
                  </a:cubicBezTo>
                  <a:cubicBezTo>
                    <a:pt x="40" y="42"/>
                    <a:pt x="40" y="43"/>
                    <a:pt x="41" y="42"/>
                  </a:cubicBezTo>
                  <a:cubicBezTo>
                    <a:pt x="41" y="41"/>
                    <a:pt x="41" y="41"/>
                    <a:pt x="41" y="40"/>
                  </a:cubicBezTo>
                  <a:cubicBezTo>
                    <a:pt x="42" y="39"/>
                    <a:pt x="43" y="39"/>
                    <a:pt x="43" y="38"/>
                  </a:cubicBezTo>
                  <a:cubicBezTo>
                    <a:pt x="44" y="37"/>
                    <a:pt x="45" y="36"/>
                    <a:pt x="44" y="35"/>
                  </a:cubicBezTo>
                  <a:cubicBezTo>
                    <a:pt x="44" y="33"/>
                    <a:pt x="45" y="32"/>
                    <a:pt x="46" y="31"/>
                  </a:cubicBezTo>
                  <a:cubicBezTo>
                    <a:pt x="47" y="29"/>
                    <a:pt x="49" y="27"/>
                    <a:pt x="47" y="25"/>
                  </a:cubicBezTo>
                  <a:cubicBezTo>
                    <a:pt x="46" y="23"/>
                    <a:pt x="43" y="22"/>
                    <a:pt x="42" y="20"/>
                  </a:cubicBezTo>
                  <a:cubicBezTo>
                    <a:pt x="42" y="19"/>
                    <a:pt x="42" y="18"/>
                    <a:pt x="42" y="17"/>
                  </a:cubicBezTo>
                  <a:cubicBezTo>
                    <a:pt x="43" y="15"/>
                    <a:pt x="43" y="14"/>
                    <a:pt x="43" y="12"/>
                  </a:cubicBezTo>
                  <a:cubicBezTo>
                    <a:pt x="43" y="9"/>
                    <a:pt x="44" y="6"/>
                    <a:pt x="44" y="3"/>
                  </a:cubicBezTo>
                  <a:cubicBezTo>
                    <a:pt x="44" y="1"/>
                    <a:pt x="43" y="0"/>
                    <a:pt x="41" y="1"/>
                  </a:cubicBezTo>
                  <a:cubicBezTo>
                    <a:pt x="40" y="2"/>
                    <a:pt x="40" y="3"/>
                    <a:pt x="39" y="4"/>
                  </a:cubicBezTo>
                  <a:cubicBezTo>
                    <a:pt x="38" y="5"/>
                    <a:pt x="37" y="4"/>
                    <a:pt x="36" y="5"/>
                  </a:cubicBezTo>
                  <a:cubicBezTo>
                    <a:pt x="35" y="5"/>
                    <a:pt x="35" y="6"/>
                    <a:pt x="34" y="7"/>
                  </a:cubicBezTo>
                  <a:cubicBezTo>
                    <a:pt x="34" y="7"/>
                    <a:pt x="33" y="9"/>
                    <a:pt x="33" y="9"/>
                  </a:cubicBezTo>
                  <a:cubicBezTo>
                    <a:pt x="32" y="8"/>
                    <a:pt x="32" y="6"/>
                    <a:pt x="32" y="5"/>
                  </a:cubicBezTo>
                  <a:cubicBezTo>
                    <a:pt x="32" y="4"/>
                    <a:pt x="31" y="4"/>
                    <a:pt x="30" y="3"/>
                  </a:cubicBezTo>
                  <a:cubicBezTo>
                    <a:pt x="29" y="3"/>
                    <a:pt x="28" y="2"/>
                    <a:pt x="27" y="2"/>
                  </a:cubicBezTo>
                  <a:cubicBezTo>
                    <a:pt x="26" y="1"/>
                    <a:pt x="25" y="0"/>
                    <a:pt x="24" y="0"/>
                  </a:cubicBezTo>
                  <a:cubicBezTo>
                    <a:pt x="22" y="0"/>
                    <a:pt x="20" y="0"/>
                    <a:pt x="19" y="1"/>
                  </a:cubicBezTo>
                  <a:cubicBezTo>
                    <a:pt x="16" y="1"/>
                    <a:pt x="15" y="2"/>
                    <a:pt x="14" y="4"/>
                  </a:cubicBezTo>
                  <a:cubicBezTo>
                    <a:pt x="14" y="5"/>
                    <a:pt x="14" y="7"/>
                    <a:pt x="14" y="8"/>
                  </a:cubicBezTo>
                  <a:cubicBezTo>
                    <a:pt x="13" y="9"/>
                    <a:pt x="12" y="11"/>
                    <a:pt x="12" y="12"/>
                  </a:cubicBezTo>
                  <a:cubicBezTo>
                    <a:pt x="12" y="15"/>
                    <a:pt x="12" y="18"/>
                    <a:pt x="12" y="21"/>
                  </a:cubicBezTo>
                  <a:cubicBezTo>
                    <a:pt x="12" y="24"/>
                    <a:pt x="13" y="27"/>
                    <a:pt x="12" y="30"/>
                  </a:cubicBezTo>
                  <a:cubicBezTo>
                    <a:pt x="12" y="31"/>
                    <a:pt x="11" y="32"/>
                    <a:pt x="10" y="33"/>
                  </a:cubicBezTo>
                  <a:cubicBezTo>
                    <a:pt x="9" y="34"/>
                    <a:pt x="9" y="35"/>
                    <a:pt x="10" y="37"/>
                  </a:cubicBezTo>
                  <a:cubicBezTo>
                    <a:pt x="11" y="38"/>
                    <a:pt x="13" y="42"/>
                    <a:pt x="11" y="43"/>
                  </a:cubicBezTo>
                  <a:cubicBezTo>
                    <a:pt x="9" y="45"/>
                    <a:pt x="8" y="45"/>
                    <a:pt x="6" y="43"/>
                  </a:cubicBezTo>
                  <a:cubicBezTo>
                    <a:pt x="5" y="42"/>
                    <a:pt x="5" y="40"/>
                    <a:pt x="4" y="39"/>
                  </a:cubicBezTo>
                  <a:cubicBezTo>
                    <a:pt x="3" y="39"/>
                    <a:pt x="2" y="39"/>
                    <a:pt x="1" y="40"/>
                  </a:cubicBezTo>
                  <a:cubicBezTo>
                    <a:pt x="1" y="40"/>
                    <a:pt x="1" y="40"/>
                    <a:pt x="1" y="40"/>
                  </a:cubicBezTo>
                  <a:cubicBezTo>
                    <a:pt x="0" y="40"/>
                    <a:pt x="1" y="40"/>
                    <a:pt x="1" y="40"/>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90" name="Freeform 154">
              <a:extLst>
                <a:ext uri="{FF2B5EF4-FFF2-40B4-BE49-F238E27FC236}">
                  <a16:creationId xmlns:a16="http://schemas.microsoft.com/office/drawing/2014/main" id="{F6F79CFC-1999-90CE-25E2-D0808EC6BAB2}"/>
                </a:ext>
              </a:extLst>
            </p:cNvPr>
            <p:cNvSpPr/>
            <p:nvPr>
              <p:custDataLst>
                <p:tags r:id="rId308"/>
              </p:custDataLst>
            </p:nvPr>
          </p:nvSpPr>
          <p:spPr bwMode="auto">
            <a:xfrm>
              <a:off x="9566276" y="4271963"/>
              <a:ext cx="149225" cy="131763"/>
            </a:xfrm>
            <a:custGeom>
              <a:avLst/>
              <a:gdLst>
                <a:gd name="T0" fmla="*/ 63 w 80"/>
                <a:gd name="T1" fmla="*/ 1 h 71"/>
                <a:gd name="T2" fmla="*/ 61 w 80"/>
                <a:gd name="T3" fmla="*/ 6 h 71"/>
                <a:gd name="T4" fmla="*/ 59 w 80"/>
                <a:gd name="T5" fmla="*/ 12 h 71"/>
                <a:gd name="T6" fmla="*/ 52 w 80"/>
                <a:gd name="T7" fmla="*/ 14 h 71"/>
                <a:gd name="T8" fmla="*/ 49 w 80"/>
                <a:gd name="T9" fmla="*/ 9 h 71"/>
                <a:gd name="T10" fmla="*/ 49 w 80"/>
                <a:gd name="T11" fmla="*/ 15 h 71"/>
                <a:gd name="T12" fmla="*/ 47 w 80"/>
                <a:gd name="T13" fmla="*/ 21 h 71"/>
                <a:gd name="T14" fmla="*/ 42 w 80"/>
                <a:gd name="T15" fmla="*/ 21 h 71"/>
                <a:gd name="T16" fmla="*/ 34 w 80"/>
                <a:gd name="T17" fmla="*/ 29 h 71"/>
                <a:gd name="T18" fmla="*/ 30 w 80"/>
                <a:gd name="T19" fmla="*/ 29 h 71"/>
                <a:gd name="T20" fmla="*/ 32 w 80"/>
                <a:gd name="T21" fmla="*/ 21 h 71"/>
                <a:gd name="T22" fmla="*/ 27 w 80"/>
                <a:gd name="T23" fmla="*/ 19 h 71"/>
                <a:gd name="T24" fmla="*/ 21 w 80"/>
                <a:gd name="T25" fmla="*/ 21 h 71"/>
                <a:gd name="T26" fmla="*/ 15 w 80"/>
                <a:gd name="T27" fmla="*/ 28 h 71"/>
                <a:gd name="T28" fmla="*/ 6 w 80"/>
                <a:gd name="T29" fmla="*/ 32 h 71"/>
                <a:gd name="T30" fmla="*/ 3 w 80"/>
                <a:gd name="T31" fmla="*/ 39 h 71"/>
                <a:gd name="T32" fmla="*/ 3 w 80"/>
                <a:gd name="T33" fmla="*/ 48 h 71"/>
                <a:gd name="T34" fmla="*/ 6 w 80"/>
                <a:gd name="T35" fmla="*/ 43 h 71"/>
                <a:gd name="T36" fmla="*/ 10 w 80"/>
                <a:gd name="T37" fmla="*/ 37 h 71"/>
                <a:gd name="T38" fmla="*/ 13 w 80"/>
                <a:gd name="T39" fmla="*/ 34 h 71"/>
                <a:gd name="T40" fmla="*/ 17 w 80"/>
                <a:gd name="T41" fmla="*/ 39 h 71"/>
                <a:gd name="T42" fmla="*/ 22 w 80"/>
                <a:gd name="T43" fmla="*/ 36 h 71"/>
                <a:gd name="T44" fmla="*/ 25 w 80"/>
                <a:gd name="T45" fmla="*/ 40 h 71"/>
                <a:gd name="T46" fmla="*/ 27 w 80"/>
                <a:gd name="T47" fmla="*/ 34 h 71"/>
                <a:gd name="T48" fmla="*/ 35 w 80"/>
                <a:gd name="T49" fmla="*/ 37 h 71"/>
                <a:gd name="T50" fmla="*/ 38 w 80"/>
                <a:gd name="T51" fmla="*/ 44 h 71"/>
                <a:gd name="T52" fmla="*/ 37 w 80"/>
                <a:gd name="T53" fmla="*/ 52 h 71"/>
                <a:gd name="T54" fmla="*/ 41 w 80"/>
                <a:gd name="T55" fmla="*/ 61 h 71"/>
                <a:gd name="T56" fmla="*/ 52 w 80"/>
                <a:gd name="T57" fmla="*/ 65 h 71"/>
                <a:gd name="T58" fmla="*/ 56 w 80"/>
                <a:gd name="T59" fmla="*/ 62 h 71"/>
                <a:gd name="T60" fmla="*/ 59 w 80"/>
                <a:gd name="T61" fmla="*/ 71 h 71"/>
                <a:gd name="T62" fmla="*/ 65 w 80"/>
                <a:gd name="T63" fmla="*/ 61 h 71"/>
                <a:gd name="T64" fmla="*/ 63 w 80"/>
                <a:gd name="T65" fmla="*/ 57 h 71"/>
                <a:gd name="T66" fmla="*/ 61 w 80"/>
                <a:gd name="T67" fmla="*/ 50 h 71"/>
                <a:gd name="T68" fmla="*/ 66 w 80"/>
                <a:gd name="T69" fmla="*/ 47 h 71"/>
                <a:gd name="T70" fmla="*/ 67 w 80"/>
                <a:gd name="T71" fmla="*/ 42 h 71"/>
                <a:gd name="T72" fmla="*/ 70 w 80"/>
                <a:gd name="T73" fmla="*/ 48 h 71"/>
                <a:gd name="T74" fmla="*/ 72 w 80"/>
                <a:gd name="T75" fmla="*/ 56 h 71"/>
                <a:gd name="T76" fmla="*/ 72 w 80"/>
                <a:gd name="T77" fmla="*/ 52 h 71"/>
                <a:gd name="T78" fmla="*/ 75 w 80"/>
                <a:gd name="T79" fmla="*/ 49 h 71"/>
                <a:gd name="T80" fmla="*/ 80 w 80"/>
                <a:gd name="T81" fmla="*/ 40 h 71"/>
                <a:gd name="T82" fmla="*/ 78 w 80"/>
                <a:gd name="T83" fmla="*/ 32 h 71"/>
                <a:gd name="T84" fmla="*/ 78 w 80"/>
                <a:gd name="T85" fmla="*/ 26 h 71"/>
                <a:gd name="T86" fmla="*/ 75 w 80"/>
                <a:gd name="T87" fmla="*/ 21 h 71"/>
                <a:gd name="T88" fmla="*/ 72 w 80"/>
                <a:gd name="T89" fmla="*/ 18 h 71"/>
                <a:gd name="T90" fmla="*/ 75 w 80"/>
                <a:gd name="T91" fmla="*/ 11 h 71"/>
                <a:gd name="T92" fmla="*/ 66 w 80"/>
                <a:gd name="T93" fmla="*/ 3 h 71"/>
                <a:gd name="T94" fmla="*/ 67 w 80"/>
                <a:gd name="T95" fmla="*/ 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 h="71">
                  <a:moveTo>
                    <a:pt x="67" y="4"/>
                  </a:moveTo>
                  <a:cubicBezTo>
                    <a:pt x="66" y="3"/>
                    <a:pt x="64" y="2"/>
                    <a:pt x="63" y="1"/>
                  </a:cubicBezTo>
                  <a:cubicBezTo>
                    <a:pt x="61" y="0"/>
                    <a:pt x="60" y="1"/>
                    <a:pt x="61" y="3"/>
                  </a:cubicBezTo>
                  <a:cubicBezTo>
                    <a:pt x="61" y="4"/>
                    <a:pt x="61" y="5"/>
                    <a:pt x="61" y="6"/>
                  </a:cubicBezTo>
                  <a:cubicBezTo>
                    <a:pt x="61" y="7"/>
                    <a:pt x="61" y="8"/>
                    <a:pt x="62" y="9"/>
                  </a:cubicBezTo>
                  <a:cubicBezTo>
                    <a:pt x="63" y="12"/>
                    <a:pt x="61" y="13"/>
                    <a:pt x="59" y="12"/>
                  </a:cubicBezTo>
                  <a:cubicBezTo>
                    <a:pt x="57" y="11"/>
                    <a:pt x="56" y="11"/>
                    <a:pt x="56" y="13"/>
                  </a:cubicBezTo>
                  <a:cubicBezTo>
                    <a:pt x="56" y="16"/>
                    <a:pt x="53" y="15"/>
                    <a:pt x="52" y="14"/>
                  </a:cubicBezTo>
                  <a:cubicBezTo>
                    <a:pt x="51" y="13"/>
                    <a:pt x="50" y="12"/>
                    <a:pt x="50" y="12"/>
                  </a:cubicBezTo>
                  <a:cubicBezTo>
                    <a:pt x="50" y="11"/>
                    <a:pt x="50" y="8"/>
                    <a:pt x="49" y="9"/>
                  </a:cubicBezTo>
                  <a:cubicBezTo>
                    <a:pt x="47" y="9"/>
                    <a:pt x="47" y="10"/>
                    <a:pt x="48" y="11"/>
                  </a:cubicBezTo>
                  <a:cubicBezTo>
                    <a:pt x="49" y="12"/>
                    <a:pt x="50" y="13"/>
                    <a:pt x="49" y="15"/>
                  </a:cubicBezTo>
                  <a:cubicBezTo>
                    <a:pt x="49" y="17"/>
                    <a:pt x="49" y="19"/>
                    <a:pt x="49" y="21"/>
                  </a:cubicBezTo>
                  <a:cubicBezTo>
                    <a:pt x="48" y="22"/>
                    <a:pt x="47" y="21"/>
                    <a:pt x="47" y="21"/>
                  </a:cubicBezTo>
                  <a:cubicBezTo>
                    <a:pt x="46" y="20"/>
                    <a:pt x="45" y="19"/>
                    <a:pt x="43" y="20"/>
                  </a:cubicBezTo>
                  <a:cubicBezTo>
                    <a:pt x="43" y="20"/>
                    <a:pt x="42" y="20"/>
                    <a:pt x="42" y="21"/>
                  </a:cubicBezTo>
                  <a:cubicBezTo>
                    <a:pt x="41" y="22"/>
                    <a:pt x="41" y="23"/>
                    <a:pt x="40" y="23"/>
                  </a:cubicBezTo>
                  <a:cubicBezTo>
                    <a:pt x="38" y="25"/>
                    <a:pt x="36" y="27"/>
                    <a:pt x="34" y="29"/>
                  </a:cubicBezTo>
                  <a:cubicBezTo>
                    <a:pt x="33" y="30"/>
                    <a:pt x="33" y="30"/>
                    <a:pt x="32" y="30"/>
                  </a:cubicBezTo>
                  <a:cubicBezTo>
                    <a:pt x="31" y="30"/>
                    <a:pt x="30" y="30"/>
                    <a:pt x="30" y="29"/>
                  </a:cubicBezTo>
                  <a:cubicBezTo>
                    <a:pt x="31" y="27"/>
                    <a:pt x="34" y="27"/>
                    <a:pt x="33" y="24"/>
                  </a:cubicBezTo>
                  <a:cubicBezTo>
                    <a:pt x="33" y="23"/>
                    <a:pt x="33" y="22"/>
                    <a:pt x="32" y="21"/>
                  </a:cubicBezTo>
                  <a:cubicBezTo>
                    <a:pt x="32" y="20"/>
                    <a:pt x="31" y="20"/>
                    <a:pt x="30" y="20"/>
                  </a:cubicBezTo>
                  <a:cubicBezTo>
                    <a:pt x="29" y="20"/>
                    <a:pt x="28" y="20"/>
                    <a:pt x="27" y="19"/>
                  </a:cubicBezTo>
                  <a:cubicBezTo>
                    <a:pt x="26" y="18"/>
                    <a:pt x="25" y="17"/>
                    <a:pt x="24" y="18"/>
                  </a:cubicBezTo>
                  <a:cubicBezTo>
                    <a:pt x="23" y="19"/>
                    <a:pt x="22" y="20"/>
                    <a:pt x="21" y="21"/>
                  </a:cubicBezTo>
                  <a:cubicBezTo>
                    <a:pt x="20" y="21"/>
                    <a:pt x="20" y="22"/>
                    <a:pt x="19" y="23"/>
                  </a:cubicBezTo>
                  <a:cubicBezTo>
                    <a:pt x="19" y="25"/>
                    <a:pt x="17" y="28"/>
                    <a:pt x="15" y="28"/>
                  </a:cubicBezTo>
                  <a:cubicBezTo>
                    <a:pt x="13" y="29"/>
                    <a:pt x="11" y="30"/>
                    <a:pt x="9" y="31"/>
                  </a:cubicBezTo>
                  <a:cubicBezTo>
                    <a:pt x="7" y="31"/>
                    <a:pt x="7" y="31"/>
                    <a:pt x="6" y="32"/>
                  </a:cubicBezTo>
                  <a:cubicBezTo>
                    <a:pt x="4" y="33"/>
                    <a:pt x="5" y="34"/>
                    <a:pt x="4" y="36"/>
                  </a:cubicBezTo>
                  <a:cubicBezTo>
                    <a:pt x="3" y="37"/>
                    <a:pt x="3" y="37"/>
                    <a:pt x="3" y="39"/>
                  </a:cubicBezTo>
                  <a:cubicBezTo>
                    <a:pt x="3" y="40"/>
                    <a:pt x="3" y="41"/>
                    <a:pt x="2" y="42"/>
                  </a:cubicBezTo>
                  <a:cubicBezTo>
                    <a:pt x="0" y="44"/>
                    <a:pt x="1" y="46"/>
                    <a:pt x="3" y="48"/>
                  </a:cubicBezTo>
                  <a:cubicBezTo>
                    <a:pt x="4" y="48"/>
                    <a:pt x="4" y="47"/>
                    <a:pt x="5" y="46"/>
                  </a:cubicBezTo>
                  <a:cubicBezTo>
                    <a:pt x="5" y="45"/>
                    <a:pt x="5" y="44"/>
                    <a:pt x="6" y="43"/>
                  </a:cubicBezTo>
                  <a:cubicBezTo>
                    <a:pt x="7" y="43"/>
                    <a:pt x="7" y="41"/>
                    <a:pt x="8" y="41"/>
                  </a:cubicBezTo>
                  <a:cubicBezTo>
                    <a:pt x="8" y="39"/>
                    <a:pt x="9" y="38"/>
                    <a:pt x="10" y="37"/>
                  </a:cubicBezTo>
                  <a:cubicBezTo>
                    <a:pt x="11" y="36"/>
                    <a:pt x="10" y="35"/>
                    <a:pt x="11" y="34"/>
                  </a:cubicBezTo>
                  <a:cubicBezTo>
                    <a:pt x="11" y="34"/>
                    <a:pt x="12" y="34"/>
                    <a:pt x="13" y="34"/>
                  </a:cubicBezTo>
                  <a:cubicBezTo>
                    <a:pt x="14" y="35"/>
                    <a:pt x="17" y="36"/>
                    <a:pt x="16" y="37"/>
                  </a:cubicBezTo>
                  <a:cubicBezTo>
                    <a:pt x="16" y="38"/>
                    <a:pt x="16" y="39"/>
                    <a:pt x="17" y="39"/>
                  </a:cubicBezTo>
                  <a:cubicBezTo>
                    <a:pt x="18" y="38"/>
                    <a:pt x="18" y="37"/>
                    <a:pt x="19" y="37"/>
                  </a:cubicBezTo>
                  <a:cubicBezTo>
                    <a:pt x="20" y="36"/>
                    <a:pt x="21" y="33"/>
                    <a:pt x="22" y="36"/>
                  </a:cubicBezTo>
                  <a:cubicBezTo>
                    <a:pt x="23" y="37"/>
                    <a:pt x="23" y="38"/>
                    <a:pt x="24" y="38"/>
                  </a:cubicBezTo>
                  <a:cubicBezTo>
                    <a:pt x="25" y="39"/>
                    <a:pt x="24" y="40"/>
                    <a:pt x="25" y="40"/>
                  </a:cubicBezTo>
                  <a:cubicBezTo>
                    <a:pt x="27" y="42"/>
                    <a:pt x="27" y="37"/>
                    <a:pt x="27" y="36"/>
                  </a:cubicBezTo>
                  <a:cubicBezTo>
                    <a:pt x="27" y="35"/>
                    <a:pt x="27" y="34"/>
                    <a:pt x="27" y="34"/>
                  </a:cubicBezTo>
                  <a:cubicBezTo>
                    <a:pt x="28" y="33"/>
                    <a:pt x="29" y="33"/>
                    <a:pt x="30" y="33"/>
                  </a:cubicBezTo>
                  <a:cubicBezTo>
                    <a:pt x="33" y="34"/>
                    <a:pt x="33" y="35"/>
                    <a:pt x="35" y="37"/>
                  </a:cubicBezTo>
                  <a:cubicBezTo>
                    <a:pt x="36" y="39"/>
                    <a:pt x="38" y="39"/>
                    <a:pt x="40" y="40"/>
                  </a:cubicBezTo>
                  <a:cubicBezTo>
                    <a:pt x="42" y="42"/>
                    <a:pt x="40" y="44"/>
                    <a:pt x="38" y="44"/>
                  </a:cubicBezTo>
                  <a:cubicBezTo>
                    <a:pt x="36" y="45"/>
                    <a:pt x="35" y="46"/>
                    <a:pt x="36" y="49"/>
                  </a:cubicBezTo>
                  <a:cubicBezTo>
                    <a:pt x="36" y="50"/>
                    <a:pt x="37" y="51"/>
                    <a:pt x="37" y="52"/>
                  </a:cubicBezTo>
                  <a:cubicBezTo>
                    <a:pt x="38" y="53"/>
                    <a:pt x="38" y="55"/>
                    <a:pt x="38" y="56"/>
                  </a:cubicBezTo>
                  <a:cubicBezTo>
                    <a:pt x="38" y="59"/>
                    <a:pt x="40" y="59"/>
                    <a:pt x="41" y="61"/>
                  </a:cubicBezTo>
                  <a:cubicBezTo>
                    <a:pt x="43" y="63"/>
                    <a:pt x="46" y="63"/>
                    <a:pt x="49" y="64"/>
                  </a:cubicBezTo>
                  <a:cubicBezTo>
                    <a:pt x="50" y="64"/>
                    <a:pt x="51" y="64"/>
                    <a:pt x="52" y="65"/>
                  </a:cubicBezTo>
                  <a:cubicBezTo>
                    <a:pt x="52" y="65"/>
                    <a:pt x="53" y="66"/>
                    <a:pt x="53" y="66"/>
                  </a:cubicBezTo>
                  <a:cubicBezTo>
                    <a:pt x="55" y="66"/>
                    <a:pt x="54" y="62"/>
                    <a:pt x="56" y="62"/>
                  </a:cubicBezTo>
                  <a:cubicBezTo>
                    <a:pt x="59" y="63"/>
                    <a:pt x="56" y="65"/>
                    <a:pt x="56" y="67"/>
                  </a:cubicBezTo>
                  <a:cubicBezTo>
                    <a:pt x="56" y="67"/>
                    <a:pt x="58" y="71"/>
                    <a:pt x="59" y="71"/>
                  </a:cubicBezTo>
                  <a:cubicBezTo>
                    <a:pt x="61" y="70"/>
                    <a:pt x="60" y="67"/>
                    <a:pt x="63" y="66"/>
                  </a:cubicBezTo>
                  <a:cubicBezTo>
                    <a:pt x="65" y="65"/>
                    <a:pt x="66" y="64"/>
                    <a:pt x="65" y="61"/>
                  </a:cubicBezTo>
                  <a:cubicBezTo>
                    <a:pt x="64" y="61"/>
                    <a:pt x="63" y="60"/>
                    <a:pt x="64" y="59"/>
                  </a:cubicBezTo>
                  <a:cubicBezTo>
                    <a:pt x="64" y="58"/>
                    <a:pt x="64" y="57"/>
                    <a:pt x="63" y="57"/>
                  </a:cubicBezTo>
                  <a:cubicBezTo>
                    <a:pt x="63" y="55"/>
                    <a:pt x="61" y="54"/>
                    <a:pt x="60" y="53"/>
                  </a:cubicBezTo>
                  <a:cubicBezTo>
                    <a:pt x="59" y="52"/>
                    <a:pt x="60" y="51"/>
                    <a:pt x="61" y="50"/>
                  </a:cubicBezTo>
                  <a:cubicBezTo>
                    <a:pt x="62" y="49"/>
                    <a:pt x="62" y="48"/>
                    <a:pt x="62" y="47"/>
                  </a:cubicBezTo>
                  <a:cubicBezTo>
                    <a:pt x="63" y="44"/>
                    <a:pt x="64" y="47"/>
                    <a:pt x="66" y="47"/>
                  </a:cubicBezTo>
                  <a:cubicBezTo>
                    <a:pt x="67" y="47"/>
                    <a:pt x="65" y="45"/>
                    <a:pt x="65" y="44"/>
                  </a:cubicBezTo>
                  <a:cubicBezTo>
                    <a:pt x="64" y="43"/>
                    <a:pt x="66" y="41"/>
                    <a:pt x="67" y="42"/>
                  </a:cubicBezTo>
                  <a:cubicBezTo>
                    <a:pt x="68" y="43"/>
                    <a:pt x="69" y="44"/>
                    <a:pt x="69" y="45"/>
                  </a:cubicBezTo>
                  <a:cubicBezTo>
                    <a:pt x="70" y="46"/>
                    <a:pt x="69" y="47"/>
                    <a:pt x="70" y="48"/>
                  </a:cubicBezTo>
                  <a:cubicBezTo>
                    <a:pt x="70" y="50"/>
                    <a:pt x="71" y="51"/>
                    <a:pt x="71" y="52"/>
                  </a:cubicBezTo>
                  <a:cubicBezTo>
                    <a:pt x="72" y="53"/>
                    <a:pt x="71" y="55"/>
                    <a:pt x="72" y="56"/>
                  </a:cubicBezTo>
                  <a:cubicBezTo>
                    <a:pt x="73" y="57"/>
                    <a:pt x="73" y="54"/>
                    <a:pt x="73" y="53"/>
                  </a:cubicBezTo>
                  <a:cubicBezTo>
                    <a:pt x="72" y="53"/>
                    <a:pt x="72" y="52"/>
                    <a:pt x="72" y="52"/>
                  </a:cubicBezTo>
                  <a:cubicBezTo>
                    <a:pt x="72" y="51"/>
                    <a:pt x="72" y="50"/>
                    <a:pt x="73" y="49"/>
                  </a:cubicBezTo>
                  <a:cubicBezTo>
                    <a:pt x="73" y="49"/>
                    <a:pt x="75" y="49"/>
                    <a:pt x="75" y="49"/>
                  </a:cubicBezTo>
                  <a:cubicBezTo>
                    <a:pt x="77" y="49"/>
                    <a:pt x="79" y="45"/>
                    <a:pt x="80" y="44"/>
                  </a:cubicBezTo>
                  <a:cubicBezTo>
                    <a:pt x="80" y="43"/>
                    <a:pt x="80" y="41"/>
                    <a:pt x="80" y="40"/>
                  </a:cubicBezTo>
                  <a:cubicBezTo>
                    <a:pt x="80" y="38"/>
                    <a:pt x="80" y="36"/>
                    <a:pt x="80" y="35"/>
                  </a:cubicBezTo>
                  <a:cubicBezTo>
                    <a:pt x="79" y="34"/>
                    <a:pt x="79" y="33"/>
                    <a:pt x="78" y="32"/>
                  </a:cubicBezTo>
                  <a:cubicBezTo>
                    <a:pt x="77" y="32"/>
                    <a:pt x="76" y="31"/>
                    <a:pt x="76" y="31"/>
                  </a:cubicBezTo>
                  <a:cubicBezTo>
                    <a:pt x="77" y="30"/>
                    <a:pt x="79" y="27"/>
                    <a:pt x="78" y="26"/>
                  </a:cubicBezTo>
                  <a:cubicBezTo>
                    <a:pt x="76" y="26"/>
                    <a:pt x="75" y="26"/>
                    <a:pt x="76" y="24"/>
                  </a:cubicBezTo>
                  <a:cubicBezTo>
                    <a:pt x="76" y="23"/>
                    <a:pt x="76" y="21"/>
                    <a:pt x="75" y="21"/>
                  </a:cubicBezTo>
                  <a:cubicBezTo>
                    <a:pt x="74" y="20"/>
                    <a:pt x="73" y="21"/>
                    <a:pt x="72" y="20"/>
                  </a:cubicBezTo>
                  <a:cubicBezTo>
                    <a:pt x="71" y="19"/>
                    <a:pt x="72" y="18"/>
                    <a:pt x="72" y="18"/>
                  </a:cubicBezTo>
                  <a:cubicBezTo>
                    <a:pt x="73" y="17"/>
                    <a:pt x="73" y="17"/>
                    <a:pt x="74" y="16"/>
                  </a:cubicBezTo>
                  <a:cubicBezTo>
                    <a:pt x="76" y="15"/>
                    <a:pt x="75" y="13"/>
                    <a:pt x="75" y="11"/>
                  </a:cubicBezTo>
                  <a:cubicBezTo>
                    <a:pt x="74" y="9"/>
                    <a:pt x="74" y="7"/>
                    <a:pt x="72" y="8"/>
                  </a:cubicBezTo>
                  <a:cubicBezTo>
                    <a:pt x="69" y="8"/>
                    <a:pt x="67" y="5"/>
                    <a:pt x="66" y="3"/>
                  </a:cubicBezTo>
                  <a:cubicBezTo>
                    <a:pt x="67" y="4"/>
                    <a:pt x="67" y="4"/>
                    <a:pt x="67" y="4"/>
                  </a:cubicBezTo>
                  <a:cubicBezTo>
                    <a:pt x="66" y="3"/>
                    <a:pt x="67" y="4"/>
                    <a:pt x="67" y="4"/>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91" name="Freeform 156">
              <a:extLst>
                <a:ext uri="{FF2B5EF4-FFF2-40B4-BE49-F238E27FC236}">
                  <a16:creationId xmlns:a16="http://schemas.microsoft.com/office/drawing/2014/main" id="{FCBC6B66-E328-C1CD-FC6A-EE8D534520D7}"/>
                </a:ext>
              </a:extLst>
            </p:cNvPr>
            <p:cNvSpPr/>
            <p:nvPr>
              <p:custDataLst>
                <p:tags r:id="rId309"/>
              </p:custDataLst>
            </p:nvPr>
          </p:nvSpPr>
          <p:spPr bwMode="auto">
            <a:xfrm>
              <a:off x="9694864" y="4264026"/>
              <a:ext cx="7938" cy="7938"/>
            </a:xfrm>
            <a:custGeom>
              <a:avLst/>
              <a:gdLst>
                <a:gd name="T0" fmla="*/ 2 w 4"/>
                <a:gd name="T1" fmla="*/ 5 h 5"/>
                <a:gd name="T2" fmla="*/ 4 w 4"/>
                <a:gd name="T3" fmla="*/ 3 h 5"/>
                <a:gd name="T4" fmla="*/ 1 w 4"/>
                <a:gd name="T5" fmla="*/ 1 h 5"/>
                <a:gd name="T6" fmla="*/ 2 w 4"/>
                <a:gd name="T7" fmla="*/ 5 h 5"/>
                <a:gd name="T8" fmla="*/ 2 w 4"/>
                <a:gd name="T9" fmla="*/ 5 h 5"/>
                <a:gd name="T10" fmla="*/ 2 w 4"/>
                <a:gd name="T11" fmla="*/ 5 h 5"/>
              </a:gdLst>
              <a:ahLst/>
              <a:cxnLst>
                <a:cxn ang="0">
                  <a:pos x="T0" y="T1"/>
                </a:cxn>
                <a:cxn ang="0">
                  <a:pos x="T2" y="T3"/>
                </a:cxn>
                <a:cxn ang="0">
                  <a:pos x="T4" y="T5"/>
                </a:cxn>
                <a:cxn ang="0">
                  <a:pos x="T6" y="T7"/>
                </a:cxn>
                <a:cxn ang="0">
                  <a:pos x="T8" y="T9"/>
                </a:cxn>
                <a:cxn ang="0">
                  <a:pos x="T10" y="T11"/>
                </a:cxn>
              </a:cxnLst>
              <a:rect l="0" t="0" r="r" b="b"/>
              <a:pathLst>
                <a:path w="4" h="5">
                  <a:moveTo>
                    <a:pt x="2" y="5"/>
                  </a:moveTo>
                  <a:cubicBezTo>
                    <a:pt x="3" y="4"/>
                    <a:pt x="4" y="4"/>
                    <a:pt x="4" y="3"/>
                  </a:cubicBezTo>
                  <a:cubicBezTo>
                    <a:pt x="3" y="2"/>
                    <a:pt x="2" y="0"/>
                    <a:pt x="1" y="1"/>
                  </a:cubicBezTo>
                  <a:cubicBezTo>
                    <a:pt x="0" y="2"/>
                    <a:pt x="1" y="5"/>
                    <a:pt x="2" y="5"/>
                  </a:cubicBezTo>
                  <a:cubicBezTo>
                    <a:pt x="2" y="5"/>
                    <a:pt x="2" y="5"/>
                    <a:pt x="2" y="5"/>
                  </a:cubicBezTo>
                  <a:cubicBezTo>
                    <a:pt x="3" y="4"/>
                    <a:pt x="2" y="5"/>
                    <a:pt x="2" y="5"/>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92" name="Freeform 157">
              <a:extLst>
                <a:ext uri="{FF2B5EF4-FFF2-40B4-BE49-F238E27FC236}">
                  <a16:creationId xmlns:a16="http://schemas.microsoft.com/office/drawing/2014/main" id="{C07B195D-D204-5846-FE47-68EE1C51EA88}"/>
                </a:ext>
              </a:extLst>
            </p:cNvPr>
            <p:cNvSpPr/>
            <p:nvPr>
              <p:custDataLst>
                <p:tags r:id="rId310"/>
              </p:custDataLst>
            </p:nvPr>
          </p:nvSpPr>
          <p:spPr bwMode="auto">
            <a:xfrm>
              <a:off x="9640889" y="4213226"/>
              <a:ext cx="36513" cy="50800"/>
            </a:xfrm>
            <a:custGeom>
              <a:avLst/>
              <a:gdLst>
                <a:gd name="T0" fmla="*/ 8 w 20"/>
                <a:gd name="T1" fmla="*/ 19 h 27"/>
                <a:gd name="T2" fmla="*/ 9 w 20"/>
                <a:gd name="T3" fmla="*/ 25 h 27"/>
                <a:gd name="T4" fmla="*/ 12 w 20"/>
                <a:gd name="T5" fmla="*/ 26 h 27"/>
                <a:gd name="T6" fmla="*/ 13 w 20"/>
                <a:gd name="T7" fmla="*/ 21 h 27"/>
                <a:gd name="T8" fmla="*/ 16 w 20"/>
                <a:gd name="T9" fmla="*/ 22 h 27"/>
                <a:gd name="T10" fmla="*/ 19 w 20"/>
                <a:gd name="T11" fmla="*/ 20 h 27"/>
                <a:gd name="T12" fmla="*/ 14 w 20"/>
                <a:gd name="T13" fmla="*/ 16 h 27"/>
                <a:gd name="T14" fmla="*/ 14 w 20"/>
                <a:gd name="T15" fmla="*/ 8 h 27"/>
                <a:gd name="T16" fmla="*/ 11 w 20"/>
                <a:gd name="T17" fmla="*/ 5 h 27"/>
                <a:gd name="T18" fmla="*/ 9 w 20"/>
                <a:gd name="T19" fmla="*/ 4 h 27"/>
                <a:gd name="T20" fmla="*/ 8 w 20"/>
                <a:gd name="T21" fmla="*/ 2 h 27"/>
                <a:gd name="T22" fmla="*/ 3 w 20"/>
                <a:gd name="T23" fmla="*/ 0 h 27"/>
                <a:gd name="T24" fmla="*/ 1 w 20"/>
                <a:gd name="T25" fmla="*/ 4 h 27"/>
                <a:gd name="T26" fmla="*/ 2 w 20"/>
                <a:gd name="T27" fmla="*/ 7 h 27"/>
                <a:gd name="T28" fmla="*/ 2 w 20"/>
                <a:gd name="T29" fmla="*/ 10 h 27"/>
                <a:gd name="T30" fmla="*/ 3 w 20"/>
                <a:gd name="T31" fmla="*/ 13 h 27"/>
                <a:gd name="T32" fmla="*/ 8 w 20"/>
                <a:gd name="T33" fmla="*/ 10 h 27"/>
                <a:gd name="T34" fmla="*/ 9 w 20"/>
                <a:gd name="T35" fmla="*/ 15 h 27"/>
                <a:gd name="T36" fmla="*/ 9 w 20"/>
                <a:gd name="T37" fmla="*/ 20 h 27"/>
                <a:gd name="T38" fmla="*/ 8 w 20"/>
                <a:gd name="T39" fmla="*/ 19 h 27"/>
                <a:gd name="T40" fmla="*/ 8 w 20"/>
                <a:gd name="T41"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7">
                  <a:moveTo>
                    <a:pt x="8" y="19"/>
                  </a:moveTo>
                  <a:cubicBezTo>
                    <a:pt x="9" y="21"/>
                    <a:pt x="9" y="23"/>
                    <a:pt x="9" y="25"/>
                  </a:cubicBezTo>
                  <a:cubicBezTo>
                    <a:pt x="10" y="26"/>
                    <a:pt x="11" y="27"/>
                    <a:pt x="12" y="26"/>
                  </a:cubicBezTo>
                  <a:cubicBezTo>
                    <a:pt x="13" y="24"/>
                    <a:pt x="12" y="23"/>
                    <a:pt x="13" y="21"/>
                  </a:cubicBezTo>
                  <a:cubicBezTo>
                    <a:pt x="13" y="19"/>
                    <a:pt x="15" y="22"/>
                    <a:pt x="16" y="22"/>
                  </a:cubicBezTo>
                  <a:cubicBezTo>
                    <a:pt x="18" y="23"/>
                    <a:pt x="20" y="22"/>
                    <a:pt x="19" y="20"/>
                  </a:cubicBezTo>
                  <a:cubicBezTo>
                    <a:pt x="17" y="18"/>
                    <a:pt x="15" y="18"/>
                    <a:pt x="14" y="16"/>
                  </a:cubicBezTo>
                  <a:cubicBezTo>
                    <a:pt x="14" y="13"/>
                    <a:pt x="14" y="11"/>
                    <a:pt x="14" y="8"/>
                  </a:cubicBezTo>
                  <a:cubicBezTo>
                    <a:pt x="14" y="6"/>
                    <a:pt x="13" y="5"/>
                    <a:pt x="11" y="5"/>
                  </a:cubicBezTo>
                  <a:cubicBezTo>
                    <a:pt x="10" y="5"/>
                    <a:pt x="9" y="5"/>
                    <a:pt x="9" y="4"/>
                  </a:cubicBezTo>
                  <a:cubicBezTo>
                    <a:pt x="8" y="4"/>
                    <a:pt x="8" y="3"/>
                    <a:pt x="8" y="2"/>
                  </a:cubicBezTo>
                  <a:cubicBezTo>
                    <a:pt x="7" y="0"/>
                    <a:pt x="5" y="0"/>
                    <a:pt x="3" y="0"/>
                  </a:cubicBezTo>
                  <a:cubicBezTo>
                    <a:pt x="2" y="0"/>
                    <a:pt x="0" y="2"/>
                    <a:pt x="1" y="4"/>
                  </a:cubicBezTo>
                  <a:cubicBezTo>
                    <a:pt x="1" y="5"/>
                    <a:pt x="1" y="6"/>
                    <a:pt x="2" y="7"/>
                  </a:cubicBezTo>
                  <a:cubicBezTo>
                    <a:pt x="2" y="8"/>
                    <a:pt x="2" y="9"/>
                    <a:pt x="2" y="10"/>
                  </a:cubicBezTo>
                  <a:cubicBezTo>
                    <a:pt x="2" y="12"/>
                    <a:pt x="1" y="13"/>
                    <a:pt x="3" y="13"/>
                  </a:cubicBezTo>
                  <a:cubicBezTo>
                    <a:pt x="5" y="13"/>
                    <a:pt x="6" y="10"/>
                    <a:pt x="8" y="10"/>
                  </a:cubicBezTo>
                  <a:cubicBezTo>
                    <a:pt x="10" y="10"/>
                    <a:pt x="9" y="14"/>
                    <a:pt x="9" y="15"/>
                  </a:cubicBezTo>
                  <a:cubicBezTo>
                    <a:pt x="8" y="17"/>
                    <a:pt x="8" y="18"/>
                    <a:pt x="9" y="20"/>
                  </a:cubicBezTo>
                  <a:cubicBezTo>
                    <a:pt x="8" y="20"/>
                    <a:pt x="8" y="20"/>
                    <a:pt x="8" y="19"/>
                  </a:cubicBezTo>
                  <a:cubicBezTo>
                    <a:pt x="9" y="21"/>
                    <a:pt x="8" y="19"/>
                    <a:pt x="8" y="19"/>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93" name="Freeform 158">
              <a:extLst>
                <a:ext uri="{FF2B5EF4-FFF2-40B4-BE49-F238E27FC236}">
                  <a16:creationId xmlns:a16="http://schemas.microsoft.com/office/drawing/2014/main" id="{98773BD0-D774-4C76-572C-3F35690FEA63}"/>
                </a:ext>
              </a:extLst>
            </p:cNvPr>
            <p:cNvSpPr/>
            <p:nvPr>
              <p:custDataLst>
                <p:tags r:id="rId311"/>
              </p:custDataLst>
            </p:nvPr>
          </p:nvSpPr>
          <p:spPr bwMode="auto">
            <a:xfrm>
              <a:off x="9610726" y="4224338"/>
              <a:ext cx="26988" cy="57150"/>
            </a:xfrm>
            <a:custGeom>
              <a:avLst/>
              <a:gdLst>
                <a:gd name="T0" fmla="*/ 3 w 14"/>
                <a:gd name="T1" fmla="*/ 15 h 31"/>
                <a:gd name="T2" fmla="*/ 2 w 14"/>
                <a:gd name="T3" fmla="*/ 19 h 31"/>
                <a:gd name="T4" fmla="*/ 1 w 14"/>
                <a:gd name="T5" fmla="*/ 25 h 31"/>
                <a:gd name="T6" fmla="*/ 0 w 14"/>
                <a:gd name="T7" fmla="*/ 29 h 31"/>
                <a:gd name="T8" fmla="*/ 2 w 14"/>
                <a:gd name="T9" fmla="*/ 29 h 31"/>
                <a:gd name="T10" fmla="*/ 3 w 14"/>
                <a:gd name="T11" fmla="*/ 24 h 31"/>
                <a:gd name="T12" fmla="*/ 4 w 14"/>
                <a:gd name="T13" fmla="*/ 20 h 31"/>
                <a:gd name="T14" fmla="*/ 7 w 14"/>
                <a:gd name="T15" fmla="*/ 18 h 31"/>
                <a:gd name="T16" fmla="*/ 11 w 14"/>
                <a:gd name="T17" fmla="*/ 15 h 31"/>
                <a:gd name="T18" fmla="*/ 13 w 14"/>
                <a:gd name="T19" fmla="*/ 7 h 31"/>
                <a:gd name="T20" fmla="*/ 14 w 14"/>
                <a:gd name="T21" fmla="*/ 3 h 31"/>
                <a:gd name="T22" fmla="*/ 12 w 14"/>
                <a:gd name="T23" fmla="*/ 1 h 31"/>
                <a:gd name="T24" fmla="*/ 10 w 14"/>
                <a:gd name="T25" fmla="*/ 5 h 31"/>
                <a:gd name="T26" fmla="*/ 7 w 14"/>
                <a:gd name="T27" fmla="*/ 10 h 31"/>
                <a:gd name="T28" fmla="*/ 3 w 14"/>
                <a:gd name="T29" fmla="*/ 16 h 31"/>
                <a:gd name="T30" fmla="*/ 3 w 14"/>
                <a:gd name="T31" fmla="*/ 15 h 31"/>
                <a:gd name="T32" fmla="*/ 3 w 14"/>
                <a:gd name="T3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31">
                  <a:moveTo>
                    <a:pt x="3" y="15"/>
                  </a:moveTo>
                  <a:cubicBezTo>
                    <a:pt x="2" y="17"/>
                    <a:pt x="2" y="18"/>
                    <a:pt x="2" y="19"/>
                  </a:cubicBezTo>
                  <a:cubicBezTo>
                    <a:pt x="1" y="21"/>
                    <a:pt x="1" y="23"/>
                    <a:pt x="1" y="25"/>
                  </a:cubicBezTo>
                  <a:cubicBezTo>
                    <a:pt x="0" y="26"/>
                    <a:pt x="0" y="28"/>
                    <a:pt x="0" y="29"/>
                  </a:cubicBezTo>
                  <a:cubicBezTo>
                    <a:pt x="0" y="31"/>
                    <a:pt x="2" y="29"/>
                    <a:pt x="2" y="29"/>
                  </a:cubicBezTo>
                  <a:cubicBezTo>
                    <a:pt x="3" y="27"/>
                    <a:pt x="3" y="26"/>
                    <a:pt x="3" y="24"/>
                  </a:cubicBezTo>
                  <a:cubicBezTo>
                    <a:pt x="3" y="23"/>
                    <a:pt x="3" y="21"/>
                    <a:pt x="4" y="20"/>
                  </a:cubicBezTo>
                  <a:cubicBezTo>
                    <a:pt x="5" y="19"/>
                    <a:pt x="6" y="19"/>
                    <a:pt x="7" y="18"/>
                  </a:cubicBezTo>
                  <a:cubicBezTo>
                    <a:pt x="8" y="17"/>
                    <a:pt x="10" y="16"/>
                    <a:pt x="11" y="15"/>
                  </a:cubicBezTo>
                  <a:cubicBezTo>
                    <a:pt x="14" y="14"/>
                    <a:pt x="13" y="10"/>
                    <a:pt x="13" y="7"/>
                  </a:cubicBezTo>
                  <a:cubicBezTo>
                    <a:pt x="13" y="6"/>
                    <a:pt x="13" y="4"/>
                    <a:pt x="14" y="3"/>
                  </a:cubicBezTo>
                  <a:cubicBezTo>
                    <a:pt x="14" y="1"/>
                    <a:pt x="14" y="0"/>
                    <a:pt x="12" y="1"/>
                  </a:cubicBezTo>
                  <a:cubicBezTo>
                    <a:pt x="11" y="2"/>
                    <a:pt x="10" y="4"/>
                    <a:pt x="10" y="5"/>
                  </a:cubicBezTo>
                  <a:cubicBezTo>
                    <a:pt x="9" y="7"/>
                    <a:pt x="8" y="8"/>
                    <a:pt x="7" y="10"/>
                  </a:cubicBezTo>
                  <a:cubicBezTo>
                    <a:pt x="6" y="12"/>
                    <a:pt x="3" y="13"/>
                    <a:pt x="3" y="16"/>
                  </a:cubicBezTo>
                  <a:cubicBezTo>
                    <a:pt x="3" y="16"/>
                    <a:pt x="3" y="16"/>
                    <a:pt x="3" y="15"/>
                  </a:cubicBezTo>
                  <a:cubicBezTo>
                    <a:pt x="2" y="17"/>
                    <a:pt x="3" y="15"/>
                    <a:pt x="3" y="15"/>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94" name="Freeform 159">
              <a:extLst>
                <a:ext uri="{FF2B5EF4-FFF2-40B4-BE49-F238E27FC236}">
                  <a16:creationId xmlns:a16="http://schemas.microsoft.com/office/drawing/2014/main" id="{DE81F4F4-5EB8-3EA9-BEB2-64BD317A31B2}"/>
                </a:ext>
              </a:extLst>
            </p:cNvPr>
            <p:cNvSpPr/>
            <p:nvPr>
              <p:custDataLst>
                <p:tags r:id="rId312"/>
              </p:custDataLst>
            </p:nvPr>
          </p:nvSpPr>
          <p:spPr bwMode="auto">
            <a:xfrm>
              <a:off x="9582151" y="4233863"/>
              <a:ext cx="38100" cy="60325"/>
            </a:xfrm>
            <a:custGeom>
              <a:avLst/>
              <a:gdLst>
                <a:gd name="T0" fmla="*/ 18 w 21"/>
                <a:gd name="T1" fmla="*/ 0 h 33"/>
                <a:gd name="T2" fmla="*/ 8 w 21"/>
                <a:gd name="T3" fmla="*/ 4 h 33"/>
                <a:gd name="T4" fmla="*/ 7 w 21"/>
                <a:gd name="T5" fmla="*/ 10 h 33"/>
                <a:gd name="T6" fmla="*/ 5 w 21"/>
                <a:gd name="T7" fmla="*/ 15 h 33"/>
                <a:gd name="T8" fmla="*/ 1 w 21"/>
                <a:gd name="T9" fmla="*/ 18 h 33"/>
                <a:gd name="T10" fmla="*/ 2 w 21"/>
                <a:gd name="T11" fmla="*/ 23 h 33"/>
                <a:gd name="T12" fmla="*/ 4 w 21"/>
                <a:gd name="T13" fmla="*/ 26 h 33"/>
                <a:gd name="T14" fmla="*/ 7 w 21"/>
                <a:gd name="T15" fmla="*/ 27 h 33"/>
                <a:gd name="T16" fmla="*/ 9 w 21"/>
                <a:gd name="T17" fmla="*/ 29 h 33"/>
                <a:gd name="T18" fmla="*/ 13 w 21"/>
                <a:gd name="T19" fmla="*/ 33 h 33"/>
                <a:gd name="T20" fmla="*/ 14 w 21"/>
                <a:gd name="T21" fmla="*/ 28 h 33"/>
                <a:gd name="T22" fmla="*/ 12 w 21"/>
                <a:gd name="T23" fmla="*/ 22 h 33"/>
                <a:gd name="T24" fmla="*/ 15 w 21"/>
                <a:gd name="T25" fmla="*/ 16 h 33"/>
                <a:gd name="T26" fmla="*/ 15 w 21"/>
                <a:gd name="T27" fmla="*/ 10 h 33"/>
                <a:gd name="T28" fmla="*/ 18 w 21"/>
                <a:gd name="T29" fmla="*/ 5 h 33"/>
                <a:gd name="T30" fmla="*/ 21 w 21"/>
                <a:gd name="T31" fmla="*/ 2 h 33"/>
                <a:gd name="T32" fmla="*/ 17 w 21"/>
                <a:gd name="T33" fmla="*/ 0 h 33"/>
                <a:gd name="T34" fmla="*/ 18 w 21"/>
                <a:gd name="T35" fmla="*/ 0 h 33"/>
                <a:gd name="T36" fmla="*/ 18 w 21"/>
                <a:gd name="T3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33">
                  <a:moveTo>
                    <a:pt x="18" y="0"/>
                  </a:moveTo>
                  <a:cubicBezTo>
                    <a:pt x="14" y="0"/>
                    <a:pt x="8" y="0"/>
                    <a:pt x="8" y="4"/>
                  </a:cubicBezTo>
                  <a:cubicBezTo>
                    <a:pt x="8" y="6"/>
                    <a:pt x="8" y="8"/>
                    <a:pt x="7" y="10"/>
                  </a:cubicBezTo>
                  <a:cubicBezTo>
                    <a:pt x="7" y="11"/>
                    <a:pt x="6" y="14"/>
                    <a:pt x="5" y="15"/>
                  </a:cubicBezTo>
                  <a:cubicBezTo>
                    <a:pt x="4" y="16"/>
                    <a:pt x="1" y="17"/>
                    <a:pt x="1" y="18"/>
                  </a:cubicBezTo>
                  <a:cubicBezTo>
                    <a:pt x="0" y="20"/>
                    <a:pt x="1" y="21"/>
                    <a:pt x="2" y="23"/>
                  </a:cubicBezTo>
                  <a:cubicBezTo>
                    <a:pt x="2" y="24"/>
                    <a:pt x="3" y="26"/>
                    <a:pt x="4" y="26"/>
                  </a:cubicBezTo>
                  <a:cubicBezTo>
                    <a:pt x="6" y="27"/>
                    <a:pt x="6" y="26"/>
                    <a:pt x="7" y="27"/>
                  </a:cubicBezTo>
                  <a:cubicBezTo>
                    <a:pt x="8" y="27"/>
                    <a:pt x="8" y="28"/>
                    <a:pt x="9" y="29"/>
                  </a:cubicBezTo>
                  <a:cubicBezTo>
                    <a:pt x="10" y="30"/>
                    <a:pt x="11" y="33"/>
                    <a:pt x="13" y="33"/>
                  </a:cubicBezTo>
                  <a:cubicBezTo>
                    <a:pt x="14" y="33"/>
                    <a:pt x="14" y="29"/>
                    <a:pt x="14" y="28"/>
                  </a:cubicBezTo>
                  <a:cubicBezTo>
                    <a:pt x="14" y="26"/>
                    <a:pt x="12" y="24"/>
                    <a:pt x="12" y="22"/>
                  </a:cubicBezTo>
                  <a:cubicBezTo>
                    <a:pt x="12" y="20"/>
                    <a:pt x="15" y="19"/>
                    <a:pt x="15" y="16"/>
                  </a:cubicBezTo>
                  <a:cubicBezTo>
                    <a:pt x="15" y="14"/>
                    <a:pt x="14" y="12"/>
                    <a:pt x="15" y="10"/>
                  </a:cubicBezTo>
                  <a:cubicBezTo>
                    <a:pt x="16" y="8"/>
                    <a:pt x="17" y="6"/>
                    <a:pt x="18" y="5"/>
                  </a:cubicBezTo>
                  <a:cubicBezTo>
                    <a:pt x="20" y="4"/>
                    <a:pt x="21" y="4"/>
                    <a:pt x="21" y="2"/>
                  </a:cubicBezTo>
                  <a:cubicBezTo>
                    <a:pt x="20" y="0"/>
                    <a:pt x="18" y="0"/>
                    <a:pt x="17" y="0"/>
                  </a:cubicBezTo>
                  <a:cubicBezTo>
                    <a:pt x="17" y="0"/>
                    <a:pt x="17" y="0"/>
                    <a:pt x="18" y="0"/>
                  </a:cubicBezTo>
                  <a:cubicBezTo>
                    <a:pt x="16" y="0"/>
                    <a:pt x="18" y="0"/>
                    <a:pt x="18" y="0"/>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95" name="Freeform 160">
              <a:extLst>
                <a:ext uri="{FF2B5EF4-FFF2-40B4-BE49-F238E27FC236}">
                  <a16:creationId xmlns:a16="http://schemas.microsoft.com/office/drawing/2014/main" id="{0F961BB9-4FA3-50F3-7E7E-CCE6B6109983}"/>
                </a:ext>
              </a:extLst>
            </p:cNvPr>
            <p:cNvSpPr/>
            <p:nvPr>
              <p:custDataLst>
                <p:tags r:id="rId313"/>
              </p:custDataLst>
            </p:nvPr>
          </p:nvSpPr>
          <p:spPr bwMode="auto">
            <a:xfrm>
              <a:off x="9607551" y="4179888"/>
              <a:ext cx="11113" cy="25400"/>
            </a:xfrm>
            <a:custGeom>
              <a:avLst/>
              <a:gdLst>
                <a:gd name="T0" fmla="*/ 0 w 6"/>
                <a:gd name="T1" fmla="*/ 2 h 14"/>
                <a:gd name="T2" fmla="*/ 2 w 6"/>
                <a:gd name="T3" fmla="*/ 11 h 14"/>
                <a:gd name="T4" fmla="*/ 5 w 6"/>
                <a:gd name="T5" fmla="*/ 7 h 14"/>
                <a:gd name="T6" fmla="*/ 2 w 6"/>
                <a:gd name="T7" fmla="*/ 2 h 14"/>
                <a:gd name="T8" fmla="*/ 0 w 6"/>
                <a:gd name="T9" fmla="*/ 4 h 14"/>
                <a:gd name="T10" fmla="*/ 0 w 6"/>
                <a:gd name="T11" fmla="*/ 2 h 14"/>
                <a:gd name="T12" fmla="*/ 0 w 6"/>
                <a:gd name="T13" fmla="*/ 2 h 14"/>
              </a:gdLst>
              <a:ahLst/>
              <a:cxnLst>
                <a:cxn ang="0">
                  <a:pos x="T0" y="T1"/>
                </a:cxn>
                <a:cxn ang="0">
                  <a:pos x="T2" y="T3"/>
                </a:cxn>
                <a:cxn ang="0">
                  <a:pos x="T4" y="T5"/>
                </a:cxn>
                <a:cxn ang="0">
                  <a:pos x="T6" y="T7"/>
                </a:cxn>
                <a:cxn ang="0">
                  <a:pos x="T8" y="T9"/>
                </a:cxn>
                <a:cxn ang="0">
                  <a:pos x="T10" y="T11"/>
                </a:cxn>
                <a:cxn ang="0">
                  <a:pos x="T12" y="T13"/>
                </a:cxn>
              </a:cxnLst>
              <a:rect l="0" t="0" r="r" b="b"/>
              <a:pathLst>
                <a:path w="6" h="14">
                  <a:moveTo>
                    <a:pt x="0" y="2"/>
                  </a:moveTo>
                  <a:cubicBezTo>
                    <a:pt x="1" y="5"/>
                    <a:pt x="1" y="8"/>
                    <a:pt x="2" y="11"/>
                  </a:cubicBezTo>
                  <a:cubicBezTo>
                    <a:pt x="2" y="14"/>
                    <a:pt x="5" y="8"/>
                    <a:pt x="5" y="7"/>
                  </a:cubicBezTo>
                  <a:cubicBezTo>
                    <a:pt x="6" y="5"/>
                    <a:pt x="4" y="3"/>
                    <a:pt x="2" y="2"/>
                  </a:cubicBezTo>
                  <a:cubicBezTo>
                    <a:pt x="0" y="0"/>
                    <a:pt x="0" y="2"/>
                    <a:pt x="0" y="4"/>
                  </a:cubicBezTo>
                  <a:cubicBezTo>
                    <a:pt x="0" y="3"/>
                    <a:pt x="0" y="3"/>
                    <a:pt x="0" y="2"/>
                  </a:cubicBezTo>
                  <a:cubicBezTo>
                    <a:pt x="1" y="5"/>
                    <a:pt x="0" y="2"/>
                    <a:pt x="0" y="2"/>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96" name="Freeform 161">
              <a:extLst>
                <a:ext uri="{FF2B5EF4-FFF2-40B4-BE49-F238E27FC236}">
                  <a16:creationId xmlns:a16="http://schemas.microsoft.com/office/drawing/2014/main" id="{C6E56138-D325-EEF3-2152-515AAC9589B7}"/>
                </a:ext>
              </a:extLst>
            </p:cNvPr>
            <p:cNvSpPr/>
            <p:nvPr>
              <p:custDataLst>
                <p:tags r:id="rId314"/>
              </p:custDataLst>
            </p:nvPr>
          </p:nvSpPr>
          <p:spPr bwMode="auto">
            <a:xfrm>
              <a:off x="9626601" y="4259263"/>
              <a:ext cx="23813" cy="19050"/>
            </a:xfrm>
            <a:custGeom>
              <a:avLst/>
              <a:gdLst>
                <a:gd name="T0" fmla="*/ 4 w 13"/>
                <a:gd name="T1" fmla="*/ 1 h 10"/>
                <a:gd name="T2" fmla="*/ 1 w 13"/>
                <a:gd name="T3" fmla="*/ 4 h 10"/>
                <a:gd name="T4" fmla="*/ 1 w 13"/>
                <a:gd name="T5" fmla="*/ 7 h 10"/>
                <a:gd name="T6" fmla="*/ 4 w 13"/>
                <a:gd name="T7" fmla="*/ 10 h 10"/>
                <a:gd name="T8" fmla="*/ 9 w 13"/>
                <a:gd name="T9" fmla="*/ 8 h 10"/>
                <a:gd name="T10" fmla="*/ 13 w 13"/>
                <a:gd name="T11" fmla="*/ 6 h 10"/>
                <a:gd name="T12" fmla="*/ 12 w 13"/>
                <a:gd name="T13" fmla="*/ 2 h 10"/>
                <a:gd name="T14" fmla="*/ 10 w 13"/>
                <a:gd name="T15" fmla="*/ 2 h 10"/>
                <a:gd name="T16" fmla="*/ 8 w 13"/>
                <a:gd name="T17" fmla="*/ 1 h 10"/>
                <a:gd name="T18" fmla="*/ 4 w 13"/>
                <a:gd name="T19" fmla="*/ 2 h 10"/>
                <a:gd name="T20" fmla="*/ 4 w 13"/>
                <a:gd name="T21" fmla="*/ 1 h 10"/>
                <a:gd name="T22" fmla="*/ 4 w 13"/>
                <a:gd name="T23"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0">
                  <a:moveTo>
                    <a:pt x="4" y="1"/>
                  </a:moveTo>
                  <a:cubicBezTo>
                    <a:pt x="3" y="3"/>
                    <a:pt x="2" y="3"/>
                    <a:pt x="1" y="4"/>
                  </a:cubicBezTo>
                  <a:cubicBezTo>
                    <a:pt x="0" y="5"/>
                    <a:pt x="0" y="6"/>
                    <a:pt x="1" y="7"/>
                  </a:cubicBezTo>
                  <a:cubicBezTo>
                    <a:pt x="1" y="9"/>
                    <a:pt x="3" y="10"/>
                    <a:pt x="4" y="10"/>
                  </a:cubicBezTo>
                  <a:cubicBezTo>
                    <a:pt x="6" y="10"/>
                    <a:pt x="7" y="8"/>
                    <a:pt x="9" y="8"/>
                  </a:cubicBezTo>
                  <a:cubicBezTo>
                    <a:pt x="10" y="8"/>
                    <a:pt x="12" y="8"/>
                    <a:pt x="13" y="6"/>
                  </a:cubicBezTo>
                  <a:cubicBezTo>
                    <a:pt x="13" y="5"/>
                    <a:pt x="13" y="3"/>
                    <a:pt x="12" y="2"/>
                  </a:cubicBezTo>
                  <a:cubicBezTo>
                    <a:pt x="11" y="2"/>
                    <a:pt x="11" y="2"/>
                    <a:pt x="10" y="2"/>
                  </a:cubicBezTo>
                  <a:cubicBezTo>
                    <a:pt x="9" y="2"/>
                    <a:pt x="9" y="1"/>
                    <a:pt x="8" y="1"/>
                  </a:cubicBezTo>
                  <a:cubicBezTo>
                    <a:pt x="6" y="0"/>
                    <a:pt x="5" y="1"/>
                    <a:pt x="4" y="2"/>
                  </a:cubicBezTo>
                  <a:cubicBezTo>
                    <a:pt x="4" y="2"/>
                    <a:pt x="4" y="2"/>
                    <a:pt x="4" y="1"/>
                  </a:cubicBezTo>
                  <a:cubicBezTo>
                    <a:pt x="4" y="3"/>
                    <a:pt x="4" y="1"/>
                    <a:pt x="4" y="1"/>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97" name="Freeform 162">
              <a:extLst>
                <a:ext uri="{FF2B5EF4-FFF2-40B4-BE49-F238E27FC236}">
                  <a16:creationId xmlns:a16="http://schemas.microsoft.com/office/drawing/2014/main" id="{70A153DB-D281-A139-4051-B7298FAC98A9}"/>
                </a:ext>
              </a:extLst>
            </p:cNvPr>
            <p:cNvSpPr/>
            <p:nvPr>
              <p:custDataLst>
                <p:tags r:id="rId315"/>
              </p:custDataLst>
            </p:nvPr>
          </p:nvSpPr>
          <p:spPr bwMode="auto">
            <a:xfrm>
              <a:off x="9596439" y="4162426"/>
              <a:ext cx="20638" cy="15875"/>
            </a:xfrm>
            <a:custGeom>
              <a:avLst/>
              <a:gdLst>
                <a:gd name="T0" fmla="*/ 9 w 11"/>
                <a:gd name="T1" fmla="*/ 5 h 8"/>
                <a:gd name="T2" fmla="*/ 6 w 11"/>
                <a:gd name="T3" fmla="*/ 4 h 8"/>
                <a:gd name="T4" fmla="*/ 4 w 11"/>
                <a:gd name="T5" fmla="*/ 1 h 8"/>
                <a:gd name="T6" fmla="*/ 1 w 11"/>
                <a:gd name="T7" fmla="*/ 1 h 8"/>
                <a:gd name="T8" fmla="*/ 2 w 11"/>
                <a:gd name="T9" fmla="*/ 3 h 8"/>
                <a:gd name="T10" fmla="*/ 5 w 11"/>
                <a:gd name="T11" fmla="*/ 5 h 8"/>
                <a:gd name="T12" fmla="*/ 8 w 11"/>
                <a:gd name="T13" fmla="*/ 8 h 8"/>
                <a:gd name="T14" fmla="*/ 10 w 11"/>
                <a:gd name="T15" fmla="*/ 6 h 8"/>
                <a:gd name="T16" fmla="*/ 8 w 11"/>
                <a:gd name="T17" fmla="*/ 5 h 8"/>
                <a:gd name="T18" fmla="*/ 9 w 11"/>
                <a:gd name="T19" fmla="*/ 5 h 8"/>
                <a:gd name="T20" fmla="*/ 9 w 11"/>
                <a:gd name="T21"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8">
                  <a:moveTo>
                    <a:pt x="9" y="5"/>
                  </a:moveTo>
                  <a:cubicBezTo>
                    <a:pt x="8" y="5"/>
                    <a:pt x="7" y="5"/>
                    <a:pt x="6" y="4"/>
                  </a:cubicBezTo>
                  <a:cubicBezTo>
                    <a:pt x="5" y="3"/>
                    <a:pt x="5" y="2"/>
                    <a:pt x="4" y="1"/>
                  </a:cubicBezTo>
                  <a:cubicBezTo>
                    <a:pt x="3" y="1"/>
                    <a:pt x="2" y="0"/>
                    <a:pt x="1" y="1"/>
                  </a:cubicBezTo>
                  <a:cubicBezTo>
                    <a:pt x="0" y="2"/>
                    <a:pt x="1" y="3"/>
                    <a:pt x="2" y="3"/>
                  </a:cubicBezTo>
                  <a:cubicBezTo>
                    <a:pt x="3" y="4"/>
                    <a:pt x="4" y="5"/>
                    <a:pt x="5" y="5"/>
                  </a:cubicBezTo>
                  <a:cubicBezTo>
                    <a:pt x="6" y="6"/>
                    <a:pt x="7" y="8"/>
                    <a:pt x="8" y="8"/>
                  </a:cubicBezTo>
                  <a:cubicBezTo>
                    <a:pt x="9" y="8"/>
                    <a:pt x="11" y="6"/>
                    <a:pt x="10" y="6"/>
                  </a:cubicBezTo>
                  <a:cubicBezTo>
                    <a:pt x="9" y="5"/>
                    <a:pt x="8" y="5"/>
                    <a:pt x="8" y="5"/>
                  </a:cubicBezTo>
                  <a:cubicBezTo>
                    <a:pt x="8" y="5"/>
                    <a:pt x="8" y="5"/>
                    <a:pt x="9" y="5"/>
                  </a:cubicBezTo>
                  <a:cubicBezTo>
                    <a:pt x="8" y="5"/>
                    <a:pt x="9" y="5"/>
                    <a:pt x="9" y="5"/>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98" name="Freeform 163">
              <a:extLst>
                <a:ext uri="{FF2B5EF4-FFF2-40B4-BE49-F238E27FC236}">
                  <a16:creationId xmlns:a16="http://schemas.microsoft.com/office/drawing/2014/main" id="{745B160D-BD83-EB9B-518C-286206906C4F}"/>
                </a:ext>
              </a:extLst>
            </p:cNvPr>
            <p:cNvSpPr/>
            <p:nvPr>
              <p:custDataLst>
                <p:tags r:id="rId316"/>
              </p:custDataLst>
            </p:nvPr>
          </p:nvSpPr>
          <p:spPr bwMode="auto">
            <a:xfrm>
              <a:off x="9613901" y="4287838"/>
              <a:ext cx="12700" cy="6350"/>
            </a:xfrm>
            <a:custGeom>
              <a:avLst/>
              <a:gdLst>
                <a:gd name="T0" fmla="*/ 4 w 7"/>
                <a:gd name="T1" fmla="*/ 0 h 4"/>
                <a:gd name="T2" fmla="*/ 6 w 7"/>
                <a:gd name="T3" fmla="*/ 3 h 4"/>
                <a:gd name="T4" fmla="*/ 5 w 7"/>
                <a:gd name="T5" fmla="*/ 0 h 4"/>
                <a:gd name="T6" fmla="*/ 3 w 7"/>
                <a:gd name="T7" fmla="*/ 0 h 4"/>
                <a:gd name="T8" fmla="*/ 4 w 7"/>
                <a:gd name="T9" fmla="*/ 0 h 4"/>
                <a:gd name="T10" fmla="*/ 4 w 7"/>
                <a:gd name="T11" fmla="*/ 0 h 4"/>
              </a:gdLst>
              <a:ahLst/>
              <a:cxnLst>
                <a:cxn ang="0">
                  <a:pos x="T0" y="T1"/>
                </a:cxn>
                <a:cxn ang="0">
                  <a:pos x="T2" y="T3"/>
                </a:cxn>
                <a:cxn ang="0">
                  <a:pos x="T4" y="T5"/>
                </a:cxn>
                <a:cxn ang="0">
                  <a:pos x="T6" y="T7"/>
                </a:cxn>
                <a:cxn ang="0">
                  <a:pos x="T8" y="T9"/>
                </a:cxn>
                <a:cxn ang="0">
                  <a:pos x="T10" y="T11"/>
                </a:cxn>
              </a:cxnLst>
              <a:rect l="0" t="0" r="r" b="b"/>
              <a:pathLst>
                <a:path w="7" h="4">
                  <a:moveTo>
                    <a:pt x="4" y="0"/>
                  </a:moveTo>
                  <a:cubicBezTo>
                    <a:pt x="0" y="1"/>
                    <a:pt x="4" y="4"/>
                    <a:pt x="6" y="3"/>
                  </a:cubicBezTo>
                  <a:cubicBezTo>
                    <a:pt x="7" y="2"/>
                    <a:pt x="6" y="1"/>
                    <a:pt x="5" y="0"/>
                  </a:cubicBezTo>
                  <a:cubicBezTo>
                    <a:pt x="5" y="0"/>
                    <a:pt x="3" y="0"/>
                    <a:pt x="3" y="0"/>
                  </a:cubicBezTo>
                  <a:cubicBezTo>
                    <a:pt x="3" y="0"/>
                    <a:pt x="3" y="0"/>
                    <a:pt x="4" y="0"/>
                  </a:cubicBezTo>
                  <a:cubicBezTo>
                    <a:pt x="3" y="0"/>
                    <a:pt x="4" y="0"/>
                    <a:pt x="4" y="0"/>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99" name="Freeform 164">
              <a:extLst>
                <a:ext uri="{FF2B5EF4-FFF2-40B4-BE49-F238E27FC236}">
                  <a16:creationId xmlns:a16="http://schemas.microsoft.com/office/drawing/2014/main" id="{2439E79B-55AE-0F91-7912-74101BC5963D}"/>
                </a:ext>
              </a:extLst>
            </p:cNvPr>
            <p:cNvSpPr/>
            <p:nvPr>
              <p:custDataLst>
                <p:tags r:id="rId317"/>
              </p:custDataLst>
            </p:nvPr>
          </p:nvSpPr>
          <p:spPr bwMode="auto">
            <a:xfrm>
              <a:off x="9621839" y="4191001"/>
              <a:ext cx="14288" cy="19050"/>
            </a:xfrm>
            <a:custGeom>
              <a:avLst/>
              <a:gdLst>
                <a:gd name="T0" fmla="*/ 3 w 7"/>
                <a:gd name="T1" fmla="*/ 8 h 10"/>
                <a:gd name="T2" fmla="*/ 6 w 7"/>
                <a:gd name="T3" fmla="*/ 9 h 10"/>
                <a:gd name="T4" fmla="*/ 6 w 7"/>
                <a:gd name="T5" fmla="*/ 7 h 10"/>
                <a:gd name="T6" fmla="*/ 4 w 7"/>
                <a:gd name="T7" fmla="*/ 4 h 10"/>
                <a:gd name="T8" fmla="*/ 0 w 7"/>
                <a:gd name="T9" fmla="*/ 3 h 10"/>
                <a:gd name="T10" fmla="*/ 4 w 7"/>
                <a:gd name="T11" fmla="*/ 8 h 10"/>
                <a:gd name="T12" fmla="*/ 3 w 7"/>
                <a:gd name="T13" fmla="*/ 8 h 10"/>
                <a:gd name="T14" fmla="*/ 3 w 7"/>
                <a:gd name="T15" fmla="*/ 8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0">
                  <a:moveTo>
                    <a:pt x="3" y="8"/>
                  </a:moveTo>
                  <a:cubicBezTo>
                    <a:pt x="4" y="8"/>
                    <a:pt x="5" y="10"/>
                    <a:pt x="6" y="9"/>
                  </a:cubicBezTo>
                  <a:cubicBezTo>
                    <a:pt x="7" y="9"/>
                    <a:pt x="6" y="8"/>
                    <a:pt x="6" y="7"/>
                  </a:cubicBezTo>
                  <a:cubicBezTo>
                    <a:pt x="5" y="6"/>
                    <a:pt x="5" y="5"/>
                    <a:pt x="4" y="4"/>
                  </a:cubicBezTo>
                  <a:cubicBezTo>
                    <a:pt x="3" y="2"/>
                    <a:pt x="1" y="0"/>
                    <a:pt x="0" y="3"/>
                  </a:cubicBezTo>
                  <a:cubicBezTo>
                    <a:pt x="0" y="5"/>
                    <a:pt x="2" y="7"/>
                    <a:pt x="4" y="8"/>
                  </a:cubicBezTo>
                  <a:cubicBezTo>
                    <a:pt x="3" y="8"/>
                    <a:pt x="3" y="8"/>
                    <a:pt x="3" y="8"/>
                  </a:cubicBezTo>
                  <a:cubicBezTo>
                    <a:pt x="4" y="8"/>
                    <a:pt x="3" y="8"/>
                    <a:pt x="3" y="8"/>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00" name="Freeform 167">
              <a:extLst>
                <a:ext uri="{FF2B5EF4-FFF2-40B4-BE49-F238E27FC236}">
                  <a16:creationId xmlns:a16="http://schemas.microsoft.com/office/drawing/2014/main" id="{D3C99ED9-1FA7-52AF-349C-E3F6CEBB76D7}"/>
                </a:ext>
              </a:extLst>
            </p:cNvPr>
            <p:cNvSpPr/>
            <p:nvPr>
              <p:custDataLst>
                <p:tags r:id="rId318"/>
              </p:custDataLst>
            </p:nvPr>
          </p:nvSpPr>
          <p:spPr bwMode="auto">
            <a:xfrm>
              <a:off x="9548814" y="3959226"/>
              <a:ext cx="9525" cy="7938"/>
            </a:xfrm>
            <a:custGeom>
              <a:avLst/>
              <a:gdLst>
                <a:gd name="T0" fmla="*/ 2 w 5"/>
                <a:gd name="T1" fmla="*/ 1 h 4"/>
                <a:gd name="T2" fmla="*/ 1 w 5"/>
                <a:gd name="T3" fmla="*/ 2 h 4"/>
                <a:gd name="T4" fmla="*/ 3 w 5"/>
                <a:gd name="T5" fmla="*/ 3 h 4"/>
                <a:gd name="T6" fmla="*/ 4 w 5"/>
                <a:gd name="T7" fmla="*/ 4 h 4"/>
                <a:gd name="T8" fmla="*/ 4 w 5"/>
                <a:gd name="T9" fmla="*/ 1 h 4"/>
                <a:gd name="T10" fmla="*/ 1 w 5"/>
                <a:gd name="T11" fmla="*/ 1 h 4"/>
                <a:gd name="T12" fmla="*/ 2 w 5"/>
                <a:gd name="T13" fmla="*/ 1 h 4"/>
                <a:gd name="T14" fmla="*/ 2 w 5"/>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2" y="1"/>
                  </a:moveTo>
                  <a:cubicBezTo>
                    <a:pt x="1" y="1"/>
                    <a:pt x="0" y="1"/>
                    <a:pt x="1" y="2"/>
                  </a:cubicBezTo>
                  <a:cubicBezTo>
                    <a:pt x="1" y="3"/>
                    <a:pt x="2" y="3"/>
                    <a:pt x="3" y="3"/>
                  </a:cubicBezTo>
                  <a:cubicBezTo>
                    <a:pt x="3" y="3"/>
                    <a:pt x="3" y="4"/>
                    <a:pt x="4" y="4"/>
                  </a:cubicBezTo>
                  <a:cubicBezTo>
                    <a:pt x="5" y="3"/>
                    <a:pt x="5" y="2"/>
                    <a:pt x="4" y="1"/>
                  </a:cubicBezTo>
                  <a:cubicBezTo>
                    <a:pt x="3" y="0"/>
                    <a:pt x="2" y="1"/>
                    <a:pt x="1" y="1"/>
                  </a:cubicBezTo>
                  <a:cubicBezTo>
                    <a:pt x="1" y="1"/>
                    <a:pt x="2" y="1"/>
                    <a:pt x="2" y="1"/>
                  </a:cubicBezTo>
                  <a:cubicBezTo>
                    <a:pt x="1" y="1"/>
                    <a:pt x="2" y="1"/>
                    <a:pt x="2" y="1"/>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01" name="Freeform 279">
              <a:extLst>
                <a:ext uri="{FF2B5EF4-FFF2-40B4-BE49-F238E27FC236}">
                  <a16:creationId xmlns:a16="http://schemas.microsoft.com/office/drawing/2014/main" id="{667345F7-8B30-D3BF-FFD2-02517B3A757C}"/>
                </a:ext>
              </a:extLst>
            </p:cNvPr>
            <p:cNvSpPr/>
            <p:nvPr>
              <p:custDataLst>
                <p:tags r:id="rId319"/>
              </p:custDataLst>
            </p:nvPr>
          </p:nvSpPr>
          <p:spPr bwMode="auto">
            <a:xfrm>
              <a:off x="9469438" y="4237039"/>
              <a:ext cx="26988" cy="30163"/>
            </a:xfrm>
            <a:custGeom>
              <a:avLst/>
              <a:gdLst>
                <a:gd name="T0" fmla="*/ 7 w 15"/>
                <a:gd name="T1" fmla="*/ 8 h 16"/>
                <a:gd name="T2" fmla="*/ 1 w 15"/>
                <a:gd name="T3" fmla="*/ 12 h 16"/>
                <a:gd name="T4" fmla="*/ 1 w 15"/>
                <a:gd name="T5" fmla="*/ 15 h 16"/>
                <a:gd name="T6" fmla="*/ 4 w 15"/>
                <a:gd name="T7" fmla="*/ 14 h 16"/>
                <a:gd name="T8" fmla="*/ 7 w 15"/>
                <a:gd name="T9" fmla="*/ 12 h 16"/>
                <a:gd name="T10" fmla="*/ 9 w 15"/>
                <a:gd name="T11" fmla="*/ 11 h 16"/>
                <a:gd name="T12" fmla="*/ 12 w 15"/>
                <a:gd name="T13" fmla="*/ 7 h 16"/>
                <a:gd name="T14" fmla="*/ 15 w 15"/>
                <a:gd name="T15" fmla="*/ 4 h 16"/>
                <a:gd name="T16" fmla="*/ 13 w 15"/>
                <a:gd name="T17" fmla="*/ 2 h 16"/>
                <a:gd name="T18" fmla="*/ 10 w 15"/>
                <a:gd name="T19" fmla="*/ 2 h 16"/>
                <a:gd name="T20" fmla="*/ 8 w 15"/>
                <a:gd name="T21" fmla="*/ 1 h 16"/>
                <a:gd name="T22" fmla="*/ 8 w 15"/>
                <a:gd name="T23" fmla="*/ 3 h 16"/>
                <a:gd name="T24" fmla="*/ 6 w 15"/>
                <a:gd name="T25" fmla="*/ 8 h 16"/>
                <a:gd name="T26" fmla="*/ 7 w 15"/>
                <a:gd name="T27" fmla="*/ 8 h 16"/>
                <a:gd name="T28" fmla="*/ 7 w 15"/>
                <a:gd name="T29"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6">
                  <a:moveTo>
                    <a:pt x="7" y="8"/>
                  </a:moveTo>
                  <a:cubicBezTo>
                    <a:pt x="5" y="9"/>
                    <a:pt x="3" y="10"/>
                    <a:pt x="1" y="12"/>
                  </a:cubicBezTo>
                  <a:cubicBezTo>
                    <a:pt x="0" y="13"/>
                    <a:pt x="0" y="14"/>
                    <a:pt x="1" y="15"/>
                  </a:cubicBezTo>
                  <a:cubicBezTo>
                    <a:pt x="2" y="16"/>
                    <a:pt x="3" y="15"/>
                    <a:pt x="4" y="14"/>
                  </a:cubicBezTo>
                  <a:cubicBezTo>
                    <a:pt x="5" y="13"/>
                    <a:pt x="5" y="13"/>
                    <a:pt x="7" y="12"/>
                  </a:cubicBezTo>
                  <a:cubicBezTo>
                    <a:pt x="8" y="12"/>
                    <a:pt x="9" y="11"/>
                    <a:pt x="9" y="11"/>
                  </a:cubicBezTo>
                  <a:cubicBezTo>
                    <a:pt x="10" y="9"/>
                    <a:pt x="10" y="7"/>
                    <a:pt x="12" y="7"/>
                  </a:cubicBezTo>
                  <a:cubicBezTo>
                    <a:pt x="13" y="6"/>
                    <a:pt x="15" y="6"/>
                    <a:pt x="15" y="4"/>
                  </a:cubicBezTo>
                  <a:cubicBezTo>
                    <a:pt x="15" y="3"/>
                    <a:pt x="14" y="2"/>
                    <a:pt x="13" y="2"/>
                  </a:cubicBezTo>
                  <a:cubicBezTo>
                    <a:pt x="12" y="1"/>
                    <a:pt x="11" y="3"/>
                    <a:pt x="10" y="2"/>
                  </a:cubicBezTo>
                  <a:cubicBezTo>
                    <a:pt x="10" y="2"/>
                    <a:pt x="9" y="0"/>
                    <a:pt x="8" y="1"/>
                  </a:cubicBezTo>
                  <a:cubicBezTo>
                    <a:pt x="8" y="2"/>
                    <a:pt x="8" y="2"/>
                    <a:pt x="8" y="3"/>
                  </a:cubicBezTo>
                  <a:cubicBezTo>
                    <a:pt x="8" y="5"/>
                    <a:pt x="8" y="7"/>
                    <a:pt x="6" y="8"/>
                  </a:cubicBezTo>
                  <a:cubicBezTo>
                    <a:pt x="6" y="8"/>
                    <a:pt x="7" y="8"/>
                    <a:pt x="7" y="8"/>
                  </a:cubicBezTo>
                  <a:cubicBezTo>
                    <a:pt x="5" y="9"/>
                    <a:pt x="7" y="8"/>
                    <a:pt x="7" y="8"/>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02" name="Freeform 281">
              <a:extLst>
                <a:ext uri="{FF2B5EF4-FFF2-40B4-BE49-F238E27FC236}">
                  <a16:creationId xmlns:a16="http://schemas.microsoft.com/office/drawing/2014/main" id="{CBE5BB6F-3165-BA14-FE5F-596B080329AB}"/>
                </a:ext>
              </a:extLst>
            </p:cNvPr>
            <p:cNvSpPr/>
            <p:nvPr>
              <p:custDataLst>
                <p:tags r:id="rId320"/>
              </p:custDataLst>
            </p:nvPr>
          </p:nvSpPr>
          <p:spPr bwMode="auto">
            <a:xfrm>
              <a:off x="9485313" y="4219576"/>
              <a:ext cx="9525" cy="17463"/>
            </a:xfrm>
            <a:custGeom>
              <a:avLst/>
              <a:gdLst>
                <a:gd name="T0" fmla="*/ 0 w 5"/>
                <a:gd name="T1" fmla="*/ 7 h 10"/>
                <a:gd name="T2" fmla="*/ 3 w 5"/>
                <a:gd name="T3" fmla="*/ 9 h 10"/>
                <a:gd name="T4" fmla="*/ 3 w 5"/>
                <a:gd name="T5" fmla="*/ 7 h 10"/>
                <a:gd name="T6" fmla="*/ 4 w 5"/>
                <a:gd name="T7" fmla="*/ 3 h 10"/>
                <a:gd name="T8" fmla="*/ 2 w 5"/>
                <a:gd name="T9" fmla="*/ 3 h 10"/>
                <a:gd name="T10" fmla="*/ 0 w 5"/>
                <a:gd name="T11" fmla="*/ 7 h 10"/>
                <a:gd name="T12" fmla="*/ 0 w 5"/>
                <a:gd name="T13" fmla="*/ 7 h 10"/>
                <a:gd name="T14" fmla="*/ 0 w 5"/>
                <a:gd name="T15" fmla="*/ 7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0">
                  <a:moveTo>
                    <a:pt x="0" y="7"/>
                  </a:moveTo>
                  <a:cubicBezTo>
                    <a:pt x="0" y="8"/>
                    <a:pt x="3" y="10"/>
                    <a:pt x="3" y="9"/>
                  </a:cubicBezTo>
                  <a:cubicBezTo>
                    <a:pt x="4" y="8"/>
                    <a:pt x="3" y="7"/>
                    <a:pt x="3" y="7"/>
                  </a:cubicBezTo>
                  <a:cubicBezTo>
                    <a:pt x="3" y="6"/>
                    <a:pt x="4" y="5"/>
                    <a:pt x="4" y="3"/>
                  </a:cubicBezTo>
                  <a:cubicBezTo>
                    <a:pt x="5" y="2"/>
                    <a:pt x="3" y="0"/>
                    <a:pt x="2" y="3"/>
                  </a:cubicBezTo>
                  <a:cubicBezTo>
                    <a:pt x="2" y="5"/>
                    <a:pt x="0" y="5"/>
                    <a:pt x="0" y="7"/>
                  </a:cubicBezTo>
                  <a:cubicBezTo>
                    <a:pt x="0" y="7"/>
                    <a:pt x="0" y="7"/>
                    <a:pt x="0" y="7"/>
                  </a:cubicBezTo>
                  <a:cubicBezTo>
                    <a:pt x="0" y="8"/>
                    <a:pt x="0" y="7"/>
                    <a:pt x="0" y="7"/>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03" name="Freeform 285">
              <a:extLst>
                <a:ext uri="{FF2B5EF4-FFF2-40B4-BE49-F238E27FC236}">
                  <a16:creationId xmlns:a16="http://schemas.microsoft.com/office/drawing/2014/main" id="{2491EBFB-03D5-6C2F-4D31-A688DECE794F}"/>
                </a:ext>
              </a:extLst>
            </p:cNvPr>
            <p:cNvSpPr/>
            <p:nvPr>
              <p:custDataLst>
                <p:tags r:id="rId321"/>
              </p:custDataLst>
            </p:nvPr>
          </p:nvSpPr>
          <p:spPr bwMode="auto">
            <a:xfrm>
              <a:off x="9418638" y="4268789"/>
              <a:ext cx="50800" cy="46038"/>
            </a:xfrm>
            <a:custGeom>
              <a:avLst/>
              <a:gdLst>
                <a:gd name="T0" fmla="*/ 2 w 27"/>
                <a:gd name="T1" fmla="*/ 24 h 25"/>
                <a:gd name="T2" fmla="*/ 6 w 27"/>
                <a:gd name="T3" fmla="*/ 22 h 25"/>
                <a:gd name="T4" fmla="*/ 9 w 27"/>
                <a:gd name="T5" fmla="*/ 18 h 25"/>
                <a:gd name="T6" fmla="*/ 17 w 27"/>
                <a:gd name="T7" fmla="*/ 12 h 25"/>
                <a:gd name="T8" fmla="*/ 25 w 27"/>
                <a:gd name="T9" fmla="*/ 6 h 25"/>
                <a:gd name="T10" fmla="*/ 26 w 27"/>
                <a:gd name="T11" fmla="*/ 0 h 25"/>
                <a:gd name="T12" fmla="*/ 24 w 27"/>
                <a:gd name="T13" fmla="*/ 1 h 25"/>
                <a:gd name="T14" fmla="*/ 20 w 27"/>
                <a:gd name="T15" fmla="*/ 4 h 25"/>
                <a:gd name="T16" fmla="*/ 11 w 27"/>
                <a:gd name="T17" fmla="*/ 13 h 25"/>
                <a:gd name="T18" fmla="*/ 4 w 27"/>
                <a:gd name="T19" fmla="*/ 19 h 25"/>
                <a:gd name="T20" fmla="*/ 1 w 27"/>
                <a:gd name="T21" fmla="*/ 23 h 25"/>
                <a:gd name="T22" fmla="*/ 2 w 27"/>
                <a:gd name="T23" fmla="*/ 24 h 25"/>
                <a:gd name="T24" fmla="*/ 2 w 27"/>
                <a:gd name="T25" fmla="*/ 24 h 25"/>
                <a:gd name="T26" fmla="*/ 2 w 27"/>
                <a:gd name="T27"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 y="24"/>
                  </a:moveTo>
                  <a:cubicBezTo>
                    <a:pt x="3" y="24"/>
                    <a:pt x="5" y="23"/>
                    <a:pt x="6" y="22"/>
                  </a:cubicBezTo>
                  <a:cubicBezTo>
                    <a:pt x="7" y="21"/>
                    <a:pt x="8" y="19"/>
                    <a:pt x="9" y="18"/>
                  </a:cubicBezTo>
                  <a:cubicBezTo>
                    <a:pt x="12" y="16"/>
                    <a:pt x="15" y="15"/>
                    <a:pt x="17" y="12"/>
                  </a:cubicBezTo>
                  <a:cubicBezTo>
                    <a:pt x="20" y="10"/>
                    <a:pt x="23" y="9"/>
                    <a:pt x="25" y="6"/>
                  </a:cubicBezTo>
                  <a:cubicBezTo>
                    <a:pt x="26" y="6"/>
                    <a:pt x="27" y="0"/>
                    <a:pt x="26" y="0"/>
                  </a:cubicBezTo>
                  <a:cubicBezTo>
                    <a:pt x="25" y="0"/>
                    <a:pt x="24" y="1"/>
                    <a:pt x="24" y="1"/>
                  </a:cubicBezTo>
                  <a:cubicBezTo>
                    <a:pt x="22" y="2"/>
                    <a:pt x="21" y="3"/>
                    <a:pt x="20" y="4"/>
                  </a:cubicBezTo>
                  <a:cubicBezTo>
                    <a:pt x="17" y="7"/>
                    <a:pt x="14" y="10"/>
                    <a:pt x="11" y="13"/>
                  </a:cubicBezTo>
                  <a:cubicBezTo>
                    <a:pt x="9" y="15"/>
                    <a:pt x="6" y="17"/>
                    <a:pt x="4" y="19"/>
                  </a:cubicBezTo>
                  <a:cubicBezTo>
                    <a:pt x="3" y="20"/>
                    <a:pt x="1" y="21"/>
                    <a:pt x="1" y="23"/>
                  </a:cubicBezTo>
                  <a:cubicBezTo>
                    <a:pt x="0" y="24"/>
                    <a:pt x="1" y="25"/>
                    <a:pt x="2" y="24"/>
                  </a:cubicBezTo>
                  <a:cubicBezTo>
                    <a:pt x="2" y="24"/>
                    <a:pt x="2" y="24"/>
                    <a:pt x="2" y="24"/>
                  </a:cubicBezTo>
                  <a:cubicBezTo>
                    <a:pt x="3" y="24"/>
                    <a:pt x="2" y="24"/>
                    <a:pt x="2" y="24"/>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sp>
        <p:nvSpPr>
          <p:cNvPr id="104" name="Freeform 286">
            <a:extLst>
              <a:ext uri="{FF2B5EF4-FFF2-40B4-BE49-F238E27FC236}">
                <a16:creationId xmlns:a16="http://schemas.microsoft.com/office/drawing/2014/main" id="{D5DECAC9-A778-6F4B-9184-34918433D4E7}"/>
              </a:ext>
            </a:extLst>
          </p:cNvPr>
          <p:cNvSpPr/>
          <p:nvPr>
            <p:custDataLst>
              <p:tags r:id="rId61"/>
            </p:custDataLst>
          </p:nvPr>
        </p:nvSpPr>
        <p:spPr bwMode="auto">
          <a:xfrm>
            <a:off x="6530440" y="3553080"/>
            <a:ext cx="6006" cy="6006"/>
          </a:xfrm>
          <a:custGeom>
            <a:avLst/>
            <a:gdLst>
              <a:gd name="T0" fmla="*/ 4 w 5"/>
              <a:gd name="T1" fmla="*/ 4 h 5"/>
              <a:gd name="T2" fmla="*/ 3 w 5"/>
              <a:gd name="T3" fmla="*/ 0 h 5"/>
              <a:gd name="T4" fmla="*/ 1 w 5"/>
              <a:gd name="T5" fmla="*/ 2 h 5"/>
              <a:gd name="T6" fmla="*/ 3 w 5"/>
              <a:gd name="T7" fmla="*/ 4 h 5"/>
              <a:gd name="T8" fmla="*/ 4 w 5"/>
              <a:gd name="T9" fmla="*/ 3 h 5"/>
              <a:gd name="T10" fmla="*/ 4 w 5"/>
              <a:gd name="T11" fmla="*/ 4 h 5"/>
              <a:gd name="T12" fmla="*/ 4 w 5"/>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4" y="4"/>
                </a:moveTo>
                <a:cubicBezTo>
                  <a:pt x="4" y="2"/>
                  <a:pt x="5" y="1"/>
                  <a:pt x="3" y="0"/>
                </a:cubicBezTo>
                <a:cubicBezTo>
                  <a:pt x="2" y="0"/>
                  <a:pt x="0" y="0"/>
                  <a:pt x="1" y="2"/>
                </a:cubicBezTo>
                <a:cubicBezTo>
                  <a:pt x="1" y="3"/>
                  <a:pt x="2" y="4"/>
                  <a:pt x="3" y="4"/>
                </a:cubicBezTo>
                <a:cubicBezTo>
                  <a:pt x="4" y="5"/>
                  <a:pt x="4" y="4"/>
                  <a:pt x="4" y="3"/>
                </a:cubicBezTo>
                <a:cubicBezTo>
                  <a:pt x="4" y="3"/>
                  <a:pt x="4" y="3"/>
                  <a:pt x="4" y="4"/>
                </a:cubicBezTo>
                <a:cubicBezTo>
                  <a:pt x="4" y="3"/>
                  <a:pt x="4" y="4"/>
                  <a:pt x="4" y="4"/>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05" name="Freeform 287">
            <a:extLst>
              <a:ext uri="{FF2B5EF4-FFF2-40B4-BE49-F238E27FC236}">
                <a16:creationId xmlns:a16="http://schemas.microsoft.com/office/drawing/2014/main" id="{5E37DF47-8E9C-1620-08BB-3AD9388A9584}"/>
              </a:ext>
            </a:extLst>
          </p:cNvPr>
          <p:cNvSpPr/>
          <p:nvPr>
            <p:custDataLst>
              <p:tags r:id="rId62"/>
            </p:custDataLst>
          </p:nvPr>
        </p:nvSpPr>
        <p:spPr bwMode="auto">
          <a:xfrm>
            <a:off x="6515425" y="3549076"/>
            <a:ext cx="20022" cy="18019"/>
          </a:xfrm>
          <a:custGeom>
            <a:avLst/>
            <a:gdLst>
              <a:gd name="T0" fmla="*/ 12 w 17"/>
              <a:gd name="T1" fmla="*/ 8 h 16"/>
              <a:gd name="T2" fmla="*/ 2 w 17"/>
              <a:gd name="T3" fmla="*/ 1 h 16"/>
              <a:gd name="T4" fmla="*/ 1 w 17"/>
              <a:gd name="T5" fmla="*/ 1 h 16"/>
              <a:gd name="T6" fmla="*/ 0 w 17"/>
              <a:gd name="T7" fmla="*/ 3 h 16"/>
              <a:gd name="T8" fmla="*/ 6 w 17"/>
              <a:gd name="T9" fmla="*/ 6 h 16"/>
              <a:gd name="T10" fmla="*/ 10 w 17"/>
              <a:gd name="T11" fmla="*/ 11 h 16"/>
              <a:gd name="T12" fmla="*/ 15 w 17"/>
              <a:gd name="T13" fmla="*/ 15 h 16"/>
              <a:gd name="T14" fmla="*/ 15 w 17"/>
              <a:gd name="T15" fmla="*/ 12 h 16"/>
              <a:gd name="T16" fmla="*/ 11 w 17"/>
              <a:gd name="T17" fmla="*/ 8 h 16"/>
              <a:gd name="T18" fmla="*/ 12 w 17"/>
              <a:gd name="T19" fmla="*/ 8 h 16"/>
              <a:gd name="T20" fmla="*/ 12 w 17"/>
              <a:gd name="T21"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6">
                <a:moveTo>
                  <a:pt x="12" y="8"/>
                </a:moveTo>
                <a:cubicBezTo>
                  <a:pt x="9" y="5"/>
                  <a:pt x="6" y="3"/>
                  <a:pt x="2" y="1"/>
                </a:cubicBezTo>
                <a:cubicBezTo>
                  <a:pt x="2" y="1"/>
                  <a:pt x="1" y="0"/>
                  <a:pt x="1" y="1"/>
                </a:cubicBezTo>
                <a:cubicBezTo>
                  <a:pt x="0" y="1"/>
                  <a:pt x="0" y="3"/>
                  <a:pt x="0" y="3"/>
                </a:cubicBezTo>
                <a:cubicBezTo>
                  <a:pt x="2" y="5"/>
                  <a:pt x="4" y="5"/>
                  <a:pt x="6" y="6"/>
                </a:cubicBezTo>
                <a:cubicBezTo>
                  <a:pt x="7" y="8"/>
                  <a:pt x="9" y="9"/>
                  <a:pt x="10" y="11"/>
                </a:cubicBezTo>
                <a:cubicBezTo>
                  <a:pt x="11" y="12"/>
                  <a:pt x="13" y="16"/>
                  <a:pt x="15" y="15"/>
                </a:cubicBezTo>
                <a:cubicBezTo>
                  <a:pt x="16" y="14"/>
                  <a:pt x="17" y="13"/>
                  <a:pt x="15" y="12"/>
                </a:cubicBezTo>
                <a:cubicBezTo>
                  <a:pt x="13" y="11"/>
                  <a:pt x="12" y="9"/>
                  <a:pt x="11" y="8"/>
                </a:cubicBezTo>
                <a:cubicBezTo>
                  <a:pt x="11" y="8"/>
                  <a:pt x="11" y="8"/>
                  <a:pt x="12" y="8"/>
                </a:cubicBezTo>
                <a:cubicBezTo>
                  <a:pt x="10" y="6"/>
                  <a:pt x="12" y="8"/>
                  <a:pt x="12" y="8"/>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06" name="Freeform 290">
            <a:extLst>
              <a:ext uri="{FF2B5EF4-FFF2-40B4-BE49-F238E27FC236}">
                <a16:creationId xmlns:a16="http://schemas.microsoft.com/office/drawing/2014/main" id="{F51F7ACA-7F86-3C25-8968-95BF65E678F3}"/>
              </a:ext>
            </a:extLst>
          </p:cNvPr>
          <p:cNvSpPr/>
          <p:nvPr>
            <p:custDataLst>
              <p:tags r:id="rId63"/>
            </p:custDataLst>
          </p:nvPr>
        </p:nvSpPr>
        <p:spPr bwMode="auto">
          <a:xfrm>
            <a:off x="6596512" y="3616148"/>
            <a:ext cx="191208" cy="121132"/>
          </a:xfrm>
          <a:custGeom>
            <a:avLst/>
            <a:gdLst>
              <a:gd name="T0" fmla="*/ 21 w 164"/>
              <a:gd name="T1" fmla="*/ 96 h 103"/>
              <a:gd name="T2" fmla="*/ 15 w 164"/>
              <a:gd name="T3" fmla="*/ 91 h 103"/>
              <a:gd name="T4" fmla="*/ 1 w 164"/>
              <a:gd name="T5" fmla="*/ 87 h 103"/>
              <a:gd name="T6" fmla="*/ 9 w 164"/>
              <a:gd name="T7" fmla="*/ 99 h 103"/>
              <a:gd name="T8" fmla="*/ 23 w 164"/>
              <a:gd name="T9" fmla="*/ 101 h 103"/>
              <a:gd name="T10" fmla="*/ 39 w 164"/>
              <a:gd name="T11" fmla="*/ 101 h 103"/>
              <a:gd name="T12" fmla="*/ 49 w 164"/>
              <a:gd name="T13" fmla="*/ 93 h 103"/>
              <a:gd name="T14" fmla="*/ 63 w 164"/>
              <a:gd name="T15" fmla="*/ 96 h 103"/>
              <a:gd name="T16" fmla="*/ 78 w 164"/>
              <a:gd name="T17" fmla="*/ 94 h 103"/>
              <a:gd name="T18" fmla="*/ 85 w 164"/>
              <a:gd name="T19" fmla="*/ 90 h 103"/>
              <a:gd name="T20" fmla="*/ 88 w 164"/>
              <a:gd name="T21" fmla="*/ 80 h 103"/>
              <a:gd name="T22" fmla="*/ 93 w 164"/>
              <a:gd name="T23" fmla="*/ 69 h 103"/>
              <a:gd name="T24" fmla="*/ 99 w 164"/>
              <a:gd name="T25" fmla="*/ 64 h 103"/>
              <a:gd name="T26" fmla="*/ 101 w 164"/>
              <a:gd name="T27" fmla="*/ 48 h 103"/>
              <a:gd name="T28" fmla="*/ 125 w 164"/>
              <a:gd name="T29" fmla="*/ 45 h 103"/>
              <a:gd name="T30" fmla="*/ 139 w 164"/>
              <a:gd name="T31" fmla="*/ 44 h 103"/>
              <a:gd name="T32" fmla="*/ 146 w 164"/>
              <a:gd name="T33" fmla="*/ 45 h 103"/>
              <a:gd name="T34" fmla="*/ 152 w 164"/>
              <a:gd name="T35" fmla="*/ 42 h 103"/>
              <a:gd name="T36" fmla="*/ 147 w 164"/>
              <a:gd name="T37" fmla="*/ 36 h 103"/>
              <a:gd name="T38" fmla="*/ 150 w 164"/>
              <a:gd name="T39" fmla="*/ 35 h 103"/>
              <a:gd name="T40" fmla="*/ 154 w 164"/>
              <a:gd name="T41" fmla="*/ 35 h 103"/>
              <a:gd name="T42" fmla="*/ 162 w 164"/>
              <a:gd name="T43" fmla="*/ 29 h 103"/>
              <a:gd name="T44" fmla="*/ 152 w 164"/>
              <a:gd name="T45" fmla="*/ 25 h 103"/>
              <a:gd name="T46" fmla="*/ 143 w 164"/>
              <a:gd name="T47" fmla="*/ 25 h 103"/>
              <a:gd name="T48" fmla="*/ 143 w 164"/>
              <a:gd name="T49" fmla="*/ 18 h 103"/>
              <a:gd name="T50" fmla="*/ 139 w 164"/>
              <a:gd name="T51" fmla="*/ 18 h 103"/>
              <a:gd name="T52" fmla="*/ 134 w 164"/>
              <a:gd name="T53" fmla="*/ 20 h 103"/>
              <a:gd name="T54" fmla="*/ 135 w 164"/>
              <a:gd name="T55" fmla="*/ 14 h 103"/>
              <a:gd name="T56" fmla="*/ 137 w 164"/>
              <a:gd name="T57" fmla="*/ 10 h 103"/>
              <a:gd name="T58" fmla="*/ 133 w 164"/>
              <a:gd name="T59" fmla="*/ 7 h 103"/>
              <a:gd name="T60" fmla="*/ 127 w 164"/>
              <a:gd name="T61" fmla="*/ 2 h 103"/>
              <a:gd name="T62" fmla="*/ 122 w 164"/>
              <a:gd name="T63" fmla="*/ 7 h 103"/>
              <a:gd name="T64" fmla="*/ 120 w 164"/>
              <a:gd name="T65" fmla="*/ 3 h 103"/>
              <a:gd name="T66" fmla="*/ 119 w 164"/>
              <a:gd name="T67" fmla="*/ 6 h 103"/>
              <a:gd name="T68" fmla="*/ 114 w 164"/>
              <a:gd name="T69" fmla="*/ 12 h 103"/>
              <a:gd name="T70" fmla="*/ 109 w 164"/>
              <a:gd name="T71" fmla="*/ 17 h 103"/>
              <a:gd name="T72" fmla="*/ 107 w 164"/>
              <a:gd name="T73" fmla="*/ 24 h 103"/>
              <a:gd name="T74" fmla="*/ 100 w 164"/>
              <a:gd name="T75" fmla="*/ 26 h 103"/>
              <a:gd name="T76" fmla="*/ 97 w 164"/>
              <a:gd name="T77" fmla="*/ 35 h 103"/>
              <a:gd name="T78" fmla="*/ 89 w 164"/>
              <a:gd name="T79" fmla="*/ 46 h 103"/>
              <a:gd name="T80" fmla="*/ 81 w 164"/>
              <a:gd name="T81" fmla="*/ 48 h 103"/>
              <a:gd name="T82" fmla="*/ 71 w 164"/>
              <a:gd name="T83" fmla="*/ 48 h 103"/>
              <a:gd name="T84" fmla="*/ 54 w 164"/>
              <a:gd name="T85" fmla="*/ 67 h 103"/>
              <a:gd name="T86" fmla="*/ 43 w 164"/>
              <a:gd name="T87" fmla="*/ 69 h 103"/>
              <a:gd name="T88" fmla="*/ 33 w 164"/>
              <a:gd name="T89" fmla="*/ 74 h 103"/>
              <a:gd name="T90" fmla="*/ 31 w 164"/>
              <a:gd name="T91" fmla="*/ 79 h 103"/>
              <a:gd name="T92" fmla="*/ 30 w 164"/>
              <a:gd name="T93" fmla="*/ 82 h 103"/>
              <a:gd name="T94" fmla="*/ 28 w 164"/>
              <a:gd name="T95" fmla="*/ 92 h 103"/>
              <a:gd name="T96" fmla="*/ 28 w 164"/>
              <a:gd name="T97" fmla="*/ 97 h 103"/>
              <a:gd name="T98" fmla="*/ 25 w 164"/>
              <a:gd name="T99" fmla="*/ 9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4" h="103">
                <a:moveTo>
                  <a:pt x="25" y="97"/>
                </a:moveTo>
                <a:cubicBezTo>
                  <a:pt x="23" y="97"/>
                  <a:pt x="22" y="96"/>
                  <a:pt x="21" y="96"/>
                </a:cubicBezTo>
                <a:cubicBezTo>
                  <a:pt x="20" y="96"/>
                  <a:pt x="18" y="97"/>
                  <a:pt x="17" y="96"/>
                </a:cubicBezTo>
                <a:cubicBezTo>
                  <a:pt x="16" y="94"/>
                  <a:pt x="17" y="92"/>
                  <a:pt x="15" y="91"/>
                </a:cubicBezTo>
                <a:cubicBezTo>
                  <a:pt x="13" y="89"/>
                  <a:pt x="9" y="91"/>
                  <a:pt x="7" y="91"/>
                </a:cubicBezTo>
                <a:cubicBezTo>
                  <a:pt x="4" y="91"/>
                  <a:pt x="3" y="88"/>
                  <a:pt x="1" y="87"/>
                </a:cubicBezTo>
                <a:cubicBezTo>
                  <a:pt x="0" y="89"/>
                  <a:pt x="1" y="91"/>
                  <a:pt x="3" y="93"/>
                </a:cubicBezTo>
                <a:cubicBezTo>
                  <a:pt x="5" y="95"/>
                  <a:pt x="7" y="97"/>
                  <a:pt x="9" y="99"/>
                </a:cubicBezTo>
                <a:cubicBezTo>
                  <a:pt x="11" y="101"/>
                  <a:pt x="13" y="102"/>
                  <a:pt x="15" y="103"/>
                </a:cubicBezTo>
                <a:cubicBezTo>
                  <a:pt x="18" y="103"/>
                  <a:pt x="21" y="102"/>
                  <a:pt x="23" y="101"/>
                </a:cubicBezTo>
                <a:cubicBezTo>
                  <a:pt x="26" y="100"/>
                  <a:pt x="29" y="100"/>
                  <a:pt x="31" y="101"/>
                </a:cubicBezTo>
                <a:cubicBezTo>
                  <a:pt x="34" y="101"/>
                  <a:pt x="37" y="102"/>
                  <a:pt x="39" y="101"/>
                </a:cubicBezTo>
                <a:cubicBezTo>
                  <a:pt x="41" y="99"/>
                  <a:pt x="40" y="96"/>
                  <a:pt x="42" y="95"/>
                </a:cubicBezTo>
                <a:cubicBezTo>
                  <a:pt x="44" y="93"/>
                  <a:pt x="46" y="93"/>
                  <a:pt x="49" y="93"/>
                </a:cubicBezTo>
                <a:cubicBezTo>
                  <a:pt x="51" y="92"/>
                  <a:pt x="54" y="92"/>
                  <a:pt x="56" y="93"/>
                </a:cubicBezTo>
                <a:cubicBezTo>
                  <a:pt x="58" y="94"/>
                  <a:pt x="61" y="95"/>
                  <a:pt x="63" y="96"/>
                </a:cubicBezTo>
                <a:cubicBezTo>
                  <a:pt x="65" y="98"/>
                  <a:pt x="67" y="97"/>
                  <a:pt x="70" y="96"/>
                </a:cubicBezTo>
                <a:cubicBezTo>
                  <a:pt x="72" y="95"/>
                  <a:pt x="75" y="94"/>
                  <a:pt x="78" y="94"/>
                </a:cubicBezTo>
                <a:cubicBezTo>
                  <a:pt x="80" y="95"/>
                  <a:pt x="82" y="95"/>
                  <a:pt x="84" y="92"/>
                </a:cubicBezTo>
                <a:cubicBezTo>
                  <a:pt x="84" y="91"/>
                  <a:pt x="84" y="90"/>
                  <a:pt x="85" y="90"/>
                </a:cubicBezTo>
                <a:cubicBezTo>
                  <a:pt x="86" y="89"/>
                  <a:pt x="87" y="88"/>
                  <a:pt x="87" y="86"/>
                </a:cubicBezTo>
                <a:cubicBezTo>
                  <a:pt x="88" y="84"/>
                  <a:pt x="86" y="82"/>
                  <a:pt x="88" y="80"/>
                </a:cubicBezTo>
                <a:cubicBezTo>
                  <a:pt x="89" y="78"/>
                  <a:pt x="93" y="78"/>
                  <a:pt x="92" y="76"/>
                </a:cubicBezTo>
                <a:cubicBezTo>
                  <a:pt x="92" y="73"/>
                  <a:pt x="91" y="71"/>
                  <a:pt x="93" y="69"/>
                </a:cubicBezTo>
                <a:cubicBezTo>
                  <a:pt x="94" y="68"/>
                  <a:pt x="95" y="68"/>
                  <a:pt x="96" y="67"/>
                </a:cubicBezTo>
                <a:cubicBezTo>
                  <a:pt x="98" y="67"/>
                  <a:pt x="99" y="66"/>
                  <a:pt x="99" y="64"/>
                </a:cubicBezTo>
                <a:cubicBezTo>
                  <a:pt x="100" y="62"/>
                  <a:pt x="100" y="59"/>
                  <a:pt x="100" y="56"/>
                </a:cubicBezTo>
                <a:cubicBezTo>
                  <a:pt x="99" y="53"/>
                  <a:pt x="100" y="51"/>
                  <a:pt x="101" y="48"/>
                </a:cubicBezTo>
                <a:cubicBezTo>
                  <a:pt x="104" y="44"/>
                  <a:pt x="110" y="43"/>
                  <a:pt x="115" y="43"/>
                </a:cubicBezTo>
                <a:cubicBezTo>
                  <a:pt x="118" y="44"/>
                  <a:pt x="121" y="45"/>
                  <a:pt x="125" y="45"/>
                </a:cubicBezTo>
                <a:cubicBezTo>
                  <a:pt x="128" y="45"/>
                  <a:pt x="131" y="46"/>
                  <a:pt x="135" y="47"/>
                </a:cubicBezTo>
                <a:cubicBezTo>
                  <a:pt x="135" y="45"/>
                  <a:pt x="137" y="43"/>
                  <a:pt x="139" y="44"/>
                </a:cubicBezTo>
                <a:cubicBezTo>
                  <a:pt x="140" y="45"/>
                  <a:pt x="141" y="44"/>
                  <a:pt x="142" y="44"/>
                </a:cubicBezTo>
                <a:cubicBezTo>
                  <a:pt x="143" y="44"/>
                  <a:pt x="145" y="45"/>
                  <a:pt x="146" y="45"/>
                </a:cubicBezTo>
                <a:cubicBezTo>
                  <a:pt x="148" y="46"/>
                  <a:pt x="151" y="46"/>
                  <a:pt x="152" y="44"/>
                </a:cubicBezTo>
                <a:cubicBezTo>
                  <a:pt x="153" y="44"/>
                  <a:pt x="153" y="43"/>
                  <a:pt x="152" y="42"/>
                </a:cubicBezTo>
                <a:cubicBezTo>
                  <a:pt x="151" y="41"/>
                  <a:pt x="151" y="40"/>
                  <a:pt x="149" y="40"/>
                </a:cubicBezTo>
                <a:cubicBezTo>
                  <a:pt x="147" y="39"/>
                  <a:pt x="146" y="38"/>
                  <a:pt x="147" y="36"/>
                </a:cubicBezTo>
                <a:cubicBezTo>
                  <a:pt x="147" y="35"/>
                  <a:pt x="147" y="33"/>
                  <a:pt x="148" y="33"/>
                </a:cubicBezTo>
                <a:cubicBezTo>
                  <a:pt x="149" y="33"/>
                  <a:pt x="150" y="34"/>
                  <a:pt x="150" y="35"/>
                </a:cubicBezTo>
                <a:cubicBezTo>
                  <a:pt x="150" y="36"/>
                  <a:pt x="151" y="37"/>
                  <a:pt x="151" y="37"/>
                </a:cubicBezTo>
                <a:cubicBezTo>
                  <a:pt x="152" y="37"/>
                  <a:pt x="154" y="36"/>
                  <a:pt x="154" y="35"/>
                </a:cubicBezTo>
                <a:cubicBezTo>
                  <a:pt x="156" y="34"/>
                  <a:pt x="159" y="33"/>
                  <a:pt x="162" y="32"/>
                </a:cubicBezTo>
                <a:cubicBezTo>
                  <a:pt x="163" y="31"/>
                  <a:pt x="164" y="29"/>
                  <a:pt x="162" y="29"/>
                </a:cubicBezTo>
                <a:cubicBezTo>
                  <a:pt x="159" y="29"/>
                  <a:pt x="158" y="29"/>
                  <a:pt x="156" y="27"/>
                </a:cubicBezTo>
                <a:cubicBezTo>
                  <a:pt x="154" y="25"/>
                  <a:pt x="154" y="24"/>
                  <a:pt x="152" y="25"/>
                </a:cubicBezTo>
                <a:cubicBezTo>
                  <a:pt x="149" y="26"/>
                  <a:pt x="149" y="24"/>
                  <a:pt x="148" y="22"/>
                </a:cubicBezTo>
                <a:cubicBezTo>
                  <a:pt x="146" y="21"/>
                  <a:pt x="145" y="24"/>
                  <a:pt x="143" y="25"/>
                </a:cubicBezTo>
                <a:cubicBezTo>
                  <a:pt x="142" y="25"/>
                  <a:pt x="141" y="23"/>
                  <a:pt x="140" y="22"/>
                </a:cubicBezTo>
                <a:cubicBezTo>
                  <a:pt x="140" y="20"/>
                  <a:pt x="143" y="20"/>
                  <a:pt x="143" y="18"/>
                </a:cubicBezTo>
                <a:cubicBezTo>
                  <a:pt x="143" y="17"/>
                  <a:pt x="142" y="17"/>
                  <a:pt x="141" y="17"/>
                </a:cubicBezTo>
                <a:cubicBezTo>
                  <a:pt x="140" y="17"/>
                  <a:pt x="139" y="17"/>
                  <a:pt x="139" y="18"/>
                </a:cubicBezTo>
                <a:cubicBezTo>
                  <a:pt x="138" y="19"/>
                  <a:pt x="138" y="20"/>
                  <a:pt x="137" y="21"/>
                </a:cubicBezTo>
                <a:cubicBezTo>
                  <a:pt x="136" y="22"/>
                  <a:pt x="135" y="20"/>
                  <a:pt x="134" y="20"/>
                </a:cubicBezTo>
                <a:cubicBezTo>
                  <a:pt x="132" y="20"/>
                  <a:pt x="136" y="17"/>
                  <a:pt x="136" y="17"/>
                </a:cubicBezTo>
                <a:cubicBezTo>
                  <a:pt x="136" y="16"/>
                  <a:pt x="135" y="15"/>
                  <a:pt x="135" y="14"/>
                </a:cubicBezTo>
                <a:cubicBezTo>
                  <a:pt x="135" y="13"/>
                  <a:pt x="136" y="13"/>
                  <a:pt x="137" y="12"/>
                </a:cubicBezTo>
                <a:cubicBezTo>
                  <a:pt x="137" y="11"/>
                  <a:pt x="137" y="11"/>
                  <a:pt x="137" y="10"/>
                </a:cubicBezTo>
                <a:cubicBezTo>
                  <a:pt x="137" y="9"/>
                  <a:pt x="136" y="10"/>
                  <a:pt x="135" y="9"/>
                </a:cubicBezTo>
                <a:cubicBezTo>
                  <a:pt x="134" y="9"/>
                  <a:pt x="134" y="8"/>
                  <a:pt x="133" y="7"/>
                </a:cubicBezTo>
                <a:cubicBezTo>
                  <a:pt x="132" y="6"/>
                  <a:pt x="132" y="6"/>
                  <a:pt x="130" y="6"/>
                </a:cubicBezTo>
                <a:cubicBezTo>
                  <a:pt x="128" y="7"/>
                  <a:pt x="128" y="3"/>
                  <a:pt x="127" y="2"/>
                </a:cubicBezTo>
                <a:cubicBezTo>
                  <a:pt x="127" y="0"/>
                  <a:pt x="126" y="3"/>
                  <a:pt x="125" y="4"/>
                </a:cubicBezTo>
                <a:cubicBezTo>
                  <a:pt x="125" y="5"/>
                  <a:pt x="123" y="8"/>
                  <a:pt x="122" y="7"/>
                </a:cubicBezTo>
                <a:cubicBezTo>
                  <a:pt x="121" y="6"/>
                  <a:pt x="122" y="4"/>
                  <a:pt x="122" y="3"/>
                </a:cubicBezTo>
                <a:cubicBezTo>
                  <a:pt x="122" y="2"/>
                  <a:pt x="121" y="2"/>
                  <a:pt x="120" y="3"/>
                </a:cubicBezTo>
                <a:cubicBezTo>
                  <a:pt x="120" y="3"/>
                  <a:pt x="120" y="4"/>
                  <a:pt x="120" y="4"/>
                </a:cubicBezTo>
                <a:cubicBezTo>
                  <a:pt x="119" y="5"/>
                  <a:pt x="119" y="6"/>
                  <a:pt x="119" y="6"/>
                </a:cubicBezTo>
                <a:cubicBezTo>
                  <a:pt x="118" y="7"/>
                  <a:pt x="117" y="7"/>
                  <a:pt x="116" y="9"/>
                </a:cubicBezTo>
                <a:cubicBezTo>
                  <a:pt x="116" y="10"/>
                  <a:pt x="115" y="11"/>
                  <a:pt x="114" y="12"/>
                </a:cubicBezTo>
                <a:cubicBezTo>
                  <a:pt x="114" y="13"/>
                  <a:pt x="113" y="13"/>
                  <a:pt x="112" y="14"/>
                </a:cubicBezTo>
                <a:cubicBezTo>
                  <a:pt x="111" y="15"/>
                  <a:pt x="110" y="16"/>
                  <a:pt x="109" y="17"/>
                </a:cubicBezTo>
                <a:cubicBezTo>
                  <a:pt x="109" y="18"/>
                  <a:pt x="108" y="19"/>
                  <a:pt x="107" y="20"/>
                </a:cubicBezTo>
                <a:cubicBezTo>
                  <a:pt x="107" y="21"/>
                  <a:pt x="107" y="23"/>
                  <a:pt x="107" y="24"/>
                </a:cubicBezTo>
                <a:cubicBezTo>
                  <a:pt x="107" y="25"/>
                  <a:pt x="106" y="26"/>
                  <a:pt x="105" y="26"/>
                </a:cubicBezTo>
                <a:cubicBezTo>
                  <a:pt x="104" y="27"/>
                  <a:pt x="102" y="25"/>
                  <a:pt x="100" y="26"/>
                </a:cubicBezTo>
                <a:cubicBezTo>
                  <a:pt x="98" y="28"/>
                  <a:pt x="99" y="29"/>
                  <a:pt x="99" y="31"/>
                </a:cubicBezTo>
                <a:cubicBezTo>
                  <a:pt x="100" y="33"/>
                  <a:pt x="99" y="36"/>
                  <a:pt x="97" y="35"/>
                </a:cubicBezTo>
                <a:cubicBezTo>
                  <a:pt x="98" y="38"/>
                  <a:pt x="99" y="46"/>
                  <a:pt x="94" y="46"/>
                </a:cubicBezTo>
                <a:cubicBezTo>
                  <a:pt x="93" y="46"/>
                  <a:pt x="89" y="44"/>
                  <a:pt x="89" y="46"/>
                </a:cubicBezTo>
                <a:cubicBezTo>
                  <a:pt x="89" y="48"/>
                  <a:pt x="89" y="50"/>
                  <a:pt x="87" y="51"/>
                </a:cubicBezTo>
                <a:cubicBezTo>
                  <a:pt x="85" y="51"/>
                  <a:pt x="82" y="50"/>
                  <a:pt x="81" y="48"/>
                </a:cubicBezTo>
                <a:cubicBezTo>
                  <a:pt x="80" y="48"/>
                  <a:pt x="76" y="42"/>
                  <a:pt x="76" y="43"/>
                </a:cubicBezTo>
                <a:cubicBezTo>
                  <a:pt x="74" y="43"/>
                  <a:pt x="72" y="46"/>
                  <a:pt x="71" y="48"/>
                </a:cubicBezTo>
                <a:cubicBezTo>
                  <a:pt x="69" y="50"/>
                  <a:pt x="67" y="52"/>
                  <a:pt x="65" y="55"/>
                </a:cubicBezTo>
                <a:cubicBezTo>
                  <a:pt x="62" y="60"/>
                  <a:pt x="59" y="65"/>
                  <a:pt x="54" y="67"/>
                </a:cubicBezTo>
                <a:cubicBezTo>
                  <a:pt x="52" y="68"/>
                  <a:pt x="49" y="69"/>
                  <a:pt x="47" y="69"/>
                </a:cubicBezTo>
                <a:cubicBezTo>
                  <a:pt x="45" y="69"/>
                  <a:pt x="44" y="69"/>
                  <a:pt x="43" y="69"/>
                </a:cubicBezTo>
                <a:cubicBezTo>
                  <a:pt x="41" y="70"/>
                  <a:pt x="41" y="71"/>
                  <a:pt x="39" y="71"/>
                </a:cubicBezTo>
                <a:cubicBezTo>
                  <a:pt x="37" y="72"/>
                  <a:pt x="34" y="72"/>
                  <a:pt x="33" y="74"/>
                </a:cubicBezTo>
                <a:cubicBezTo>
                  <a:pt x="32" y="75"/>
                  <a:pt x="33" y="76"/>
                  <a:pt x="32" y="77"/>
                </a:cubicBezTo>
                <a:cubicBezTo>
                  <a:pt x="32" y="78"/>
                  <a:pt x="32" y="79"/>
                  <a:pt x="31" y="79"/>
                </a:cubicBezTo>
                <a:cubicBezTo>
                  <a:pt x="30" y="80"/>
                  <a:pt x="29" y="78"/>
                  <a:pt x="29" y="79"/>
                </a:cubicBezTo>
                <a:cubicBezTo>
                  <a:pt x="28" y="80"/>
                  <a:pt x="29" y="81"/>
                  <a:pt x="30" y="82"/>
                </a:cubicBezTo>
                <a:cubicBezTo>
                  <a:pt x="31" y="85"/>
                  <a:pt x="27" y="86"/>
                  <a:pt x="26" y="88"/>
                </a:cubicBezTo>
                <a:cubicBezTo>
                  <a:pt x="26" y="90"/>
                  <a:pt x="28" y="90"/>
                  <a:pt x="28" y="92"/>
                </a:cubicBezTo>
                <a:cubicBezTo>
                  <a:pt x="29" y="92"/>
                  <a:pt x="26" y="93"/>
                  <a:pt x="26" y="94"/>
                </a:cubicBezTo>
                <a:cubicBezTo>
                  <a:pt x="26" y="95"/>
                  <a:pt x="30" y="96"/>
                  <a:pt x="28" y="97"/>
                </a:cubicBezTo>
                <a:cubicBezTo>
                  <a:pt x="27" y="98"/>
                  <a:pt x="25" y="97"/>
                  <a:pt x="24" y="97"/>
                </a:cubicBezTo>
                <a:cubicBezTo>
                  <a:pt x="24" y="97"/>
                  <a:pt x="25" y="97"/>
                  <a:pt x="25" y="97"/>
                </a:cubicBezTo>
                <a:cubicBezTo>
                  <a:pt x="24" y="97"/>
                  <a:pt x="25" y="97"/>
                  <a:pt x="25" y="97"/>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07" name="Freeform 291">
            <a:extLst>
              <a:ext uri="{FF2B5EF4-FFF2-40B4-BE49-F238E27FC236}">
                <a16:creationId xmlns:a16="http://schemas.microsoft.com/office/drawing/2014/main" id="{1B01A714-0CF8-A84F-2EB2-57CE3335D282}"/>
              </a:ext>
            </a:extLst>
          </p:cNvPr>
          <p:cNvSpPr/>
          <p:nvPr>
            <p:custDataLst>
              <p:tags r:id="rId64"/>
            </p:custDataLst>
          </p:nvPr>
        </p:nvSpPr>
        <p:spPr bwMode="auto">
          <a:xfrm>
            <a:off x="6575490" y="3349858"/>
            <a:ext cx="49053" cy="42046"/>
          </a:xfrm>
          <a:custGeom>
            <a:avLst/>
            <a:gdLst>
              <a:gd name="T0" fmla="*/ 2 w 42"/>
              <a:gd name="T1" fmla="*/ 28 h 36"/>
              <a:gd name="T2" fmla="*/ 9 w 42"/>
              <a:gd name="T3" fmla="*/ 31 h 36"/>
              <a:gd name="T4" fmla="*/ 15 w 42"/>
              <a:gd name="T5" fmla="*/ 34 h 36"/>
              <a:gd name="T6" fmla="*/ 19 w 42"/>
              <a:gd name="T7" fmla="*/ 34 h 36"/>
              <a:gd name="T8" fmla="*/ 21 w 42"/>
              <a:gd name="T9" fmla="*/ 30 h 36"/>
              <a:gd name="T10" fmla="*/ 24 w 42"/>
              <a:gd name="T11" fmla="*/ 30 h 36"/>
              <a:gd name="T12" fmla="*/ 28 w 42"/>
              <a:gd name="T13" fmla="*/ 28 h 36"/>
              <a:gd name="T14" fmla="*/ 30 w 42"/>
              <a:gd name="T15" fmla="*/ 25 h 36"/>
              <a:gd name="T16" fmla="*/ 33 w 42"/>
              <a:gd name="T17" fmla="*/ 23 h 36"/>
              <a:gd name="T18" fmla="*/ 34 w 42"/>
              <a:gd name="T19" fmla="*/ 18 h 36"/>
              <a:gd name="T20" fmla="*/ 35 w 42"/>
              <a:gd name="T21" fmla="*/ 12 h 36"/>
              <a:gd name="T22" fmla="*/ 37 w 42"/>
              <a:gd name="T23" fmla="*/ 10 h 36"/>
              <a:gd name="T24" fmla="*/ 40 w 42"/>
              <a:gd name="T25" fmla="*/ 10 h 36"/>
              <a:gd name="T26" fmla="*/ 41 w 42"/>
              <a:gd name="T27" fmla="*/ 4 h 36"/>
              <a:gd name="T28" fmla="*/ 37 w 42"/>
              <a:gd name="T29" fmla="*/ 1 h 36"/>
              <a:gd name="T30" fmla="*/ 35 w 42"/>
              <a:gd name="T31" fmla="*/ 3 h 36"/>
              <a:gd name="T32" fmla="*/ 32 w 42"/>
              <a:gd name="T33" fmla="*/ 4 h 36"/>
              <a:gd name="T34" fmla="*/ 26 w 42"/>
              <a:gd name="T35" fmla="*/ 3 h 36"/>
              <a:gd name="T36" fmla="*/ 20 w 42"/>
              <a:gd name="T37" fmla="*/ 3 h 36"/>
              <a:gd name="T38" fmla="*/ 17 w 42"/>
              <a:gd name="T39" fmla="*/ 5 h 36"/>
              <a:gd name="T40" fmla="*/ 14 w 42"/>
              <a:gd name="T41" fmla="*/ 4 h 36"/>
              <a:gd name="T42" fmla="*/ 11 w 42"/>
              <a:gd name="T43" fmla="*/ 10 h 36"/>
              <a:gd name="T44" fmla="*/ 4 w 42"/>
              <a:gd name="T45" fmla="*/ 12 h 36"/>
              <a:gd name="T46" fmla="*/ 1 w 42"/>
              <a:gd name="T47" fmla="*/ 18 h 36"/>
              <a:gd name="T48" fmla="*/ 1 w 42"/>
              <a:gd name="T49" fmla="*/ 25 h 36"/>
              <a:gd name="T50" fmla="*/ 3 w 42"/>
              <a:gd name="T51" fmla="*/ 29 h 36"/>
              <a:gd name="T52" fmla="*/ 2 w 42"/>
              <a:gd name="T53" fmla="*/ 28 h 36"/>
              <a:gd name="T54" fmla="*/ 2 w 42"/>
              <a:gd name="T55"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36">
                <a:moveTo>
                  <a:pt x="2" y="28"/>
                </a:moveTo>
                <a:cubicBezTo>
                  <a:pt x="4" y="30"/>
                  <a:pt x="6" y="31"/>
                  <a:pt x="9" y="31"/>
                </a:cubicBezTo>
                <a:cubicBezTo>
                  <a:pt x="11" y="31"/>
                  <a:pt x="13" y="32"/>
                  <a:pt x="15" y="34"/>
                </a:cubicBezTo>
                <a:cubicBezTo>
                  <a:pt x="16" y="35"/>
                  <a:pt x="18" y="36"/>
                  <a:pt x="19" y="34"/>
                </a:cubicBezTo>
                <a:cubicBezTo>
                  <a:pt x="20" y="33"/>
                  <a:pt x="20" y="31"/>
                  <a:pt x="21" y="30"/>
                </a:cubicBezTo>
                <a:cubicBezTo>
                  <a:pt x="22" y="30"/>
                  <a:pt x="23" y="30"/>
                  <a:pt x="24" y="30"/>
                </a:cubicBezTo>
                <a:cubicBezTo>
                  <a:pt x="26" y="29"/>
                  <a:pt x="27" y="29"/>
                  <a:pt x="28" y="28"/>
                </a:cubicBezTo>
                <a:cubicBezTo>
                  <a:pt x="28" y="27"/>
                  <a:pt x="29" y="26"/>
                  <a:pt x="30" y="25"/>
                </a:cubicBezTo>
                <a:cubicBezTo>
                  <a:pt x="31" y="24"/>
                  <a:pt x="32" y="24"/>
                  <a:pt x="33" y="23"/>
                </a:cubicBezTo>
                <a:cubicBezTo>
                  <a:pt x="35" y="22"/>
                  <a:pt x="34" y="20"/>
                  <a:pt x="34" y="18"/>
                </a:cubicBezTo>
                <a:cubicBezTo>
                  <a:pt x="33" y="16"/>
                  <a:pt x="33" y="14"/>
                  <a:pt x="35" y="12"/>
                </a:cubicBezTo>
                <a:cubicBezTo>
                  <a:pt x="35" y="11"/>
                  <a:pt x="36" y="10"/>
                  <a:pt x="37" y="10"/>
                </a:cubicBezTo>
                <a:cubicBezTo>
                  <a:pt x="38" y="10"/>
                  <a:pt x="40" y="11"/>
                  <a:pt x="40" y="10"/>
                </a:cubicBezTo>
                <a:cubicBezTo>
                  <a:pt x="41" y="8"/>
                  <a:pt x="42" y="5"/>
                  <a:pt x="41" y="4"/>
                </a:cubicBezTo>
                <a:cubicBezTo>
                  <a:pt x="40" y="3"/>
                  <a:pt x="38" y="0"/>
                  <a:pt x="37" y="1"/>
                </a:cubicBezTo>
                <a:cubicBezTo>
                  <a:pt x="36" y="1"/>
                  <a:pt x="36" y="2"/>
                  <a:pt x="35" y="3"/>
                </a:cubicBezTo>
                <a:cubicBezTo>
                  <a:pt x="35" y="4"/>
                  <a:pt x="33" y="4"/>
                  <a:pt x="32" y="4"/>
                </a:cubicBezTo>
                <a:cubicBezTo>
                  <a:pt x="30" y="3"/>
                  <a:pt x="28" y="1"/>
                  <a:pt x="26" y="3"/>
                </a:cubicBezTo>
                <a:cubicBezTo>
                  <a:pt x="23" y="6"/>
                  <a:pt x="22" y="1"/>
                  <a:pt x="20" y="3"/>
                </a:cubicBezTo>
                <a:cubicBezTo>
                  <a:pt x="19" y="3"/>
                  <a:pt x="18" y="5"/>
                  <a:pt x="17" y="5"/>
                </a:cubicBezTo>
                <a:cubicBezTo>
                  <a:pt x="16" y="5"/>
                  <a:pt x="15" y="4"/>
                  <a:pt x="14" y="4"/>
                </a:cubicBezTo>
                <a:cubicBezTo>
                  <a:pt x="11" y="4"/>
                  <a:pt x="13" y="9"/>
                  <a:pt x="11" y="10"/>
                </a:cubicBezTo>
                <a:cubicBezTo>
                  <a:pt x="9" y="11"/>
                  <a:pt x="6" y="11"/>
                  <a:pt x="4" y="12"/>
                </a:cubicBezTo>
                <a:cubicBezTo>
                  <a:pt x="2" y="13"/>
                  <a:pt x="1" y="15"/>
                  <a:pt x="1" y="18"/>
                </a:cubicBezTo>
                <a:cubicBezTo>
                  <a:pt x="2" y="20"/>
                  <a:pt x="1" y="22"/>
                  <a:pt x="1" y="25"/>
                </a:cubicBezTo>
                <a:cubicBezTo>
                  <a:pt x="0" y="27"/>
                  <a:pt x="1" y="28"/>
                  <a:pt x="3" y="29"/>
                </a:cubicBezTo>
                <a:cubicBezTo>
                  <a:pt x="2" y="29"/>
                  <a:pt x="2" y="28"/>
                  <a:pt x="2" y="28"/>
                </a:cubicBezTo>
                <a:cubicBezTo>
                  <a:pt x="3" y="29"/>
                  <a:pt x="2" y="28"/>
                  <a:pt x="2" y="28"/>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08" name="Freeform 308">
            <a:extLst>
              <a:ext uri="{FF2B5EF4-FFF2-40B4-BE49-F238E27FC236}">
                <a16:creationId xmlns:a16="http://schemas.microsoft.com/office/drawing/2014/main" id="{590C43AE-EE8A-241B-9269-619F0A04395A}"/>
              </a:ext>
            </a:extLst>
          </p:cNvPr>
          <p:cNvSpPr/>
          <p:nvPr>
            <p:custDataLst>
              <p:tags r:id="rId65"/>
            </p:custDataLst>
          </p:nvPr>
        </p:nvSpPr>
        <p:spPr bwMode="auto">
          <a:xfrm>
            <a:off x="4707459" y="2527965"/>
            <a:ext cx="8009" cy="7008"/>
          </a:xfrm>
          <a:custGeom>
            <a:avLst/>
            <a:gdLst>
              <a:gd name="T0" fmla="*/ 4 w 7"/>
              <a:gd name="T1" fmla="*/ 5 h 6"/>
              <a:gd name="T2" fmla="*/ 5 w 7"/>
              <a:gd name="T3" fmla="*/ 3 h 6"/>
              <a:gd name="T4" fmla="*/ 3 w 7"/>
              <a:gd name="T5" fmla="*/ 2 h 6"/>
              <a:gd name="T6" fmla="*/ 1 w 7"/>
              <a:gd name="T7" fmla="*/ 0 h 6"/>
              <a:gd name="T8" fmla="*/ 0 w 7"/>
              <a:gd name="T9" fmla="*/ 3 h 6"/>
              <a:gd name="T10" fmla="*/ 4 w 7"/>
              <a:gd name="T11" fmla="*/ 5 h 6"/>
              <a:gd name="T12" fmla="*/ 4 w 7"/>
              <a:gd name="T13" fmla="*/ 5 h 6"/>
              <a:gd name="T14" fmla="*/ 4 w 7"/>
              <a:gd name="T15" fmla="*/ 5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4" y="5"/>
                </a:moveTo>
                <a:cubicBezTo>
                  <a:pt x="5" y="5"/>
                  <a:pt x="7" y="3"/>
                  <a:pt x="5" y="3"/>
                </a:cubicBezTo>
                <a:cubicBezTo>
                  <a:pt x="4" y="2"/>
                  <a:pt x="3" y="2"/>
                  <a:pt x="3" y="2"/>
                </a:cubicBezTo>
                <a:cubicBezTo>
                  <a:pt x="3" y="1"/>
                  <a:pt x="2" y="0"/>
                  <a:pt x="1" y="0"/>
                </a:cubicBezTo>
                <a:cubicBezTo>
                  <a:pt x="0" y="1"/>
                  <a:pt x="0" y="3"/>
                  <a:pt x="0" y="3"/>
                </a:cubicBezTo>
                <a:cubicBezTo>
                  <a:pt x="1" y="5"/>
                  <a:pt x="3" y="6"/>
                  <a:pt x="4" y="5"/>
                </a:cubicBezTo>
                <a:cubicBezTo>
                  <a:pt x="4" y="5"/>
                  <a:pt x="4" y="5"/>
                  <a:pt x="4" y="5"/>
                </a:cubicBezTo>
                <a:cubicBezTo>
                  <a:pt x="5" y="5"/>
                  <a:pt x="4" y="5"/>
                  <a:pt x="4" y="5"/>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09" name="Freeform 309">
            <a:extLst>
              <a:ext uri="{FF2B5EF4-FFF2-40B4-BE49-F238E27FC236}">
                <a16:creationId xmlns:a16="http://schemas.microsoft.com/office/drawing/2014/main" id="{BAD26F04-15E3-27A8-3575-15D683774D68}"/>
              </a:ext>
            </a:extLst>
          </p:cNvPr>
          <p:cNvSpPr>
            <a:spLocks noEditPoints="1"/>
          </p:cNvSpPr>
          <p:nvPr>
            <p:custDataLst>
              <p:tags r:id="rId66"/>
            </p:custDataLst>
          </p:nvPr>
        </p:nvSpPr>
        <p:spPr bwMode="auto">
          <a:xfrm>
            <a:off x="7488482" y="3822373"/>
            <a:ext cx="156169" cy="171186"/>
          </a:xfrm>
          <a:custGeom>
            <a:avLst/>
            <a:gdLst>
              <a:gd name="T0" fmla="*/ 4 w 133"/>
              <a:gd name="T1" fmla="*/ 2 h 147"/>
              <a:gd name="T2" fmla="*/ 127 w 133"/>
              <a:gd name="T3" fmla="*/ 122 h 147"/>
              <a:gd name="T4" fmla="*/ 118 w 133"/>
              <a:gd name="T5" fmla="*/ 122 h 147"/>
              <a:gd name="T6" fmla="*/ 132 w 133"/>
              <a:gd name="T7" fmla="*/ 128 h 147"/>
              <a:gd name="T8" fmla="*/ 127 w 133"/>
              <a:gd name="T9" fmla="*/ 122 h 147"/>
              <a:gd name="T10" fmla="*/ 125 w 133"/>
              <a:gd name="T11" fmla="*/ 109 h 147"/>
              <a:gd name="T12" fmla="*/ 126 w 133"/>
              <a:gd name="T13" fmla="*/ 111 h 147"/>
              <a:gd name="T14" fmla="*/ 111 w 133"/>
              <a:gd name="T15" fmla="*/ 95 h 147"/>
              <a:gd name="T16" fmla="*/ 106 w 133"/>
              <a:gd name="T17" fmla="*/ 86 h 147"/>
              <a:gd name="T18" fmla="*/ 106 w 133"/>
              <a:gd name="T19" fmla="*/ 97 h 147"/>
              <a:gd name="T20" fmla="*/ 113 w 133"/>
              <a:gd name="T21" fmla="*/ 106 h 147"/>
              <a:gd name="T22" fmla="*/ 116 w 133"/>
              <a:gd name="T23" fmla="*/ 105 h 147"/>
              <a:gd name="T24" fmla="*/ 99 w 133"/>
              <a:gd name="T25" fmla="*/ 100 h 147"/>
              <a:gd name="T26" fmla="*/ 98 w 133"/>
              <a:gd name="T27" fmla="*/ 99 h 147"/>
              <a:gd name="T28" fmla="*/ 77 w 133"/>
              <a:gd name="T29" fmla="*/ 98 h 147"/>
              <a:gd name="T30" fmla="*/ 77 w 133"/>
              <a:gd name="T31" fmla="*/ 98 h 147"/>
              <a:gd name="T32" fmla="*/ 101 w 133"/>
              <a:gd name="T33" fmla="*/ 107 h 147"/>
              <a:gd name="T34" fmla="*/ 89 w 133"/>
              <a:gd name="T35" fmla="*/ 103 h 147"/>
              <a:gd name="T36" fmla="*/ 92 w 133"/>
              <a:gd name="T37" fmla="*/ 111 h 147"/>
              <a:gd name="T38" fmla="*/ 104 w 133"/>
              <a:gd name="T39" fmla="*/ 113 h 147"/>
              <a:gd name="T40" fmla="*/ 101 w 133"/>
              <a:gd name="T41" fmla="*/ 107 h 147"/>
              <a:gd name="T42" fmla="*/ 96 w 133"/>
              <a:gd name="T43" fmla="*/ 141 h 147"/>
              <a:gd name="T44" fmla="*/ 101 w 133"/>
              <a:gd name="T45" fmla="*/ 146 h 147"/>
              <a:gd name="T46" fmla="*/ 99 w 133"/>
              <a:gd name="T47" fmla="*/ 143 h 147"/>
              <a:gd name="T48" fmla="*/ 89 w 133"/>
              <a:gd name="T49" fmla="*/ 85 h 147"/>
              <a:gd name="T50" fmla="*/ 71 w 133"/>
              <a:gd name="T51" fmla="*/ 73 h 147"/>
              <a:gd name="T52" fmla="*/ 69 w 133"/>
              <a:gd name="T53" fmla="*/ 75 h 147"/>
              <a:gd name="T54" fmla="*/ 79 w 133"/>
              <a:gd name="T55" fmla="*/ 82 h 147"/>
              <a:gd name="T56" fmla="*/ 91 w 133"/>
              <a:gd name="T57" fmla="*/ 89 h 147"/>
              <a:gd name="T58" fmla="*/ 58 w 133"/>
              <a:gd name="T59" fmla="*/ 89 h 147"/>
              <a:gd name="T60" fmla="*/ 58 w 133"/>
              <a:gd name="T61" fmla="*/ 89 h 147"/>
              <a:gd name="T62" fmla="*/ 46 w 133"/>
              <a:gd name="T63" fmla="*/ 68 h 147"/>
              <a:gd name="T64" fmla="*/ 42 w 133"/>
              <a:gd name="T65" fmla="*/ 62 h 147"/>
              <a:gd name="T66" fmla="*/ 35 w 133"/>
              <a:gd name="T67" fmla="*/ 60 h 147"/>
              <a:gd name="T68" fmla="*/ 42 w 133"/>
              <a:gd name="T69" fmla="*/ 68 h 147"/>
              <a:gd name="T70" fmla="*/ 46 w 133"/>
              <a:gd name="T71" fmla="*/ 68 h 147"/>
              <a:gd name="T72" fmla="*/ 38 w 133"/>
              <a:gd name="T73" fmla="*/ 76 h 147"/>
              <a:gd name="T74" fmla="*/ 35 w 133"/>
              <a:gd name="T75" fmla="*/ 74 h 147"/>
              <a:gd name="T76" fmla="*/ 35 w 133"/>
              <a:gd name="T77" fmla="*/ 83 h 147"/>
              <a:gd name="T78" fmla="*/ 33 w 133"/>
              <a:gd name="T79" fmla="*/ 80 h 147"/>
              <a:gd name="T80" fmla="*/ 45 w 133"/>
              <a:gd name="T81" fmla="*/ 89 h 147"/>
              <a:gd name="T82" fmla="*/ 48 w 133"/>
              <a:gd name="T83" fmla="*/ 89 h 147"/>
              <a:gd name="T84" fmla="*/ 42 w 133"/>
              <a:gd name="T85" fmla="*/ 79 h 147"/>
              <a:gd name="T86" fmla="*/ 42 w 133"/>
              <a:gd name="T87" fmla="*/ 79 h 147"/>
              <a:gd name="T88" fmla="*/ 55 w 133"/>
              <a:gd name="T89" fmla="*/ 84 h 147"/>
              <a:gd name="T90" fmla="*/ 52 w 133"/>
              <a:gd name="T91" fmla="*/ 85 h 147"/>
              <a:gd name="T92" fmla="*/ 54 w 133"/>
              <a:gd name="T93" fmla="*/ 84 h 147"/>
              <a:gd name="T94" fmla="*/ 0 w 133"/>
              <a:gd name="T95" fmla="*/ 29 h 147"/>
              <a:gd name="T96" fmla="*/ 2 w 133"/>
              <a:gd name="T97" fmla="*/ 29 h 147"/>
              <a:gd name="T98" fmla="*/ 0 w 133"/>
              <a:gd name="T99" fmla="*/ 29 h 147"/>
              <a:gd name="T100" fmla="*/ 13 w 133"/>
              <a:gd name="T101" fmla="*/ 45 h 147"/>
              <a:gd name="T102" fmla="*/ 5 w 133"/>
              <a:gd name="T103" fmla="*/ 37 h 147"/>
              <a:gd name="T104" fmla="*/ 9 w 133"/>
              <a:gd name="T105" fmla="*/ 53 h 147"/>
              <a:gd name="T106" fmla="*/ 18 w 133"/>
              <a:gd name="T107" fmla="*/ 60 h 147"/>
              <a:gd name="T108" fmla="*/ 20 w 133"/>
              <a:gd name="T109" fmla="*/ 5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47">
                <a:moveTo>
                  <a:pt x="4" y="3"/>
                </a:moveTo>
                <a:cubicBezTo>
                  <a:pt x="4" y="1"/>
                  <a:pt x="3" y="0"/>
                  <a:pt x="2" y="2"/>
                </a:cubicBezTo>
                <a:cubicBezTo>
                  <a:pt x="2" y="3"/>
                  <a:pt x="3" y="4"/>
                  <a:pt x="4" y="2"/>
                </a:cubicBezTo>
                <a:cubicBezTo>
                  <a:pt x="4" y="2"/>
                  <a:pt x="4" y="2"/>
                  <a:pt x="4" y="3"/>
                </a:cubicBezTo>
                <a:cubicBezTo>
                  <a:pt x="4" y="2"/>
                  <a:pt x="4" y="3"/>
                  <a:pt x="4" y="3"/>
                </a:cubicBezTo>
                <a:close/>
                <a:moveTo>
                  <a:pt x="127" y="122"/>
                </a:moveTo>
                <a:cubicBezTo>
                  <a:pt x="125" y="121"/>
                  <a:pt x="124" y="120"/>
                  <a:pt x="122" y="120"/>
                </a:cubicBezTo>
                <a:cubicBezTo>
                  <a:pt x="121" y="120"/>
                  <a:pt x="117" y="118"/>
                  <a:pt x="116" y="119"/>
                </a:cubicBezTo>
                <a:cubicBezTo>
                  <a:pt x="115" y="120"/>
                  <a:pt x="117" y="121"/>
                  <a:pt x="118" y="122"/>
                </a:cubicBezTo>
                <a:cubicBezTo>
                  <a:pt x="120" y="123"/>
                  <a:pt x="120" y="125"/>
                  <a:pt x="122" y="126"/>
                </a:cubicBezTo>
                <a:cubicBezTo>
                  <a:pt x="123" y="127"/>
                  <a:pt x="125" y="127"/>
                  <a:pt x="127" y="127"/>
                </a:cubicBezTo>
                <a:cubicBezTo>
                  <a:pt x="128" y="128"/>
                  <a:pt x="131" y="129"/>
                  <a:pt x="132" y="128"/>
                </a:cubicBezTo>
                <a:cubicBezTo>
                  <a:pt x="133" y="127"/>
                  <a:pt x="130" y="125"/>
                  <a:pt x="130" y="124"/>
                </a:cubicBezTo>
                <a:cubicBezTo>
                  <a:pt x="128" y="123"/>
                  <a:pt x="127" y="123"/>
                  <a:pt x="126" y="122"/>
                </a:cubicBezTo>
                <a:cubicBezTo>
                  <a:pt x="126" y="122"/>
                  <a:pt x="126" y="122"/>
                  <a:pt x="127" y="122"/>
                </a:cubicBezTo>
                <a:cubicBezTo>
                  <a:pt x="125" y="121"/>
                  <a:pt x="127" y="122"/>
                  <a:pt x="127" y="122"/>
                </a:cubicBezTo>
                <a:close/>
                <a:moveTo>
                  <a:pt x="126" y="111"/>
                </a:moveTo>
                <a:cubicBezTo>
                  <a:pt x="126" y="109"/>
                  <a:pt x="126" y="107"/>
                  <a:pt x="125" y="109"/>
                </a:cubicBezTo>
                <a:cubicBezTo>
                  <a:pt x="124" y="111"/>
                  <a:pt x="126" y="112"/>
                  <a:pt x="126" y="110"/>
                </a:cubicBezTo>
                <a:cubicBezTo>
                  <a:pt x="126" y="110"/>
                  <a:pt x="126" y="111"/>
                  <a:pt x="126" y="111"/>
                </a:cubicBezTo>
                <a:cubicBezTo>
                  <a:pt x="126" y="110"/>
                  <a:pt x="126" y="111"/>
                  <a:pt x="126" y="111"/>
                </a:cubicBezTo>
                <a:close/>
                <a:moveTo>
                  <a:pt x="116" y="105"/>
                </a:moveTo>
                <a:cubicBezTo>
                  <a:pt x="114" y="103"/>
                  <a:pt x="114" y="101"/>
                  <a:pt x="113" y="99"/>
                </a:cubicBezTo>
                <a:cubicBezTo>
                  <a:pt x="112" y="97"/>
                  <a:pt x="112" y="96"/>
                  <a:pt x="111" y="95"/>
                </a:cubicBezTo>
                <a:cubicBezTo>
                  <a:pt x="111" y="94"/>
                  <a:pt x="111" y="93"/>
                  <a:pt x="110" y="92"/>
                </a:cubicBezTo>
                <a:cubicBezTo>
                  <a:pt x="110" y="91"/>
                  <a:pt x="109" y="90"/>
                  <a:pt x="108" y="89"/>
                </a:cubicBezTo>
                <a:cubicBezTo>
                  <a:pt x="108" y="88"/>
                  <a:pt x="107" y="87"/>
                  <a:pt x="106" y="86"/>
                </a:cubicBezTo>
                <a:cubicBezTo>
                  <a:pt x="106" y="86"/>
                  <a:pt x="105" y="85"/>
                  <a:pt x="104" y="86"/>
                </a:cubicBezTo>
                <a:cubicBezTo>
                  <a:pt x="103" y="86"/>
                  <a:pt x="104" y="88"/>
                  <a:pt x="104" y="89"/>
                </a:cubicBezTo>
                <a:cubicBezTo>
                  <a:pt x="105" y="92"/>
                  <a:pt x="106" y="94"/>
                  <a:pt x="106" y="97"/>
                </a:cubicBezTo>
                <a:cubicBezTo>
                  <a:pt x="106" y="98"/>
                  <a:pt x="106" y="99"/>
                  <a:pt x="107" y="100"/>
                </a:cubicBezTo>
                <a:cubicBezTo>
                  <a:pt x="108" y="100"/>
                  <a:pt x="109" y="100"/>
                  <a:pt x="110" y="101"/>
                </a:cubicBezTo>
                <a:cubicBezTo>
                  <a:pt x="112" y="101"/>
                  <a:pt x="112" y="105"/>
                  <a:pt x="113" y="106"/>
                </a:cubicBezTo>
                <a:cubicBezTo>
                  <a:pt x="114" y="106"/>
                  <a:pt x="115" y="107"/>
                  <a:pt x="116" y="107"/>
                </a:cubicBezTo>
                <a:cubicBezTo>
                  <a:pt x="117" y="106"/>
                  <a:pt x="116" y="105"/>
                  <a:pt x="116" y="105"/>
                </a:cubicBezTo>
                <a:cubicBezTo>
                  <a:pt x="116" y="105"/>
                  <a:pt x="116" y="105"/>
                  <a:pt x="116" y="105"/>
                </a:cubicBezTo>
                <a:cubicBezTo>
                  <a:pt x="115" y="104"/>
                  <a:pt x="116" y="105"/>
                  <a:pt x="116" y="105"/>
                </a:cubicBezTo>
                <a:close/>
                <a:moveTo>
                  <a:pt x="97" y="99"/>
                </a:moveTo>
                <a:cubicBezTo>
                  <a:pt x="98" y="99"/>
                  <a:pt x="99" y="100"/>
                  <a:pt x="99" y="100"/>
                </a:cubicBezTo>
                <a:cubicBezTo>
                  <a:pt x="99" y="99"/>
                  <a:pt x="98" y="98"/>
                  <a:pt x="98" y="97"/>
                </a:cubicBezTo>
                <a:cubicBezTo>
                  <a:pt x="97" y="97"/>
                  <a:pt x="95" y="96"/>
                  <a:pt x="95" y="97"/>
                </a:cubicBezTo>
                <a:cubicBezTo>
                  <a:pt x="95" y="98"/>
                  <a:pt x="97" y="99"/>
                  <a:pt x="98" y="99"/>
                </a:cubicBezTo>
                <a:cubicBezTo>
                  <a:pt x="98" y="99"/>
                  <a:pt x="98" y="99"/>
                  <a:pt x="97" y="99"/>
                </a:cubicBezTo>
                <a:cubicBezTo>
                  <a:pt x="98" y="99"/>
                  <a:pt x="97" y="99"/>
                  <a:pt x="97" y="99"/>
                </a:cubicBezTo>
                <a:close/>
                <a:moveTo>
                  <a:pt x="77" y="98"/>
                </a:moveTo>
                <a:cubicBezTo>
                  <a:pt x="77" y="98"/>
                  <a:pt x="76" y="99"/>
                  <a:pt x="77" y="99"/>
                </a:cubicBezTo>
                <a:cubicBezTo>
                  <a:pt x="77" y="100"/>
                  <a:pt x="78" y="99"/>
                  <a:pt x="79" y="99"/>
                </a:cubicBezTo>
                <a:cubicBezTo>
                  <a:pt x="80" y="98"/>
                  <a:pt x="79" y="96"/>
                  <a:pt x="77" y="98"/>
                </a:cubicBezTo>
                <a:cubicBezTo>
                  <a:pt x="77" y="98"/>
                  <a:pt x="77" y="98"/>
                  <a:pt x="77" y="98"/>
                </a:cubicBezTo>
                <a:cubicBezTo>
                  <a:pt x="77" y="98"/>
                  <a:pt x="77" y="98"/>
                  <a:pt x="77" y="98"/>
                </a:cubicBezTo>
                <a:close/>
                <a:moveTo>
                  <a:pt x="101" y="107"/>
                </a:moveTo>
                <a:cubicBezTo>
                  <a:pt x="99" y="105"/>
                  <a:pt x="97" y="104"/>
                  <a:pt x="94" y="105"/>
                </a:cubicBezTo>
                <a:cubicBezTo>
                  <a:pt x="93" y="105"/>
                  <a:pt x="92" y="105"/>
                  <a:pt x="92" y="105"/>
                </a:cubicBezTo>
                <a:cubicBezTo>
                  <a:pt x="91" y="105"/>
                  <a:pt x="90" y="103"/>
                  <a:pt x="89" y="103"/>
                </a:cubicBezTo>
                <a:cubicBezTo>
                  <a:pt x="88" y="102"/>
                  <a:pt x="86" y="103"/>
                  <a:pt x="86" y="105"/>
                </a:cubicBezTo>
                <a:cubicBezTo>
                  <a:pt x="86" y="107"/>
                  <a:pt x="88" y="108"/>
                  <a:pt x="89" y="110"/>
                </a:cubicBezTo>
                <a:cubicBezTo>
                  <a:pt x="90" y="110"/>
                  <a:pt x="91" y="111"/>
                  <a:pt x="92" y="111"/>
                </a:cubicBezTo>
                <a:cubicBezTo>
                  <a:pt x="94" y="111"/>
                  <a:pt x="95" y="111"/>
                  <a:pt x="97" y="111"/>
                </a:cubicBezTo>
                <a:cubicBezTo>
                  <a:pt x="98" y="111"/>
                  <a:pt x="99" y="111"/>
                  <a:pt x="100" y="112"/>
                </a:cubicBezTo>
                <a:cubicBezTo>
                  <a:pt x="101" y="112"/>
                  <a:pt x="102" y="114"/>
                  <a:pt x="104" y="113"/>
                </a:cubicBezTo>
                <a:cubicBezTo>
                  <a:pt x="105" y="112"/>
                  <a:pt x="106" y="110"/>
                  <a:pt x="104" y="109"/>
                </a:cubicBezTo>
                <a:cubicBezTo>
                  <a:pt x="103" y="108"/>
                  <a:pt x="101" y="107"/>
                  <a:pt x="100" y="106"/>
                </a:cubicBezTo>
                <a:cubicBezTo>
                  <a:pt x="101" y="107"/>
                  <a:pt x="101" y="107"/>
                  <a:pt x="101" y="107"/>
                </a:cubicBezTo>
                <a:cubicBezTo>
                  <a:pt x="100" y="106"/>
                  <a:pt x="101" y="107"/>
                  <a:pt x="101" y="107"/>
                </a:cubicBezTo>
                <a:close/>
                <a:moveTo>
                  <a:pt x="99" y="143"/>
                </a:moveTo>
                <a:cubicBezTo>
                  <a:pt x="98" y="142"/>
                  <a:pt x="97" y="142"/>
                  <a:pt x="96" y="141"/>
                </a:cubicBezTo>
                <a:cubicBezTo>
                  <a:pt x="95" y="141"/>
                  <a:pt x="94" y="139"/>
                  <a:pt x="93" y="140"/>
                </a:cubicBezTo>
                <a:cubicBezTo>
                  <a:pt x="92" y="143"/>
                  <a:pt x="96" y="143"/>
                  <a:pt x="97" y="143"/>
                </a:cubicBezTo>
                <a:cubicBezTo>
                  <a:pt x="98" y="144"/>
                  <a:pt x="99" y="147"/>
                  <a:pt x="101" y="146"/>
                </a:cubicBezTo>
                <a:cubicBezTo>
                  <a:pt x="102" y="145"/>
                  <a:pt x="99" y="143"/>
                  <a:pt x="99" y="143"/>
                </a:cubicBezTo>
                <a:cubicBezTo>
                  <a:pt x="99" y="143"/>
                  <a:pt x="99" y="143"/>
                  <a:pt x="99" y="143"/>
                </a:cubicBezTo>
                <a:cubicBezTo>
                  <a:pt x="98" y="142"/>
                  <a:pt x="99" y="143"/>
                  <a:pt x="99" y="143"/>
                </a:cubicBezTo>
                <a:close/>
                <a:moveTo>
                  <a:pt x="91" y="89"/>
                </a:moveTo>
                <a:cubicBezTo>
                  <a:pt x="91" y="89"/>
                  <a:pt x="91" y="89"/>
                  <a:pt x="91" y="89"/>
                </a:cubicBezTo>
                <a:cubicBezTo>
                  <a:pt x="91" y="88"/>
                  <a:pt x="89" y="86"/>
                  <a:pt x="89" y="85"/>
                </a:cubicBezTo>
                <a:cubicBezTo>
                  <a:pt x="88" y="84"/>
                  <a:pt x="86" y="84"/>
                  <a:pt x="86" y="82"/>
                </a:cubicBezTo>
                <a:cubicBezTo>
                  <a:pt x="84" y="79"/>
                  <a:pt x="82" y="80"/>
                  <a:pt x="79" y="79"/>
                </a:cubicBezTo>
                <a:cubicBezTo>
                  <a:pt x="75" y="78"/>
                  <a:pt x="74" y="74"/>
                  <a:pt x="71" y="73"/>
                </a:cubicBezTo>
                <a:cubicBezTo>
                  <a:pt x="70" y="72"/>
                  <a:pt x="69" y="73"/>
                  <a:pt x="67" y="73"/>
                </a:cubicBezTo>
                <a:cubicBezTo>
                  <a:pt x="66" y="72"/>
                  <a:pt x="65" y="71"/>
                  <a:pt x="64" y="71"/>
                </a:cubicBezTo>
                <a:cubicBezTo>
                  <a:pt x="63" y="72"/>
                  <a:pt x="68" y="75"/>
                  <a:pt x="69" y="75"/>
                </a:cubicBezTo>
                <a:cubicBezTo>
                  <a:pt x="70" y="76"/>
                  <a:pt x="71" y="77"/>
                  <a:pt x="72" y="77"/>
                </a:cubicBezTo>
                <a:cubicBezTo>
                  <a:pt x="74" y="78"/>
                  <a:pt x="74" y="79"/>
                  <a:pt x="75" y="81"/>
                </a:cubicBezTo>
                <a:cubicBezTo>
                  <a:pt x="76" y="82"/>
                  <a:pt x="77" y="82"/>
                  <a:pt x="79" y="82"/>
                </a:cubicBezTo>
                <a:cubicBezTo>
                  <a:pt x="80" y="82"/>
                  <a:pt x="82" y="84"/>
                  <a:pt x="83" y="85"/>
                </a:cubicBezTo>
                <a:cubicBezTo>
                  <a:pt x="84" y="86"/>
                  <a:pt x="86" y="86"/>
                  <a:pt x="87" y="87"/>
                </a:cubicBezTo>
                <a:cubicBezTo>
                  <a:pt x="89" y="88"/>
                  <a:pt x="90" y="89"/>
                  <a:pt x="91" y="89"/>
                </a:cubicBezTo>
                <a:cubicBezTo>
                  <a:pt x="91" y="89"/>
                  <a:pt x="91" y="89"/>
                  <a:pt x="91" y="89"/>
                </a:cubicBezTo>
                <a:cubicBezTo>
                  <a:pt x="91" y="89"/>
                  <a:pt x="91" y="89"/>
                  <a:pt x="91" y="89"/>
                </a:cubicBezTo>
                <a:close/>
                <a:moveTo>
                  <a:pt x="58" y="89"/>
                </a:moveTo>
                <a:cubicBezTo>
                  <a:pt x="57" y="90"/>
                  <a:pt x="59" y="93"/>
                  <a:pt x="60" y="91"/>
                </a:cubicBezTo>
                <a:cubicBezTo>
                  <a:pt x="60" y="91"/>
                  <a:pt x="61" y="90"/>
                  <a:pt x="61" y="90"/>
                </a:cubicBezTo>
                <a:cubicBezTo>
                  <a:pt x="60" y="89"/>
                  <a:pt x="59" y="89"/>
                  <a:pt x="58" y="89"/>
                </a:cubicBezTo>
                <a:cubicBezTo>
                  <a:pt x="58" y="89"/>
                  <a:pt x="58" y="89"/>
                  <a:pt x="58" y="89"/>
                </a:cubicBezTo>
                <a:cubicBezTo>
                  <a:pt x="57" y="90"/>
                  <a:pt x="58" y="89"/>
                  <a:pt x="58" y="89"/>
                </a:cubicBezTo>
                <a:close/>
                <a:moveTo>
                  <a:pt x="46" y="68"/>
                </a:moveTo>
                <a:cubicBezTo>
                  <a:pt x="47" y="68"/>
                  <a:pt x="49" y="68"/>
                  <a:pt x="48" y="67"/>
                </a:cubicBezTo>
                <a:cubicBezTo>
                  <a:pt x="46" y="67"/>
                  <a:pt x="45" y="66"/>
                  <a:pt x="44" y="65"/>
                </a:cubicBezTo>
                <a:cubicBezTo>
                  <a:pt x="44" y="63"/>
                  <a:pt x="43" y="62"/>
                  <a:pt x="42" y="62"/>
                </a:cubicBezTo>
                <a:cubicBezTo>
                  <a:pt x="40" y="61"/>
                  <a:pt x="39" y="59"/>
                  <a:pt x="37" y="59"/>
                </a:cubicBezTo>
                <a:cubicBezTo>
                  <a:pt x="36" y="58"/>
                  <a:pt x="35" y="58"/>
                  <a:pt x="34" y="58"/>
                </a:cubicBezTo>
                <a:cubicBezTo>
                  <a:pt x="34" y="59"/>
                  <a:pt x="34" y="60"/>
                  <a:pt x="35" y="60"/>
                </a:cubicBezTo>
                <a:cubicBezTo>
                  <a:pt x="35" y="61"/>
                  <a:pt x="36" y="61"/>
                  <a:pt x="37" y="62"/>
                </a:cubicBezTo>
                <a:cubicBezTo>
                  <a:pt x="38" y="62"/>
                  <a:pt x="38" y="63"/>
                  <a:pt x="38" y="64"/>
                </a:cubicBezTo>
                <a:cubicBezTo>
                  <a:pt x="39" y="66"/>
                  <a:pt x="41" y="67"/>
                  <a:pt x="42" y="68"/>
                </a:cubicBezTo>
                <a:cubicBezTo>
                  <a:pt x="44" y="69"/>
                  <a:pt x="46" y="68"/>
                  <a:pt x="48" y="68"/>
                </a:cubicBezTo>
                <a:cubicBezTo>
                  <a:pt x="47" y="68"/>
                  <a:pt x="47" y="68"/>
                  <a:pt x="46" y="68"/>
                </a:cubicBezTo>
                <a:cubicBezTo>
                  <a:pt x="47" y="68"/>
                  <a:pt x="46" y="68"/>
                  <a:pt x="46" y="68"/>
                </a:cubicBezTo>
                <a:close/>
                <a:moveTo>
                  <a:pt x="35" y="74"/>
                </a:moveTo>
                <a:cubicBezTo>
                  <a:pt x="35" y="74"/>
                  <a:pt x="36" y="76"/>
                  <a:pt x="36" y="77"/>
                </a:cubicBezTo>
                <a:cubicBezTo>
                  <a:pt x="37" y="78"/>
                  <a:pt x="38" y="77"/>
                  <a:pt x="38" y="76"/>
                </a:cubicBezTo>
                <a:cubicBezTo>
                  <a:pt x="38" y="75"/>
                  <a:pt x="36" y="72"/>
                  <a:pt x="35" y="74"/>
                </a:cubicBezTo>
                <a:cubicBezTo>
                  <a:pt x="35" y="74"/>
                  <a:pt x="35" y="74"/>
                  <a:pt x="35" y="74"/>
                </a:cubicBezTo>
                <a:cubicBezTo>
                  <a:pt x="35" y="75"/>
                  <a:pt x="35" y="74"/>
                  <a:pt x="35" y="74"/>
                </a:cubicBezTo>
                <a:close/>
                <a:moveTo>
                  <a:pt x="33" y="80"/>
                </a:moveTo>
                <a:cubicBezTo>
                  <a:pt x="33" y="81"/>
                  <a:pt x="34" y="82"/>
                  <a:pt x="34" y="83"/>
                </a:cubicBezTo>
                <a:cubicBezTo>
                  <a:pt x="34" y="84"/>
                  <a:pt x="34" y="84"/>
                  <a:pt x="35" y="83"/>
                </a:cubicBezTo>
                <a:cubicBezTo>
                  <a:pt x="35" y="83"/>
                  <a:pt x="35" y="82"/>
                  <a:pt x="35" y="81"/>
                </a:cubicBezTo>
                <a:cubicBezTo>
                  <a:pt x="35" y="80"/>
                  <a:pt x="34" y="79"/>
                  <a:pt x="33" y="80"/>
                </a:cubicBezTo>
                <a:cubicBezTo>
                  <a:pt x="33" y="80"/>
                  <a:pt x="33" y="80"/>
                  <a:pt x="33" y="80"/>
                </a:cubicBezTo>
                <a:cubicBezTo>
                  <a:pt x="33" y="80"/>
                  <a:pt x="33" y="80"/>
                  <a:pt x="33" y="80"/>
                </a:cubicBezTo>
                <a:close/>
                <a:moveTo>
                  <a:pt x="48" y="89"/>
                </a:moveTo>
                <a:cubicBezTo>
                  <a:pt x="48" y="88"/>
                  <a:pt x="46" y="88"/>
                  <a:pt x="45" y="89"/>
                </a:cubicBezTo>
                <a:cubicBezTo>
                  <a:pt x="45" y="90"/>
                  <a:pt x="46" y="91"/>
                  <a:pt x="47" y="92"/>
                </a:cubicBezTo>
                <a:cubicBezTo>
                  <a:pt x="47" y="92"/>
                  <a:pt x="49" y="93"/>
                  <a:pt x="49" y="93"/>
                </a:cubicBezTo>
                <a:cubicBezTo>
                  <a:pt x="49" y="92"/>
                  <a:pt x="48" y="89"/>
                  <a:pt x="48" y="89"/>
                </a:cubicBezTo>
                <a:cubicBezTo>
                  <a:pt x="48" y="89"/>
                  <a:pt x="48" y="89"/>
                  <a:pt x="48" y="89"/>
                </a:cubicBezTo>
                <a:cubicBezTo>
                  <a:pt x="48" y="88"/>
                  <a:pt x="48" y="89"/>
                  <a:pt x="48" y="89"/>
                </a:cubicBezTo>
                <a:close/>
                <a:moveTo>
                  <a:pt x="42" y="79"/>
                </a:moveTo>
                <a:cubicBezTo>
                  <a:pt x="42" y="80"/>
                  <a:pt x="43" y="80"/>
                  <a:pt x="43" y="81"/>
                </a:cubicBezTo>
                <a:cubicBezTo>
                  <a:pt x="43" y="82"/>
                  <a:pt x="44" y="82"/>
                  <a:pt x="45" y="81"/>
                </a:cubicBezTo>
                <a:cubicBezTo>
                  <a:pt x="46" y="79"/>
                  <a:pt x="42" y="77"/>
                  <a:pt x="42" y="79"/>
                </a:cubicBezTo>
                <a:cubicBezTo>
                  <a:pt x="42" y="79"/>
                  <a:pt x="42" y="79"/>
                  <a:pt x="42" y="79"/>
                </a:cubicBezTo>
                <a:cubicBezTo>
                  <a:pt x="42" y="79"/>
                  <a:pt x="42" y="79"/>
                  <a:pt x="42" y="79"/>
                </a:cubicBezTo>
                <a:close/>
                <a:moveTo>
                  <a:pt x="55" y="84"/>
                </a:moveTo>
                <a:cubicBezTo>
                  <a:pt x="53" y="83"/>
                  <a:pt x="52" y="80"/>
                  <a:pt x="50" y="80"/>
                </a:cubicBezTo>
                <a:cubicBezTo>
                  <a:pt x="49" y="80"/>
                  <a:pt x="46" y="84"/>
                  <a:pt x="48" y="84"/>
                </a:cubicBezTo>
                <a:cubicBezTo>
                  <a:pt x="50" y="85"/>
                  <a:pt x="51" y="84"/>
                  <a:pt x="52" y="85"/>
                </a:cubicBezTo>
                <a:cubicBezTo>
                  <a:pt x="53" y="86"/>
                  <a:pt x="53" y="88"/>
                  <a:pt x="54" y="88"/>
                </a:cubicBezTo>
                <a:cubicBezTo>
                  <a:pt x="56" y="89"/>
                  <a:pt x="56" y="88"/>
                  <a:pt x="56" y="87"/>
                </a:cubicBezTo>
                <a:cubicBezTo>
                  <a:pt x="56" y="85"/>
                  <a:pt x="55" y="85"/>
                  <a:pt x="54" y="84"/>
                </a:cubicBezTo>
                <a:cubicBezTo>
                  <a:pt x="54" y="84"/>
                  <a:pt x="54" y="84"/>
                  <a:pt x="55" y="84"/>
                </a:cubicBezTo>
                <a:cubicBezTo>
                  <a:pt x="53" y="83"/>
                  <a:pt x="55" y="84"/>
                  <a:pt x="55" y="84"/>
                </a:cubicBezTo>
                <a:close/>
                <a:moveTo>
                  <a:pt x="0" y="29"/>
                </a:moveTo>
                <a:cubicBezTo>
                  <a:pt x="0" y="31"/>
                  <a:pt x="0" y="32"/>
                  <a:pt x="1" y="33"/>
                </a:cubicBezTo>
                <a:cubicBezTo>
                  <a:pt x="2" y="34"/>
                  <a:pt x="2" y="33"/>
                  <a:pt x="2" y="32"/>
                </a:cubicBezTo>
                <a:cubicBezTo>
                  <a:pt x="2" y="31"/>
                  <a:pt x="3" y="30"/>
                  <a:pt x="2" y="29"/>
                </a:cubicBezTo>
                <a:cubicBezTo>
                  <a:pt x="1" y="28"/>
                  <a:pt x="0" y="29"/>
                  <a:pt x="0" y="30"/>
                </a:cubicBezTo>
                <a:cubicBezTo>
                  <a:pt x="0" y="30"/>
                  <a:pt x="0" y="30"/>
                  <a:pt x="0" y="29"/>
                </a:cubicBezTo>
                <a:cubicBezTo>
                  <a:pt x="0" y="30"/>
                  <a:pt x="0" y="29"/>
                  <a:pt x="0" y="29"/>
                </a:cubicBezTo>
                <a:close/>
                <a:moveTo>
                  <a:pt x="20" y="51"/>
                </a:moveTo>
                <a:cubicBezTo>
                  <a:pt x="19" y="50"/>
                  <a:pt x="17" y="50"/>
                  <a:pt x="16" y="49"/>
                </a:cubicBezTo>
                <a:cubicBezTo>
                  <a:pt x="15" y="48"/>
                  <a:pt x="14" y="46"/>
                  <a:pt x="13" y="45"/>
                </a:cubicBezTo>
                <a:cubicBezTo>
                  <a:pt x="12" y="44"/>
                  <a:pt x="11" y="43"/>
                  <a:pt x="10" y="41"/>
                </a:cubicBezTo>
                <a:cubicBezTo>
                  <a:pt x="10" y="39"/>
                  <a:pt x="9" y="38"/>
                  <a:pt x="8" y="38"/>
                </a:cubicBezTo>
                <a:cubicBezTo>
                  <a:pt x="7" y="37"/>
                  <a:pt x="6" y="36"/>
                  <a:pt x="5" y="37"/>
                </a:cubicBezTo>
                <a:cubicBezTo>
                  <a:pt x="4" y="37"/>
                  <a:pt x="3" y="39"/>
                  <a:pt x="3" y="40"/>
                </a:cubicBezTo>
                <a:cubicBezTo>
                  <a:pt x="2" y="44"/>
                  <a:pt x="4" y="46"/>
                  <a:pt x="6" y="49"/>
                </a:cubicBezTo>
                <a:cubicBezTo>
                  <a:pt x="7" y="50"/>
                  <a:pt x="8" y="52"/>
                  <a:pt x="9" y="53"/>
                </a:cubicBezTo>
                <a:cubicBezTo>
                  <a:pt x="10" y="54"/>
                  <a:pt x="11" y="55"/>
                  <a:pt x="12" y="55"/>
                </a:cubicBezTo>
                <a:cubicBezTo>
                  <a:pt x="14" y="56"/>
                  <a:pt x="14" y="58"/>
                  <a:pt x="15" y="58"/>
                </a:cubicBezTo>
                <a:cubicBezTo>
                  <a:pt x="16" y="59"/>
                  <a:pt x="17" y="60"/>
                  <a:pt x="18" y="60"/>
                </a:cubicBezTo>
                <a:cubicBezTo>
                  <a:pt x="21" y="62"/>
                  <a:pt x="24" y="58"/>
                  <a:pt x="23" y="56"/>
                </a:cubicBezTo>
                <a:cubicBezTo>
                  <a:pt x="23" y="53"/>
                  <a:pt x="21" y="51"/>
                  <a:pt x="19" y="50"/>
                </a:cubicBezTo>
                <a:cubicBezTo>
                  <a:pt x="19" y="50"/>
                  <a:pt x="20" y="51"/>
                  <a:pt x="20" y="51"/>
                </a:cubicBezTo>
                <a:cubicBezTo>
                  <a:pt x="19" y="50"/>
                  <a:pt x="20" y="51"/>
                  <a:pt x="20" y="51"/>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10" name="Freeform 311">
            <a:extLst>
              <a:ext uri="{FF2B5EF4-FFF2-40B4-BE49-F238E27FC236}">
                <a16:creationId xmlns:a16="http://schemas.microsoft.com/office/drawing/2014/main" id="{77B30E0C-1273-1AC2-DA13-91143F32DFAA}"/>
              </a:ext>
            </a:extLst>
          </p:cNvPr>
          <p:cNvSpPr>
            <a:spLocks noEditPoints="1"/>
          </p:cNvSpPr>
          <p:nvPr>
            <p:custDataLst>
              <p:tags r:id="rId67"/>
            </p:custDataLst>
          </p:nvPr>
        </p:nvSpPr>
        <p:spPr bwMode="auto">
          <a:xfrm>
            <a:off x="6661583" y="3968531"/>
            <a:ext cx="809881" cy="712775"/>
          </a:xfrm>
          <a:custGeom>
            <a:avLst/>
            <a:gdLst>
              <a:gd name="T0" fmla="*/ 675 w 693"/>
              <a:gd name="T1" fmla="*/ 256 h 610"/>
              <a:gd name="T2" fmla="*/ 636 w 693"/>
              <a:gd name="T3" fmla="*/ 208 h 610"/>
              <a:gd name="T4" fmla="*/ 606 w 693"/>
              <a:gd name="T5" fmla="*/ 166 h 610"/>
              <a:gd name="T6" fmla="*/ 564 w 693"/>
              <a:gd name="T7" fmla="*/ 131 h 610"/>
              <a:gd name="T8" fmla="*/ 536 w 693"/>
              <a:gd name="T9" fmla="*/ 64 h 610"/>
              <a:gd name="T10" fmla="*/ 515 w 693"/>
              <a:gd name="T11" fmla="*/ 26 h 610"/>
              <a:gd name="T12" fmla="*/ 494 w 693"/>
              <a:gd name="T13" fmla="*/ 16 h 610"/>
              <a:gd name="T14" fmla="*/ 488 w 693"/>
              <a:gd name="T15" fmla="*/ 75 h 610"/>
              <a:gd name="T16" fmla="*/ 405 w 693"/>
              <a:gd name="T17" fmla="*/ 92 h 610"/>
              <a:gd name="T18" fmla="*/ 394 w 693"/>
              <a:gd name="T19" fmla="*/ 45 h 610"/>
              <a:gd name="T20" fmla="*/ 399 w 693"/>
              <a:gd name="T21" fmla="*/ 28 h 610"/>
              <a:gd name="T22" fmla="*/ 352 w 693"/>
              <a:gd name="T23" fmla="*/ 21 h 610"/>
              <a:gd name="T24" fmla="*/ 323 w 693"/>
              <a:gd name="T25" fmla="*/ 10 h 610"/>
              <a:gd name="T26" fmla="*/ 313 w 693"/>
              <a:gd name="T27" fmla="*/ 27 h 610"/>
              <a:gd name="T28" fmla="*/ 296 w 693"/>
              <a:gd name="T29" fmla="*/ 46 h 610"/>
              <a:gd name="T30" fmla="*/ 285 w 693"/>
              <a:gd name="T31" fmla="*/ 76 h 610"/>
              <a:gd name="T32" fmla="*/ 256 w 693"/>
              <a:gd name="T33" fmla="*/ 85 h 610"/>
              <a:gd name="T34" fmla="*/ 231 w 693"/>
              <a:gd name="T35" fmla="*/ 61 h 610"/>
              <a:gd name="T36" fmla="*/ 206 w 693"/>
              <a:gd name="T37" fmla="*/ 76 h 610"/>
              <a:gd name="T38" fmla="*/ 199 w 693"/>
              <a:gd name="T39" fmla="*/ 99 h 610"/>
              <a:gd name="T40" fmla="*/ 185 w 693"/>
              <a:gd name="T41" fmla="*/ 107 h 610"/>
              <a:gd name="T42" fmla="*/ 169 w 693"/>
              <a:gd name="T43" fmla="*/ 105 h 610"/>
              <a:gd name="T44" fmla="*/ 128 w 693"/>
              <a:gd name="T45" fmla="*/ 160 h 610"/>
              <a:gd name="T46" fmla="*/ 53 w 693"/>
              <a:gd name="T47" fmla="*/ 182 h 610"/>
              <a:gd name="T48" fmla="*/ 13 w 693"/>
              <a:gd name="T49" fmla="*/ 208 h 610"/>
              <a:gd name="T50" fmla="*/ 21 w 693"/>
              <a:gd name="T51" fmla="*/ 273 h 610"/>
              <a:gd name="T52" fmla="*/ 1 w 693"/>
              <a:gd name="T53" fmla="*/ 263 h 610"/>
              <a:gd name="T54" fmla="*/ 46 w 693"/>
              <a:gd name="T55" fmla="*/ 377 h 610"/>
              <a:gd name="T56" fmla="*/ 35 w 693"/>
              <a:gd name="T57" fmla="*/ 420 h 610"/>
              <a:gd name="T58" fmla="*/ 112 w 693"/>
              <a:gd name="T59" fmla="*/ 425 h 610"/>
              <a:gd name="T60" fmla="*/ 179 w 693"/>
              <a:gd name="T61" fmla="*/ 419 h 610"/>
              <a:gd name="T62" fmla="*/ 262 w 693"/>
              <a:gd name="T63" fmla="*/ 381 h 610"/>
              <a:gd name="T64" fmla="*/ 353 w 693"/>
              <a:gd name="T65" fmla="*/ 385 h 610"/>
              <a:gd name="T66" fmla="*/ 381 w 693"/>
              <a:gd name="T67" fmla="*/ 426 h 610"/>
              <a:gd name="T68" fmla="*/ 422 w 693"/>
              <a:gd name="T69" fmla="*/ 398 h 610"/>
              <a:gd name="T70" fmla="*/ 408 w 693"/>
              <a:gd name="T71" fmla="*/ 444 h 610"/>
              <a:gd name="T72" fmla="*/ 434 w 693"/>
              <a:gd name="T73" fmla="*/ 451 h 610"/>
              <a:gd name="T74" fmla="*/ 456 w 693"/>
              <a:gd name="T75" fmla="*/ 480 h 610"/>
              <a:gd name="T76" fmla="*/ 526 w 693"/>
              <a:gd name="T77" fmla="*/ 510 h 610"/>
              <a:gd name="T78" fmla="*/ 555 w 693"/>
              <a:gd name="T79" fmla="*/ 505 h 610"/>
              <a:gd name="T80" fmla="*/ 599 w 693"/>
              <a:gd name="T81" fmla="*/ 494 h 610"/>
              <a:gd name="T82" fmla="*/ 643 w 693"/>
              <a:gd name="T83" fmla="*/ 435 h 610"/>
              <a:gd name="T84" fmla="*/ 673 w 693"/>
              <a:gd name="T85" fmla="*/ 391 h 610"/>
              <a:gd name="T86" fmla="*/ 691 w 693"/>
              <a:gd name="T87" fmla="*/ 309 h 610"/>
              <a:gd name="T88" fmla="*/ 407 w 693"/>
              <a:gd name="T89" fmla="*/ 54 h 610"/>
              <a:gd name="T90" fmla="*/ 401 w 693"/>
              <a:gd name="T91" fmla="*/ 14 h 610"/>
              <a:gd name="T92" fmla="*/ 292 w 693"/>
              <a:gd name="T93" fmla="*/ 20 h 610"/>
              <a:gd name="T94" fmla="*/ 310 w 693"/>
              <a:gd name="T95" fmla="*/ 13 h 610"/>
              <a:gd name="T96" fmla="*/ 631 w 693"/>
              <a:gd name="T97" fmla="*/ 100 h 610"/>
              <a:gd name="T98" fmla="*/ 456 w 693"/>
              <a:gd name="T99" fmla="*/ 102 h 610"/>
              <a:gd name="T100" fmla="*/ 613 w 693"/>
              <a:gd name="T101" fmla="*/ 169 h 610"/>
              <a:gd name="T102" fmla="*/ 687 w 693"/>
              <a:gd name="T103" fmla="*/ 251 h 610"/>
              <a:gd name="T104" fmla="*/ 541 w 693"/>
              <a:gd name="T105" fmla="*/ 546 h 610"/>
              <a:gd name="T106" fmla="*/ 366 w 693"/>
              <a:gd name="T107" fmla="*/ 415 h 610"/>
              <a:gd name="T108" fmla="*/ 600 w 693"/>
              <a:gd name="T109" fmla="*/ 570 h 610"/>
              <a:gd name="T110" fmla="*/ 562 w 693"/>
              <a:gd name="T111" fmla="*/ 560 h 610"/>
              <a:gd name="T112" fmla="*/ 549 w 693"/>
              <a:gd name="T113" fmla="*/ 587 h 610"/>
              <a:gd name="T114" fmla="*/ 580 w 693"/>
              <a:gd name="T115" fmla="*/ 601 h 610"/>
              <a:gd name="T116" fmla="*/ 598 w 693"/>
              <a:gd name="T117" fmla="*/ 591 h 610"/>
              <a:gd name="T118" fmla="*/ 529 w 693"/>
              <a:gd name="T119" fmla="*/ 538 h 610"/>
              <a:gd name="T120" fmla="*/ 404 w 693"/>
              <a:gd name="T121" fmla="*/ 453 h 610"/>
              <a:gd name="T122" fmla="*/ 600 w 693"/>
              <a:gd name="T123" fmla="*/ 546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3" h="610">
                <a:moveTo>
                  <a:pt x="691" y="309"/>
                </a:moveTo>
                <a:cubicBezTo>
                  <a:pt x="691" y="307"/>
                  <a:pt x="689" y="305"/>
                  <a:pt x="689" y="303"/>
                </a:cubicBezTo>
                <a:cubicBezTo>
                  <a:pt x="689" y="302"/>
                  <a:pt x="689" y="301"/>
                  <a:pt x="689" y="301"/>
                </a:cubicBezTo>
                <a:cubicBezTo>
                  <a:pt x="689" y="300"/>
                  <a:pt x="687" y="301"/>
                  <a:pt x="687" y="301"/>
                </a:cubicBezTo>
                <a:cubicBezTo>
                  <a:pt x="685" y="301"/>
                  <a:pt x="684" y="296"/>
                  <a:pt x="683" y="295"/>
                </a:cubicBezTo>
                <a:cubicBezTo>
                  <a:pt x="683" y="294"/>
                  <a:pt x="683" y="292"/>
                  <a:pt x="684" y="292"/>
                </a:cubicBezTo>
                <a:cubicBezTo>
                  <a:pt x="685" y="291"/>
                  <a:pt x="686" y="291"/>
                  <a:pt x="686" y="290"/>
                </a:cubicBezTo>
                <a:cubicBezTo>
                  <a:pt x="687" y="284"/>
                  <a:pt x="682" y="280"/>
                  <a:pt x="684" y="275"/>
                </a:cubicBezTo>
                <a:cubicBezTo>
                  <a:pt x="685" y="273"/>
                  <a:pt x="685" y="271"/>
                  <a:pt x="683" y="269"/>
                </a:cubicBezTo>
                <a:cubicBezTo>
                  <a:pt x="682" y="268"/>
                  <a:pt x="680" y="267"/>
                  <a:pt x="679" y="265"/>
                </a:cubicBezTo>
                <a:cubicBezTo>
                  <a:pt x="679" y="262"/>
                  <a:pt x="680" y="260"/>
                  <a:pt x="678" y="258"/>
                </a:cubicBezTo>
                <a:cubicBezTo>
                  <a:pt x="677" y="257"/>
                  <a:pt x="676" y="256"/>
                  <a:pt x="675" y="256"/>
                </a:cubicBezTo>
                <a:cubicBezTo>
                  <a:pt x="674" y="255"/>
                  <a:pt x="674" y="253"/>
                  <a:pt x="674" y="252"/>
                </a:cubicBezTo>
                <a:cubicBezTo>
                  <a:pt x="673" y="250"/>
                  <a:pt x="671" y="249"/>
                  <a:pt x="669" y="247"/>
                </a:cubicBezTo>
                <a:cubicBezTo>
                  <a:pt x="667" y="246"/>
                  <a:pt x="665" y="244"/>
                  <a:pt x="663" y="241"/>
                </a:cubicBezTo>
                <a:cubicBezTo>
                  <a:pt x="662" y="239"/>
                  <a:pt x="662" y="237"/>
                  <a:pt x="659" y="236"/>
                </a:cubicBezTo>
                <a:cubicBezTo>
                  <a:pt x="657" y="236"/>
                  <a:pt x="654" y="235"/>
                  <a:pt x="653" y="232"/>
                </a:cubicBezTo>
                <a:cubicBezTo>
                  <a:pt x="651" y="230"/>
                  <a:pt x="650" y="230"/>
                  <a:pt x="647" y="229"/>
                </a:cubicBezTo>
                <a:cubicBezTo>
                  <a:pt x="645" y="227"/>
                  <a:pt x="644" y="226"/>
                  <a:pt x="644" y="223"/>
                </a:cubicBezTo>
                <a:cubicBezTo>
                  <a:pt x="645" y="221"/>
                  <a:pt x="642" y="218"/>
                  <a:pt x="643" y="215"/>
                </a:cubicBezTo>
                <a:cubicBezTo>
                  <a:pt x="643" y="214"/>
                  <a:pt x="644" y="213"/>
                  <a:pt x="644" y="212"/>
                </a:cubicBezTo>
                <a:cubicBezTo>
                  <a:pt x="644" y="211"/>
                  <a:pt x="643" y="210"/>
                  <a:pt x="643" y="208"/>
                </a:cubicBezTo>
                <a:cubicBezTo>
                  <a:pt x="642" y="206"/>
                  <a:pt x="641" y="207"/>
                  <a:pt x="641" y="209"/>
                </a:cubicBezTo>
                <a:cubicBezTo>
                  <a:pt x="640" y="211"/>
                  <a:pt x="638" y="209"/>
                  <a:pt x="636" y="208"/>
                </a:cubicBezTo>
                <a:cubicBezTo>
                  <a:pt x="635" y="207"/>
                  <a:pt x="634" y="203"/>
                  <a:pt x="632" y="204"/>
                </a:cubicBezTo>
                <a:cubicBezTo>
                  <a:pt x="631" y="204"/>
                  <a:pt x="631" y="207"/>
                  <a:pt x="631" y="208"/>
                </a:cubicBezTo>
                <a:cubicBezTo>
                  <a:pt x="631" y="209"/>
                  <a:pt x="630" y="209"/>
                  <a:pt x="630" y="208"/>
                </a:cubicBezTo>
                <a:cubicBezTo>
                  <a:pt x="629" y="208"/>
                  <a:pt x="628" y="207"/>
                  <a:pt x="627" y="207"/>
                </a:cubicBezTo>
                <a:cubicBezTo>
                  <a:pt x="624" y="207"/>
                  <a:pt x="624" y="204"/>
                  <a:pt x="624" y="202"/>
                </a:cubicBezTo>
                <a:cubicBezTo>
                  <a:pt x="623" y="199"/>
                  <a:pt x="623" y="195"/>
                  <a:pt x="622" y="193"/>
                </a:cubicBezTo>
                <a:cubicBezTo>
                  <a:pt x="621" y="192"/>
                  <a:pt x="620" y="191"/>
                  <a:pt x="619" y="190"/>
                </a:cubicBezTo>
                <a:cubicBezTo>
                  <a:pt x="619" y="189"/>
                  <a:pt x="618" y="187"/>
                  <a:pt x="618" y="186"/>
                </a:cubicBezTo>
                <a:cubicBezTo>
                  <a:pt x="618" y="183"/>
                  <a:pt x="617" y="182"/>
                  <a:pt x="614" y="180"/>
                </a:cubicBezTo>
                <a:cubicBezTo>
                  <a:pt x="613" y="179"/>
                  <a:pt x="608" y="177"/>
                  <a:pt x="609" y="175"/>
                </a:cubicBezTo>
                <a:cubicBezTo>
                  <a:pt x="610" y="174"/>
                  <a:pt x="612" y="171"/>
                  <a:pt x="611" y="170"/>
                </a:cubicBezTo>
                <a:cubicBezTo>
                  <a:pt x="609" y="169"/>
                  <a:pt x="608" y="165"/>
                  <a:pt x="606" y="166"/>
                </a:cubicBezTo>
                <a:cubicBezTo>
                  <a:pt x="605" y="166"/>
                  <a:pt x="604" y="166"/>
                  <a:pt x="603" y="166"/>
                </a:cubicBezTo>
                <a:cubicBezTo>
                  <a:pt x="602" y="165"/>
                  <a:pt x="601" y="164"/>
                  <a:pt x="600" y="164"/>
                </a:cubicBezTo>
                <a:cubicBezTo>
                  <a:pt x="599" y="162"/>
                  <a:pt x="597" y="160"/>
                  <a:pt x="595" y="159"/>
                </a:cubicBezTo>
                <a:cubicBezTo>
                  <a:pt x="593" y="159"/>
                  <a:pt x="590" y="160"/>
                  <a:pt x="589" y="158"/>
                </a:cubicBezTo>
                <a:cubicBezTo>
                  <a:pt x="589" y="156"/>
                  <a:pt x="589" y="153"/>
                  <a:pt x="587" y="152"/>
                </a:cubicBezTo>
                <a:cubicBezTo>
                  <a:pt x="585" y="152"/>
                  <a:pt x="584" y="152"/>
                  <a:pt x="583" y="152"/>
                </a:cubicBezTo>
                <a:cubicBezTo>
                  <a:pt x="582" y="152"/>
                  <a:pt x="582" y="151"/>
                  <a:pt x="581" y="151"/>
                </a:cubicBezTo>
                <a:cubicBezTo>
                  <a:pt x="580" y="150"/>
                  <a:pt x="578" y="150"/>
                  <a:pt x="577" y="150"/>
                </a:cubicBezTo>
                <a:cubicBezTo>
                  <a:pt x="576" y="150"/>
                  <a:pt x="574" y="150"/>
                  <a:pt x="573" y="149"/>
                </a:cubicBezTo>
                <a:cubicBezTo>
                  <a:pt x="571" y="148"/>
                  <a:pt x="569" y="146"/>
                  <a:pt x="568" y="144"/>
                </a:cubicBezTo>
                <a:cubicBezTo>
                  <a:pt x="567" y="141"/>
                  <a:pt x="570" y="139"/>
                  <a:pt x="567" y="137"/>
                </a:cubicBezTo>
                <a:cubicBezTo>
                  <a:pt x="565" y="135"/>
                  <a:pt x="564" y="134"/>
                  <a:pt x="564" y="131"/>
                </a:cubicBezTo>
                <a:cubicBezTo>
                  <a:pt x="564" y="128"/>
                  <a:pt x="564" y="125"/>
                  <a:pt x="564" y="122"/>
                </a:cubicBezTo>
                <a:cubicBezTo>
                  <a:pt x="563" y="120"/>
                  <a:pt x="563" y="117"/>
                  <a:pt x="563" y="115"/>
                </a:cubicBezTo>
                <a:cubicBezTo>
                  <a:pt x="563" y="112"/>
                  <a:pt x="561" y="110"/>
                  <a:pt x="559" y="109"/>
                </a:cubicBezTo>
                <a:cubicBezTo>
                  <a:pt x="558" y="108"/>
                  <a:pt x="557" y="107"/>
                  <a:pt x="557" y="106"/>
                </a:cubicBezTo>
                <a:cubicBezTo>
                  <a:pt x="556" y="105"/>
                  <a:pt x="556" y="104"/>
                  <a:pt x="555" y="103"/>
                </a:cubicBezTo>
                <a:cubicBezTo>
                  <a:pt x="553" y="101"/>
                  <a:pt x="552" y="99"/>
                  <a:pt x="552" y="96"/>
                </a:cubicBezTo>
                <a:cubicBezTo>
                  <a:pt x="552" y="94"/>
                  <a:pt x="553" y="91"/>
                  <a:pt x="552" y="88"/>
                </a:cubicBezTo>
                <a:cubicBezTo>
                  <a:pt x="552" y="86"/>
                  <a:pt x="549" y="84"/>
                  <a:pt x="550" y="82"/>
                </a:cubicBezTo>
                <a:cubicBezTo>
                  <a:pt x="551" y="81"/>
                  <a:pt x="552" y="80"/>
                  <a:pt x="551" y="79"/>
                </a:cubicBezTo>
                <a:cubicBezTo>
                  <a:pt x="550" y="77"/>
                  <a:pt x="550" y="77"/>
                  <a:pt x="551" y="76"/>
                </a:cubicBezTo>
                <a:cubicBezTo>
                  <a:pt x="551" y="74"/>
                  <a:pt x="547" y="73"/>
                  <a:pt x="547" y="72"/>
                </a:cubicBezTo>
                <a:cubicBezTo>
                  <a:pt x="543" y="70"/>
                  <a:pt x="538" y="68"/>
                  <a:pt x="536" y="64"/>
                </a:cubicBezTo>
                <a:cubicBezTo>
                  <a:pt x="536" y="63"/>
                  <a:pt x="536" y="62"/>
                  <a:pt x="535" y="62"/>
                </a:cubicBezTo>
                <a:cubicBezTo>
                  <a:pt x="533" y="62"/>
                  <a:pt x="532" y="62"/>
                  <a:pt x="531" y="63"/>
                </a:cubicBezTo>
                <a:cubicBezTo>
                  <a:pt x="529" y="63"/>
                  <a:pt x="529" y="66"/>
                  <a:pt x="527" y="67"/>
                </a:cubicBezTo>
                <a:cubicBezTo>
                  <a:pt x="525" y="69"/>
                  <a:pt x="524" y="66"/>
                  <a:pt x="524" y="64"/>
                </a:cubicBezTo>
                <a:cubicBezTo>
                  <a:pt x="524" y="61"/>
                  <a:pt x="524" y="58"/>
                  <a:pt x="523" y="55"/>
                </a:cubicBezTo>
                <a:cubicBezTo>
                  <a:pt x="522" y="53"/>
                  <a:pt x="521" y="50"/>
                  <a:pt x="520" y="47"/>
                </a:cubicBezTo>
                <a:cubicBezTo>
                  <a:pt x="520" y="45"/>
                  <a:pt x="521" y="42"/>
                  <a:pt x="519" y="40"/>
                </a:cubicBezTo>
                <a:cubicBezTo>
                  <a:pt x="518" y="39"/>
                  <a:pt x="517" y="38"/>
                  <a:pt x="517" y="37"/>
                </a:cubicBezTo>
                <a:cubicBezTo>
                  <a:pt x="517" y="36"/>
                  <a:pt x="518" y="35"/>
                  <a:pt x="518" y="34"/>
                </a:cubicBezTo>
                <a:cubicBezTo>
                  <a:pt x="517" y="33"/>
                  <a:pt x="517" y="33"/>
                  <a:pt x="516" y="33"/>
                </a:cubicBezTo>
                <a:cubicBezTo>
                  <a:pt x="515" y="33"/>
                  <a:pt x="514" y="32"/>
                  <a:pt x="514" y="31"/>
                </a:cubicBezTo>
                <a:cubicBezTo>
                  <a:pt x="513" y="29"/>
                  <a:pt x="513" y="28"/>
                  <a:pt x="515" y="26"/>
                </a:cubicBezTo>
                <a:cubicBezTo>
                  <a:pt x="515" y="25"/>
                  <a:pt x="516" y="23"/>
                  <a:pt x="515" y="23"/>
                </a:cubicBezTo>
                <a:cubicBezTo>
                  <a:pt x="513" y="22"/>
                  <a:pt x="512" y="22"/>
                  <a:pt x="511" y="22"/>
                </a:cubicBezTo>
                <a:cubicBezTo>
                  <a:pt x="510" y="22"/>
                  <a:pt x="510" y="21"/>
                  <a:pt x="509" y="21"/>
                </a:cubicBezTo>
                <a:cubicBezTo>
                  <a:pt x="508" y="20"/>
                  <a:pt x="509" y="19"/>
                  <a:pt x="508" y="18"/>
                </a:cubicBezTo>
                <a:cubicBezTo>
                  <a:pt x="508" y="17"/>
                  <a:pt x="507" y="16"/>
                  <a:pt x="507" y="15"/>
                </a:cubicBezTo>
                <a:cubicBezTo>
                  <a:pt x="507" y="14"/>
                  <a:pt x="507" y="12"/>
                  <a:pt x="507" y="11"/>
                </a:cubicBezTo>
                <a:cubicBezTo>
                  <a:pt x="507" y="10"/>
                  <a:pt x="507" y="8"/>
                  <a:pt x="507" y="7"/>
                </a:cubicBezTo>
                <a:cubicBezTo>
                  <a:pt x="506" y="6"/>
                  <a:pt x="506" y="6"/>
                  <a:pt x="505" y="6"/>
                </a:cubicBezTo>
                <a:cubicBezTo>
                  <a:pt x="503" y="5"/>
                  <a:pt x="505" y="3"/>
                  <a:pt x="505" y="2"/>
                </a:cubicBezTo>
                <a:cubicBezTo>
                  <a:pt x="505" y="0"/>
                  <a:pt x="501" y="3"/>
                  <a:pt x="500" y="4"/>
                </a:cubicBezTo>
                <a:cubicBezTo>
                  <a:pt x="498" y="5"/>
                  <a:pt x="496" y="4"/>
                  <a:pt x="495" y="7"/>
                </a:cubicBezTo>
                <a:cubicBezTo>
                  <a:pt x="495" y="10"/>
                  <a:pt x="494" y="13"/>
                  <a:pt x="494" y="16"/>
                </a:cubicBezTo>
                <a:cubicBezTo>
                  <a:pt x="494" y="19"/>
                  <a:pt x="494" y="22"/>
                  <a:pt x="492" y="24"/>
                </a:cubicBezTo>
                <a:cubicBezTo>
                  <a:pt x="491" y="26"/>
                  <a:pt x="490" y="29"/>
                  <a:pt x="489" y="31"/>
                </a:cubicBezTo>
                <a:cubicBezTo>
                  <a:pt x="489" y="31"/>
                  <a:pt x="487" y="32"/>
                  <a:pt x="488" y="32"/>
                </a:cubicBezTo>
                <a:cubicBezTo>
                  <a:pt x="488" y="33"/>
                  <a:pt x="489" y="32"/>
                  <a:pt x="490" y="32"/>
                </a:cubicBezTo>
                <a:cubicBezTo>
                  <a:pt x="492" y="32"/>
                  <a:pt x="495" y="34"/>
                  <a:pt x="495" y="36"/>
                </a:cubicBezTo>
                <a:cubicBezTo>
                  <a:pt x="495" y="37"/>
                  <a:pt x="495" y="41"/>
                  <a:pt x="493" y="40"/>
                </a:cubicBezTo>
                <a:cubicBezTo>
                  <a:pt x="491" y="39"/>
                  <a:pt x="493" y="37"/>
                  <a:pt x="491" y="37"/>
                </a:cubicBezTo>
                <a:cubicBezTo>
                  <a:pt x="487" y="36"/>
                  <a:pt x="488" y="43"/>
                  <a:pt x="488" y="45"/>
                </a:cubicBezTo>
                <a:cubicBezTo>
                  <a:pt x="488" y="47"/>
                  <a:pt x="488" y="50"/>
                  <a:pt x="486" y="52"/>
                </a:cubicBezTo>
                <a:cubicBezTo>
                  <a:pt x="484" y="55"/>
                  <a:pt x="485" y="56"/>
                  <a:pt x="486" y="59"/>
                </a:cubicBezTo>
                <a:cubicBezTo>
                  <a:pt x="488" y="61"/>
                  <a:pt x="487" y="64"/>
                  <a:pt x="487" y="67"/>
                </a:cubicBezTo>
                <a:cubicBezTo>
                  <a:pt x="486" y="70"/>
                  <a:pt x="488" y="72"/>
                  <a:pt x="488" y="75"/>
                </a:cubicBezTo>
                <a:cubicBezTo>
                  <a:pt x="489" y="81"/>
                  <a:pt x="487" y="87"/>
                  <a:pt x="485" y="93"/>
                </a:cubicBezTo>
                <a:cubicBezTo>
                  <a:pt x="484" y="95"/>
                  <a:pt x="483" y="98"/>
                  <a:pt x="482" y="100"/>
                </a:cubicBezTo>
                <a:cubicBezTo>
                  <a:pt x="481" y="103"/>
                  <a:pt x="480" y="106"/>
                  <a:pt x="479" y="109"/>
                </a:cubicBezTo>
                <a:cubicBezTo>
                  <a:pt x="478" y="112"/>
                  <a:pt x="477" y="114"/>
                  <a:pt x="475" y="116"/>
                </a:cubicBezTo>
                <a:cubicBezTo>
                  <a:pt x="473" y="119"/>
                  <a:pt x="472" y="120"/>
                  <a:pt x="469" y="121"/>
                </a:cubicBezTo>
                <a:cubicBezTo>
                  <a:pt x="466" y="121"/>
                  <a:pt x="463" y="122"/>
                  <a:pt x="461" y="122"/>
                </a:cubicBezTo>
                <a:cubicBezTo>
                  <a:pt x="458" y="122"/>
                  <a:pt x="455" y="120"/>
                  <a:pt x="453" y="118"/>
                </a:cubicBezTo>
                <a:cubicBezTo>
                  <a:pt x="451" y="117"/>
                  <a:pt x="448" y="115"/>
                  <a:pt x="446" y="113"/>
                </a:cubicBezTo>
                <a:cubicBezTo>
                  <a:pt x="444" y="111"/>
                  <a:pt x="443" y="109"/>
                  <a:pt x="440" y="108"/>
                </a:cubicBezTo>
                <a:cubicBezTo>
                  <a:pt x="435" y="106"/>
                  <a:pt x="430" y="104"/>
                  <a:pt x="424" y="102"/>
                </a:cubicBezTo>
                <a:cubicBezTo>
                  <a:pt x="419" y="100"/>
                  <a:pt x="416" y="96"/>
                  <a:pt x="411" y="93"/>
                </a:cubicBezTo>
                <a:cubicBezTo>
                  <a:pt x="409" y="92"/>
                  <a:pt x="407" y="92"/>
                  <a:pt x="405" y="92"/>
                </a:cubicBezTo>
                <a:cubicBezTo>
                  <a:pt x="402" y="91"/>
                  <a:pt x="400" y="89"/>
                  <a:pt x="398" y="87"/>
                </a:cubicBezTo>
                <a:cubicBezTo>
                  <a:pt x="397" y="85"/>
                  <a:pt x="394" y="85"/>
                  <a:pt x="392" y="83"/>
                </a:cubicBezTo>
                <a:cubicBezTo>
                  <a:pt x="391" y="82"/>
                  <a:pt x="391" y="81"/>
                  <a:pt x="390" y="80"/>
                </a:cubicBezTo>
                <a:cubicBezTo>
                  <a:pt x="389" y="79"/>
                  <a:pt x="388" y="78"/>
                  <a:pt x="387" y="78"/>
                </a:cubicBezTo>
                <a:cubicBezTo>
                  <a:pt x="385" y="76"/>
                  <a:pt x="383" y="74"/>
                  <a:pt x="383" y="72"/>
                </a:cubicBezTo>
                <a:cubicBezTo>
                  <a:pt x="383" y="71"/>
                  <a:pt x="384" y="70"/>
                  <a:pt x="385" y="69"/>
                </a:cubicBezTo>
                <a:cubicBezTo>
                  <a:pt x="386" y="68"/>
                  <a:pt x="386" y="67"/>
                  <a:pt x="386" y="66"/>
                </a:cubicBezTo>
                <a:cubicBezTo>
                  <a:pt x="387" y="64"/>
                  <a:pt x="390" y="63"/>
                  <a:pt x="390" y="61"/>
                </a:cubicBezTo>
                <a:cubicBezTo>
                  <a:pt x="390" y="60"/>
                  <a:pt x="391" y="59"/>
                  <a:pt x="391" y="58"/>
                </a:cubicBezTo>
                <a:cubicBezTo>
                  <a:pt x="391" y="57"/>
                  <a:pt x="392" y="56"/>
                  <a:pt x="392" y="55"/>
                </a:cubicBezTo>
                <a:cubicBezTo>
                  <a:pt x="393" y="53"/>
                  <a:pt x="390" y="53"/>
                  <a:pt x="390" y="51"/>
                </a:cubicBezTo>
                <a:cubicBezTo>
                  <a:pt x="391" y="48"/>
                  <a:pt x="390" y="46"/>
                  <a:pt x="394" y="45"/>
                </a:cubicBezTo>
                <a:cubicBezTo>
                  <a:pt x="395" y="44"/>
                  <a:pt x="398" y="45"/>
                  <a:pt x="400" y="43"/>
                </a:cubicBezTo>
                <a:cubicBezTo>
                  <a:pt x="400" y="43"/>
                  <a:pt x="400" y="42"/>
                  <a:pt x="401" y="41"/>
                </a:cubicBezTo>
                <a:cubicBezTo>
                  <a:pt x="402" y="40"/>
                  <a:pt x="401" y="40"/>
                  <a:pt x="401" y="38"/>
                </a:cubicBezTo>
                <a:cubicBezTo>
                  <a:pt x="401" y="37"/>
                  <a:pt x="402" y="37"/>
                  <a:pt x="403" y="36"/>
                </a:cubicBezTo>
                <a:cubicBezTo>
                  <a:pt x="404" y="36"/>
                  <a:pt x="404" y="35"/>
                  <a:pt x="405" y="34"/>
                </a:cubicBezTo>
                <a:cubicBezTo>
                  <a:pt x="405" y="33"/>
                  <a:pt x="405" y="32"/>
                  <a:pt x="406" y="31"/>
                </a:cubicBezTo>
                <a:cubicBezTo>
                  <a:pt x="407" y="31"/>
                  <a:pt x="409" y="30"/>
                  <a:pt x="408" y="29"/>
                </a:cubicBezTo>
                <a:cubicBezTo>
                  <a:pt x="407" y="27"/>
                  <a:pt x="404" y="29"/>
                  <a:pt x="403" y="28"/>
                </a:cubicBezTo>
                <a:cubicBezTo>
                  <a:pt x="403" y="28"/>
                  <a:pt x="402" y="26"/>
                  <a:pt x="402" y="26"/>
                </a:cubicBezTo>
                <a:cubicBezTo>
                  <a:pt x="401" y="25"/>
                  <a:pt x="400" y="25"/>
                  <a:pt x="399" y="25"/>
                </a:cubicBezTo>
                <a:cubicBezTo>
                  <a:pt x="399" y="25"/>
                  <a:pt x="398" y="25"/>
                  <a:pt x="397" y="26"/>
                </a:cubicBezTo>
                <a:cubicBezTo>
                  <a:pt x="397" y="27"/>
                  <a:pt x="398" y="27"/>
                  <a:pt x="399" y="28"/>
                </a:cubicBezTo>
                <a:cubicBezTo>
                  <a:pt x="400" y="30"/>
                  <a:pt x="396" y="32"/>
                  <a:pt x="394" y="30"/>
                </a:cubicBezTo>
                <a:cubicBezTo>
                  <a:pt x="392" y="29"/>
                  <a:pt x="392" y="27"/>
                  <a:pt x="389" y="28"/>
                </a:cubicBezTo>
                <a:cubicBezTo>
                  <a:pt x="387" y="29"/>
                  <a:pt x="387" y="26"/>
                  <a:pt x="385" y="25"/>
                </a:cubicBezTo>
                <a:cubicBezTo>
                  <a:pt x="383" y="25"/>
                  <a:pt x="382" y="28"/>
                  <a:pt x="380" y="28"/>
                </a:cubicBezTo>
                <a:cubicBezTo>
                  <a:pt x="379" y="28"/>
                  <a:pt x="378" y="28"/>
                  <a:pt x="377" y="27"/>
                </a:cubicBezTo>
                <a:cubicBezTo>
                  <a:pt x="376" y="27"/>
                  <a:pt x="375" y="26"/>
                  <a:pt x="374" y="25"/>
                </a:cubicBezTo>
                <a:cubicBezTo>
                  <a:pt x="373" y="23"/>
                  <a:pt x="371" y="24"/>
                  <a:pt x="369" y="25"/>
                </a:cubicBezTo>
                <a:cubicBezTo>
                  <a:pt x="368" y="26"/>
                  <a:pt x="364" y="26"/>
                  <a:pt x="363" y="25"/>
                </a:cubicBezTo>
                <a:cubicBezTo>
                  <a:pt x="361" y="25"/>
                  <a:pt x="361" y="24"/>
                  <a:pt x="361" y="23"/>
                </a:cubicBezTo>
                <a:cubicBezTo>
                  <a:pt x="361" y="22"/>
                  <a:pt x="359" y="21"/>
                  <a:pt x="359" y="21"/>
                </a:cubicBezTo>
                <a:cubicBezTo>
                  <a:pt x="358" y="21"/>
                  <a:pt x="356" y="20"/>
                  <a:pt x="355" y="20"/>
                </a:cubicBezTo>
                <a:cubicBezTo>
                  <a:pt x="354" y="20"/>
                  <a:pt x="353" y="21"/>
                  <a:pt x="352" y="21"/>
                </a:cubicBezTo>
                <a:cubicBezTo>
                  <a:pt x="351" y="22"/>
                  <a:pt x="350" y="21"/>
                  <a:pt x="350" y="20"/>
                </a:cubicBezTo>
                <a:cubicBezTo>
                  <a:pt x="349" y="19"/>
                  <a:pt x="348" y="18"/>
                  <a:pt x="346" y="18"/>
                </a:cubicBezTo>
                <a:cubicBezTo>
                  <a:pt x="345" y="18"/>
                  <a:pt x="344" y="17"/>
                  <a:pt x="343" y="16"/>
                </a:cubicBezTo>
                <a:cubicBezTo>
                  <a:pt x="342" y="15"/>
                  <a:pt x="342" y="15"/>
                  <a:pt x="340" y="15"/>
                </a:cubicBezTo>
                <a:cubicBezTo>
                  <a:pt x="340" y="15"/>
                  <a:pt x="338" y="15"/>
                  <a:pt x="337" y="14"/>
                </a:cubicBezTo>
                <a:cubicBezTo>
                  <a:pt x="337" y="13"/>
                  <a:pt x="336" y="14"/>
                  <a:pt x="336" y="13"/>
                </a:cubicBezTo>
                <a:cubicBezTo>
                  <a:pt x="334" y="13"/>
                  <a:pt x="334" y="13"/>
                  <a:pt x="333" y="12"/>
                </a:cubicBezTo>
                <a:cubicBezTo>
                  <a:pt x="333" y="11"/>
                  <a:pt x="331" y="10"/>
                  <a:pt x="330" y="11"/>
                </a:cubicBezTo>
                <a:cubicBezTo>
                  <a:pt x="329" y="11"/>
                  <a:pt x="329" y="12"/>
                  <a:pt x="328" y="12"/>
                </a:cubicBezTo>
                <a:cubicBezTo>
                  <a:pt x="327" y="12"/>
                  <a:pt x="326" y="12"/>
                  <a:pt x="325" y="11"/>
                </a:cubicBezTo>
                <a:cubicBezTo>
                  <a:pt x="325" y="11"/>
                  <a:pt x="325" y="10"/>
                  <a:pt x="325" y="9"/>
                </a:cubicBezTo>
                <a:cubicBezTo>
                  <a:pt x="324" y="9"/>
                  <a:pt x="323" y="9"/>
                  <a:pt x="323" y="10"/>
                </a:cubicBezTo>
                <a:cubicBezTo>
                  <a:pt x="322" y="11"/>
                  <a:pt x="324" y="14"/>
                  <a:pt x="325" y="15"/>
                </a:cubicBezTo>
                <a:cubicBezTo>
                  <a:pt x="327" y="16"/>
                  <a:pt x="329" y="14"/>
                  <a:pt x="331" y="14"/>
                </a:cubicBezTo>
                <a:cubicBezTo>
                  <a:pt x="332" y="15"/>
                  <a:pt x="333" y="15"/>
                  <a:pt x="334" y="15"/>
                </a:cubicBezTo>
                <a:cubicBezTo>
                  <a:pt x="335" y="16"/>
                  <a:pt x="334" y="17"/>
                  <a:pt x="334" y="18"/>
                </a:cubicBezTo>
                <a:cubicBezTo>
                  <a:pt x="334" y="19"/>
                  <a:pt x="335" y="19"/>
                  <a:pt x="335" y="20"/>
                </a:cubicBezTo>
                <a:cubicBezTo>
                  <a:pt x="336" y="21"/>
                  <a:pt x="335" y="22"/>
                  <a:pt x="335" y="23"/>
                </a:cubicBezTo>
                <a:cubicBezTo>
                  <a:pt x="335" y="24"/>
                  <a:pt x="337" y="25"/>
                  <a:pt x="337" y="26"/>
                </a:cubicBezTo>
                <a:cubicBezTo>
                  <a:pt x="337" y="27"/>
                  <a:pt x="336" y="27"/>
                  <a:pt x="335" y="28"/>
                </a:cubicBezTo>
                <a:cubicBezTo>
                  <a:pt x="335" y="28"/>
                  <a:pt x="331" y="32"/>
                  <a:pt x="330" y="29"/>
                </a:cubicBezTo>
                <a:cubicBezTo>
                  <a:pt x="330" y="27"/>
                  <a:pt x="328" y="28"/>
                  <a:pt x="327" y="29"/>
                </a:cubicBezTo>
                <a:cubicBezTo>
                  <a:pt x="325" y="30"/>
                  <a:pt x="323" y="28"/>
                  <a:pt x="321" y="29"/>
                </a:cubicBezTo>
                <a:cubicBezTo>
                  <a:pt x="318" y="29"/>
                  <a:pt x="316" y="28"/>
                  <a:pt x="313" y="27"/>
                </a:cubicBezTo>
                <a:cubicBezTo>
                  <a:pt x="312" y="27"/>
                  <a:pt x="309" y="26"/>
                  <a:pt x="308" y="27"/>
                </a:cubicBezTo>
                <a:cubicBezTo>
                  <a:pt x="308" y="28"/>
                  <a:pt x="308" y="29"/>
                  <a:pt x="308" y="30"/>
                </a:cubicBezTo>
                <a:cubicBezTo>
                  <a:pt x="307" y="30"/>
                  <a:pt x="306" y="30"/>
                  <a:pt x="306" y="31"/>
                </a:cubicBezTo>
                <a:cubicBezTo>
                  <a:pt x="307" y="32"/>
                  <a:pt x="308" y="33"/>
                  <a:pt x="307" y="34"/>
                </a:cubicBezTo>
                <a:cubicBezTo>
                  <a:pt x="306" y="35"/>
                  <a:pt x="305" y="34"/>
                  <a:pt x="304" y="33"/>
                </a:cubicBezTo>
                <a:cubicBezTo>
                  <a:pt x="303" y="32"/>
                  <a:pt x="300" y="29"/>
                  <a:pt x="300" y="32"/>
                </a:cubicBezTo>
                <a:cubicBezTo>
                  <a:pt x="300" y="33"/>
                  <a:pt x="302" y="34"/>
                  <a:pt x="302" y="35"/>
                </a:cubicBezTo>
                <a:cubicBezTo>
                  <a:pt x="302" y="36"/>
                  <a:pt x="300" y="35"/>
                  <a:pt x="300" y="35"/>
                </a:cubicBezTo>
                <a:cubicBezTo>
                  <a:pt x="299" y="34"/>
                  <a:pt x="298" y="35"/>
                  <a:pt x="297" y="35"/>
                </a:cubicBezTo>
                <a:cubicBezTo>
                  <a:pt x="297" y="36"/>
                  <a:pt x="296" y="36"/>
                  <a:pt x="295" y="37"/>
                </a:cubicBezTo>
                <a:cubicBezTo>
                  <a:pt x="292" y="39"/>
                  <a:pt x="292" y="42"/>
                  <a:pt x="294" y="44"/>
                </a:cubicBezTo>
                <a:cubicBezTo>
                  <a:pt x="295" y="45"/>
                  <a:pt x="295" y="45"/>
                  <a:pt x="296" y="46"/>
                </a:cubicBezTo>
                <a:cubicBezTo>
                  <a:pt x="296" y="47"/>
                  <a:pt x="294" y="47"/>
                  <a:pt x="294" y="48"/>
                </a:cubicBezTo>
                <a:cubicBezTo>
                  <a:pt x="293" y="49"/>
                  <a:pt x="293" y="50"/>
                  <a:pt x="291" y="50"/>
                </a:cubicBezTo>
                <a:cubicBezTo>
                  <a:pt x="290" y="50"/>
                  <a:pt x="289" y="49"/>
                  <a:pt x="288" y="49"/>
                </a:cubicBezTo>
                <a:cubicBezTo>
                  <a:pt x="286" y="51"/>
                  <a:pt x="287" y="53"/>
                  <a:pt x="287" y="55"/>
                </a:cubicBezTo>
                <a:cubicBezTo>
                  <a:pt x="286" y="56"/>
                  <a:pt x="286" y="57"/>
                  <a:pt x="285" y="58"/>
                </a:cubicBezTo>
                <a:cubicBezTo>
                  <a:pt x="284" y="58"/>
                  <a:pt x="282" y="58"/>
                  <a:pt x="281" y="59"/>
                </a:cubicBezTo>
                <a:cubicBezTo>
                  <a:pt x="280" y="60"/>
                  <a:pt x="278" y="63"/>
                  <a:pt x="279" y="65"/>
                </a:cubicBezTo>
                <a:cubicBezTo>
                  <a:pt x="280" y="66"/>
                  <a:pt x="281" y="66"/>
                  <a:pt x="281" y="67"/>
                </a:cubicBezTo>
                <a:cubicBezTo>
                  <a:pt x="282" y="68"/>
                  <a:pt x="283" y="70"/>
                  <a:pt x="284" y="71"/>
                </a:cubicBezTo>
                <a:cubicBezTo>
                  <a:pt x="285" y="72"/>
                  <a:pt x="286" y="71"/>
                  <a:pt x="287" y="71"/>
                </a:cubicBezTo>
                <a:cubicBezTo>
                  <a:pt x="288" y="71"/>
                  <a:pt x="289" y="71"/>
                  <a:pt x="289" y="72"/>
                </a:cubicBezTo>
                <a:cubicBezTo>
                  <a:pt x="289" y="74"/>
                  <a:pt x="283" y="73"/>
                  <a:pt x="285" y="76"/>
                </a:cubicBezTo>
                <a:cubicBezTo>
                  <a:pt x="285" y="78"/>
                  <a:pt x="286" y="79"/>
                  <a:pt x="284" y="79"/>
                </a:cubicBezTo>
                <a:cubicBezTo>
                  <a:pt x="282" y="79"/>
                  <a:pt x="282" y="76"/>
                  <a:pt x="279" y="76"/>
                </a:cubicBezTo>
                <a:cubicBezTo>
                  <a:pt x="277" y="76"/>
                  <a:pt x="278" y="78"/>
                  <a:pt x="277" y="80"/>
                </a:cubicBezTo>
                <a:cubicBezTo>
                  <a:pt x="276" y="81"/>
                  <a:pt x="276" y="77"/>
                  <a:pt x="276" y="77"/>
                </a:cubicBezTo>
                <a:cubicBezTo>
                  <a:pt x="275" y="74"/>
                  <a:pt x="274" y="74"/>
                  <a:pt x="272" y="74"/>
                </a:cubicBezTo>
                <a:cubicBezTo>
                  <a:pt x="269" y="74"/>
                  <a:pt x="266" y="72"/>
                  <a:pt x="264" y="74"/>
                </a:cubicBezTo>
                <a:cubicBezTo>
                  <a:pt x="263" y="75"/>
                  <a:pt x="265" y="77"/>
                  <a:pt x="263" y="76"/>
                </a:cubicBezTo>
                <a:cubicBezTo>
                  <a:pt x="262" y="76"/>
                  <a:pt x="261" y="76"/>
                  <a:pt x="261" y="77"/>
                </a:cubicBezTo>
                <a:cubicBezTo>
                  <a:pt x="260" y="77"/>
                  <a:pt x="261" y="79"/>
                  <a:pt x="261" y="80"/>
                </a:cubicBezTo>
                <a:cubicBezTo>
                  <a:pt x="262" y="81"/>
                  <a:pt x="263" y="82"/>
                  <a:pt x="262" y="83"/>
                </a:cubicBezTo>
                <a:cubicBezTo>
                  <a:pt x="261" y="84"/>
                  <a:pt x="260" y="83"/>
                  <a:pt x="259" y="83"/>
                </a:cubicBezTo>
                <a:cubicBezTo>
                  <a:pt x="259" y="83"/>
                  <a:pt x="256" y="87"/>
                  <a:pt x="256" y="85"/>
                </a:cubicBezTo>
                <a:cubicBezTo>
                  <a:pt x="256" y="83"/>
                  <a:pt x="257" y="81"/>
                  <a:pt x="258" y="79"/>
                </a:cubicBezTo>
                <a:cubicBezTo>
                  <a:pt x="258" y="78"/>
                  <a:pt x="258" y="77"/>
                  <a:pt x="258" y="76"/>
                </a:cubicBezTo>
                <a:cubicBezTo>
                  <a:pt x="258" y="74"/>
                  <a:pt x="259" y="73"/>
                  <a:pt x="259" y="72"/>
                </a:cubicBezTo>
                <a:cubicBezTo>
                  <a:pt x="260" y="70"/>
                  <a:pt x="257" y="68"/>
                  <a:pt x="256" y="66"/>
                </a:cubicBezTo>
                <a:cubicBezTo>
                  <a:pt x="255" y="66"/>
                  <a:pt x="254" y="65"/>
                  <a:pt x="253" y="64"/>
                </a:cubicBezTo>
                <a:cubicBezTo>
                  <a:pt x="251" y="64"/>
                  <a:pt x="251" y="63"/>
                  <a:pt x="250" y="61"/>
                </a:cubicBezTo>
                <a:cubicBezTo>
                  <a:pt x="248" y="60"/>
                  <a:pt x="248" y="58"/>
                  <a:pt x="245" y="58"/>
                </a:cubicBezTo>
                <a:cubicBezTo>
                  <a:pt x="244" y="58"/>
                  <a:pt x="243" y="58"/>
                  <a:pt x="242" y="58"/>
                </a:cubicBezTo>
                <a:cubicBezTo>
                  <a:pt x="240" y="58"/>
                  <a:pt x="241" y="57"/>
                  <a:pt x="239" y="56"/>
                </a:cubicBezTo>
                <a:cubicBezTo>
                  <a:pt x="238" y="54"/>
                  <a:pt x="236" y="57"/>
                  <a:pt x="235" y="59"/>
                </a:cubicBezTo>
                <a:cubicBezTo>
                  <a:pt x="235" y="60"/>
                  <a:pt x="234" y="61"/>
                  <a:pt x="233" y="62"/>
                </a:cubicBezTo>
                <a:cubicBezTo>
                  <a:pt x="232" y="63"/>
                  <a:pt x="232" y="61"/>
                  <a:pt x="231" y="61"/>
                </a:cubicBezTo>
                <a:cubicBezTo>
                  <a:pt x="231" y="60"/>
                  <a:pt x="230" y="59"/>
                  <a:pt x="229" y="59"/>
                </a:cubicBezTo>
                <a:cubicBezTo>
                  <a:pt x="228" y="58"/>
                  <a:pt x="227" y="60"/>
                  <a:pt x="227" y="60"/>
                </a:cubicBezTo>
                <a:cubicBezTo>
                  <a:pt x="226" y="61"/>
                  <a:pt x="225" y="61"/>
                  <a:pt x="225" y="62"/>
                </a:cubicBezTo>
                <a:cubicBezTo>
                  <a:pt x="224" y="62"/>
                  <a:pt x="224" y="63"/>
                  <a:pt x="223" y="64"/>
                </a:cubicBezTo>
                <a:cubicBezTo>
                  <a:pt x="223" y="65"/>
                  <a:pt x="223" y="67"/>
                  <a:pt x="221" y="68"/>
                </a:cubicBezTo>
                <a:cubicBezTo>
                  <a:pt x="219" y="69"/>
                  <a:pt x="218" y="65"/>
                  <a:pt x="215" y="67"/>
                </a:cubicBezTo>
                <a:cubicBezTo>
                  <a:pt x="214" y="68"/>
                  <a:pt x="213" y="68"/>
                  <a:pt x="212" y="68"/>
                </a:cubicBezTo>
                <a:cubicBezTo>
                  <a:pt x="211" y="69"/>
                  <a:pt x="210" y="68"/>
                  <a:pt x="209" y="69"/>
                </a:cubicBezTo>
                <a:cubicBezTo>
                  <a:pt x="207" y="71"/>
                  <a:pt x="210" y="72"/>
                  <a:pt x="211" y="74"/>
                </a:cubicBezTo>
                <a:cubicBezTo>
                  <a:pt x="211" y="75"/>
                  <a:pt x="213" y="77"/>
                  <a:pt x="213" y="78"/>
                </a:cubicBezTo>
                <a:cubicBezTo>
                  <a:pt x="212" y="79"/>
                  <a:pt x="209" y="77"/>
                  <a:pt x="208" y="76"/>
                </a:cubicBezTo>
                <a:cubicBezTo>
                  <a:pt x="208" y="76"/>
                  <a:pt x="207" y="76"/>
                  <a:pt x="206" y="76"/>
                </a:cubicBezTo>
                <a:cubicBezTo>
                  <a:pt x="205" y="76"/>
                  <a:pt x="205" y="77"/>
                  <a:pt x="205" y="78"/>
                </a:cubicBezTo>
                <a:cubicBezTo>
                  <a:pt x="205" y="80"/>
                  <a:pt x="205" y="80"/>
                  <a:pt x="205" y="82"/>
                </a:cubicBezTo>
                <a:cubicBezTo>
                  <a:pt x="206" y="82"/>
                  <a:pt x="208" y="83"/>
                  <a:pt x="208" y="84"/>
                </a:cubicBezTo>
                <a:cubicBezTo>
                  <a:pt x="207" y="86"/>
                  <a:pt x="204" y="85"/>
                  <a:pt x="203" y="84"/>
                </a:cubicBezTo>
                <a:cubicBezTo>
                  <a:pt x="202" y="82"/>
                  <a:pt x="200" y="81"/>
                  <a:pt x="199" y="83"/>
                </a:cubicBezTo>
                <a:cubicBezTo>
                  <a:pt x="198" y="84"/>
                  <a:pt x="197" y="84"/>
                  <a:pt x="196" y="85"/>
                </a:cubicBezTo>
                <a:cubicBezTo>
                  <a:pt x="195" y="85"/>
                  <a:pt x="195" y="86"/>
                  <a:pt x="195" y="87"/>
                </a:cubicBezTo>
                <a:cubicBezTo>
                  <a:pt x="195" y="88"/>
                  <a:pt x="195" y="91"/>
                  <a:pt x="196" y="91"/>
                </a:cubicBezTo>
                <a:cubicBezTo>
                  <a:pt x="198" y="92"/>
                  <a:pt x="198" y="89"/>
                  <a:pt x="200" y="89"/>
                </a:cubicBezTo>
                <a:cubicBezTo>
                  <a:pt x="201" y="88"/>
                  <a:pt x="199" y="94"/>
                  <a:pt x="198" y="94"/>
                </a:cubicBezTo>
                <a:cubicBezTo>
                  <a:pt x="198" y="95"/>
                  <a:pt x="194" y="96"/>
                  <a:pt x="195" y="98"/>
                </a:cubicBezTo>
                <a:cubicBezTo>
                  <a:pt x="196" y="99"/>
                  <a:pt x="198" y="99"/>
                  <a:pt x="199" y="99"/>
                </a:cubicBezTo>
                <a:cubicBezTo>
                  <a:pt x="200" y="99"/>
                  <a:pt x="203" y="98"/>
                  <a:pt x="203" y="100"/>
                </a:cubicBezTo>
                <a:cubicBezTo>
                  <a:pt x="202" y="101"/>
                  <a:pt x="201" y="101"/>
                  <a:pt x="200" y="101"/>
                </a:cubicBezTo>
                <a:cubicBezTo>
                  <a:pt x="198" y="101"/>
                  <a:pt x="197" y="101"/>
                  <a:pt x="195" y="101"/>
                </a:cubicBezTo>
                <a:cubicBezTo>
                  <a:pt x="193" y="101"/>
                  <a:pt x="192" y="101"/>
                  <a:pt x="190" y="99"/>
                </a:cubicBezTo>
                <a:cubicBezTo>
                  <a:pt x="189" y="96"/>
                  <a:pt x="188" y="100"/>
                  <a:pt x="187" y="100"/>
                </a:cubicBezTo>
                <a:cubicBezTo>
                  <a:pt x="186" y="101"/>
                  <a:pt x="184" y="98"/>
                  <a:pt x="184" y="97"/>
                </a:cubicBezTo>
                <a:cubicBezTo>
                  <a:pt x="184" y="96"/>
                  <a:pt x="184" y="95"/>
                  <a:pt x="183" y="96"/>
                </a:cubicBezTo>
                <a:cubicBezTo>
                  <a:pt x="182" y="97"/>
                  <a:pt x="183" y="98"/>
                  <a:pt x="183" y="99"/>
                </a:cubicBezTo>
                <a:cubicBezTo>
                  <a:pt x="183" y="101"/>
                  <a:pt x="181" y="100"/>
                  <a:pt x="180" y="101"/>
                </a:cubicBezTo>
                <a:cubicBezTo>
                  <a:pt x="179" y="102"/>
                  <a:pt x="179" y="102"/>
                  <a:pt x="180" y="103"/>
                </a:cubicBezTo>
                <a:cubicBezTo>
                  <a:pt x="181" y="103"/>
                  <a:pt x="181" y="103"/>
                  <a:pt x="182" y="104"/>
                </a:cubicBezTo>
                <a:cubicBezTo>
                  <a:pt x="183" y="105"/>
                  <a:pt x="184" y="107"/>
                  <a:pt x="185" y="107"/>
                </a:cubicBezTo>
                <a:cubicBezTo>
                  <a:pt x="186" y="107"/>
                  <a:pt x="187" y="106"/>
                  <a:pt x="187" y="107"/>
                </a:cubicBezTo>
                <a:cubicBezTo>
                  <a:pt x="188" y="108"/>
                  <a:pt x="186" y="110"/>
                  <a:pt x="187" y="112"/>
                </a:cubicBezTo>
                <a:cubicBezTo>
                  <a:pt x="187" y="113"/>
                  <a:pt x="189" y="115"/>
                  <a:pt x="187" y="115"/>
                </a:cubicBezTo>
                <a:cubicBezTo>
                  <a:pt x="186" y="114"/>
                  <a:pt x="185" y="114"/>
                  <a:pt x="185" y="114"/>
                </a:cubicBezTo>
                <a:cubicBezTo>
                  <a:pt x="184" y="113"/>
                  <a:pt x="184" y="112"/>
                  <a:pt x="183" y="112"/>
                </a:cubicBezTo>
                <a:cubicBezTo>
                  <a:pt x="181" y="110"/>
                  <a:pt x="182" y="116"/>
                  <a:pt x="182" y="117"/>
                </a:cubicBezTo>
                <a:cubicBezTo>
                  <a:pt x="182" y="118"/>
                  <a:pt x="182" y="123"/>
                  <a:pt x="180" y="120"/>
                </a:cubicBezTo>
                <a:cubicBezTo>
                  <a:pt x="178" y="119"/>
                  <a:pt x="178" y="116"/>
                  <a:pt x="177" y="115"/>
                </a:cubicBezTo>
                <a:cubicBezTo>
                  <a:pt x="176" y="114"/>
                  <a:pt x="175" y="113"/>
                  <a:pt x="175" y="112"/>
                </a:cubicBezTo>
                <a:cubicBezTo>
                  <a:pt x="174" y="110"/>
                  <a:pt x="174" y="109"/>
                  <a:pt x="174" y="108"/>
                </a:cubicBezTo>
                <a:cubicBezTo>
                  <a:pt x="173" y="106"/>
                  <a:pt x="172" y="105"/>
                  <a:pt x="171" y="103"/>
                </a:cubicBezTo>
                <a:cubicBezTo>
                  <a:pt x="170" y="100"/>
                  <a:pt x="169" y="104"/>
                  <a:pt x="169" y="105"/>
                </a:cubicBezTo>
                <a:cubicBezTo>
                  <a:pt x="168" y="107"/>
                  <a:pt x="166" y="107"/>
                  <a:pt x="165" y="108"/>
                </a:cubicBezTo>
                <a:cubicBezTo>
                  <a:pt x="162" y="109"/>
                  <a:pt x="160" y="110"/>
                  <a:pt x="159" y="113"/>
                </a:cubicBezTo>
                <a:cubicBezTo>
                  <a:pt x="158" y="115"/>
                  <a:pt x="157" y="118"/>
                  <a:pt x="157" y="120"/>
                </a:cubicBezTo>
                <a:cubicBezTo>
                  <a:pt x="157" y="122"/>
                  <a:pt x="156" y="123"/>
                  <a:pt x="157" y="124"/>
                </a:cubicBezTo>
                <a:cubicBezTo>
                  <a:pt x="157" y="125"/>
                  <a:pt x="158" y="127"/>
                  <a:pt x="158" y="128"/>
                </a:cubicBezTo>
                <a:cubicBezTo>
                  <a:pt x="159" y="128"/>
                  <a:pt x="161" y="128"/>
                  <a:pt x="161" y="129"/>
                </a:cubicBezTo>
                <a:cubicBezTo>
                  <a:pt x="161" y="131"/>
                  <a:pt x="159" y="131"/>
                  <a:pt x="159" y="131"/>
                </a:cubicBezTo>
                <a:cubicBezTo>
                  <a:pt x="156" y="133"/>
                  <a:pt x="153" y="135"/>
                  <a:pt x="151" y="137"/>
                </a:cubicBezTo>
                <a:cubicBezTo>
                  <a:pt x="149" y="139"/>
                  <a:pt x="148" y="141"/>
                  <a:pt x="146" y="144"/>
                </a:cubicBezTo>
                <a:cubicBezTo>
                  <a:pt x="145" y="146"/>
                  <a:pt x="144" y="149"/>
                  <a:pt x="142" y="151"/>
                </a:cubicBezTo>
                <a:cubicBezTo>
                  <a:pt x="140" y="153"/>
                  <a:pt x="138" y="154"/>
                  <a:pt x="136" y="156"/>
                </a:cubicBezTo>
                <a:cubicBezTo>
                  <a:pt x="134" y="158"/>
                  <a:pt x="131" y="160"/>
                  <a:pt x="128" y="160"/>
                </a:cubicBezTo>
                <a:cubicBezTo>
                  <a:pt x="126" y="161"/>
                  <a:pt x="123" y="161"/>
                  <a:pt x="121" y="162"/>
                </a:cubicBezTo>
                <a:cubicBezTo>
                  <a:pt x="118" y="164"/>
                  <a:pt x="116" y="165"/>
                  <a:pt x="112" y="164"/>
                </a:cubicBezTo>
                <a:cubicBezTo>
                  <a:pt x="110" y="164"/>
                  <a:pt x="108" y="163"/>
                  <a:pt x="105" y="165"/>
                </a:cubicBezTo>
                <a:cubicBezTo>
                  <a:pt x="102" y="166"/>
                  <a:pt x="100" y="168"/>
                  <a:pt x="97" y="169"/>
                </a:cubicBezTo>
                <a:cubicBezTo>
                  <a:pt x="94" y="169"/>
                  <a:pt x="91" y="169"/>
                  <a:pt x="88" y="170"/>
                </a:cubicBezTo>
                <a:cubicBezTo>
                  <a:pt x="86" y="172"/>
                  <a:pt x="84" y="174"/>
                  <a:pt x="81" y="175"/>
                </a:cubicBezTo>
                <a:cubicBezTo>
                  <a:pt x="78" y="176"/>
                  <a:pt x="76" y="176"/>
                  <a:pt x="73" y="175"/>
                </a:cubicBezTo>
                <a:cubicBezTo>
                  <a:pt x="71" y="175"/>
                  <a:pt x="70" y="175"/>
                  <a:pt x="69" y="175"/>
                </a:cubicBezTo>
                <a:cubicBezTo>
                  <a:pt x="68" y="175"/>
                  <a:pt x="66" y="176"/>
                  <a:pt x="65" y="175"/>
                </a:cubicBezTo>
                <a:cubicBezTo>
                  <a:pt x="65" y="174"/>
                  <a:pt x="64" y="174"/>
                  <a:pt x="63" y="174"/>
                </a:cubicBezTo>
                <a:cubicBezTo>
                  <a:pt x="62" y="174"/>
                  <a:pt x="61" y="175"/>
                  <a:pt x="60" y="176"/>
                </a:cubicBezTo>
                <a:cubicBezTo>
                  <a:pt x="58" y="178"/>
                  <a:pt x="55" y="180"/>
                  <a:pt x="53" y="182"/>
                </a:cubicBezTo>
                <a:cubicBezTo>
                  <a:pt x="51" y="184"/>
                  <a:pt x="48" y="185"/>
                  <a:pt x="46" y="187"/>
                </a:cubicBezTo>
                <a:cubicBezTo>
                  <a:pt x="43" y="188"/>
                  <a:pt x="41" y="190"/>
                  <a:pt x="38" y="191"/>
                </a:cubicBezTo>
                <a:cubicBezTo>
                  <a:pt x="36" y="193"/>
                  <a:pt x="33" y="194"/>
                  <a:pt x="31" y="195"/>
                </a:cubicBezTo>
                <a:cubicBezTo>
                  <a:pt x="30" y="196"/>
                  <a:pt x="29" y="196"/>
                  <a:pt x="28" y="197"/>
                </a:cubicBezTo>
                <a:cubicBezTo>
                  <a:pt x="27" y="198"/>
                  <a:pt x="27" y="200"/>
                  <a:pt x="27" y="201"/>
                </a:cubicBezTo>
                <a:cubicBezTo>
                  <a:pt x="26" y="203"/>
                  <a:pt x="25" y="207"/>
                  <a:pt x="23" y="208"/>
                </a:cubicBezTo>
                <a:cubicBezTo>
                  <a:pt x="23" y="208"/>
                  <a:pt x="21" y="209"/>
                  <a:pt x="20" y="208"/>
                </a:cubicBezTo>
                <a:cubicBezTo>
                  <a:pt x="20" y="208"/>
                  <a:pt x="20" y="206"/>
                  <a:pt x="19" y="205"/>
                </a:cubicBezTo>
                <a:cubicBezTo>
                  <a:pt x="19" y="204"/>
                  <a:pt x="19" y="203"/>
                  <a:pt x="19" y="202"/>
                </a:cubicBezTo>
                <a:cubicBezTo>
                  <a:pt x="19" y="201"/>
                  <a:pt x="19" y="200"/>
                  <a:pt x="18" y="199"/>
                </a:cubicBezTo>
                <a:cubicBezTo>
                  <a:pt x="17" y="199"/>
                  <a:pt x="15" y="205"/>
                  <a:pt x="14" y="205"/>
                </a:cubicBezTo>
                <a:cubicBezTo>
                  <a:pt x="13" y="206"/>
                  <a:pt x="13" y="207"/>
                  <a:pt x="13" y="208"/>
                </a:cubicBezTo>
                <a:cubicBezTo>
                  <a:pt x="13" y="209"/>
                  <a:pt x="14" y="211"/>
                  <a:pt x="14" y="212"/>
                </a:cubicBezTo>
                <a:cubicBezTo>
                  <a:pt x="15" y="213"/>
                  <a:pt x="15" y="214"/>
                  <a:pt x="15" y="215"/>
                </a:cubicBezTo>
                <a:cubicBezTo>
                  <a:pt x="15" y="217"/>
                  <a:pt x="14" y="218"/>
                  <a:pt x="14" y="220"/>
                </a:cubicBezTo>
                <a:cubicBezTo>
                  <a:pt x="15" y="222"/>
                  <a:pt x="15" y="225"/>
                  <a:pt x="13" y="226"/>
                </a:cubicBezTo>
                <a:cubicBezTo>
                  <a:pt x="12" y="227"/>
                  <a:pt x="11" y="228"/>
                  <a:pt x="11" y="229"/>
                </a:cubicBezTo>
                <a:cubicBezTo>
                  <a:pt x="10" y="230"/>
                  <a:pt x="10" y="231"/>
                  <a:pt x="9" y="232"/>
                </a:cubicBezTo>
                <a:cubicBezTo>
                  <a:pt x="8" y="235"/>
                  <a:pt x="7" y="238"/>
                  <a:pt x="8" y="240"/>
                </a:cubicBezTo>
                <a:cubicBezTo>
                  <a:pt x="9" y="243"/>
                  <a:pt x="10" y="246"/>
                  <a:pt x="11" y="248"/>
                </a:cubicBezTo>
                <a:cubicBezTo>
                  <a:pt x="12" y="251"/>
                  <a:pt x="13" y="254"/>
                  <a:pt x="15" y="257"/>
                </a:cubicBezTo>
                <a:cubicBezTo>
                  <a:pt x="16" y="259"/>
                  <a:pt x="17" y="263"/>
                  <a:pt x="19" y="265"/>
                </a:cubicBezTo>
                <a:cubicBezTo>
                  <a:pt x="21" y="266"/>
                  <a:pt x="23" y="268"/>
                  <a:pt x="22" y="270"/>
                </a:cubicBezTo>
                <a:cubicBezTo>
                  <a:pt x="21" y="271"/>
                  <a:pt x="21" y="272"/>
                  <a:pt x="21" y="273"/>
                </a:cubicBezTo>
                <a:cubicBezTo>
                  <a:pt x="21" y="274"/>
                  <a:pt x="22" y="275"/>
                  <a:pt x="21" y="276"/>
                </a:cubicBezTo>
                <a:cubicBezTo>
                  <a:pt x="19" y="278"/>
                  <a:pt x="16" y="277"/>
                  <a:pt x="16" y="274"/>
                </a:cubicBezTo>
                <a:cubicBezTo>
                  <a:pt x="16" y="273"/>
                  <a:pt x="17" y="272"/>
                  <a:pt x="16" y="271"/>
                </a:cubicBezTo>
                <a:cubicBezTo>
                  <a:pt x="15" y="271"/>
                  <a:pt x="14" y="271"/>
                  <a:pt x="13" y="272"/>
                </a:cubicBezTo>
                <a:cubicBezTo>
                  <a:pt x="11" y="274"/>
                  <a:pt x="15" y="275"/>
                  <a:pt x="15" y="277"/>
                </a:cubicBezTo>
                <a:cubicBezTo>
                  <a:pt x="16" y="278"/>
                  <a:pt x="16" y="281"/>
                  <a:pt x="15" y="282"/>
                </a:cubicBezTo>
                <a:cubicBezTo>
                  <a:pt x="14" y="284"/>
                  <a:pt x="11" y="282"/>
                  <a:pt x="11" y="281"/>
                </a:cubicBezTo>
                <a:cubicBezTo>
                  <a:pt x="11" y="280"/>
                  <a:pt x="11" y="279"/>
                  <a:pt x="10" y="278"/>
                </a:cubicBezTo>
                <a:cubicBezTo>
                  <a:pt x="9" y="278"/>
                  <a:pt x="8" y="277"/>
                  <a:pt x="8" y="276"/>
                </a:cubicBezTo>
                <a:cubicBezTo>
                  <a:pt x="8" y="273"/>
                  <a:pt x="8" y="273"/>
                  <a:pt x="6" y="272"/>
                </a:cubicBezTo>
                <a:cubicBezTo>
                  <a:pt x="4" y="271"/>
                  <a:pt x="3" y="268"/>
                  <a:pt x="3" y="266"/>
                </a:cubicBezTo>
                <a:cubicBezTo>
                  <a:pt x="2" y="266"/>
                  <a:pt x="2" y="263"/>
                  <a:pt x="1" y="263"/>
                </a:cubicBezTo>
                <a:cubicBezTo>
                  <a:pt x="0" y="262"/>
                  <a:pt x="1" y="266"/>
                  <a:pt x="1" y="267"/>
                </a:cubicBezTo>
                <a:cubicBezTo>
                  <a:pt x="2" y="269"/>
                  <a:pt x="3" y="271"/>
                  <a:pt x="4" y="273"/>
                </a:cubicBezTo>
                <a:cubicBezTo>
                  <a:pt x="4" y="276"/>
                  <a:pt x="6" y="279"/>
                  <a:pt x="8" y="281"/>
                </a:cubicBezTo>
                <a:cubicBezTo>
                  <a:pt x="11" y="286"/>
                  <a:pt x="15" y="289"/>
                  <a:pt x="18" y="295"/>
                </a:cubicBezTo>
                <a:cubicBezTo>
                  <a:pt x="19" y="297"/>
                  <a:pt x="18" y="300"/>
                  <a:pt x="19" y="303"/>
                </a:cubicBezTo>
                <a:cubicBezTo>
                  <a:pt x="19" y="306"/>
                  <a:pt x="20" y="309"/>
                  <a:pt x="21" y="311"/>
                </a:cubicBezTo>
                <a:cubicBezTo>
                  <a:pt x="25" y="316"/>
                  <a:pt x="29" y="320"/>
                  <a:pt x="31" y="325"/>
                </a:cubicBezTo>
                <a:cubicBezTo>
                  <a:pt x="32" y="328"/>
                  <a:pt x="32" y="331"/>
                  <a:pt x="33" y="334"/>
                </a:cubicBezTo>
                <a:cubicBezTo>
                  <a:pt x="33" y="337"/>
                  <a:pt x="34" y="340"/>
                  <a:pt x="34" y="344"/>
                </a:cubicBezTo>
                <a:cubicBezTo>
                  <a:pt x="34" y="349"/>
                  <a:pt x="37" y="356"/>
                  <a:pt x="39" y="361"/>
                </a:cubicBezTo>
                <a:cubicBezTo>
                  <a:pt x="41" y="363"/>
                  <a:pt x="42" y="366"/>
                  <a:pt x="43" y="368"/>
                </a:cubicBezTo>
                <a:cubicBezTo>
                  <a:pt x="44" y="371"/>
                  <a:pt x="44" y="374"/>
                  <a:pt x="46" y="377"/>
                </a:cubicBezTo>
                <a:cubicBezTo>
                  <a:pt x="47" y="380"/>
                  <a:pt x="46" y="382"/>
                  <a:pt x="47" y="385"/>
                </a:cubicBezTo>
                <a:cubicBezTo>
                  <a:pt x="48" y="388"/>
                  <a:pt x="49" y="390"/>
                  <a:pt x="48" y="393"/>
                </a:cubicBezTo>
                <a:cubicBezTo>
                  <a:pt x="47" y="394"/>
                  <a:pt x="47" y="394"/>
                  <a:pt x="46" y="394"/>
                </a:cubicBezTo>
                <a:cubicBezTo>
                  <a:pt x="45" y="394"/>
                  <a:pt x="45" y="396"/>
                  <a:pt x="46" y="397"/>
                </a:cubicBezTo>
                <a:cubicBezTo>
                  <a:pt x="46" y="398"/>
                  <a:pt x="46" y="399"/>
                  <a:pt x="46" y="401"/>
                </a:cubicBezTo>
                <a:cubicBezTo>
                  <a:pt x="46" y="402"/>
                  <a:pt x="46" y="403"/>
                  <a:pt x="47" y="405"/>
                </a:cubicBezTo>
                <a:cubicBezTo>
                  <a:pt x="47" y="408"/>
                  <a:pt x="44" y="409"/>
                  <a:pt x="42" y="410"/>
                </a:cubicBezTo>
                <a:cubicBezTo>
                  <a:pt x="41" y="411"/>
                  <a:pt x="40" y="411"/>
                  <a:pt x="39" y="412"/>
                </a:cubicBezTo>
                <a:cubicBezTo>
                  <a:pt x="38" y="412"/>
                  <a:pt x="37" y="412"/>
                  <a:pt x="36" y="412"/>
                </a:cubicBezTo>
                <a:cubicBezTo>
                  <a:pt x="35" y="412"/>
                  <a:pt x="35" y="413"/>
                  <a:pt x="34" y="414"/>
                </a:cubicBezTo>
                <a:cubicBezTo>
                  <a:pt x="34" y="415"/>
                  <a:pt x="33" y="416"/>
                  <a:pt x="34" y="417"/>
                </a:cubicBezTo>
                <a:cubicBezTo>
                  <a:pt x="34" y="418"/>
                  <a:pt x="35" y="419"/>
                  <a:pt x="35" y="420"/>
                </a:cubicBezTo>
                <a:cubicBezTo>
                  <a:pt x="35" y="422"/>
                  <a:pt x="35" y="423"/>
                  <a:pt x="35" y="425"/>
                </a:cubicBezTo>
                <a:cubicBezTo>
                  <a:pt x="36" y="426"/>
                  <a:pt x="40" y="427"/>
                  <a:pt x="41" y="428"/>
                </a:cubicBezTo>
                <a:cubicBezTo>
                  <a:pt x="44" y="429"/>
                  <a:pt x="46" y="430"/>
                  <a:pt x="49" y="432"/>
                </a:cubicBezTo>
                <a:cubicBezTo>
                  <a:pt x="52" y="436"/>
                  <a:pt x="55" y="440"/>
                  <a:pt x="61" y="440"/>
                </a:cubicBezTo>
                <a:cubicBezTo>
                  <a:pt x="64" y="440"/>
                  <a:pt x="67" y="439"/>
                  <a:pt x="70" y="439"/>
                </a:cubicBezTo>
                <a:cubicBezTo>
                  <a:pt x="73" y="439"/>
                  <a:pt x="76" y="440"/>
                  <a:pt x="80" y="440"/>
                </a:cubicBezTo>
                <a:cubicBezTo>
                  <a:pt x="82" y="441"/>
                  <a:pt x="85" y="441"/>
                  <a:pt x="88" y="440"/>
                </a:cubicBezTo>
                <a:cubicBezTo>
                  <a:pt x="91" y="439"/>
                  <a:pt x="93" y="437"/>
                  <a:pt x="94" y="436"/>
                </a:cubicBezTo>
                <a:cubicBezTo>
                  <a:pt x="96" y="434"/>
                  <a:pt x="98" y="432"/>
                  <a:pt x="100" y="431"/>
                </a:cubicBezTo>
                <a:cubicBezTo>
                  <a:pt x="101" y="430"/>
                  <a:pt x="102" y="430"/>
                  <a:pt x="103" y="429"/>
                </a:cubicBezTo>
                <a:cubicBezTo>
                  <a:pt x="105" y="429"/>
                  <a:pt x="106" y="430"/>
                  <a:pt x="108" y="429"/>
                </a:cubicBezTo>
                <a:cubicBezTo>
                  <a:pt x="110" y="428"/>
                  <a:pt x="111" y="427"/>
                  <a:pt x="112" y="425"/>
                </a:cubicBezTo>
                <a:cubicBezTo>
                  <a:pt x="113" y="422"/>
                  <a:pt x="115" y="421"/>
                  <a:pt x="117" y="420"/>
                </a:cubicBezTo>
                <a:cubicBezTo>
                  <a:pt x="119" y="420"/>
                  <a:pt x="122" y="421"/>
                  <a:pt x="124" y="420"/>
                </a:cubicBezTo>
                <a:cubicBezTo>
                  <a:pt x="127" y="420"/>
                  <a:pt x="130" y="419"/>
                  <a:pt x="132" y="418"/>
                </a:cubicBezTo>
                <a:cubicBezTo>
                  <a:pt x="135" y="417"/>
                  <a:pt x="138" y="418"/>
                  <a:pt x="141" y="418"/>
                </a:cubicBezTo>
                <a:cubicBezTo>
                  <a:pt x="144" y="418"/>
                  <a:pt x="147" y="417"/>
                  <a:pt x="150" y="417"/>
                </a:cubicBezTo>
                <a:cubicBezTo>
                  <a:pt x="152" y="417"/>
                  <a:pt x="155" y="416"/>
                  <a:pt x="155" y="419"/>
                </a:cubicBezTo>
                <a:cubicBezTo>
                  <a:pt x="156" y="421"/>
                  <a:pt x="157" y="421"/>
                  <a:pt x="159" y="421"/>
                </a:cubicBezTo>
                <a:cubicBezTo>
                  <a:pt x="160" y="420"/>
                  <a:pt x="161" y="419"/>
                  <a:pt x="163" y="419"/>
                </a:cubicBezTo>
                <a:cubicBezTo>
                  <a:pt x="165" y="418"/>
                  <a:pt x="169" y="417"/>
                  <a:pt x="171" y="417"/>
                </a:cubicBezTo>
                <a:cubicBezTo>
                  <a:pt x="172" y="417"/>
                  <a:pt x="172" y="418"/>
                  <a:pt x="173" y="419"/>
                </a:cubicBezTo>
                <a:cubicBezTo>
                  <a:pt x="174" y="420"/>
                  <a:pt x="175" y="420"/>
                  <a:pt x="176" y="420"/>
                </a:cubicBezTo>
                <a:cubicBezTo>
                  <a:pt x="177" y="420"/>
                  <a:pt x="178" y="419"/>
                  <a:pt x="179" y="419"/>
                </a:cubicBezTo>
                <a:cubicBezTo>
                  <a:pt x="180" y="418"/>
                  <a:pt x="181" y="417"/>
                  <a:pt x="182" y="416"/>
                </a:cubicBezTo>
                <a:cubicBezTo>
                  <a:pt x="183" y="414"/>
                  <a:pt x="185" y="413"/>
                  <a:pt x="187" y="410"/>
                </a:cubicBezTo>
                <a:cubicBezTo>
                  <a:pt x="187" y="409"/>
                  <a:pt x="188" y="408"/>
                  <a:pt x="189" y="407"/>
                </a:cubicBezTo>
                <a:cubicBezTo>
                  <a:pt x="189" y="405"/>
                  <a:pt x="190" y="404"/>
                  <a:pt x="191" y="403"/>
                </a:cubicBezTo>
                <a:cubicBezTo>
                  <a:pt x="192" y="401"/>
                  <a:pt x="195" y="400"/>
                  <a:pt x="197" y="399"/>
                </a:cubicBezTo>
                <a:cubicBezTo>
                  <a:pt x="200" y="398"/>
                  <a:pt x="203" y="397"/>
                  <a:pt x="206" y="396"/>
                </a:cubicBezTo>
                <a:cubicBezTo>
                  <a:pt x="208" y="394"/>
                  <a:pt x="211" y="393"/>
                  <a:pt x="213" y="392"/>
                </a:cubicBezTo>
                <a:cubicBezTo>
                  <a:pt x="216" y="391"/>
                  <a:pt x="218" y="389"/>
                  <a:pt x="221" y="388"/>
                </a:cubicBezTo>
                <a:cubicBezTo>
                  <a:pt x="223" y="387"/>
                  <a:pt x="226" y="387"/>
                  <a:pt x="228" y="387"/>
                </a:cubicBezTo>
                <a:cubicBezTo>
                  <a:pt x="232" y="388"/>
                  <a:pt x="235" y="388"/>
                  <a:pt x="239" y="388"/>
                </a:cubicBezTo>
                <a:cubicBezTo>
                  <a:pt x="245" y="388"/>
                  <a:pt x="250" y="388"/>
                  <a:pt x="255" y="385"/>
                </a:cubicBezTo>
                <a:cubicBezTo>
                  <a:pt x="257" y="383"/>
                  <a:pt x="259" y="382"/>
                  <a:pt x="262" y="381"/>
                </a:cubicBezTo>
                <a:cubicBezTo>
                  <a:pt x="265" y="380"/>
                  <a:pt x="268" y="379"/>
                  <a:pt x="271" y="378"/>
                </a:cubicBezTo>
                <a:cubicBezTo>
                  <a:pt x="276" y="376"/>
                  <a:pt x="282" y="376"/>
                  <a:pt x="288" y="376"/>
                </a:cubicBezTo>
                <a:cubicBezTo>
                  <a:pt x="291" y="376"/>
                  <a:pt x="294" y="376"/>
                  <a:pt x="297" y="376"/>
                </a:cubicBezTo>
                <a:cubicBezTo>
                  <a:pt x="300" y="376"/>
                  <a:pt x="303" y="376"/>
                  <a:pt x="305" y="375"/>
                </a:cubicBezTo>
                <a:cubicBezTo>
                  <a:pt x="307" y="374"/>
                  <a:pt x="309" y="371"/>
                  <a:pt x="311" y="373"/>
                </a:cubicBezTo>
                <a:cubicBezTo>
                  <a:pt x="313" y="374"/>
                  <a:pt x="316" y="376"/>
                  <a:pt x="318" y="377"/>
                </a:cubicBezTo>
                <a:cubicBezTo>
                  <a:pt x="319" y="378"/>
                  <a:pt x="321" y="378"/>
                  <a:pt x="322" y="379"/>
                </a:cubicBezTo>
                <a:cubicBezTo>
                  <a:pt x="323" y="379"/>
                  <a:pt x="323" y="380"/>
                  <a:pt x="324" y="381"/>
                </a:cubicBezTo>
                <a:cubicBezTo>
                  <a:pt x="327" y="383"/>
                  <a:pt x="329" y="382"/>
                  <a:pt x="332" y="381"/>
                </a:cubicBezTo>
                <a:cubicBezTo>
                  <a:pt x="335" y="381"/>
                  <a:pt x="338" y="381"/>
                  <a:pt x="340" y="382"/>
                </a:cubicBezTo>
                <a:cubicBezTo>
                  <a:pt x="342" y="383"/>
                  <a:pt x="346" y="386"/>
                  <a:pt x="348" y="385"/>
                </a:cubicBezTo>
                <a:cubicBezTo>
                  <a:pt x="350" y="385"/>
                  <a:pt x="352" y="382"/>
                  <a:pt x="353" y="385"/>
                </a:cubicBezTo>
                <a:cubicBezTo>
                  <a:pt x="354" y="386"/>
                  <a:pt x="354" y="387"/>
                  <a:pt x="355" y="387"/>
                </a:cubicBezTo>
                <a:cubicBezTo>
                  <a:pt x="356" y="388"/>
                  <a:pt x="356" y="389"/>
                  <a:pt x="355" y="390"/>
                </a:cubicBezTo>
                <a:cubicBezTo>
                  <a:pt x="355" y="393"/>
                  <a:pt x="362" y="391"/>
                  <a:pt x="362" y="395"/>
                </a:cubicBezTo>
                <a:cubicBezTo>
                  <a:pt x="362" y="396"/>
                  <a:pt x="361" y="396"/>
                  <a:pt x="361" y="397"/>
                </a:cubicBezTo>
                <a:cubicBezTo>
                  <a:pt x="360" y="397"/>
                  <a:pt x="360" y="398"/>
                  <a:pt x="360" y="399"/>
                </a:cubicBezTo>
                <a:cubicBezTo>
                  <a:pt x="361" y="401"/>
                  <a:pt x="363" y="404"/>
                  <a:pt x="364" y="405"/>
                </a:cubicBezTo>
                <a:cubicBezTo>
                  <a:pt x="365" y="405"/>
                  <a:pt x="367" y="405"/>
                  <a:pt x="368" y="405"/>
                </a:cubicBezTo>
                <a:cubicBezTo>
                  <a:pt x="369" y="405"/>
                  <a:pt x="369" y="406"/>
                  <a:pt x="370" y="407"/>
                </a:cubicBezTo>
                <a:cubicBezTo>
                  <a:pt x="371" y="408"/>
                  <a:pt x="371" y="409"/>
                  <a:pt x="371" y="410"/>
                </a:cubicBezTo>
                <a:cubicBezTo>
                  <a:pt x="371" y="412"/>
                  <a:pt x="372" y="413"/>
                  <a:pt x="373" y="414"/>
                </a:cubicBezTo>
                <a:cubicBezTo>
                  <a:pt x="375" y="416"/>
                  <a:pt x="378" y="416"/>
                  <a:pt x="379" y="419"/>
                </a:cubicBezTo>
                <a:cubicBezTo>
                  <a:pt x="380" y="421"/>
                  <a:pt x="380" y="424"/>
                  <a:pt x="381" y="426"/>
                </a:cubicBezTo>
                <a:cubicBezTo>
                  <a:pt x="381" y="427"/>
                  <a:pt x="382" y="428"/>
                  <a:pt x="383" y="429"/>
                </a:cubicBezTo>
                <a:cubicBezTo>
                  <a:pt x="383" y="430"/>
                  <a:pt x="383" y="431"/>
                  <a:pt x="383" y="432"/>
                </a:cubicBezTo>
                <a:cubicBezTo>
                  <a:pt x="383" y="434"/>
                  <a:pt x="384" y="436"/>
                  <a:pt x="387" y="437"/>
                </a:cubicBezTo>
                <a:cubicBezTo>
                  <a:pt x="388" y="437"/>
                  <a:pt x="389" y="437"/>
                  <a:pt x="390" y="437"/>
                </a:cubicBezTo>
                <a:cubicBezTo>
                  <a:pt x="391" y="438"/>
                  <a:pt x="392" y="439"/>
                  <a:pt x="393" y="438"/>
                </a:cubicBezTo>
                <a:cubicBezTo>
                  <a:pt x="393" y="438"/>
                  <a:pt x="393" y="437"/>
                  <a:pt x="392" y="437"/>
                </a:cubicBezTo>
                <a:cubicBezTo>
                  <a:pt x="391" y="436"/>
                  <a:pt x="391" y="435"/>
                  <a:pt x="391" y="433"/>
                </a:cubicBezTo>
                <a:cubicBezTo>
                  <a:pt x="392" y="427"/>
                  <a:pt x="396" y="423"/>
                  <a:pt x="401" y="419"/>
                </a:cubicBezTo>
                <a:cubicBezTo>
                  <a:pt x="403" y="418"/>
                  <a:pt x="406" y="416"/>
                  <a:pt x="408" y="415"/>
                </a:cubicBezTo>
                <a:cubicBezTo>
                  <a:pt x="411" y="414"/>
                  <a:pt x="413" y="414"/>
                  <a:pt x="414" y="411"/>
                </a:cubicBezTo>
                <a:cubicBezTo>
                  <a:pt x="415" y="409"/>
                  <a:pt x="416" y="406"/>
                  <a:pt x="417" y="404"/>
                </a:cubicBezTo>
                <a:cubicBezTo>
                  <a:pt x="419" y="402"/>
                  <a:pt x="421" y="400"/>
                  <a:pt x="422" y="398"/>
                </a:cubicBezTo>
                <a:cubicBezTo>
                  <a:pt x="422" y="396"/>
                  <a:pt x="421" y="394"/>
                  <a:pt x="422" y="392"/>
                </a:cubicBezTo>
                <a:cubicBezTo>
                  <a:pt x="423" y="390"/>
                  <a:pt x="424" y="395"/>
                  <a:pt x="424" y="395"/>
                </a:cubicBezTo>
                <a:cubicBezTo>
                  <a:pt x="424" y="397"/>
                  <a:pt x="425" y="398"/>
                  <a:pt x="425" y="399"/>
                </a:cubicBezTo>
                <a:cubicBezTo>
                  <a:pt x="426" y="400"/>
                  <a:pt x="427" y="400"/>
                  <a:pt x="427" y="402"/>
                </a:cubicBezTo>
                <a:cubicBezTo>
                  <a:pt x="426" y="404"/>
                  <a:pt x="423" y="405"/>
                  <a:pt x="424" y="408"/>
                </a:cubicBezTo>
                <a:cubicBezTo>
                  <a:pt x="425" y="409"/>
                  <a:pt x="424" y="413"/>
                  <a:pt x="423" y="414"/>
                </a:cubicBezTo>
                <a:cubicBezTo>
                  <a:pt x="422" y="417"/>
                  <a:pt x="420" y="418"/>
                  <a:pt x="419" y="421"/>
                </a:cubicBezTo>
                <a:cubicBezTo>
                  <a:pt x="418" y="424"/>
                  <a:pt x="418" y="426"/>
                  <a:pt x="418" y="429"/>
                </a:cubicBezTo>
                <a:cubicBezTo>
                  <a:pt x="418" y="432"/>
                  <a:pt x="419" y="435"/>
                  <a:pt x="417" y="437"/>
                </a:cubicBezTo>
                <a:cubicBezTo>
                  <a:pt x="415" y="439"/>
                  <a:pt x="413" y="438"/>
                  <a:pt x="410" y="439"/>
                </a:cubicBezTo>
                <a:cubicBezTo>
                  <a:pt x="409" y="439"/>
                  <a:pt x="409" y="440"/>
                  <a:pt x="408" y="441"/>
                </a:cubicBezTo>
                <a:cubicBezTo>
                  <a:pt x="408" y="441"/>
                  <a:pt x="407" y="444"/>
                  <a:pt x="408" y="444"/>
                </a:cubicBezTo>
                <a:cubicBezTo>
                  <a:pt x="410" y="443"/>
                  <a:pt x="413" y="444"/>
                  <a:pt x="414" y="442"/>
                </a:cubicBezTo>
                <a:cubicBezTo>
                  <a:pt x="415" y="441"/>
                  <a:pt x="416" y="441"/>
                  <a:pt x="418" y="441"/>
                </a:cubicBezTo>
                <a:cubicBezTo>
                  <a:pt x="419" y="441"/>
                  <a:pt x="420" y="442"/>
                  <a:pt x="421" y="441"/>
                </a:cubicBezTo>
                <a:cubicBezTo>
                  <a:pt x="422" y="440"/>
                  <a:pt x="423" y="437"/>
                  <a:pt x="423" y="435"/>
                </a:cubicBezTo>
                <a:cubicBezTo>
                  <a:pt x="423" y="434"/>
                  <a:pt x="423" y="432"/>
                  <a:pt x="424" y="431"/>
                </a:cubicBezTo>
                <a:cubicBezTo>
                  <a:pt x="424" y="430"/>
                  <a:pt x="425" y="429"/>
                  <a:pt x="426" y="427"/>
                </a:cubicBezTo>
                <a:cubicBezTo>
                  <a:pt x="426" y="426"/>
                  <a:pt x="427" y="423"/>
                  <a:pt x="429" y="424"/>
                </a:cubicBezTo>
                <a:cubicBezTo>
                  <a:pt x="431" y="425"/>
                  <a:pt x="431" y="428"/>
                  <a:pt x="432" y="430"/>
                </a:cubicBezTo>
                <a:cubicBezTo>
                  <a:pt x="433" y="432"/>
                  <a:pt x="436" y="434"/>
                  <a:pt x="436" y="436"/>
                </a:cubicBezTo>
                <a:cubicBezTo>
                  <a:pt x="436" y="439"/>
                  <a:pt x="436" y="442"/>
                  <a:pt x="435" y="444"/>
                </a:cubicBezTo>
                <a:cubicBezTo>
                  <a:pt x="434" y="447"/>
                  <a:pt x="433" y="448"/>
                  <a:pt x="431" y="449"/>
                </a:cubicBezTo>
                <a:cubicBezTo>
                  <a:pt x="429" y="451"/>
                  <a:pt x="433" y="451"/>
                  <a:pt x="434" y="451"/>
                </a:cubicBezTo>
                <a:cubicBezTo>
                  <a:pt x="436" y="452"/>
                  <a:pt x="438" y="449"/>
                  <a:pt x="440" y="449"/>
                </a:cubicBezTo>
                <a:cubicBezTo>
                  <a:pt x="441" y="449"/>
                  <a:pt x="443" y="449"/>
                  <a:pt x="444" y="449"/>
                </a:cubicBezTo>
                <a:cubicBezTo>
                  <a:pt x="445" y="448"/>
                  <a:pt x="446" y="447"/>
                  <a:pt x="447" y="446"/>
                </a:cubicBezTo>
                <a:cubicBezTo>
                  <a:pt x="449" y="445"/>
                  <a:pt x="448" y="449"/>
                  <a:pt x="448" y="450"/>
                </a:cubicBezTo>
                <a:cubicBezTo>
                  <a:pt x="448" y="451"/>
                  <a:pt x="448" y="453"/>
                  <a:pt x="448" y="454"/>
                </a:cubicBezTo>
                <a:cubicBezTo>
                  <a:pt x="449" y="455"/>
                  <a:pt x="450" y="455"/>
                  <a:pt x="451" y="456"/>
                </a:cubicBezTo>
                <a:cubicBezTo>
                  <a:pt x="451" y="456"/>
                  <a:pt x="452" y="457"/>
                  <a:pt x="452" y="458"/>
                </a:cubicBezTo>
                <a:cubicBezTo>
                  <a:pt x="451" y="458"/>
                  <a:pt x="450" y="458"/>
                  <a:pt x="450" y="459"/>
                </a:cubicBezTo>
                <a:cubicBezTo>
                  <a:pt x="450" y="460"/>
                  <a:pt x="451" y="460"/>
                  <a:pt x="451" y="461"/>
                </a:cubicBezTo>
                <a:cubicBezTo>
                  <a:pt x="453" y="462"/>
                  <a:pt x="454" y="463"/>
                  <a:pt x="455" y="464"/>
                </a:cubicBezTo>
                <a:cubicBezTo>
                  <a:pt x="456" y="466"/>
                  <a:pt x="458" y="469"/>
                  <a:pt x="458" y="471"/>
                </a:cubicBezTo>
                <a:cubicBezTo>
                  <a:pt x="458" y="474"/>
                  <a:pt x="456" y="477"/>
                  <a:pt x="456" y="480"/>
                </a:cubicBezTo>
                <a:cubicBezTo>
                  <a:pt x="456" y="482"/>
                  <a:pt x="458" y="485"/>
                  <a:pt x="460" y="486"/>
                </a:cubicBezTo>
                <a:cubicBezTo>
                  <a:pt x="462" y="488"/>
                  <a:pt x="464" y="489"/>
                  <a:pt x="465" y="492"/>
                </a:cubicBezTo>
                <a:cubicBezTo>
                  <a:pt x="467" y="495"/>
                  <a:pt x="467" y="496"/>
                  <a:pt x="470" y="497"/>
                </a:cubicBezTo>
                <a:cubicBezTo>
                  <a:pt x="473" y="498"/>
                  <a:pt x="476" y="498"/>
                  <a:pt x="478" y="499"/>
                </a:cubicBezTo>
                <a:cubicBezTo>
                  <a:pt x="480" y="499"/>
                  <a:pt x="482" y="501"/>
                  <a:pt x="483" y="503"/>
                </a:cubicBezTo>
                <a:cubicBezTo>
                  <a:pt x="486" y="505"/>
                  <a:pt x="488" y="503"/>
                  <a:pt x="491" y="502"/>
                </a:cubicBezTo>
                <a:cubicBezTo>
                  <a:pt x="493" y="502"/>
                  <a:pt x="495" y="503"/>
                  <a:pt x="497" y="504"/>
                </a:cubicBezTo>
                <a:cubicBezTo>
                  <a:pt x="500" y="505"/>
                  <a:pt x="503" y="504"/>
                  <a:pt x="505" y="506"/>
                </a:cubicBezTo>
                <a:cubicBezTo>
                  <a:pt x="507" y="507"/>
                  <a:pt x="509" y="509"/>
                  <a:pt x="511" y="510"/>
                </a:cubicBezTo>
                <a:cubicBezTo>
                  <a:pt x="513" y="510"/>
                  <a:pt x="514" y="510"/>
                  <a:pt x="515" y="511"/>
                </a:cubicBezTo>
                <a:cubicBezTo>
                  <a:pt x="517" y="512"/>
                  <a:pt x="518" y="513"/>
                  <a:pt x="519" y="513"/>
                </a:cubicBezTo>
                <a:cubicBezTo>
                  <a:pt x="522" y="514"/>
                  <a:pt x="524" y="512"/>
                  <a:pt x="526" y="510"/>
                </a:cubicBezTo>
                <a:cubicBezTo>
                  <a:pt x="528" y="508"/>
                  <a:pt x="530" y="506"/>
                  <a:pt x="532" y="505"/>
                </a:cubicBezTo>
                <a:cubicBezTo>
                  <a:pt x="533" y="504"/>
                  <a:pt x="538" y="504"/>
                  <a:pt x="538" y="503"/>
                </a:cubicBezTo>
                <a:cubicBezTo>
                  <a:pt x="538" y="501"/>
                  <a:pt x="534" y="503"/>
                  <a:pt x="534" y="500"/>
                </a:cubicBezTo>
                <a:cubicBezTo>
                  <a:pt x="535" y="498"/>
                  <a:pt x="538" y="498"/>
                  <a:pt x="539" y="498"/>
                </a:cubicBezTo>
                <a:cubicBezTo>
                  <a:pt x="540" y="497"/>
                  <a:pt x="540" y="496"/>
                  <a:pt x="541" y="496"/>
                </a:cubicBezTo>
                <a:cubicBezTo>
                  <a:pt x="542" y="495"/>
                  <a:pt x="543" y="495"/>
                  <a:pt x="544" y="495"/>
                </a:cubicBezTo>
                <a:cubicBezTo>
                  <a:pt x="545" y="496"/>
                  <a:pt x="545" y="497"/>
                  <a:pt x="546" y="497"/>
                </a:cubicBezTo>
                <a:cubicBezTo>
                  <a:pt x="547" y="498"/>
                  <a:pt x="548" y="499"/>
                  <a:pt x="549" y="500"/>
                </a:cubicBezTo>
                <a:cubicBezTo>
                  <a:pt x="550" y="502"/>
                  <a:pt x="548" y="504"/>
                  <a:pt x="546" y="504"/>
                </a:cubicBezTo>
                <a:cubicBezTo>
                  <a:pt x="545" y="505"/>
                  <a:pt x="542" y="506"/>
                  <a:pt x="544" y="507"/>
                </a:cubicBezTo>
                <a:cubicBezTo>
                  <a:pt x="546" y="507"/>
                  <a:pt x="547" y="506"/>
                  <a:pt x="548" y="505"/>
                </a:cubicBezTo>
                <a:cubicBezTo>
                  <a:pt x="550" y="504"/>
                  <a:pt x="555" y="500"/>
                  <a:pt x="555" y="505"/>
                </a:cubicBezTo>
                <a:cubicBezTo>
                  <a:pt x="555" y="506"/>
                  <a:pt x="554" y="506"/>
                  <a:pt x="554" y="507"/>
                </a:cubicBezTo>
                <a:cubicBezTo>
                  <a:pt x="554" y="508"/>
                  <a:pt x="555" y="509"/>
                  <a:pt x="555" y="510"/>
                </a:cubicBezTo>
                <a:cubicBezTo>
                  <a:pt x="557" y="512"/>
                  <a:pt x="559" y="515"/>
                  <a:pt x="562" y="515"/>
                </a:cubicBezTo>
                <a:cubicBezTo>
                  <a:pt x="564" y="515"/>
                  <a:pt x="566" y="515"/>
                  <a:pt x="567" y="517"/>
                </a:cubicBezTo>
                <a:cubicBezTo>
                  <a:pt x="567" y="518"/>
                  <a:pt x="568" y="522"/>
                  <a:pt x="569" y="519"/>
                </a:cubicBezTo>
                <a:cubicBezTo>
                  <a:pt x="569" y="518"/>
                  <a:pt x="569" y="517"/>
                  <a:pt x="568" y="516"/>
                </a:cubicBezTo>
                <a:cubicBezTo>
                  <a:pt x="568" y="516"/>
                  <a:pt x="567" y="515"/>
                  <a:pt x="567" y="514"/>
                </a:cubicBezTo>
                <a:cubicBezTo>
                  <a:pt x="567" y="513"/>
                  <a:pt x="567" y="512"/>
                  <a:pt x="567" y="511"/>
                </a:cubicBezTo>
                <a:cubicBezTo>
                  <a:pt x="568" y="511"/>
                  <a:pt x="569" y="511"/>
                  <a:pt x="570" y="511"/>
                </a:cubicBezTo>
                <a:cubicBezTo>
                  <a:pt x="573" y="511"/>
                  <a:pt x="575" y="511"/>
                  <a:pt x="577" y="510"/>
                </a:cubicBezTo>
                <a:cubicBezTo>
                  <a:pt x="580" y="508"/>
                  <a:pt x="582" y="505"/>
                  <a:pt x="584" y="503"/>
                </a:cubicBezTo>
                <a:cubicBezTo>
                  <a:pt x="588" y="499"/>
                  <a:pt x="593" y="495"/>
                  <a:pt x="599" y="494"/>
                </a:cubicBezTo>
                <a:cubicBezTo>
                  <a:pt x="601" y="493"/>
                  <a:pt x="604" y="494"/>
                  <a:pt x="606" y="494"/>
                </a:cubicBezTo>
                <a:cubicBezTo>
                  <a:pt x="609" y="494"/>
                  <a:pt x="612" y="494"/>
                  <a:pt x="616" y="493"/>
                </a:cubicBezTo>
                <a:cubicBezTo>
                  <a:pt x="619" y="493"/>
                  <a:pt x="621" y="492"/>
                  <a:pt x="622" y="490"/>
                </a:cubicBezTo>
                <a:cubicBezTo>
                  <a:pt x="624" y="488"/>
                  <a:pt x="627" y="489"/>
                  <a:pt x="629" y="488"/>
                </a:cubicBezTo>
                <a:cubicBezTo>
                  <a:pt x="631" y="487"/>
                  <a:pt x="630" y="484"/>
                  <a:pt x="629" y="483"/>
                </a:cubicBezTo>
                <a:cubicBezTo>
                  <a:pt x="627" y="480"/>
                  <a:pt x="629" y="477"/>
                  <a:pt x="629" y="474"/>
                </a:cubicBezTo>
                <a:cubicBezTo>
                  <a:pt x="630" y="471"/>
                  <a:pt x="631" y="468"/>
                  <a:pt x="632" y="465"/>
                </a:cubicBezTo>
                <a:cubicBezTo>
                  <a:pt x="632" y="462"/>
                  <a:pt x="633" y="459"/>
                  <a:pt x="634" y="456"/>
                </a:cubicBezTo>
                <a:cubicBezTo>
                  <a:pt x="634" y="453"/>
                  <a:pt x="636" y="450"/>
                  <a:pt x="637" y="448"/>
                </a:cubicBezTo>
                <a:cubicBezTo>
                  <a:pt x="639" y="446"/>
                  <a:pt x="640" y="443"/>
                  <a:pt x="642" y="440"/>
                </a:cubicBezTo>
                <a:cubicBezTo>
                  <a:pt x="642" y="440"/>
                  <a:pt x="643" y="439"/>
                  <a:pt x="643" y="438"/>
                </a:cubicBezTo>
                <a:cubicBezTo>
                  <a:pt x="643" y="436"/>
                  <a:pt x="642" y="436"/>
                  <a:pt x="643" y="435"/>
                </a:cubicBezTo>
                <a:cubicBezTo>
                  <a:pt x="644" y="434"/>
                  <a:pt x="645" y="433"/>
                  <a:pt x="644" y="432"/>
                </a:cubicBezTo>
                <a:cubicBezTo>
                  <a:pt x="644" y="431"/>
                  <a:pt x="643" y="430"/>
                  <a:pt x="644" y="429"/>
                </a:cubicBezTo>
                <a:cubicBezTo>
                  <a:pt x="645" y="428"/>
                  <a:pt x="646" y="427"/>
                  <a:pt x="646" y="426"/>
                </a:cubicBezTo>
                <a:cubicBezTo>
                  <a:pt x="647" y="425"/>
                  <a:pt x="648" y="423"/>
                  <a:pt x="648" y="422"/>
                </a:cubicBezTo>
                <a:cubicBezTo>
                  <a:pt x="650" y="420"/>
                  <a:pt x="652" y="419"/>
                  <a:pt x="653" y="417"/>
                </a:cubicBezTo>
                <a:cubicBezTo>
                  <a:pt x="653" y="414"/>
                  <a:pt x="651" y="413"/>
                  <a:pt x="651" y="411"/>
                </a:cubicBezTo>
                <a:cubicBezTo>
                  <a:pt x="651" y="409"/>
                  <a:pt x="654" y="407"/>
                  <a:pt x="655" y="406"/>
                </a:cubicBezTo>
                <a:cubicBezTo>
                  <a:pt x="658" y="404"/>
                  <a:pt x="658" y="402"/>
                  <a:pt x="660" y="400"/>
                </a:cubicBezTo>
                <a:cubicBezTo>
                  <a:pt x="660" y="399"/>
                  <a:pt x="661" y="398"/>
                  <a:pt x="662" y="398"/>
                </a:cubicBezTo>
                <a:cubicBezTo>
                  <a:pt x="663" y="397"/>
                  <a:pt x="664" y="397"/>
                  <a:pt x="665" y="397"/>
                </a:cubicBezTo>
                <a:cubicBezTo>
                  <a:pt x="667" y="396"/>
                  <a:pt x="666" y="395"/>
                  <a:pt x="667" y="394"/>
                </a:cubicBezTo>
                <a:cubicBezTo>
                  <a:pt x="669" y="393"/>
                  <a:pt x="671" y="392"/>
                  <a:pt x="673" y="391"/>
                </a:cubicBezTo>
                <a:cubicBezTo>
                  <a:pt x="674" y="390"/>
                  <a:pt x="674" y="388"/>
                  <a:pt x="673" y="386"/>
                </a:cubicBezTo>
                <a:cubicBezTo>
                  <a:pt x="673" y="384"/>
                  <a:pt x="673" y="383"/>
                  <a:pt x="675" y="381"/>
                </a:cubicBezTo>
                <a:cubicBezTo>
                  <a:pt x="682" y="375"/>
                  <a:pt x="681" y="365"/>
                  <a:pt x="681" y="357"/>
                </a:cubicBezTo>
                <a:cubicBezTo>
                  <a:pt x="681" y="355"/>
                  <a:pt x="681" y="353"/>
                  <a:pt x="683" y="351"/>
                </a:cubicBezTo>
                <a:cubicBezTo>
                  <a:pt x="683" y="350"/>
                  <a:pt x="684" y="349"/>
                  <a:pt x="685" y="348"/>
                </a:cubicBezTo>
                <a:cubicBezTo>
                  <a:pt x="685" y="347"/>
                  <a:pt x="685" y="346"/>
                  <a:pt x="685" y="345"/>
                </a:cubicBezTo>
                <a:cubicBezTo>
                  <a:pt x="686" y="344"/>
                  <a:pt x="687" y="342"/>
                  <a:pt x="688" y="340"/>
                </a:cubicBezTo>
                <a:cubicBezTo>
                  <a:pt x="688" y="338"/>
                  <a:pt x="687" y="335"/>
                  <a:pt x="687" y="333"/>
                </a:cubicBezTo>
                <a:cubicBezTo>
                  <a:pt x="687" y="331"/>
                  <a:pt x="688" y="329"/>
                  <a:pt x="688" y="327"/>
                </a:cubicBezTo>
                <a:cubicBezTo>
                  <a:pt x="689" y="325"/>
                  <a:pt x="691" y="324"/>
                  <a:pt x="691" y="323"/>
                </a:cubicBezTo>
                <a:cubicBezTo>
                  <a:pt x="693" y="321"/>
                  <a:pt x="692" y="318"/>
                  <a:pt x="691" y="316"/>
                </a:cubicBezTo>
                <a:cubicBezTo>
                  <a:pt x="691" y="314"/>
                  <a:pt x="691" y="311"/>
                  <a:pt x="691" y="309"/>
                </a:cubicBezTo>
                <a:cubicBezTo>
                  <a:pt x="691" y="309"/>
                  <a:pt x="691" y="309"/>
                  <a:pt x="691" y="309"/>
                </a:cubicBezTo>
                <a:cubicBezTo>
                  <a:pt x="691" y="307"/>
                  <a:pt x="691" y="309"/>
                  <a:pt x="691" y="309"/>
                </a:cubicBezTo>
                <a:close/>
                <a:moveTo>
                  <a:pt x="407" y="54"/>
                </a:moveTo>
                <a:cubicBezTo>
                  <a:pt x="406" y="54"/>
                  <a:pt x="405" y="53"/>
                  <a:pt x="405" y="53"/>
                </a:cubicBezTo>
                <a:cubicBezTo>
                  <a:pt x="403" y="52"/>
                  <a:pt x="403" y="53"/>
                  <a:pt x="402" y="54"/>
                </a:cubicBezTo>
                <a:cubicBezTo>
                  <a:pt x="402" y="55"/>
                  <a:pt x="401" y="55"/>
                  <a:pt x="400" y="56"/>
                </a:cubicBezTo>
                <a:cubicBezTo>
                  <a:pt x="399" y="56"/>
                  <a:pt x="398" y="59"/>
                  <a:pt x="398" y="60"/>
                </a:cubicBezTo>
                <a:cubicBezTo>
                  <a:pt x="399" y="62"/>
                  <a:pt x="401" y="62"/>
                  <a:pt x="402" y="62"/>
                </a:cubicBezTo>
                <a:cubicBezTo>
                  <a:pt x="404" y="62"/>
                  <a:pt x="405" y="61"/>
                  <a:pt x="405" y="59"/>
                </a:cubicBezTo>
                <a:cubicBezTo>
                  <a:pt x="405" y="58"/>
                  <a:pt x="411" y="55"/>
                  <a:pt x="406" y="54"/>
                </a:cubicBezTo>
                <a:cubicBezTo>
                  <a:pt x="406" y="54"/>
                  <a:pt x="407" y="54"/>
                  <a:pt x="407" y="54"/>
                </a:cubicBezTo>
                <a:cubicBezTo>
                  <a:pt x="405" y="54"/>
                  <a:pt x="407" y="54"/>
                  <a:pt x="407" y="54"/>
                </a:cubicBezTo>
                <a:close/>
                <a:moveTo>
                  <a:pt x="389" y="20"/>
                </a:moveTo>
                <a:cubicBezTo>
                  <a:pt x="388" y="21"/>
                  <a:pt x="387" y="21"/>
                  <a:pt x="386" y="23"/>
                </a:cubicBezTo>
                <a:cubicBezTo>
                  <a:pt x="386" y="24"/>
                  <a:pt x="388" y="24"/>
                  <a:pt x="389" y="25"/>
                </a:cubicBezTo>
                <a:cubicBezTo>
                  <a:pt x="390" y="25"/>
                  <a:pt x="390" y="23"/>
                  <a:pt x="390" y="22"/>
                </a:cubicBezTo>
                <a:cubicBezTo>
                  <a:pt x="391" y="20"/>
                  <a:pt x="390" y="19"/>
                  <a:pt x="389" y="20"/>
                </a:cubicBezTo>
                <a:cubicBezTo>
                  <a:pt x="389" y="20"/>
                  <a:pt x="389" y="20"/>
                  <a:pt x="389" y="20"/>
                </a:cubicBezTo>
                <a:cubicBezTo>
                  <a:pt x="389" y="20"/>
                  <a:pt x="389" y="20"/>
                  <a:pt x="389" y="20"/>
                </a:cubicBezTo>
                <a:close/>
                <a:moveTo>
                  <a:pt x="404" y="8"/>
                </a:moveTo>
                <a:cubicBezTo>
                  <a:pt x="403" y="10"/>
                  <a:pt x="402" y="13"/>
                  <a:pt x="400" y="14"/>
                </a:cubicBezTo>
                <a:cubicBezTo>
                  <a:pt x="399" y="15"/>
                  <a:pt x="398" y="15"/>
                  <a:pt x="397" y="16"/>
                </a:cubicBezTo>
                <a:cubicBezTo>
                  <a:pt x="396" y="16"/>
                  <a:pt x="398" y="17"/>
                  <a:pt x="399" y="17"/>
                </a:cubicBezTo>
                <a:cubicBezTo>
                  <a:pt x="400" y="16"/>
                  <a:pt x="400" y="15"/>
                  <a:pt x="401" y="14"/>
                </a:cubicBezTo>
                <a:cubicBezTo>
                  <a:pt x="402" y="13"/>
                  <a:pt x="403" y="13"/>
                  <a:pt x="404" y="12"/>
                </a:cubicBezTo>
                <a:cubicBezTo>
                  <a:pt x="405" y="11"/>
                  <a:pt x="405" y="9"/>
                  <a:pt x="405" y="8"/>
                </a:cubicBezTo>
                <a:cubicBezTo>
                  <a:pt x="404" y="6"/>
                  <a:pt x="403" y="9"/>
                  <a:pt x="403" y="9"/>
                </a:cubicBezTo>
                <a:cubicBezTo>
                  <a:pt x="403" y="9"/>
                  <a:pt x="404" y="8"/>
                  <a:pt x="404" y="8"/>
                </a:cubicBezTo>
                <a:cubicBezTo>
                  <a:pt x="403" y="10"/>
                  <a:pt x="404" y="8"/>
                  <a:pt x="404" y="8"/>
                </a:cubicBezTo>
                <a:close/>
                <a:moveTo>
                  <a:pt x="295" y="20"/>
                </a:moveTo>
                <a:cubicBezTo>
                  <a:pt x="296" y="20"/>
                  <a:pt x="299" y="21"/>
                  <a:pt x="298" y="19"/>
                </a:cubicBezTo>
                <a:cubicBezTo>
                  <a:pt x="298" y="18"/>
                  <a:pt x="296" y="18"/>
                  <a:pt x="296" y="16"/>
                </a:cubicBezTo>
                <a:cubicBezTo>
                  <a:pt x="296" y="15"/>
                  <a:pt x="296" y="14"/>
                  <a:pt x="294" y="14"/>
                </a:cubicBezTo>
                <a:cubicBezTo>
                  <a:pt x="293" y="14"/>
                  <a:pt x="293" y="15"/>
                  <a:pt x="293" y="16"/>
                </a:cubicBezTo>
                <a:cubicBezTo>
                  <a:pt x="293" y="17"/>
                  <a:pt x="292" y="17"/>
                  <a:pt x="292" y="19"/>
                </a:cubicBezTo>
                <a:cubicBezTo>
                  <a:pt x="291" y="19"/>
                  <a:pt x="291" y="20"/>
                  <a:pt x="292" y="20"/>
                </a:cubicBezTo>
                <a:cubicBezTo>
                  <a:pt x="293" y="20"/>
                  <a:pt x="295" y="20"/>
                  <a:pt x="296" y="20"/>
                </a:cubicBezTo>
                <a:cubicBezTo>
                  <a:pt x="295" y="20"/>
                  <a:pt x="295" y="20"/>
                  <a:pt x="295" y="20"/>
                </a:cubicBezTo>
                <a:cubicBezTo>
                  <a:pt x="295" y="20"/>
                  <a:pt x="295" y="20"/>
                  <a:pt x="295" y="20"/>
                </a:cubicBezTo>
                <a:close/>
                <a:moveTo>
                  <a:pt x="301" y="18"/>
                </a:moveTo>
                <a:cubicBezTo>
                  <a:pt x="301" y="19"/>
                  <a:pt x="303" y="19"/>
                  <a:pt x="304" y="19"/>
                </a:cubicBezTo>
                <a:cubicBezTo>
                  <a:pt x="305" y="19"/>
                  <a:pt x="305" y="21"/>
                  <a:pt x="305" y="21"/>
                </a:cubicBezTo>
                <a:cubicBezTo>
                  <a:pt x="307" y="24"/>
                  <a:pt x="308" y="20"/>
                  <a:pt x="310" y="19"/>
                </a:cubicBezTo>
                <a:cubicBezTo>
                  <a:pt x="311" y="18"/>
                  <a:pt x="312" y="17"/>
                  <a:pt x="314" y="17"/>
                </a:cubicBezTo>
                <a:cubicBezTo>
                  <a:pt x="314" y="17"/>
                  <a:pt x="316" y="16"/>
                  <a:pt x="317" y="15"/>
                </a:cubicBezTo>
                <a:cubicBezTo>
                  <a:pt x="317" y="15"/>
                  <a:pt x="316" y="14"/>
                  <a:pt x="315" y="13"/>
                </a:cubicBezTo>
                <a:cubicBezTo>
                  <a:pt x="314" y="13"/>
                  <a:pt x="314" y="11"/>
                  <a:pt x="313" y="11"/>
                </a:cubicBezTo>
                <a:cubicBezTo>
                  <a:pt x="312" y="11"/>
                  <a:pt x="311" y="12"/>
                  <a:pt x="310" y="13"/>
                </a:cubicBezTo>
                <a:cubicBezTo>
                  <a:pt x="310" y="13"/>
                  <a:pt x="310" y="11"/>
                  <a:pt x="309" y="10"/>
                </a:cubicBezTo>
                <a:cubicBezTo>
                  <a:pt x="308" y="10"/>
                  <a:pt x="307" y="11"/>
                  <a:pt x="307" y="11"/>
                </a:cubicBezTo>
                <a:cubicBezTo>
                  <a:pt x="305" y="12"/>
                  <a:pt x="304" y="13"/>
                  <a:pt x="303" y="13"/>
                </a:cubicBezTo>
                <a:cubicBezTo>
                  <a:pt x="302" y="13"/>
                  <a:pt x="300" y="13"/>
                  <a:pt x="299" y="12"/>
                </a:cubicBezTo>
                <a:cubicBezTo>
                  <a:pt x="299" y="12"/>
                  <a:pt x="297" y="10"/>
                  <a:pt x="298" y="11"/>
                </a:cubicBezTo>
                <a:cubicBezTo>
                  <a:pt x="298" y="13"/>
                  <a:pt x="298" y="14"/>
                  <a:pt x="299" y="15"/>
                </a:cubicBezTo>
                <a:cubicBezTo>
                  <a:pt x="300" y="16"/>
                  <a:pt x="301" y="17"/>
                  <a:pt x="301" y="18"/>
                </a:cubicBezTo>
                <a:cubicBezTo>
                  <a:pt x="301" y="18"/>
                  <a:pt x="301" y="18"/>
                  <a:pt x="301" y="18"/>
                </a:cubicBezTo>
                <a:cubicBezTo>
                  <a:pt x="302" y="19"/>
                  <a:pt x="301" y="18"/>
                  <a:pt x="301" y="18"/>
                </a:cubicBezTo>
                <a:close/>
                <a:moveTo>
                  <a:pt x="630" y="96"/>
                </a:moveTo>
                <a:cubicBezTo>
                  <a:pt x="629" y="97"/>
                  <a:pt x="628" y="97"/>
                  <a:pt x="628" y="98"/>
                </a:cubicBezTo>
                <a:cubicBezTo>
                  <a:pt x="629" y="99"/>
                  <a:pt x="630" y="100"/>
                  <a:pt x="631" y="100"/>
                </a:cubicBezTo>
                <a:cubicBezTo>
                  <a:pt x="633" y="99"/>
                  <a:pt x="631" y="95"/>
                  <a:pt x="629" y="97"/>
                </a:cubicBezTo>
                <a:cubicBezTo>
                  <a:pt x="629" y="97"/>
                  <a:pt x="630" y="97"/>
                  <a:pt x="630" y="96"/>
                </a:cubicBezTo>
                <a:cubicBezTo>
                  <a:pt x="629" y="97"/>
                  <a:pt x="630" y="96"/>
                  <a:pt x="630" y="96"/>
                </a:cubicBezTo>
                <a:close/>
                <a:moveTo>
                  <a:pt x="456" y="102"/>
                </a:moveTo>
                <a:cubicBezTo>
                  <a:pt x="456" y="101"/>
                  <a:pt x="454" y="101"/>
                  <a:pt x="453" y="101"/>
                </a:cubicBezTo>
                <a:cubicBezTo>
                  <a:pt x="452" y="101"/>
                  <a:pt x="450" y="100"/>
                  <a:pt x="448" y="101"/>
                </a:cubicBezTo>
                <a:cubicBezTo>
                  <a:pt x="446" y="101"/>
                  <a:pt x="446" y="105"/>
                  <a:pt x="448" y="106"/>
                </a:cubicBezTo>
                <a:cubicBezTo>
                  <a:pt x="449" y="106"/>
                  <a:pt x="449" y="104"/>
                  <a:pt x="450" y="104"/>
                </a:cubicBezTo>
                <a:cubicBezTo>
                  <a:pt x="451" y="103"/>
                  <a:pt x="452" y="102"/>
                  <a:pt x="453" y="102"/>
                </a:cubicBezTo>
                <a:cubicBezTo>
                  <a:pt x="454" y="102"/>
                  <a:pt x="457" y="103"/>
                  <a:pt x="456" y="101"/>
                </a:cubicBezTo>
                <a:cubicBezTo>
                  <a:pt x="456" y="101"/>
                  <a:pt x="456" y="102"/>
                  <a:pt x="456" y="102"/>
                </a:cubicBezTo>
                <a:cubicBezTo>
                  <a:pt x="456" y="101"/>
                  <a:pt x="456" y="102"/>
                  <a:pt x="456" y="102"/>
                </a:cubicBezTo>
                <a:close/>
                <a:moveTo>
                  <a:pt x="452" y="111"/>
                </a:moveTo>
                <a:cubicBezTo>
                  <a:pt x="451" y="112"/>
                  <a:pt x="451" y="112"/>
                  <a:pt x="451" y="113"/>
                </a:cubicBezTo>
                <a:cubicBezTo>
                  <a:pt x="451" y="114"/>
                  <a:pt x="452" y="113"/>
                  <a:pt x="453" y="113"/>
                </a:cubicBezTo>
                <a:cubicBezTo>
                  <a:pt x="455" y="112"/>
                  <a:pt x="453" y="110"/>
                  <a:pt x="452" y="111"/>
                </a:cubicBezTo>
                <a:cubicBezTo>
                  <a:pt x="452" y="111"/>
                  <a:pt x="452" y="111"/>
                  <a:pt x="452" y="111"/>
                </a:cubicBezTo>
                <a:cubicBezTo>
                  <a:pt x="451" y="112"/>
                  <a:pt x="452" y="111"/>
                  <a:pt x="452" y="111"/>
                </a:cubicBezTo>
                <a:close/>
                <a:moveTo>
                  <a:pt x="613" y="169"/>
                </a:moveTo>
                <a:cubicBezTo>
                  <a:pt x="613" y="169"/>
                  <a:pt x="615" y="170"/>
                  <a:pt x="615" y="169"/>
                </a:cubicBezTo>
                <a:cubicBezTo>
                  <a:pt x="615" y="168"/>
                  <a:pt x="614" y="166"/>
                  <a:pt x="613" y="165"/>
                </a:cubicBezTo>
                <a:cubicBezTo>
                  <a:pt x="613" y="165"/>
                  <a:pt x="613" y="164"/>
                  <a:pt x="612" y="164"/>
                </a:cubicBezTo>
                <a:cubicBezTo>
                  <a:pt x="611" y="165"/>
                  <a:pt x="612" y="166"/>
                  <a:pt x="612" y="166"/>
                </a:cubicBezTo>
                <a:cubicBezTo>
                  <a:pt x="612" y="168"/>
                  <a:pt x="612" y="169"/>
                  <a:pt x="613" y="169"/>
                </a:cubicBezTo>
                <a:cubicBezTo>
                  <a:pt x="613" y="169"/>
                  <a:pt x="613" y="169"/>
                  <a:pt x="613" y="169"/>
                </a:cubicBezTo>
                <a:cubicBezTo>
                  <a:pt x="613" y="169"/>
                  <a:pt x="613" y="169"/>
                  <a:pt x="613" y="169"/>
                </a:cubicBezTo>
                <a:close/>
                <a:moveTo>
                  <a:pt x="638" y="202"/>
                </a:moveTo>
                <a:cubicBezTo>
                  <a:pt x="638" y="202"/>
                  <a:pt x="637" y="205"/>
                  <a:pt x="638" y="205"/>
                </a:cubicBezTo>
                <a:cubicBezTo>
                  <a:pt x="639" y="205"/>
                  <a:pt x="640" y="205"/>
                  <a:pt x="640" y="204"/>
                </a:cubicBezTo>
                <a:cubicBezTo>
                  <a:pt x="641" y="202"/>
                  <a:pt x="639" y="200"/>
                  <a:pt x="638" y="203"/>
                </a:cubicBezTo>
                <a:cubicBezTo>
                  <a:pt x="638" y="202"/>
                  <a:pt x="638" y="202"/>
                  <a:pt x="638" y="202"/>
                </a:cubicBezTo>
                <a:cubicBezTo>
                  <a:pt x="638" y="203"/>
                  <a:pt x="638" y="202"/>
                  <a:pt x="638" y="202"/>
                </a:cubicBezTo>
                <a:close/>
                <a:moveTo>
                  <a:pt x="683" y="263"/>
                </a:moveTo>
                <a:cubicBezTo>
                  <a:pt x="684" y="263"/>
                  <a:pt x="685" y="262"/>
                  <a:pt x="685" y="260"/>
                </a:cubicBezTo>
                <a:cubicBezTo>
                  <a:pt x="685" y="258"/>
                  <a:pt x="687" y="256"/>
                  <a:pt x="687" y="254"/>
                </a:cubicBezTo>
                <a:cubicBezTo>
                  <a:pt x="687" y="253"/>
                  <a:pt x="687" y="252"/>
                  <a:pt x="687" y="251"/>
                </a:cubicBezTo>
                <a:cubicBezTo>
                  <a:pt x="686" y="251"/>
                  <a:pt x="686" y="249"/>
                  <a:pt x="686" y="249"/>
                </a:cubicBezTo>
                <a:cubicBezTo>
                  <a:pt x="685" y="247"/>
                  <a:pt x="684" y="248"/>
                  <a:pt x="684" y="249"/>
                </a:cubicBezTo>
                <a:cubicBezTo>
                  <a:pt x="684" y="250"/>
                  <a:pt x="684" y="251"/>
                  <a:pt x="684" y="252"/>
                </a:cubicBezTo>
                <a:cubicBezTo>
                  <a:pt x="684" y="253"/>
                  <a:pt x="685" y="253"/>
                  <a:pt x="684" y="254"/>
                </a:cubicBezTo>
                <a:cubicBezTo>
                  <a:pt x="684" y="255"/>
                  <a:pt x="683" y="255"/>
                  <a:pt x="683" y="256"/>
                </a:cubicBezTo>
                <a:cubicBezTo>
                  <a:pt x="682" y="257"/>
                  <a:pt x="682" y="259"/>
                  <a:pt x="682" y="260"/>
                </a:cubicBezTo>
                <a:cubicBezTo>
                  <a:pt x="682" y="262"/>
                  <a:pt x="681" y="264"/>
                  <a:pt x="683" y="263"/>
                </a:cubicBezTo>
                <a:cubicBezTo>
                  <a:pt x="683" y="263"/>
                  <a:pt x="683" y="263"/>
                  <a:pt x="683" y="263"/>
                </a:cubicBezTo>
                <a:cubicBezTo>
                  <a:pt x="684" y="263"/>
                  <a:pt x="683" y="263"/>
                  <a:pt x="683" y="263"/>
                </a:cubicBezTo>
                <a:close/>
                <a:moveTo>
                  <a:pt x="545" y="547"/>
                </a:moveTo>
                <a:cubicBezTo>
                  <a:pt x="546" y="546"/>
                  <a:pt x="546" y="545"/>
                  <a:pt x="544" y="545"/>
                </a:cubicBezTo>
                <a:cubicBezTo>
                  <a:pt x="544" y="545"/>
                  <a:pt x="542" y="545"/>
                  <a:pt x="541" y="546"/>
                </a:cubicBezTo>
                <a:cubicBezTo>
                  <a:pt x="540" y="547"/>
                  <a:pt x="545" y="547"/>
                  <a:pt x="546" y="547"/>
                </a:cubicBezTo>
                <a:cubicBezTo>
                  <a:pt x="545" y="547"/>
                  <a:pt x="545" y="547"/>
                  <a:pt x="545" y="547"/>
                </a:cubicBezTo>
                <a:cubicBezTo>
                  <a:pt x="546" y="547"/>
                  <a:pt x="545" y="547"/>
                  <a:pt x="545" y="547"/>
                </a:cubicBezTo>
                <a:close/>
                <a:moveTo>
                  <a:pt x="601" y="542"/>
                </a:moveTo>
                <a:cubicBezTo>
                  <a:pt x="604" y="541"/>
                  <a:pt x="601" y="538"/>
                  <a:pt x="599" y="536"/>
                </a:cubicBezTo>
                <a:cubicBezTo>
                  <a:pt x="599" y="535"/>
                  <a:pt x="598" y="533"/>
                  <a:pt x="597" y="532"/>
                </a:cubicBezTo>
                <a:cubicBezTo>
                  <a:pt x="596" y="532"/>
                  <a:pt x="594" y="533"/>
                  <a:pt x="593" y="533"/>
                </a:cubicBezTo>
                <a:cubicBezTo>
                  <a:pt x="591" y="534"/>
                  <a:pt x="595" y="538"/>
                  <a:pt x="595" y="539"/>
                </a:cubicBezTo>
                <a:cubicBezTo>
                  <a:pt x="597" y="541"/>
                  <a:pt x="599" y="543"/>
                  <a:pt x="601" y="542"/>
                </a:cubicBezTo>
                <a:cubicBezTo>
                  <a:pt x="601" y="542"/>
                  <a:pt x="601" y="542"/>
                  <a:pt x="601" y="542"/>
                </a:cubicBezTo>
                <a:cubicBezTo>
                  <a:pt x="602" y="542"/>
                  <a:pt x="601" y="542"/>
                  <a:pt x="601" y="542"/>
                </a:cubicBezTo>
                <a:close/>
                <a:moveTo>
                  <a:pt x="366" y="415"/>
                </a:moveTo>
                <a:cubicBezTo>
                  <a:pt x="366" y="415"/>
                  <a:pt x="365" y="415"/>
                  <a:pt x="365" y="416"/>
                </a:cubicBezTo>
                <a:cubicBezTo>
                  <a:pt x="366" y="417"/>
                  <a:pt x="366" y="416"/>
                  <a:pt x="367" y="416"/>
                </a:cubicBezTo>
                <a:cubicBezTo>
                  <a:pt x="367" y="416"/>
                  <a:pt x="369" y="415"/>
                  <a:pt x="367" y="414"/>
                </a:cubicBezTo>
                <a:cubicBezTo>
                  <a:pt x="367" y="414"/>
                  <a:pt x="366" y="415"/>
                  <a:pt x="366" y="415"/>
                </a:cubicBezTo>
                <a:cubicBezTo>
                  <a:pt x="366" y="415"/>
                  <a:pt x="366" y="415"/>
                  <a:pt x="366" y="415"/>
                </a:cubicBezTo>
                <a:close/>
                <a:moveTo>
                  <a:pt x="378" y="430"/>
                </a:moveTo>
                <a:cubicBezTo>
                  <a:pt x="378" y="430"/>
                  <a:pt x="377" y="432"/>
                  <a:pt x="378" y="432"/>
                </a:cubicBezTo>
                <a:cubicBezTo>
                  <a:pt x="378" y="432"/>
                  <a:pt x="380" y="433"/>
                  <a:pt x="380" y="432"/>
                </a:cubicBezTo>
                <a:cubicBezTo>
                  <a:pt x="381" y="431"/>
                  <a:pt x="379" y="428"/>
                  <a:pt x="378" y="430"/>
                </a:cubicBezTo>
                <a:cubicBezTo>
                  <a:pt x="378" y="430"/>
                  <a:pt x="378" y="430"/>
                  <a:pt x="378" y="430"/>
                </a:cubicBezTo>
                <a:cubicBezTo>
                  <a:pt x="378" y="430"/>
                  <a:pt x="378" y="430"/>
                  <a:pt x="378" y="430"/>
                </a:cubicBezTo>
                <a:close/>
                <a:moveTo>
                  <a:pt x="600" y="570"/>
                </a:moveTo>
                <a:cubicBezTo>
                  <a:pt x="599" y="567"/>
                  <a:pt x="600" y="564"/>
                  <a:pt x="600" y="561"/>
                </a:cubicBezTo>
                <a:cubicBezTo>
                  <a:pt x="600" y="560"/>
                  <a:pt x="601" y="559"/>
                  <a:pt x="600" y="558"/>
                </a:cubicBezTo>
                <a:cubicBezTo>
                  <a:pt x="600" y="556"/>
                  <a:pt x="599" y="555"/>
                  <a:pt x="598" y="554"/>
                </a:cubicBezTo>
                <a:cubicBezTo>
                  <a:pt x="596" y="552"/>
                  <a:pt x="595" y="552"/>
                  <a:pt x="593" y="554"/>
                </a:cubicBezTo>
                <a:cubicBezTo>
                  <a:pt x="591" y="555"/>
                  <a:pt x="589" y="557"/>
                  <a:pt x="586" y="558"/>
                </a:cubicBezTo>
                <a:cubicBezTo>
                  <a:pt x="584" y="558"/>
                  <a:pt x="582" y="557"/>
                  <a:pt x="579" y="559"/>
                </a:cubicBezTo>
                <a:cubicBezTo>
                  <a:pt x="578" y="560"/>
                  <a:pt x="579" y="561"/>
                  <a:pt x="579" y="562"/>
                </a:cubicBezTo>
                <a:cubicBezTo>
                  <a:pt x="578" y="563"/>
                  <a:pt x="577" y="562"/>
                  <a:pt x="576" y="561"/>
                </a:cubicBezTo>
                <a:cubicBezTo>
                  <a:pt x="575" y="561"/>
                  <a:pt x="574" y="560"/>
                  <a:pt x="572" y="560"/>
                </a:cubicBezTo>
                <a:cubicBezTo>
                  <a:pt x="571" y="560"/>
                  <a:pt x="570" y="561"/>
                  <a:pt x="569" y="561"/>
                </a:cubicBezTo>
                <a:cubicBezTo>
                  <a:pt x="568" y="562"/>
                  <a:pt x="567" y="562"/>
                  <a:pt x="566" y="561"/>
                </a:cubicBezTo>
                <a:cubicBezTo>
                  <a:pt x="565" y="560"/>
                  <a:pt x="563" y="560"/>
                  <a:pt x="562" y="560"/>
                </a:cubicBezTo>
                <a:cubicBezTo>
                  <a:pt x="559" y="559"/>
                  <a:pt x="557" y="557"/>
                  <a:pt x="555" y="556"/>
                </a:cubicBezTo>
                <a:cubicBezTo>
                  <a:pt x="553" y="555"/>
                  <a:pt x="550" y="555"/>
                  <a:pt x="547" y="554"/>
                </a:cubicBezTo>
                <a:cubicBezTo>
                  <a:pt x="546" y="553"/>
                  <a:pt x="543" y="549"/>
                  <a:pt x="542" y="550"/>
                </a:cubicBezTo>
                <a:cubicBezTo>
                  <a:pt x="540" y="552"/>
                  <a:pt x="539" y="555"/>
                  <a:pt x="539" y="557"/>
                </a:cubicBezTo>
                <a:cubicBezTo>
                  <a:pt x="539" y="560"/>
                  <a:pt x="540" y="562"/>
                  <a:pt x="541" y="564"/>
                </a:cubicBezTo>
                <a:cubicBezTo>
                  <a:pt x="543" y="567"/>
                  <a:pt x="543" y="570"/>
                  <a:pt x="545" y="572"/>
                </a:cubicBezTo>
                <a:cubicBezTo>
                  <a:pt x="547" y="574"/>
                  <a:pt x="549" y="575"/>
                  <a:pt x="550" y="577"/>
                </a:cubicBezTo>
                <a:cubicBezTo>
                  <a:pt x="551" y="578"/>
                  <a:pt x="550" y="579"/>
                  <a:pt x="551" y="581"/>
                </a:cubicBezTo>
                <a:cubicBezTo>
                  <a:pt x="551" y="582"/>
                  <a:pt x="553" y="583"/>
                  <a:pt x="554" y="584"/>
                </a:cubicBezTo>
                <a:cubicBezTo>
                  <a:pt x="554" y="585"/>
                  <a:pt x="555" y="586"/>
                  <a:pt x="555" y="587"/>
                </a:cubicBezTo>
                <a:cubicBezTo>
                  <a:pt x="554" y="588"/>
                  <a:pt x="554" y="588"/>
                  <a:pt x="553" y="588"/>
                </a:cubicBezTo>
                <a:cubicBezTo>
                  <a:pt x="552" y="587"/>
                  <a:pt x="550" y="585"/>
                  <a:pt x="549" y="587"/>
                </a:cubicBezTo>
                <a:cubicBezTo>
                  <a:pt x="548" y="589"/>
                  <a:pt x="552" y="593"/>
                  <a:pt x="553" y="595"/>
                </a:cubicBezTo>
                <a:cubicBezTo>
                  <a:pt x="553" y="596"/>
                  <a:pt x="554" y="597"/>
                  <a:pt x="555" y="598"/>
                </a:cubicBezTo>
                <a:cubicBezTo>
                  <a:pt x="555" y="599"/>
                  <a:pt x="556" y="600"/>
                  <a:pt x="557" y="600"/>
                </a:cubicBezTo>
                <a:cubicBezTo>
                  <a:pt x="558" y="602"/>
                  <a:pt x="559" y="605"/>
                  <a:pt x="561" y="604"/>
                </a:cubicBezTo>
                <a:cubicBezTo>
                  <a:pt x="562" y="604"/>
                  <a:pt x="566" y="603"/>
                  <a:pt x="566" y="606"/>
                </a:cubicBezTo>
                <a:cubicBezTo>
                  <a:pt x="565" y="606"/>
                  <a:pt x="563" y="609"/>
                  <a:pt x="565" y="609"/>
                </a:cubicBezTo>
                <a:cubicBezTo>
                  <a:pt x="566" y="609"/>
                  <a:pt x="567" y="608"/>
                  <a:pt x="568" y="608"/>
                </a:cubicBezTo>
                <a:cubicBezTo>
                  <a:pt x="569" y="608"/>
                  <a:pt x="570" y="608"/>
                  <a:pt x="572" y="608"/>
                </a:cubicBezTo>
                <a:cubicBezTo>
                  <a:pt x="573" y="608"/>
                  <a:pt x="575" y="610"/>
                  <a:pt x="577" y="610"/>
                </a:cubicBezTo>
                <a:cubicBezTo>
                  <a:pt x="579" y="610"/>
                  <a:pt x="577" y="607"/>
                  <a:pt x="578" y="606"/>
                </a:cubicBezTo>
                <a:cubicBezTo>
                  <a:pt x="579" y="605"/>
                  <a:pt x="581" y="604"/>
                  <a:pt x="579" y="603"/>
                </a:cubicBezTo>
                <a:cubicBezTo>
                  <a:pt x="577" y="602"/>
                  <a:pt x="579" y="601"/>
                  <a:pt x="580" y="601"/>
                </a:cubicBezTo>
                <a:cubicBezTo>
                  <a:pt x="582" y="601"/>
                  <a:pt x="584" y="601"/>
                  <a:pt x="584" y="598"/>
                </a:cubicBezTo>
                <a:cubicBezTo>
                  <a:pt x="584" y="597"/>
                  <a:pt x="583" y="592"/>
                  <a:pt x="585" y="595"/>
                </a:cubicBezTo>
                <a:cubicBezTo>
                  <a:pt x="585" y="596"/>
                  <a:pt x="587" y="600"/>
                  <a:pt x="588" y="597"/>
                </a:cubicBezTo>
                <a:cubicBezTo>
                  <a:pt x="588" y="596"/>
                  <a:pt x="588" y="594"/>
                  <a:pt x="589" y="594"/>
                </a:cubicBezTo>
                <a:cubicBezTo>
                  <a:pt x="590" y="594"/>
                  <a:pt x="592" y="597"/>
                  <a:pt x="593" y="597"/>
                </a:cubicBezTo>
                <a:cubicBezTo>
                  <a:pt x="594" y="599"/>
                  <a:pt x="593" y="600"/>
                  <a:pt x="593" y="601"/>
                </a:cubicBezTo>
                <a:cubicBezTo>
                  <a:pt x="593" y="602"/>
                  <a:pt x="596" y="603"/>
                  <a:pt x="596" y="602"/>
                </a:cubicBezTo>
                <a:cubicBezTo>
                  <a:pt x="596" y="601"/>
                  <a:pt x="596" y="600"/>
                  <a:pt x="595" y="599"/>
                </a:cubicBezTo>
                <a:cubicBezTo>
                  <a:pt x="595" y="598"/>
                  <a:pt x="595" y="596"/>
                  <a:pt x="596" y="594"/>
                </a:cubicBezTo>
                <a:cubicBezTo>
                  <a:pt x="596" y="592"/>
                  <a:pt x="598" y="593"/>
                  <a:pt x="599" y="592"/>
                </a:cubicBezTo>
                <a:cubicBezTo>
                  <a:pt x="600" y="591"/>
                  <a:pt x="600" y="590"/>
                  <a:pt x="599" y="590"/>
                </a:cubicBezTo>
                <a:cubicBezTo>
                  <a:pt x="599" y="590"/>
                  <a:pt x="598" y="591"/>
                  <a:pt x="598" y="591"/>
                </a:cubicBezTo>
                <a:cubicBezTo>
                  <a:pt x="596" y="592"/>
                  <a:pt x="596" y="589"/>
                  <a:pt x="596" y="588"/>
                </a:cubicBezTo>
                <a:cubicBezTo>
                  <a:pt x="596" y="586"/>
                  <a:pt x="596" y="585"/>
                  <a:pt x="596" y="583"/>
                </a:cubicBezTo>
                <a:cubicBezTo>
                  <a:pt x="597" y="582"/>
                  <a:pt x="598" y="575"/>
                  <a:pt x="600" y="578"/>
                </a:cubicBezTo>
                <a:cubicBezTo>
                  <a:pt x="601" y="579"/>
                  <a:pt x="601" y="580"/>
                  <a:pt x="602" y="580"/>
                </a:cubicBezTo>
                <a:cubicBezTo>
                  <a:pt x="604" y="580"/>
                  <a:pt x="603" y="578"/>
                  <a:pt x="602" y="577"/>
                </a:cubicBezTo>
                <a:cubicBezTo>
                  <a:pt x="602" y="576"/>
                  <a:pt x="601" y="575"/>
                  <a:pt x="601" y="574"/>
                </a:cubicBezTo>
                <a:cubicBezTo>
                  <a:pt x="600" y="572"/>
                  <a:pt x="600" y="571"/>
                  <a:pt x="600" y="569"/>
                </a:cubicBezTo>
                <a:cubicBezTo>
                  <a:pt x="600" y="569"/>
                  <a:pt x="600" y="570"/>
                  <a:pt x="600" y="570"/>
                </a:cubicBezTo>
                <a:cubicBezTo>
                  <a:pt x="599" y="568"/>
                  <a:pt x="600" y="570"/>
                  <a:pt x="600" y="570"/>
                </a:cubicBezTo>
                <a:close/>
                <a:moveTo>
                  <a:pt x="526" y="531"/>
                </a:moveTo>
                <a:cubicBezTo>
                  <a:pt x="525" y="533"/>
                  <a:pt x="526" y="536"/>
                  <a:pt x="526" y="537"/>
                </a:cubicBezTo>
                <a:cubicBezTo>
                  <a:pt x="527" y="539"/>
                  <a:pt x="529" y="540"/>
                  <a:pt x="529" y="538"/>
                </a:cubicBezTo>
                <a:cubicBezTo>
                  <a:pt x="529" y="536"/>
                  <a:pt x="529" y="535"/>
                  <a:pt x="530" y="533"/>
                </a:cubicBezTo>
                <a:cubicBezTo>
                  <a:pt x="530" y="532"/>
                  <a:pt x="530" y="531"/>
                  <a:pt x="529" y="530"/>
                </a:cubicBezTo>
                <a:cubicBezTo>
                  <a:pt x="528" y="529"/>
                  <a:pt x="527" y="531"/>
                  <a:pt x="526" y="531"/>
                </a:cubicBezTo>
                <a:cubicBezTo>
                  <a:pt x="526" y="531"/>
                  <a:pt x="526" y="531"/>
                  <a:pt x="526" y="531"/>
                </a:cubicBezTo>
                <a:cubicBezTo>
                  <a:pt x="525" y="533"/>
                  <a:pt x="526" y="531"/>
                  <a:pt x="526" y="531"/>
                </a:cubicBezTo>
                <a:close/>
                <a:moveTo>
                  <a:pt x="427" y="453"/>
                </a:moveTo>
                <a:cubicBezTo>
                  <a:pt x="425" y="453"/>
                  <a:pt x="425" y="454"/>
                  <a:pt x="424" y="454"/>
                </a:cubicBezTo>
                <a:cubicBezTo>
                  <a:pt x="422" y="454"/>
                  <a:pt x="422" y="453"/>
                  <a:pt x="421" y="452"/>
                </a:cubicBezTo>
                <a:cubicBezTo>
                  <a:pt x="421" y="451"/>
                  <a:pt x="421" y="451"/>
                  <a:pt x="421" y="451"/>
                </a:cubicBezTo>
                <a:cubicBezTo>
                  <a:pt x="420" y="450"/>
                  <a:pt x="419" y="451"/>
                  <a:pt x="419" y="451"/>
                </a:cubicBezTo>
                <a:cubicBezTo>
                  <a:pt x="417" y="451"/>
                  <a:pt x="415" y="452"/>
                  <a:pt x="413" y="453"/>
                </a:cubicBezTo>
                <a:cubicBezTo>
                  <a:pt x="410" y="454"/>
                  <a:pt x="407" y="452"/>
                  <a:pt x="404" y="453"/>
                </a:cubicBezTo>
                <a:cubicBezTo>
                  <a:pt x="401" y="454"/>
                  <a:pt x="402" y="457"/>
                  <a:pt x="404" y="459"/>
                </a:cubicBezTo>
                <a:cubicBezTo>
                  <a:pt x="407" y="460"/>
                  <a:pt x="410" y="457"/>
                  <a:pt x="412" y="458"/>
                </a:cubicBezTo>
                <a:cubicBezTo>
                  <a:pt x="415" y="458"/>
                  <a:pt x="418" y="461"/>
                  <a:pt x="419" y="458"/>
                </a:cubicBezTo>
                <a:cubicBezTo>
                  <a:pt x="421" y="456"/>
                  <a:pt x="423" y="455"/>
                  <a:pt x="426" y="456"/>
                </a:cubicBezTo>
                <a:cubicBezTo>
                  <a:pt x="429" y="457"/>
                  <a:pt x="429" y="454"/>
                  <a:pt x="426" y="453"/>
                </a:cubicBezTo>
                <a:cubicBezTo>
                  <a:pt x="426" y="453"/>
                  <a:pt x="426" y="453"/>
                  <a:pt x="427" y="453"/>
                </a:cubicBezTo>
                <a:cubicBezTo>
                  <a:pt x="426" y="453"/>
                  <a:pt x="427" y="453"/>
                  <a:pt x="427" y="453"/>
                </a:cubicBezTo>
                <a:close/>
                <a:moveTo>
                  <a:pt x="601" y="545"/>
                </a:moveTo>
                <a:cubicBezTo>
                  <a:pt x="600" y="546"/>
                  <a:pt x="599" y="546"/>
                  <a:pt x="599" y="547"/>
                </a:cubicBezTo>
                <a:cubicBezTo>
                  <a:pt x="600" y="548"/>
                  <a:pt x="602" y="548"/>
                  <a:pt x="603" y="548"/>
                </a:cubicBezTo>
                <a:cubicBezTo>
                  <a:pt x="604" y="547"/>
                  <a:pt x="604" y="546"/>
                  <a:pt x="603" y="545"/>
                </a:cubicBezTo>
                <a:cubicBezTo>
                  <a:pt x="602" y="545"/>
                  <a:pt x="601" y="545"/>
                  <a:pt x="600" y="546"/>
                </a:cubicBezTo>
                <a:cubicBezTo>
                  <a:pt x="600" y="546"/>
                  <a:pt x="601" y="546"/>
                  <a:pt x="601" y="545"/>
                </a:cubicBezTo>
                <a:cubicBezTo>
                  <a:pt x="600" y="546"/>
                  <a:pt x="601" y="545"/>
                  <a:pt x="601" y="545"/>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11" name="Freeform 314">
            <a:extLst>
              <a:ext uri="{FF2B5EF4-FFF2-40B4-BE49-F238E27FC236}">
                <a16:creationId xmlns:a16="http://schemas.microsoft.com/office/drawing/2014/main" id="{94A37BA5-8AAD-C0DB-63C9-9AE48D440CC0}"/>
              </a:ext>
            </a:extLst>
          </p:cNvPr>
          <p:cNvSpPr>
            <a:spLocks noEditPoints="1"/>
          </p:cNvSpPr>
          <p:nvPr>
            <p:custDataLst>
              <p:tags r:id="rId68"/>
            </p:custDataLst>
          </p:nvPr>
        </p:nvSpPr>
        <p:spPr bwMode="auto">
          <a:xfrm>
            <a:off x="7710723" y="3967530"/>
            <a:ext cx="83091" cy="198216"/>
          </a:xfrm>
          <a:custGeom>
            <a:avLst/>
            <a:gdLst>
              <a:gd name="T0" fmla="*/ 19 w 71"/>
              <a:gd name="T1" fmla="*/ 20 h 170"/>
              <a:gd name="T2" fmla="*/ 17 w 71"/>
              <a:gd name="T3" fmla="*/ 17 h 170"/>
              <a:gd name="T4" fmla="*/ 17 w 71"/>
              <a:gd name="T5" fmla="*/ 16 h 170"/>
              <a:gd name="T6" fmla="*/ 13 w 71"/>
              <a:gd name="T7" fmla="*/ 43 h 170"/>
              <a:gd name="T8" fmla="*/ 15 w 71"/>
              <a:gd name="T9" fmla="*/ 45 h 170"/>
              <a:gd name="T10" fmla="*/ 2 w 71"/>
              <a:gd name="T11" fmla="*/ 2 h 170"/>
              <a:gd name="T12" fmla="*/ 5 w 71"/>
              <a:gd name="T13" fmla="*/ 4 h 170"/>
              <a:gd name="T14" fmla="*/ 7 w 71"/>
              <a:gd name="T15" fmla="*/ 1 h 170"/>
              <a:gd name="T16" fmla="*/ 2 w 71"/>
              <a:gd name="T17" fmla="*/ 2 h 170"/>
              <a:gd name="T18" fmla="*/ 28 w 71"/>
              <a:gd name="T19" fmla="*/ 64 h 170"/>
              <a:gd name="T20" fmla="*/ 33 w 71"/>
              <a:gd name="T21" fmla="*/ 63 h 170"/>
              <a:gd name="T22" fmla="*/ 28 w 71"/>
              <a:gd name="T23" fmla="*/ 64 h 170"/>
              <a:gd name="T24" fmla="*/ 25 w 71"/>
              <a:gd name="T25" fmla="*/ 93 h 170"/>
              <a:gd name="T26" fmla="*/ 28 w 71"/>
              <a:gd name="T27" fmla="*/ 98 h 170"/>
              <a:gd name="T28" fmla="*/ 34 w 71"/>
              <a:gd name="T29" fmla="*/ 103 h 170"/>
              <a:gd name="T30" fmla="*/ 31 w 71"/>
              <a:gd name="T31" fmla="*/ 96 h 170"/>
              <a:gd name="T32" fmla="*/ 25 w 71"/>
              <a:gd name="T33" fmla="*/ 93 h 170"/>
              <a:gd name="T34" fmla="*/ 32 w 71"/>
              <a:gd name="T35" fmla="*/ 54 h 170"/>
              <a:gd name="T36" fmla="*/ 29 w 71"/>
              <a:gd name="T37" fmla="*/ 56 h 170"/>
              <a:gd name="T38" fmla="*/ 31 w 71"/>
              <a:gd name="T39" fmla="*/ 57 h 170"/>
              <a:gd name="T40" fmla="*/ 31 w 71"/>
              <a:gd name="T41" fmla="*/ 54 h 170"/>
              <a:gd name="T42" fmla="*/ 32 w 71"/>
              <a:gd name="T43" fmla="*/ 54 h 170"/>
              <a:gd name="T44" fmla="*/ 34 w 71"/>
              <a:gd name="T45" fmla="*/ 84 h 170"/>
              <a:gd name="T46" fmla="*/ 38 w 71"/>
              <a:gd name="T47" fmla="*/ 83 h 170"/>
              <a:gd name="T48" fmla="*/ 36 w 71"/>
              <a:gd name="T49" fmla="*/ 83 h 170"/>
              <a:gd name="T50" fmla="*/ 69 w 71"/>
              <a:gd name="T51" fmla="*/ 168 h 170"/>
              <a:gd name="T52" fmla="*/ 70 w 71"/>
              <a:gd name="T53" fmla="*/ 167 h 170"/>
              <a:gd name="T54" fmla="*/ 69 w 71"/>
              <a:gd name="T55" fmla="*/ 168 h 170"/>
              <a:gd name="T56" fmla="*/ 69 w 71"/>
              <a:gd name="T57" fmla="*/ 168 h 170"/>
              <a:gd name="T58" fmla="*/ 56 w 71"/>
              <a:gd name="T59" fmla="*/ 140 h 170"/>
              <a:gd name="T60" fmla="*/ 62 w 71"/>
              <a:gd name="T61" fmla="*/ 145 h 170"/>
              <a:gd name="T62" fmla="*/ 60 w 71"/>
              <a:gd name="T63" fmla="*/ 141 h 170"/>
              <a:gd name="T64" fmla="*/ 60 w 71"/>
              <a:gd name="T65" fmla="*/ 142 h 170"/>
              <a:gd name="T66" fmla="*/ 61 w 71"/>
              <a:gd name="T67" fmla="*/ 158 h 170"/>
              <a:gd name="T68" fmla="*/ 60 w 71"/>
              <a:gd name="T69" fmla="*/ 152 h 170"/>
              <a:gd name="T70" fmla="*/ 60 w 71"/>
              <a:gd name="T71" fmla="*/ 153 h 170"/>
              <a:gd name="T72" fmla="*/ 43 w 71"/>
              <a:gd name="T73" fmla="*/ 122 h 170"/>
              <a:gd name="T74" fmla="*/ 48 w 71"/>
              <a:gd name="T75" fmla="*/ 125 h 170"/>
              <a:gd name="T76" fmla="*/ 43 w 71"/>
              <a:gd name="T77" fmla="*/ 122 h 170"/>
              <a:gd name="T78" fmla="*/ 43 w 71"/>
              <a:gd name="T79" fmla="*/ 122 h 170"/>
              <a:gd name="T80" fmla="*/ 15 w 71"/>
              <a:gd name="T81" fmla="*/ 83 h 170"/>
              <a:gd name="T82" fmla="*/ 24 w 71"/>
              <a:gd name="T83" fmla="*/ 88 h 170"/>
              <a:gd name="T84" fmla="*/ 25 w 71"/>
              <a:gd name="T85" fmla="*/ 85 h 170"/>
              <a:gd name="T86" fmla="*/ 23 w 71"/>
              <a:gd name="T87" fmla="*/ 77 h 170"/>
              <a:gd name="T88" fmla="*/ 20 w 71"/>
              <a:gd name="T89" fmla="*/ 79 h 170"/>
              <a:gd name="T90" fmla="*/ 18 w 71"/>
              <a:gd name="T91" fmla="*/ 74 h 170"/>
              <a:gd name="T92" fmla="*/ 15 w 71"/>
              <a:gd name="T93" fmla="*/ 75 h 170"/>
              <a:gd name="T94" fmla="*/ 14 w 71"/>
              <a:gd name="T95" fmla="*/ 73 h 170"/>
              <a:gd name="T96" fmla="*/ 40 w 71"/>
              <a:gd name="T97" fmla="*/ 81 h 170"/>
              <a:gd name="T98" fmla="*/ 41 w 71"/>
              <a:gd name="T99" fmla="*/ 75 h 170"/>
              <a:gd name="T100" fmla="*/ 41 w 71"/>
              <a:gd name="T101" fmla="*/ 76 h 170"/>
              <a:gd name="T102" fmla="*/ 42 w 71"/>
              <a:gd name="T103" fmla="*/ 85 h 170"/>
              <a:gd name="T104" fmla="*/ 42 w 71"/>
              <a:gd name="T105" fmla="*/ 90 h 170"/>
              <a:gd name="T106" fmla="*/ 43 w 71"/>
              <a:gd name="T107" fmla="*/ 89 h 170"/>
              <a:gd name="T108" fmla="*/ 41 w 71"/>
              <a:gd name="T109" fmla="*/ 86 h 170"/>
              <a:gd name="T110" fmla="*/ 42 w 71"/>
              <a:gd name="T111" fmla="*/ 85 h 170"/>
              <a:gd name="T112" fmla="*/ 43 w 71"/>
              <a:gd name="T113" fmla="*/ 100 h 170"/>
              <a:gd name="T114" fmla="*/ 40 w 71"/>
              <a:gd name="T115" fmla="*/ 96 h 170"/>
              <a:gd name="T116" fmla="*/ 39 w 71"/>
              <a:gd name="T117" fmla="*/ 98 h 170"/>
              <a:gd name="T118" fmla="*/ 46 w 71"/>
              <a:gd name="T119" fmla="*/ 107 h 170"/>
              <a:gd name="T120" fmla="*/ 42 w 71"/>
              <a:gd name="T121" fmla="*/ 104 h 170"/>
              <a:gd name="T122" fmla="*/ 44 w 71"/>
              <a:gd name="T123" fmla="*/ 108 h 170"/>
              <a:gd name="T124" fmla="*/ 46 w 71"/>
              <a:gd name="T125" fmla="*/ 10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 h="170">
                <a:moveTo>
                  <a:pt x="17" y="16"/>
                </a:moveTo>
                <a:cubicBezTo>
                  <a:pt x="17" y="18"/>
                  <a:pt x="18" y="20"/>
                  <a:pt x="19" y="20"/>
                </a:cubicBezTo>
                <a:cubicBezTo>
                  <a:pt x="21" y="21"/>
                  <a:pt x="22" y="20"/>
                  <a:pt x="21" y="18"/>
                </a:cubicBezTo>
                <a:cubicBezTo>
                  <a:pt x="21" y="17"/>
                  <a:pt x="18" y="13"/>
                  <a:pt x="17" y="17"/>
                </a:cubicBezTo>
                <a:cubicBezTo>
                  <a:pt x="17" y="16"/>
                  <a:pt x="17" y="16"/>
                  <a:pt x="17" y="16"/>
                </a:cubicBezTo>
                <a:cubicBezTo>
                  <a:pt x="17" y="18"/>
                  <a:pt x="17" y="16"/>
                  <a:pt x="17" y="16"/>
                </a:cubicBezTo>
                <a:close/>
                <a:moveTo>
                  <a:pt x="15" y="45"/>
                </a:moveTo>
                <a:cubicBezTo>
                  <a:pt x="15" y="45"/>
                  <a:pt x="14" y="41"/>
                  <a:pt x="13" y="43"/>
                </a:cubicBezTo>
                <a:cubicBezTo>
                  <a:pt x="12" y="44"/>
                  <a:pt x="14" y="47"/>
                  <a:pt x="15" y="45"/>
                </a:cubicBezTo>
                <a:cubicBezTo>
                  <a:pt x="15" y="45"/>
                  <a:pt x="15" y="45"/>
                  <a:pt x="15" y="45"/>
                </a:cubicBezTo>
                <a:cubicBezTo>
                  <a:pt x="15" y="45"/>
                  <a:pt x="15" y="45"/>
                  <a:pt x="15" y="45"/>
                </a:cubicBezTo>
                <a:close/>
                <a:moveTo>
                  <a:pt x="2" y="2"/>
                </a:moveTo>
                <a:cubicBezTo>
                  <a:pt x="2" y="3"/>
                  <a:pt x="0" y="4"/>
                  <a:pt x="0" y="5"/>
                </a:cubicBezTo>
                <a:cubicBezTo>
                  <a:pt x="0" y="7"/>
                  <a:pt x="4" y="4"/>
                  <a:pt x="5" y="4"/>
                </a:cubicBezTo>
                <a:cubicBezTo>
                  <a:pt x="5" y="3"/>
                  <a:pt x="6" y="4"/>
                  <a:pt x="7" y="4"/>
                </a:cubicBezTo>
                <a:cubicBezTo>
                  <a:pt x="8" y="4"/>
                  <a:pt x="8" y="2"/>
                  <a:pt x="7" y="1"/>
                </a:cubicBezTo>
                <a:cubicBezTo>
                  <a:pt x="5" y="0"/>
                  <a:pt x="3" y="2"/>
                  <a:pt x="2" y="3"/>
                </a:cubicBezTo>
                <a:cubicBezTo>
                  <a:pt x="2" y="3"/>
                  <a:pt x="2" y="2"/>
                  <a:pt x="2" y="2"/>
                </a:cubicBezTo>
                <a:cubicBezTo>
                  <a:pt x="2" y="2"/>
                  <a:pt x="2" y="2"/>
                  <a:pt x="2" y="2"/>
                </a:cubicBezTo>
                <a:close/>
                <a:moveTo>
                  <a:pt x="28" y="64"/>
                </a:moveTo>
                <a:cubicBezTo>
                  <a:pt x="28" y="65"/>
                  <a:pt x="29" y="66"/>
                  <a:pt x="30" y="66"/>
                </a:cubicBezTo>
                <a:cubicBezTo>
                  <a:pt x="31" y="65"/>
                  <a:pt x="33" y="65"/>
                  <a:pt x="33" y="63"/>
                </a:cubicBezTo>
                <a:cubicBezTo>
                  <a:pt x="33" y="60"/>
                  <a:pt x="27" y="62"/>
                  <a:pt x="28" y="65"/>
                </a:cubicBezTo>
                <a:cubicBezTo>
                  <a:pt x="28" y="65"/>
                  <a:pt x="28" y="64"/>
                  <a:pt x="28" y="64"/>
                </a:cubicBezTo>
                <a:cubicBezTo>
                  <a:pt x="29" y="66"/>
                  <a:pt x="28" y="64"/>
                  <a:pt x="28" y="64"/>
                </a:cubicBezTo>
                <a:close/>
                <a:moveTo>
                  <a:pt x="25" y="93"/>
                </a:moveTo>
                <a:cubicBezTo>
                  <a:pt x="25" y="94"/>
                  <a:pt x="23" y="95"/>
                  <a:pt x="25" y="96"/>
                </a:cubicBezTo>
                <a:cubicBezTo>
                  <a:pt x="26" y="97"/>
                  <a:pt x="28" y="96"/>
                  <a:pt x="28" y="98"/>
                </a:cubicBezTo>
                <a:cubicBezTo>
                  <a:pt x="29" y="100"/>
                  <a:pt x="28" y="103"/>
                  <a:pt x="30" y="104"/>
                </a:cubicBezTo>
                <a:cubicBezTo>
                  <a:pt x="30" y="104"/>
                  <a:pt x="33" y="103"/>
                  <a:pt x="34" y="103"/>
                </a:cubicBezTo>
                <a:cubicBezTo>
                  <a:pt x="34" y="102"/>
                  <a:pt x="34" y="100"/>
                  <a:pt x="34" y="99"/>
                </a:cubicBezTo>
                <a:cubicBezTo>
                  <a:pt x="34" y="98"/>
                  <a:pt x="32" y="97"/>
                  <a:pt x="31" y="96"/>
                </a:cubicBezTo>
                <a:cubicBezTo>
                  <a:pt x="29" y="95"/>
                  <a:pt x="27" y="90"/>
                  <a:pt x="25" y="93"/>
                </a:cubicBezTo>
                <a:cubicBezTo>
                  <a:pt x="25" y="93"/>
                  <a:pt x="25" y="93"/>
                  <a:pt x="25" y="93"/>
                </a:cubicBezTo>
                <a:cubicBezTo>
                  <a:pt x="24" y="94"/>
                  <a:pt x="25" y="93"/>
                  <a:pt x="25" y="93"/>
                </a:cubicBezTo>
                <a:close/>
                <a:moveTo>
                  <a:pt x="32" y="54"/>
                </a:moveTo>
                <a:cubicBezTo>
                  <a:pt x="31" y="54"/>
                  <a:pt x="30" y="53"/>
                  <a:pt x="30" y="54"/>
                </a:cubicBezTo>
                <a:cubicBezTo>
                  <a:pt x="29" y="54"/>
                  <a:pt x="29" y="55"/>
                  <a:pt x="29" y="56"/>
                </a:cubicBezTo>
                <a:cubicBezTo>
                  <a:pt x="29" y="57"/>
                  <a:pt x="29" y="58"/>
                  <a:pt x="30" y="58"/>
                </a:cubicBezTo>
                <a:cubicBezTo>
                  <a:pt x="31" y="59"/>
                  <a:pt x="31" y="58"/>
                  <a:pt x="31" y="57"/>
                </a:cubicBezTo>
                <a:cubicBezTo>
                  <a:pt x="31" y="55"/>
                  <a:pt x="34" y="55"/>
                  <a:pt x="34" y="53"/>
                </a:cubicBezTo>
                <a:cubicBezTo>
                  <a:pt x="34" y="53"/>
                  <a:pt x="31" y="54"/>
                  <a:pt x="31" y="54"/>
                </a:cubicBezTo>
                <a:cubicBezTo>
                  <a:pt x="31" y="54"/>
                  <a:pt x="31" y="54"/>
                  <a:pt x="32" y="54"/>
                </a:cubicBezTo>
                <a:cubicBezTo>
                  <a:pt x="31" y="54"/>
                  <a:pt x="32" y="54"/>
                  <a:pt x="32" y="54"/>
                </a:cubicBezTo>
                <a:close/>
                <a:moveTo>
                  <a:pt x="36" y="83"/>
                </a:moveTo>
                <a:cubicBezTo>
                  <a:pt x="36" y="83"/>
                  <a:pt x="33" y="83"/>
                  <a:pt x="34" y="84"/>
                </a:cubicBezTo>
                <a:cubicBezTo>
                  <a:pt x="34" y="85"/>
                  <a:pt x="36" y="85"/>
                  <a:pt x="37" y="85"/>
                </a:cubicBezTo>
                <a:cubicBezTo>
                  <a:pt x="37" y="84"/>
                  <a:pt x="38" y="84"/>
                  <a:pt x="38" y="83"/>
                </a:cubicBezTo>
                <a:cubicBezTo>
                  <a:pt x="38" y="82"/>
                  <a:pt x="36" y="83"/>
                  <a:pt x="36" y="83"/>
                </a:cubicBezTo>
                <a:cubicBezTo>
                  <a:pt x="36" y="83"/>
                  <a:pt x="36" y="83"/>
                  <a:pt x="36" y="83"/>
                </a:cubicBezTo>
                <a:cubicBezTo>
                  <a:pt x="35" y="83"/>
                  <a:pt x="36" y="83"/>
                  <a:pt x="36" y="83"/>
                </a:cubicBezTo>
                <a:close/>
                <a:moveTo>
                  <a:pt x="69" y="168"/>
                </a:moveTo>
                <a:cubicBezTo>
                  <a:pt x="69" y="168"/>
                  <a:pt x="70" y="170"/>
                  <a:pt x="71" y="169"/>
                </a:cubicBezTo>
                <a:cubicBezTo>
                  <a:pt x="71" y="168"/>
                  <a:pt x="70" y="167"/>
                  <a:pt x="70" y="167"/>
                </a:cubicBezTo>
                <a:cubicBezTo>
                  <a:pt x="70" y="166"/>
                  <a:pt x="68" y="165"/>
                  <a:pt x="68" y="166"/>
                </a:cubicBezTo>
                <a:cubicBezTo>
                  <a:pt x="68" y="167"/>
                  <a:pt x="69" y="168"/>
                  <a:pt x="69" y="168"/>
                </a:cubicBezTo>
                <a:cubicBezTo>
                  <a:pt x="69" y="168"/>
                  <a:pt x="69" y="168"/>
                  <a:pt x="69" y="168"/>
                </a:cubicBezTo>
                <a:cubicBezTo>
                  <a:pt x="69" y="168"/>
                  <a:pt x="69" y="168"/>
                  <a:pt x="69" y="168"/>
                </a:cubicBezTo>
                <a:close/>
                <a:moveTo>
                  <a:pt x="60" y="142"/>
                </a:moveTo>
                <a:cubicBezTo>
                  <a:pt x="60" y="140"/>
                  <a:pt x="57" y="138"/>
                  <a:pt x="56" y="140"/>
                </a:cubicBezTo>
                <a:cubicBezTo>
                  <a:pt x="55" y="143"/>
                  <a:pt x="56" y="144"/>
                  <a:pt x="58" y="144"/>
                </a:cubicBezTo>
                <a:cubicBezTo>
                  <a:pt x="59" y="145"/>
                  <a:pt x="61" y="146"/>
                  <a:pt x="62" y="145"/>
                </a:cubicBezTo>
                <a:cubicBezTo>
                  <a:pt x="63" y="145"/>
                  <a:pt x="61" y="144"/>
                  <a:pt x="61" y="143"/>
                </a:cubicBezTo>
                <a:cubicBezTo>
                  <a:pt x="60" y="143"/>
                  <a:pt x="60" y="142"/>
                  <a:pt x="60" y="141"/>
                </a:cubicBezTo>
                <a:cubicBezTo>
                  <a:pt x="60" y="141"/>
                  <a:pt x="60" y="142"/>
                  <a:pt x="60" y="142"/>
                </a:cubicBezTo>
                <a:cubicBezTo>
                  <a:pt x="60" y="141"/>
                  <a:pt x="60" y="142"/>
                  <a:pt x="60" y="142"/>
                </a:cubicBezTo>
                <a:close/>
                <a:moveTo>
                  <a:pt x="60" y="153"/>
                </a:moveTo>
                <a:cubicBezTo>
                  <a:pt x="60" y="155"/>
                  <a:pt x="60" y="156"/>
                  <a:pt x="61" y="158"/>
                </a:cubicBezTo>
                <a:cubicBezTo>
                  <a:pt x="62" y="159"/>
                  <a:pt x="65" y="159"/>
                  <a:pt x="64" y="157"/>
                </a:cubicBezTo>
                <a:cubicBezTo>
                  <a:pt x="64" y="155"/>
                  <a:pt x="62" y="153"/>
                  <a:pt x="60" y="152"/>
                </a:cubicBezTo>
                <a:cubicBezTo>
                  <a:pt x="59" y="151"/>
                  <a:pt x="60" y="154"/>
                  <a:pt x="60" y="155"/>
                </a:cubicBezTo>
                <a:cubicBezTo>
                  <a:pt x="60" y="154"/>
                  <a:pt x="60" y="154"/>
                  <a:pt x="60" y="153"/>
                </a:cubicBezTo>
                <a:cubicBezTo>
                  <a:pt x="60" y="155"/>
                  <a:pt x="60" y="153"/>
                  <a:pt x="60" y="153"/>
                </a:cubicBezTo>
                <a:close/>
                <a:moveTo>
                  <a:pt x="43" y="122"/>
                </a:moveTo>
                <a:cubicBezTo>
                  <a:pt x="43" y="122"/>
                  <a:pt x="41" y="123"/>
                  <a:pt x="42" y="124"/>
                </a:cubicBezTo>
                <a:cubicBezTo>
                  <a:pt x="43" y="125"/>
                  <a:pt x="46" y="126"/>
                  <a:pt x="48" y="125"/>
                </a:cubicBezTo>
                <a:cubicBezTo>
                  <a:pt x="48" y="125"/>
                  <a:pt x="47" y="123"/>
                  <a:pt x="47" y="122"/>
                </a:cubicBezTo>
                <a:cubicBezTo>
                  <a:pt x="46" y="121"/>
                  <a:pt x="44" y="121"/>
                  <a:pt x="43" y="122"/>
                </a:cubicBezTo>
                <a:cubicBezTo>
                  <a:pt x="43" y="122"/>
                  <a:pt x="43" y="122"/>
                  <a:pt x="43" y="122"/>
                </a:cubicBezTo>
                <a:cubicBezTo>
                  <a:pt x="42" y="122"/>
                  <a:pt x="43" y="122"/>
                  <a:pt x="43" y="122"/>
                </a:cubicBezTo>
                <a:close/>
                <a:moveTo>
                  <a:pt x="14" y="73"/>
                </a:moveTo>
                <a:cubicBezTo>
                  <a:pt x="15" y="77"/>
                  <a:pt x="14" y="80"/>
                  <a:pt x="15" y="83"/>
                </a:cubicBezTo>
                <a:cubicBezTo>
                  <a:pt x="16" y="85"/>
                  <a:pt x="17" y="89"/>
                  <a:pt x="20" y="87"/>
                </a:cubicBezTo>
                <a:cubicBezTo>
                  <a:pt x="22" y="86"/>
                  <a:pt x="22" y="87"/>
                  <a:pt x="24" y="88"/>
                </a:cubicBezTo>
                <a:cubicBezTo>
                  <a:pt x="24" y="88"/>
                  <a:pt x="26" y="89"/>
                  <a:pt x="26" y="87"/>
                </a:cubicBezTo>
                <a:cubicBezTo>
                  <a:pt x="26" y="86"/>
                  <a:pt x="25" y="86"/>
                  <a:pt x="25" y="85"/>
                </a:cubicBezTo>
                <a:cubicBezTo>
                  <a:pt x="24" y="83"/>
                  <a:pt x="25" y="82"/>
                  <a:pt x="24" y="80"/>
                </a:cubicBezTo>
                <a:cubicBezTo>
                  <a:pt x="24" y="79"/>
                  <a:pt x="23" y="78"/>
                  <a:pt x="23" y="77"/>
                </a:cubicBezTo>
                <a:cubicBezTo>
                  <a:pt x="23" y="77"/>
                  <a:pt x="23" y="75"/>
                  <a:pt x="22" y="75"/>
                </a:cubicBezTo>
                <a:cubicBezTo>
                  <a:pt x="21" y="76"/>
                  <a:pt x="21" y="78"/>
                  <a:pt x="20" y="79"/>
                </a:cubicBezTo>
                <a:cubicBezTo>
                  <a:pt x="20" y="80"/>
                  <a:pt x="19" y="78"/>
                  <a:pt x="19" y="78"/>
                </a:cubicBezTo>
                <a:cubicBezTo>
                  <a:pt x="18" y="77"/>
                  <a:pt x="18" y="76"/>
                  <a:pt x="18" y="74"/>
                </a:cubicBezTo>
                <a:cubicBezTo>
                  <a:pt x="18" y="73"/>
                  <a:pt x="17" y="72"/>
                  <a:pt x="16" y="71"/>
                </a:cubicBezTo>
                <a:cubicBezTo>
                  <a:pt x="13" y="70"/>
                  <a:pt x="15" y="74"/>
                  <a:pt x="15" y="75"/>
                </a:cubicBezTo>
                <a:cubicBezTo>
                  <a:pt x="15" y="74"/>
                  <a:pt x="15" y="74"/>
                  <a:pt x="14" y="73"/>
                </a:cubicBezTo>
                <a:cubicBezTo>
                  <a:pt x="15" y="76"/>
                  <a:pt x="14" y="73"/>
                  <a:pt x="14" y="73"/>
                </a:cubicBezTo>
                <a:close/>
                <a:moveTo>
                  <a:pt x="41" y="76"/>
                </a:moveTo>
                <a:cubicBezTo>
                  <a:pt x="40" y="77"/>
                  <a:pt x="40" y="79"/>
                  <a:pt x="40" y="81"/>
                </a:cubicBezTo>
                <a:cubicBezTo>
                  <a:pt x="40" y="82"/>
                  <a:pt x="41" y="82"/>
                  <a:pt x="41" y="81"/>
                </a:cubicBezTo>
                <a:cubicBezTo>
                  <a:pt x="42" y="80"/>
                  <a:pt x="41" y="75"/>
                  <a:pt x="41" y="75"/>
                </a:cubicBezTo>
                <a:cubicBezTo>
                  <a:pt x="40" y="75"/>
                  <a:pt x="40" y="76"/>
                  <a:pt x="40" y="77"/>
                </a:cubicBezTo>
                <a:cubicBezTo>
                  <a:pt x="40" y="76"/>
                  <a:pt x="40" y="76"/>
                  <a:pt x="41" y="76"/>
                </a:cubicBezTo>
                <a:cubicBezTo>
                  <a:pt x="40" y="77"/>
                  <a:pt x="41" y="76"/>
                  <a:pt x="41" y="76"/>
                </a:cubicBezTo>
                <a:close/>
                <a:moveTo>
                  <a:pt x="42" y="85"/>
                </a:moveTo>
                <a:cubicBezTo>
                  <a:pt x="41" y="86"/>
                  <a:pt x="40" y="86"/>
                  <a:pt x="41" y="88"/>
                </a:cubicBezTo>
                <a:cubicBezTo>
                  <a:pt x="41" y="88"/>
                  <a:pt x="42" y="89"/>
                  <a:pt x="42" y="90"/>
                </a:cubicBezTo>
                <a:cubicBezTo>
                  <a:pt x="42" y="90"/>
                  <a:pt x="41" y="94"/>
                  <a:pt x="43" y="93"/>
                </a:cubicBezTo>
                <a:cubicBezTo>
                  <a:pt x="43" y="93"/>
                  <a:pt x="43" y="89"/>
                  <a:pt x="43" y="89"/>
                </a:cubicBezTo>
                <a:cubicBezTo>
                  <a:pt x="42" y="88"/>
                  <a:pt x="42" y="87"/>
                  <a:pt x="42" y="86"/>
                </a:cubicBezTo>
                <a:cubicBezTo>
                  <a:pt x="42" y="85"/>
                  <a:pt x="42" y="85"/>
                  <a:pt x="41" y="86"/>
                </a:cubicBezTo>
                <a:cubicBezTo>
                  <a:pt x="42" y="86"/>
                  <a:pt x="42" y="85"/>
                  <a:pt x="42" y="85"/>
                </a:cubicBezTo>
                <a:cubicBezTo>
                  <a:pt x="41" y="86"/>
                  <a:pt x="42" y="85"/>
                  <a:pt x="42" y="85"/>
                </a:cubicBezTo>
                <a:close/>
                <a:moveTo>
                  <a:pt x="39" y="98"/>
                </a:moveTo>
                <a:cubicBezTo>
                  <a:pt x="40" y="99"/>
                  <a:pt x="41" y="99"/>
                  <a:pt x="43" y="100"/>
                </a:cubicBezTo>
                <a:cubicBezTo>
                  <a:pt x="44" y="100"/>
                  <a:pt x="43" y="98"/>
                  <a:pt x="43" y="98"/>
                </a:cubicBezTo>
                <a:cubicBezTo>
                  <a:pt x="42" y="97"/>
                  <a:pt x="42" y="95"/>
                  <a:pt x="40" y="96"/>
                </a:cubicBezTo>
                <a:cubicBezTo>
                  <a:pt x="39" y="97"/>
                  <a:pt x="38" y="97"/>
                  <a:pt x="39" y="98"/>
                </a:cubicBezTo>
                <a:cubicBezTo>
                  <a:pt x="39" y="98"/>
                  <a:pt x="39" y="98"/>
                  <a:pt x="39" y="98"/>
                </a:cubicBezTo>
                <a:cubicBezTo>
                  <a:pt x="39" y="98"/>
                  <a:pt x="39" y="98"/>
                  <a:pt x="39" y="98"/>
                </a:cubicBezTo>
                <a:close/>
                <a:moveTo>
                  <a:pt x="46" y="107"/>
                </a:moveTo>
                <a:cubicBezTo>
                  <a:pt x="46" y="107"/>
                  <a:pt x="45" y="107"/>
                  <a:pt x="44" y="106"/>
                </a:cubicBezTo>
                <a:cubicBezTo>
                  <a:pt x="44" y="105"/>
                  <a:pt x="43" y="104"/>
                  <a:pt x="42" y="104"/>
                </a:cubicBezTo>
                <a:cubicBezTo>
                  <a:pt x="41" y="104"/>
                  <a:pt x="40" y="107"/>
                  <a:pt x="40" y="108"/>
                </a:cubicBezTo>
                <a:cubicBezTo>
                  <a:pt x="41" y="109"/>
                  <a:pt x="43" y="108"/>
                  <a:pt x="44" y="108"/>
                </a:cubicBezTo>
                <a:cubicBezTo>
                  <a:pt x="46" y="109"/>
                  <a:pt x="48" y="109"/>
                  <a:pt x="46" y="107"/>
                </a:cubicBezTo>
                <a:cubicBezTo>
                  <a:pt x="46" y="107"/>
                  <a:pt x="46" y="107"/>
                  <a:pt x="46" y="107"/>
                </a:cubicBezTo>
                <a:cubicBezTo>
                  <a:pt x="46" y="107"/>
                  <a:pt x="46" y="107"/>
                  <a:pt x="46" y="107"/>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12" name="Freeform 315">
            <a:extLst>
              <a:ext uri="{FF2B5EF4-FFF2-40B4-BE49-F238E27FC236}">
                <a16:creationId xmlns:a16="http://schemas.microsoft.com/office/drawing/2014/main" id="{B56BE664-238D-D891-DD5D-B5960407D084}"/>
              </a:ext>
            </a:extLst>
          </p:cNvPr>
          <p:cNvSpPr/>
          <p:nvPr>
            <p:custDataLst>
              <p:tags r:id="rId69"/>
            </p:custDataLst>
          </p:nvPr>
        </p:nvSpPr>
        <p:spPr bwMode="auto">
          <a:xfrm>
            <a:off x="7723737" y="4735365"/>
            <a:ext cx="3004" cy="6006"/>
          </a:xfrm>
          <a:custGeom>
            <a:avLst/>
            <a:gdLst>
              <a:gd name="T0" fmla="*/ 0 w 3"/>
              <a:gd name="T1" fmla="*/ 2 h 5"/>
              <a:gd name="T2" fmla="*/ 1 w 3"/>
              <a:gd name="T3" fmla="*/ 4 h 5"/>
              <a:gd name="T4" fmla="*/ 3 w 3"/>
              <a:gd name="T5" fmla="*/ 4 h 5"/>
              <a:gd name="T6" fmla="*/ 0 w 3"/>
              <a:gd name="T7" fmla="*/ 2 h 5"/>
              <a:gd name="T8" fmla="*/ 0 w 3"/>
              <a:gd name="T9" fmla="*/ 2 h 5"/>
              <a:gd name="T10" fmla="*/ 0 w 3"/>
              <a:gd name="T11" fmla="*/ 2 h 5"/>
            </a:gdLst>
            <a:ahLst/>
            <a:cxnLst>
              <a:cxn ang="0">
                <a:pos x="T0" y="T1"/>
              </a:cxn>
              <a:cxn ang="0">
                <a:pos x="T2" y="T3"/>
              </a:cxn>
              <a:cxn ang="0">
                <a:pos x="T4" y="T5"/>
              </a:cxn>
              <a:cxn ang="0">
                <a:pos x="T6" y="T7"/>
              </a:cxn>
              <a:cxn ang="0">
                <a:pos x="T8" y="T9"/>
              </a:cxn>
              <a:cxn ang="0">
                <a:pos x="T10" y="T11"/>
              </a:cxn>
            </a:cxnLst>
            <a:rect l="0" t="0" r="r" b="b"/>
            <a:pathLst>
              <a:path w="3" h="5">
                <a:moveTo>
                  <a:pt x="0" y="2"/>
                </a:moveTo>
                <a:cubicBezTo>
                  <a:pt x="0" y="3"/>
                  <a:pt x="0" y="4"/>
                  <a:pt x="1" y="4"/>
                </a:cubicBezTo>
                <a:cubicBezTo>
                  <a:pt x="1" y="4"/>
                  <a:pt x="3" y="5"/>
                  <a:pt x="3" y="4"/>
                </a:cubicBezTo>
                <a:cubicBezTo>
                  <a:pt x="3" y="2"/>
                  <a:pt x="1" y="0"/>
                  <a:pt x="0" y="2"/>
                </a:cubicBezTo>
                <a:cubicBezTo>
                  <a:pt x="0" y="2"/>
                  <a:pt x="0" y="2"/>
                  <a:pt x="0" y="2"/>
                </a:cubicBezTo>
                <a:cubicBezTo>
                  <a:pt x="0" y="2"/>
                  <a:pt x="0" y="2"/>
                  <a:pt x="0" y="2"/>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14" name="Freeform 318">
            <a:extLst>
              <a:ext uri="{FF2B5EF4-FFF2-40B4-BE49-F238E27FC236}">
                <a16:creationId xmlns:a16="http://schemas.microsoft.com/office/drawing/2014/main" id="{7EBE02B0-8973-7899-76E9-D38CD9A4FDD9}"/>
              </a:ext>
            </a:extLst>
          </p:cNvPr>
          <p:cNvSpPr>
            <a:spLocks noEditPoints="1"/>
          </p:cNvSpPr>
          <p:nvPr>
            <p:custDataLst>
              <p:tags r:id="rId70"/>
            </p:custDataLst>
          </p:nvPr>
        </p:nvSpPr>
        <p:spPr bwMode="auto">
          <a:xfrm>
            <a:off x="7667676" y="4149728"/>
            <a:ext cx="92100" cy="65071"/>
          </a:xfrm>
          <a:custGeom>
            <a:avLst/>
            <a:gdLst>
              <a:gd name="T0" fmla="*/ 57 w 79"/>
              <a:gd name="T1" fmla="*/ 47 h 56"/>
              <a:gd name="T2" fmla="*/ 48 w 79"/>
              <a:gd name="T3" fmla="*/ 40 h 56"/>
              <a:gd name="T4" fmla="*/ 43 w 79"/>
              <a:gd name="T5" fmla="*/ 34 h 56"/>
              <a:gd name="T6" fmla="*/ 36 w 79"/>
              <a:gd name="T7" fmla="*/ 29 h 56"/>
              <a:gd name="T8" fmla="*/ 31 w 79"/>
              <a:gd name="T9" fmla="*/ 23 h 56"/>
              <a:gd name="T10" fmla="*/ 25 w 79"/>
              <a:gd name="T11" fmla="*/ 19 h 56"/>
              <a:gd name="T12" fmla="*/ 17 w 79"/>
              <a:gd name="T13" fmla="*/ 14 h 56"/>
              <a:gd name="T14" fmla="*/ 13 w 79"/>
              <a:gd name="T15" fmla="*/ 12 h 56"/>
              <a:gd name="T16" fmla="*/ 9 w 79"/>
              <a:gd name="T17" fmla="*/ 10 h 56"/>
              <a:gd name="T18" fmla="*/ 9 w 79"/>
              <a:gd name="T19" fmla="*/ 12 h 56"/>
              <a:gd name="T20" fmla="*/ 10 w 79"/>
              <a:gd name="T21" fmla="*/ 15 h 56"/>
              <a:gd name="T22" fmla="*/ 15 w 79"/>
              <a:gd name="T23" fmla="*/ 23 h 56"/>
              <a:gd name="T24" fmla="*/ 21 w 79"/>
              <a:gd name="T25" fmla="*/ 27 h 56"/>
              <a:gd name="T26" fmla="*/ 27 w 79"/>
              <a:gd name="T27" fmla="*/ 33 h 56"/>
              <a:gd name="T28" fmla="*/ 34 w 79"/>
              <a:gd name="T29" fmla="*/ 37 h 56"/>
              <a:gd name="T30" fmla="*/ 40 w 79"/>
              <a:gd name="T31" fmla="*/ 40 h 56"/>
              <a:gd name="T32" fmla="*/ 49 w 79"/>
              <a:gd name="T33" fmla="*/ 48 h 56"/>
              <a:gd name="T34" fmla="*/ 54 w 79"/>
              <a:gd name="T35" fmla="*/ 49 h 56"/>
              <a:gd name="T36" fmla="*/ 57 w 79"/>
              <a:gd name="T37" fmla="*/ 46 h 56"/>
              <a:gd name="T38" fmla="*/ 57 w 79"/>
              <a:gd name="T39" fmla="*/ 47 h 56"/>
              <a:gd name="T40" fmla="*/ 57 w 79"/>
              <a:gd name="T41" fmla="*/ 47 h 56"/>
              <a:gd name="T42" fmla="*/ 73 w 79"/>
              <a:gd name="T43" fmla="*/ 32 h 56"/>
              <a:gd name="T44" fmla="*/ 74 w 79"/>
              <a:gd name="T45" fmla="*/ 37 h 56"/>
              <a:gd name="T46" fmla="*/ 77 w 79"/>
              <a:gd name="T47" fmla="*/ 35 h 56"/>
              <a:gd name="T48" fmla="*/ 79 w 79"/>
              <a:gd name="T49" fmla="*/ 34 h 56"/>
              <a:gd name="T50" fmla="*/ 77 w 79"/>
              <a:gd name="T51" fmla="*/ 32 h 56"/>
              <a:gd name="T52" fmla="*/ 73 w 79"/>
              <a:gd name="T53" fmla="*/ 33 h 56"/>
              <a:gd name="T54" fmla="*/ 73 w 79"/>
              <a:gd name="T55" fmla="*/ 32 h 56"/>
              <a:gd name="T56" fmla="*/ 73 w 79"/>
              <a:gd name="T57" fmla="*/ 32 h 56"/>
              <a:gd name="T58" fmla="*/ 50 w 79"/>
              <a:gd name="T59" fmla="*/ 21 h 56"/>
              <a:gd name="T60" fmla="*/ 53 w 79"/>
              <a:gd name="T61" fmla="*/ 18 h 56"/>
              <a:gd name="T62" fmla="*/ 54 w 79"/>
              <a:gd name="T63" fmla="*/ 16 h 56"/>
              <a:gd name="T64" fmla="*/ 52 w 79"/>
              <a:gd name="T65" fmla="*/ 14 h 56"/>
              <a:gd name="T66" fmla="*/ 50 w 79"/>
              <a:gd name="T67" fmla="*/ 18 h 56"/>
              <a:gd name="T68" fmla="*/ 50 w 79"/>
              <a:gd name="T69" fmla="*/ 21 h 56"/>
              <a:gd name="T70" fmla="*/ 50 w 79"/>
              <a:gd name="T71" fmla="*/ 21 h 56"/>
              <a:gd name="T72" fmla="*/ 50 w 79"/>
              <a:gd name="T73" fmla="*/ 21 h 56"/>
              <a:gd name="T74" fmla="*/ 65 w 79"/>
              <a:gd name="T75" fmla="*/ 25 h 56"/>
              <a:gd name="T76" fmla="*/ 61 w 79"/>
              <a:gd name="T77" fmla="*/ 22 h 56"/>
              <a:gd name="T78" fmla="*/ 61 w 79"/>
              <a:gd name="T79" fmla="*/ 27 h 56"/>
              <a:gd name="T80" fmla="*/ 66 w 79"/>
              <a:gd name="T81" fmla="*/ 28 h 56"/>
              <a:gd name="T82" fmla="*/ 65 w 79"/>
              <a:gd name="T83" fmla="*/ 24 h 56"/>
              <a:gd name="T84" fmla="*/ 65 w 79"/>
              <a:gd name="T85" fmla="*/ 25 h 56"/>
              <a:gd name="T86" fmla="*/ 65 w 79"/>
              <a:gd name="T87" fmla="*/ 25 h 56"/>
              <a:gd name="T88" fmla="*/ 67 w 79"/>
              <a:gd name="T89" fmla="*/ 55 h 56"/>
              <a:gd name="T90" fmla="*/ 65 w 79"/>
              <a:gd name="T91" fmla="*/ 53 h 56"/>
              <a:gd name="T92" fmla="*/ 68 w 79"/>
              <a:gd name="T93" fmla="*/ 55 h 56"/>
              <a:gd name="T94" fmla="*/ 67 w 79"/>
              <a:gd name="T95" fmla="*/ 55 h 56"/>
              <a:gd name="T96" fmla="*/ 67 w 79"/>
              <a:gd name="T97" fmla="*/ 55 h 56"/>
              <a:gd name="T98" fmla="*/ 1 w 79"/>
              <a:gd name="T99" fmla="*/ 2 h 56"/>
              <a:gd name="T100" fmla="*/ 3 w 79"/>
              <a:gd name="T101" fmla="*/ 3 h 56"/>
              <a:gd name="T102" fmla="*/ 1 w 79"/>
              <a:gd name="T103" fmla="*/ 2 h 56"/>
              <a:gd name="T104" fmla="*/ 1 w 79"/>
              <a:gd name="T105" fmla="*/ 2 h 56"/>
              <a:gd name="T106" fmla="*/ 1 w 79"/>
              <a:gd name="T107" fmla="*/ 2 h 56"/>
              <a:gd name="T108" fmla="*/ 36 w 79"/>
              <a:gd name="T109" fmla="*/ 5 h 56"/>
              <a:gd name="T110" fmla="*/ 33 w 79"/>
              <a:gd name="T111" fmla="*/ 5 h 56"/>
              <a:gd name="T112" fmla="*/ 36 w 79"/>
              <a:gd name="T113" fmla="*/ 5 h 56"/>
              <a:gd name="T114" fmla="*/ 36 w 79"/>
              <a:gd name="T115" fmla="*/ 5 h 56"/>
              <a:gd name="T116" fmla="*/ 36 w 79"/>
              <a:gd name="T117" fmla="*/ 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 h="56">
                <a:moveTo>
                  <a:pt x="57" y="47"/>
                </a:moveTo>
                <a:cubicBezTo>
                  <a:pt x="58" y="43"/>
                  <a:pt x="51" y="42"/>
                  <a:pt x="48" y="40"/>
                </a:cubicBezTo>
                <a:cubicBezTo>
                  <a:pt x="46" y="38"/>
                  <a:pt x="45" y="36"/>
                  <a:pt x="43" y="34"/>
                </a:cubicBezTo>
                <a:cubicBezTo>
                  <a:pt x="41" y="32"/>
                  <a:pt x="38" y="31"/>
                  <a:pt x="36" y="29"/>
                </a:cubicBezTo>
                <a:cubicBezTo>
                  <a:pt x="34" y="28"/>
                  <a:pt x="33" y="25"/>
                  <a:pt x="31" y="23"/>
                </a:cubicBezTo>
                <a:cubicBezTo>
                  <a:pt x="29" y="21"/>
                  <a:pt x="27" y="20"/>
                  <a:pt x="25" y="19"/>
                </a:cubicBezTo>
                <a:cubicBezTo>
                  <a:pt x="22" y="17"/>
                  <a:pt x="19" y="16"/>
                  <a:pt x="17" y="14"/>
                </a:cubicBezTo>
                <a:cubicBezTo>
                  <a:pt x="16" y="14"/>
                  <a:pt x="14" y="13"/>
                  <a:pt x="13" y="12"/>
                </a:cubicBezTo>
                <a:cubicBezTo>
                  <a:pt x="12" y="11"/>
                  <a:pt x="10" y="10"/>
                  <a:pt x="9" y="10"/>
                </a:cubicBezTo>
                <a:cubicBezTo>
                  <a:pt x="7" y="10"/>
                  <a:pt x="8" y="12"/>
                  <a:pt x="9" y="12"/>
                </a:cubicBezTo>
                <a:cubicBezTo>
                  <a:pt x="9" y="13"/>
                  <a:pt x="10" y="14"/>
                  <a:pt x="10" y="15"/>
                </a:cubicBezTo>
                <a:cubicBezTo>
                  <a:pt x="12" y="18"/>
                  <a:pt x="13" y="21"/>
                  <a:pt x="15" y="23"/>
                </a:cubicBezTo>
                <a:cubicBezTo>
                  <a:pt x="17" y="24"/>
                  <a:pt x="20" y="25"/>
                  <a:pt x="21" y="27"/>
                </a:cubicBezTo>
                <a:cubicBezTo>
                  <a:pt x="23" y="29"/>
                  <a:pt x="25" y="31"/>
                  <a:pt x="27" y="33"/>
                </a:cubicBezTo>
                <a:cubicBezTo>
                  <a:pt x="29" y="35"/>
                  <a:pt x="31" y="37"/>
                  <a:pt x="34" y="37"/>
                </a:cubicBezTo>
                <a:cubicBezTo>
                  <a:pt x="36" y="38"/>
                  <a:pt x="38" y="39"/>
                  <a:pt x="40" y="40"/>
                </a:cubicBezTo>
                <a:cubicBezTo>
                  <a:pt x="43" y="43"/>
                  <a:pt x="45" y="46"/>
                  <a:pt x="49" y="48"/>
                </a:cubicBezTo>
                <a:cubicBezTo>
                  <a:pt x="50" y="49"/>
                  <a:pt x="52" y="49"/>
                  <a:pt x="54" y="49"/>
                </a:cubicBezTo>
                <a:cubicBezTo>
                  <a:pt x="57" y="49"/>
                  <a:pt x="57" y="48"/>
                  <a:pt x="57" y="46"/>
                </a:cubicBezTo>
                <a:cubicBezTo>
                  <a:pt x="57" y="47"/>
                  <a:pt x="57" y="47"/>
                  <a:pt x="57" y="47"/>
                </a:cubicBezTo>
                <a:cubicBezTo>
                  <a:pt x="58" y="44"/>
                  <a:pt x="57" y="47"/>
                  <a:pt x="57" y="47"/>
                </a:cubicBezTo>
                <a:close/>
                <a:moveTo>
                  <a:pt x="73" y="32"/>
                </a:moveTo>
                <a:cubicBezTo>
                  <a:pt x="72" y="34"/>
                  <a:pt x="72" y="36"/>
                  <a:pt x="74" y="37"/>
                </a:cubicBezTo>
                <a:cubicBezTo>
                  <a:pt x="75" y="38"/>
                  <a:pt x="76" y="36"/>
                  <a:pt x="77" y="35"/>
                </a:cubicBezTo>
                <a:cubicBezTo>
                  <a:pt x="77" y="35"/>
                  <a:pt x="79" y="35"/>
                  <a:pt x="79" y="34"/>
                </a:cubicBezTo>
                <a:cubicBezTo>
                  <a:pt x="79" y="33"/>
                  <a:pt x="77" y="32"/>
                  <a:pt x="77" y="32"/>
                </a:cubicBezTo>
                <a:cubicBezTo>
                  <a:pt x="75" y="31"/>
                  <a:pt x="74" y="31"/>
                  <a:pt x="73" y="33"/>
                </a:cubicBezTo>
                <a:cubicBezTo>
                  <a:pt x="73" y="33"/>
                  <a:pt x="73" y="33"/>
                  <a:pt x="73" y="32"/>
                </a:cubicBezTo>
                <a:cubicBezTo>
                  <a:pt x="72" y="34"/>
                  <a:pt x="73" y="32"/>
                  <a:pt x="73" y="32"/>
                </a:cubicBezTo>
                <a:close/>
                <a:moveTo>
                  <a:pt x="50" y="21"/>
                </a:moveTo>
                <a:cubicBezTo>
                  <a:pt x="51" y="21"/>
                  <a:pt x="52" y="19"/>
                  <a:pt x="53" y="18"/>
                </a:cubicBezTo>
                <a:cubicBezTo>
                  <a:pt x="54" y="18"/>
                  <a:pt x="54" y="17"/>
                  <a:pt x="54" y="16"/>
                </a:cubicBezTo>
                <a:cubicBezTo>
                  <a:pt x="54" y="15"/>
                  <a:pt x="53" y="14"/>
                  <a:pt x="52" y="14"/>
                </a:cubicBezTo>
                <a:cubicBezTo>
                  <a:pt x="51" y="14"/>
                  <a:pt x="51" y="17"/>
                  <a:pt x="50" y="18"/>
                </a:cubicBezTo>
                <a:cubicBezTo>
                  <a:pt x="50" y="19"/>
                  <a:pt x="49" y="21"/>
                  <a:pt x="50" y="21"/>
                </a:cubicBezTo>
                <a:cubicBezTo>
                  <a:pt x="50" y="21"/>
                  <a:pt x="50" y="21"/>
                  <a:pt x="50" y="21"/>
                </a:cubicBezTo>
                <a:cubicBezTo>
                  <a:pt x="51" y="21"/>
                  <a:pt x="50" y="21"/>
                  <a:pt x="50" y="21"/>
                </a:cubicBezTo>
                <a:close/>
                <a:moveTo>
                  <a:pt x="65" y="25"/>
                </a:moveTo>
                <a:cubicBezTo>
                  <a:pt x="65" y="24"/>
                  <a:pt x="64" y="20"/>
                  <a:pt x="61" y="22"/>
                </a:cubicBezTo>
                <a:cubicBezTo>
                  <a:pt x="59" y="22"/>
                  <a:pt x="60" y="26"/>
                  <a:pt x="61" y="27"/>
                </a:cubicBezTo>
                <a:cubicBezTo>
                  <a:pt x="62" y="27"/>
                  <a:pt x="65" y="30"/>
                  <a:pt x="66" y="28"/>
                </a:cubicBezTo>
                <a:cubicBezTo>
                  <a:pt x="66" y="27"/>
                  <a:pt x="65" y="26"/>
                  <a:pt x="65" y="24"/>
                </a:cubicBezTo>
                <a:cubicBezTo>
                  <a:pt x="65" y="25"/>
                  <a:pt x="65" y="25"/>
                  <a:pt x="65" y="25"/>
                </a:cubicBezTo>
                <a:cubicBezTo>
                  <a:pt x="65" y="24"/>
                  <a:pt x="65" y="25"/>
                  <a:pt x="65" y="25"/>
                </a:cubicBezTo>
                <a:close/>
                <a:moveTo>
                  <a:pt x="67" y="55"/>
                </a:moveTo>
                <a:cubicBezTo>
                  <a:pt x="70" y="54"/>
                  <a:pt x="65" y="52"/>
                  <a:pt x="65" y="53"/>
                </a:cubicBezTo>
                <a:cubicBezTo>
                  <a:pt x="65" y="54"/>
                  <a:pt x="66" y="56"/>
                  <a:pt x="68" y="55"/>
                </a:cubicBezTo>
                <a:cubicBezTo>
                  <a:pt x="67" y="55"/>
                  <a:pt x="67" y="55"/>
                  <a:pt x="67" y="55"/>
                </a:cubicBezTo>
                <a:cubicBezTo>
                  <a:pt x="68" y="55"/>
                  <a:pt x="67" y="55"/>
                  <a:pt x="67" y="55"/>
                </a:cubicBezTo>
                <a:close/>
                <a:moveTo>
                  <a:pt x="1" y="2"/>
                </a:moveTo>
                <a:cubicBezTo>
                  <a:pt x="0" y="3"/>
                  <a:pt x="3" y="6"/>
                  <a:pt x="3" y="3"/>
                </a:cubicBezTo>
                <a:cubicBezTo>
                  <a:pt x="3" y="3"/>
                  <a:pt x="1" y="0"/>
                  <a:pt x="1" y="2"/>
                </a:cubicBezTo>
                <a:cubicBezTo>
                  <a:pt x="1" y="2"/>
                  <a:pt x="1" y="2"/>
                  <a:pt x="1" y="2"/>
                </a:cubicBezTo>
                <a:cubicBezTo>
                  <a:pt x="0" y="2"/>
                  <a:pt x="1" y="2"/>
                  <a:pt x="1" y="2"/>
                </a:cubicBezTo>
                <a:close/>
                <a:moveTo>
                  <a:pt x="36" y="5"/>
                </a:moveTo>
                <a:cubicBezTo>
                  <a:pt x="36" y="2"/>
                  <a:pt x="32" y="4"/>
                  <a:pt x="33" y="5"/>
                </a:cubicBezTo>
                <a:cubicBezTo>
                  <a:pt x="34" y="6"/>
                  <a:pt x="36" y="6"/>
                  <a:pt x="36" y="5"/>
                </a:cubicBezTo>
                <a:cubicBezTo>
                  <a:pt x="36" y="5"/>
                  <a:pt x="36" y="5"/>
                  <a:pt x="36" y="5"/>
                </a:cubicBezTo>
                <a:cubicBezTo>
                  <a:pt x="36" y="4"/>
                  <a:pt x="36" y="5"/>
                  <a:pt x="36" y="5"/>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15" name="Freeform 324">
            <a:extLst>
              <a:ext uri="{FF2B5EF4-FFF2-40B4-BE49-F238E27FC236}">
                <a16:creationId xmlns:a16="http://schemas.microsoft.com/office/drawing/2014/main" id="{7DF0943F-352F-63E0-D3F3-5E8FF9180871}"/>
              </a:ext>
            </a:extLst>
          </p:cNvPr>
          <p:cNvSpPr/>
          <p:nvPr>
            <p:custDataLst>
              <p:tags r:id="rId71"/>
            </p:custDataLst>
          </p:nvPr>
        </p:nvSpPr>
        <p:spPr bwMode="auto">
          <a:xfrm>
            <a:off x="6167046" y="3217716"/>
            <a:ext cx="89097" cy="110120"/>
          </a:xfrm>
          <a:custGeom>
            <a:avLst/>
            <a:gdLst>
              <a:gd name="T0" fmla="*/ 76 w 76"/>
              <a:gd name="T1" fmla="*/ 89 h 94"/>
              <a:gd name="T2" fmla="*/ 75 w 76"/>
              <a:gd name="T3" fmla="*/ 72 h 94"/>
              <a:gd name="T4" fmla="*/ 71 w 76"/>
              <a:gd name="T5" fmla="*/ 54 h 94"/>
              <a:gd name="T6" fmla="*/ 68 w 76"/>
              <a:gd name="T7" fmla="*/ 50 h 94"/>
              <a:gd name="T8" fmla="*/ 63 w 76"/>
              <a:gd name="T9" fmla="*/ 63 h 94"/>
              <a:gd name="T10" fmla="*/ 52 w 76"/>
              <a:gd name="T11" fmla="*/ 53 h 94"/>
              <a:gd name="T12" fmla="*/ 62 w 76"/>
              <a:gd name="T13" fmla="*/ 40 h 94"/>
              <a:gd name="T14" fmla="*/ 69 w 76"/>
              <a:gd name="T15" fmla="*/ 33 h 94"/>
              <a:gd name="T16" fmla="*/ 73 w 76"/>
              <a:gd name="T17" fmla="*/ 28 h 94"/>
              <a:gd name="T18" fmla="*/ 59 w 76"/>
              <a:gd name="T19" fmla="*/ 25 h 94"/>
              <a:gd name="T20" fmla="*/ 50 w 76"/>
              <a:gd name="T21" fmla="*/ 25 h 94"/>
              <a:gd name="T22" fmla="*/ 28 w 76"/>
              <a:gd name="T23" fmla="*/ 19 h 94"/>
              <a:gd name="T24" fmla="*/ 28 w 76"/>
              <a:gd name="T25" fmla="*/ 6 h 94"/>
              <a:gd name="T26" fmla="*/ 23 w 76"/>
              <a:gd name="T27" fmla="*/ 9 h 94"/>
              <a:gd name="T28" fmla="*/ 17 w 76"/>
              <a:gd name="T29" fmla="*/ 3 h 94"/>
              <a:gd name="T30" fmla="*/ 9 w 76"/>
              <a:gd name="T31" fmla="*/ 2 h 94"/>
              <a:gd name="T32" fmla="*/ 4 w 76"/>
              <a:gd name="T33" fmla="*/ 11 h 94"/>
              <a:gd name="T34" fmla="*/ 11 w 76"/>
              <a:gd name="T35" fmla="*/ 16 h 94"/>
              <a:gd name="T36" fmla="*/ 12 w 76"/>
              <a:gd name="T37" fmla="*/ 24 h 94"/>
              <a:gd name="T38" fmla="*/ 5 w 76"/>
              <a:gd name="T39" fmla="*/ 29 h 94"/>
              <a:gd name="T40" fmla="*/ 4 w 76"/>
              <a:gd name="T41" fmla="*/ 34 h 94"/>
              <a:gd name="T42" fmla="*/ 12 w 76"/>
              <a:gd name="T43" fmla="*/ 40 h 94"/>
              <a:gd name="T44" fmla="*/ 13 w 76"/>
              <a:gd name="T45" fmla="*/ 54 h 94"/>
              <a:gd name="T46" fmla="*/ 16 w 76"/>
              <a:gd name="T47" fmla="*/ 60 h 94"/>
              <a:gd name="T48" fmla="*/ 17 w 76"/>
              <a:gd name="T49" fmla="*/ 71 h 94"/>
              <a:gd name="T50" fmla="*/ 22 w 76"/>
              <a:gd name="T51" fmla="*/ 82 h 94"/>
              <a:gd name="T52" fmla="*/ 24 w 76"/>
              <a:gd name="T53" fmla="*/ 80 h 94"/>
              <a:gd name="T54" fmla="*/ 26 w 76"/>
              <a:gd name="T55" fmla="*/ 76 h 94"/>
              <a:gd name="T56" fmla="*/ 31 w 76"/>
              <a:gd name="T57" fmla="*/ 79 h 94"/>
              <a:gd name="T58" fmla="*/ 33 w 76"/>
              <a:gd name="T59" fmla="*/ 76 h 94"/>
              <a:gd name="T60" fmla="*/ 37 w 76"/>
              <a:gd name="T61" fmla="*/ 81 h 94"/>
              <a:gd name="T62" fmla="*/ 40 w 76"/>
              <a:gd name="T63" fmla="*/ 76 h 94"/>
              <a:gd name="T64" fmla="*/ 47 w 76"/>
              <a:gd name="T65" fmla="*/ 76 h 94"/>
              <a:gd name="T66" fmla="*/ 40 w 76"/>
              <a:gd name="T67" fmla="*/ 68 h 94"/>
              <a:gd name="T68" fmla="*/ 40 w 76"/>
              <a:gd name="T69" fmla="*/ 61 h 94"/>
              <a:gd name="T70" fmla="*/ 40 w 76"/>
              <a:gd name="T71" fmla="*/ 56 h 94"/>
              <a:gd name="T72" fmla="*/ 39 w 76"/>
              <a:gd name="T73" fmla="*/ 48 h 94"/>
              <a:gd name="T74" fmla="*/ 45 w 76"/>
              <a:gd name="T75" fmla="*/ 51 h 94"/>
              <a:gd name="T76" fmla="*/ 44 w 76"/>
              <a:gd name="T77" fmla="*/ 60 h 94"/>
              <a:gd name="T78" fmla="*/ 51 w 76"/>
              <a:gd name="T79" fmla="*/ 67 h 94"/>
              <a:gd name="T80" fmla="*/ 59 w 76"/>
              <a:gd name="T81" fmla="*/ 67 h 94"/>
              <a:gd name="T82" fmla="*/ 65 w 76"/>
              <a:gd name="T83" fmla="*/ 76 h 94"/>
              <a:gd name="T84" fmla="*/ 65 w 76"/>
              <a:gd name="T85" fmla="*/ 83 h 94"/>
              <a:gd name="T86" fmla="*/ 68 w 76"/>
              <a:gd name="T87" fmla="*/ 94 h 94"/>
              <a:gd name="T88" fmla="*/ 72 w 76"/>
              <a:gd name="T8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94">
                <a:moveTo>
                  <a:pt x="72" y="90"/>
                </a:moveTo>
                <a:cubicBezTo>
                  <a:pt x="73" y="90"/>
                  <a:pt x="76" y="92"/>
                  <a:pt x="76" y="89"/>
                </a:cubicBezTo>
                <a:cubicBezTo>
                  <a:pt x="76" y="86"/>
                  <a:pt x="75" y="83"/>
                  <a:pt x="75" y="81"/>
                </a:cubicBezTo>
                <a:cubicBezTo>
                  <a:pt x="75" y="78"/>
                  <a:pt x="76" y="75"/>
                  <a:pt x="75" y="72"/>
                </a:cubicBezTo>
                <a:cubicBezTo>
                  <a:pt x="75" y="69"/>
                  <a:pt x="73" y="66"/>
                  <a:pt x="72" y="63"/>
                </a:cubicBezTo>
                <a:cubicBezTo>
                  <a:pt x="72" y="60"/>
                  <a:pt x="71" y="57"/>
                  <a:pt x="71" y="54"/>
                </a:cubicBezTo>
                <a:cubicBezTo>
                  <a:pt x="71" y="53"/>
                  <a:pt x="71" y="51"/>
                  <a:pt x="70" y="51"/>
                </a:cubicBezTo>
                <a:cubicBezTo>
                  <a:pt x="70" y="50"/>
                  <a:pt x="68" y="50"/>
                  <a:pt x="68" y="50"/>
                </a:cubicBezTo>
                <a:cubicBezTo>
                  <a:pt x="66" y="51"/>
                  <a:pt x="67" y="54"/>
                  <a:pt x="66" y="55"/>
                </a:cubicBezTo>
                <a:cubicBezTo>
                  <a:pt x="66" y="58"/>
                  <a:pt x="65" y="61"/>
                  <a:pt x="63" y="63"/>
                </a:cubicBezTo>
                <a:cubicBezTo>
                  <a:pt x="60" y="64"/>
                  <a:pt x="58" y="62"/>
                  <a:pt x="56" y="60"/>
                </a:cubicBezTo>
                <a:cubicBezTo>
                  <a:pt x="54" y="59"/>
                  <a:pt x="53" y="56"/>
                  <a:pt x="52" y="53"/>
                </a:cubicBezTo>
                <a:cubicBezTo>
                  <a:pt x="51" y="48"/>
                  <a:pt x="53" y="42"/>
                  <a:pt x="59" y="41"/>
                </a:cubicBezTo>
                <a:cubicBezTo>
                  <a:pt x="60" y="40"/>
                  <a:pt x="61" y="41"/>
                  <a:pt x="62" y="40"/>
                </a:cubicBezTo>
                <a:cubicBezTo>
                  <a:pt x="63" y="40"/>
                  <a:pt x="63" y="39"/>
                  <a:pt x="64" y="38"/>
                </a:cubicBezTo>
                <a:cubicBezTo>
                  <a:pt x="66" y="36"/>
                  <a:pt x="68" y="35"/>
                  <a:pt x="69" y="33"/>
                </a:cubicBezTo>
                <a:cubicBezTo>
                  <a:pt x="69" y="32"/>
                  <a:pt x="69" y="31"/>
                  <a:pt x="70" y="30"/>
                </a:cubicBezTo>
                <a:cubicBezTo>
                  <a:pt x="71" y="30"/>
                  <a:pt x="72" y="29"/>
                  <a:pt x="73" y="28"/>
                </a:cubicBezTo>
                <a:cubicBezTo>
                  <a:pt x="73" y="26"/>
                  <a:pt x="68" y="24"/>
                  <a:pt x="67" y="24"/>
                </a:cubicBezTo>
                <a:cubicBezTo>
                  <a:pt x="64" y="24"/>
                  <a:pt x="61" y="25"/>
                  <a:pt x="59" y="25"/>
                </a:cubicBezTo>
                <a:cubicBezTo>
                  <a:pt x="57" y="25"/>
                  <a:pt x="56" y="24"/>
                  <a:pt x="55" y="24"/>
                </a:cubicBezTo>
                <a:cubicBezTo>
                  <a:pt x="53" y="24"/>
                  <a:pt x="52" y="24"/>
                  <a:pt x="50" y="25"/>
                </a:cubicBezTo>
                <a:cubicBezTo>
                  <a:pt x="44" y="25"/>
                  <a:pt x="39" y="24"/>
                  <a:pt x="33" y="23"/>
                </a:cubicBezTo>
                <a:cubicBezTo>
                  <a:pt x="31" y="23"/>
                  <a:pt x="29" y="22"/>
                  <a:pt x="28" y="19"/>
                </a:cubicBezTo>
                <a:cubicBezTo>
                  <a:pt x="27" y="17"/>
                  <a:pt x="28" y="14"/>
                  <a:pt x="28" y="12"/>
                </a:cubicBezTo>
                <a:cubicBezTo>
                  <a:pt x="28" y="11"/>
                  <a:pt x="29" y="6"/>
                  <a:pt x="28" y="6"/>
                </a:cubicBezTo>
                <a:cubicBezTo>
                  <a:pt x="27" y="6"/>
                  <a:pt x="27" y="7"/>
                  <a:pt x="26" y="7"/>
                </a:cubicBezTo>
                <a:cubicBezTo>
                  <a:pt x="25" y="8"/>
                  <a:pt x="24" y="9"/>
                  <a:pt x="23" y="9"/>
                </a:cubicBezTo>
                <a:cubicBezTo>
                  <a:pt x="21" y="8"/>
                  <a:pt x="19" y="7"/>
                  <a:pt x="18" y="5"/>
                </a:cubicBezTo>
                <a:cubicBezTo>
                  <a:pt x="18" y="4"/>
                  <a:pt x="18" y="3"/>
                  <a:pt x="17" y="3"/>
                </a:cubicBezTo>
                <a:cubicBezTo>
                  <a:pt x="16" y="3"/>
                  <a:pt x="15" y="4"/>
                  <a:pt x="15" y="4"/>
                </a:cubicBezTo>
                <a:cubicBezTo>
                  <a:pt x="13" y="6"/>
                  <a:pt x="11" y="3"/>
                  <a:pt x="9" y="2"/>
                </a:cubicBezTo>
                <a:cubicBezTo>
                  <a:pt x="7" y="0"/>
                  <a:pt x="8" y="3"/>
                  <a:pt x="6" y="4"/>
                </a:cubicBezTo>
                <a:cubicBezTo>
                  <a:pt x="4" y="6"/>
                  <a:pt x="0" y="9"/>
                  <a:pt x="4" y="11"/>
                </a:cubicBezTo>
                <a:cubicBezTo>
                  <a:pt x="6" y="12"/>
                  <a:pt x="6" y="14"/>
                  <a:pt x="8" y="15"/>
                </a:cubicBezTo>
                <a:cubicBezTo>
                  <a:pt x="9" y="16"/>
                  <a:pt x="10" y="16"/>
                  <a:pt x="11" y="16"/>
                </a:cubicBezTo>
                <a:cubicBezTo>
                  <a:pt x="13" y="17"/>
                  <a:pt x="14" y="17"/>
                  <a:pt x="15" y="18"/>
                </a:cubicBezTo>
                <a:cubicBezTo>
                  <a:pt x="18" y="21"/>
                  <a:pt x="16" y="24"/>
                  <a:pt x="12" y="24"/>
                </a:cubicBezTo>
                <a:cubicBezTo>
                  <a:pt x="11" y="24"/>
                  <a:pt x="9" y="24"/>
                  <a:pt x="8" y="25"/>
                </a:cubicBezTo>
                <a:cubicBezTo>
                  <a:pt x="7" y="26"/>
                  <a:pt x="6" y="28"/>
                  <a:pt x="5" y="29"/>
                </a:cubicBezTo>
                <a:cubicBezTo>
                  <a:pt x="4" y="29"/>
                  <a:pt x="1" y="30"/>
                  <a:pt x="1" y="31"/>
                </a:cubicBezTo>
                <a:cubicBezTo>
                  <a:pt x="1" y="32"/>
                  <a:pt x="3" y="33"/>
                  <a:pt x="4" y="34"/>
                </a:cubicBezTo>
                <a:cubicBezTo>
                  <a:pt x="5" y="35"/>
                  <a:pt x="6" y="37"/>
                  <a:pt x="8" y="37"/>
                </a:cubicBezTo>
                <a:cubicBezTo>
                  <a:pt x="10" y="38"/>
                  <a:pt x="12" y="38"/>
                  <a:pt x="12" y="40"/>
                </a:cubicBezTo>
                <a:cubicBezTo>
                  <a:pt x="14" y="44"/>
                  <a:pt x="10" y="47"/>
                  <a:pt x="11" y="50"/>
                </a:cubicBezTo>
                <a:cubicBezTo>
                  <a:pt x="11" y="52"/>
                  <a:pt x="13" y="53"/>
                  <a:pt x="13" y="54"/>
                </a:cubicBezTo>
                <a:cubicBezTo>
                  <a:pt x="13" y="55"/>
                  <a:pt x="13" y="56"/>
                  <a:pt x="14" y="57"/>
                </a:cubicBezTo>
                <a:cubicBezTo>
                  <a:pt x="14" y="58"/>
                  <a:pt x="15" y="59"/>
                  <a:pt x="16" y="60"/>
                </a:cubicBezTo>
                <a:cubicBezTo>
                  <a:pt x="17" y="61"/>
                  <a:pt x="16" y="63"/>
                  <a:pt x="16" y="65"/>
                </a:cubicBezTo>
                <a:cubicBezTo>
                  <a:pt x="16" y="67"/>
                  <a:pt x="16" y="69"/>
                  <a:pt x="17" y="71"/>
                </a:cubicBezTo>
                <a:cubicBezTo>
                  <a:pt x="17" y="76"/>
                  <a:pt x="18" y="81"/>
                  <a:pt x="19" y="85"/>
                </a:cubicBezTo>
                <a:cubicBezTo>
                  <a:pt x="20" y="85"/>
                  <a:pt x="20" y="82"/>
                  <a:pt x="22" y="82"/>
                </a:cubicBezTo>
                <a:cubicBezTo>
                  <a:pt x="22" y="82"/>
                  <a:pt x="23" y="83"/>
                  <a:pt x="24" y="82"/>
                </a:cubicBezTo>
                <a:cubicBezTo>
                  <a:pt x="24" y="82"/>
                  <a:pt x="24" y="81"/>
                  <a:pt x="24" y="80"/>
                </a:cubicBezTo>
                <a:cubicBezTo>
                  <a:pt x="23" y="79"/>
                  <a:pt x="23" y="78"/>
                  <a:pt x="23" y="77"/>
                </a:cubicBezTo>
                <a:cubicBezTo>
                  <a:pt x="24" y="75"/>
                  <a:pt x="26" y="75"/>
                  <a:pt x="26" y="76"/>
                </a:cubicBezTo>
                <a:cubicBezTo>
                  <a:pt x="27" y="78"/>
                  <a:pt x="26" y="80"/>
                  <a:pt x="27" y="82"/>
                </a:cubicBezTo>
                <a:cubicBezTo>
                  <a:pt x="28" y="84"/>
                  <a:pt x="31" y="81"/>
                  <a:pt x="31" y="79"/>
                </a:cubicBezTo>
                <a:cubicBezTo>
                  <a:pt x="31" y="78"/>
                  <a:pt x="29" y="74"/>
                  <a:pt x="31" y="74"/>
                </a:cubicBezTo>
                <a:cubicBezTo>
                  <a:pt x="32" y="74"/>
                  <a:pt x="32" y="75"/>
                  <a:pt x="33" y="76"/>
                </a:cubicBezTo>
                <a:cubicBezTo>
                  <a:pt x="34" y="76"/>
                  <a:pt x="36" y="77"/>
                  <a:pt x="36" y="78"/>
                </a:cubicBezTo>
                <a:cubicBezTo>
                  <a:pt x="36" y="79"/>
                  <a:pt x="35" y="82"/>
                  <a:pt x="37" y="81"/>
                </a:cubicBezTo>
                <a:cubicBezTo>
                  <a:pt x="39" y="81"/>
                  <a:pt x="39" y="80"/>
                  <a:pt x="39" y="79"/>
                </a:cubicBezTo>
                <a:cubicBezTo>
                  <a:pt x="40" y="78"/>
                  <a:pt x="40" y="77"/>
                  <a:pt x="40" y="76"/>
                </a:cubicBezTo>
                <a:cubicBezTo>
                  <a:pt x="41" y="74"/>
                  <a:pt x="43" y="76"/>
                  <a:pt x="44" y="77"/>
                </a:cubicBezTo>
                <a:cubicBezTo>
                  <a:pt x="45" y="79"/>
                  <a:pt x="46" y="77"/>
                  <a:pt x="47" y="76"/>
                </a:cubicBezTo>
                <a:cubicBezTo>
                  <a:pt x="47" y="74"/>
                  <a:pt x="48" y="70"/>
                  <a:pt x="46" y="69"/>
                </a:cubicBezTo>
                <a:cubicBezTo>
                  <a:pt x="45" y="68"/>
                  <a:pt x="42" y="69"/>
                  <a:pt x="40" y="68"/>
                </a:cubicBezTo>
                <a:cubicBezTo>
                  <a:pt x="38" y="68"/>
                  <a:pt x="40" y="65"/>
                  <a:pt x="41" y="64"/>
                </a:cubicBezTo>
                <a:cubicBezTo>
                  <a:pt x="42" y="63"/>
                  <a:pt x="40" y="62"/>
                  <a:pt x="40" y="61"/>
                </a:cubicBezTo>
                <a:cubicBezTo>
                  <a:pt x="39" y="60"/>
                  <a:pt x="40" y="60"/>
                  <a:pt x="41" y="59"/>
                </a:cubicBezTo>
                <a:cubicBezTo>
                  <a:pt x="42" y="58"/>
                  <a:pt x="41" y="57"/>
                  <a:pt x="40" y="56"/>
                </a:cubicBezTo>
                <a:cubicBezTo>
                  <a:pt x="39" y="55"/>
                  <a:pt x="38" y="54"/>
                  <a:pt x="38" y="52"/>
                </a:cubicBezTo>
                <a:cubicBezTo>
                  <a:pt x="38" y="51"/>
                  <a:pt x="38" y="49"/>
                  <a:pt x="39" y="48"/>
                </a:cubicBezTo>
                <a:cubicBezTo>
                  <a:pt x="40" y="46"/>
                  <a:pt x="41" y="47"/>
                  <a:pt x="41" y="48"/>
                </a:cubicBezTo>
                <a:cubicBezTo>
                  <a:pt x="42" y="50"/>
                  <a:pt x="43" y="50"/>
                  <a:pt x="45" y="51"/>
                </a:cubicBezTo>
                <a:cubicBezTo>
                  <a:pt x="47" y="53"/>
                  <a:pt x="45" y="54"/>
                  <a:pt x="45" y="55"/>
                </a:cubicBezTo>
                <a:cubicBezTo>
                  <a:pt x="44" y="57"/>
                  <a:pt x="43" y="58"/>
                  <a:pt x="44" y="60"/>
                </a:cubicBezTo>
                <a:cubicBezTo>
                  <a:pt x="44" y="62"/>
                  <a:pt x="44" y="63"/>
                  <a:pt x="46" y="65"/>
                </a:cubicBezTo>
                <a:cubicBezTo>
                  <a:pt x="47" y="66"/>
                  <a:pt x="49" y="66"/>
                  <a:pt x="51" y="67"/>
                </a:cubicBezTo>
                <a:cubicBezTo>
                  <a:pt x="53" y="67"/>
                  <a:pt x="54" y="65"/>
                  <a:pt x="56" y="65"/>
                </a:cubicBezTo>
                <a:cubicBezTo>
                  <a:pt x="58" y="64"/>
                  <a:pt x="59" y="65"/>
                  <a:pt x="59" y="67"/>
                </a:cubicBezTo>
                <a:cubicBezTo>
                  <a:pt x="59" y="68"/>
                  <a:pt x="60" y="72"/>
                  <a:pt x="61" y="72"/>
                </a:cubicBezTo>
                <a:cubicBezTo>
                  <a:pt x="62" y="73"/>
                  <a:pt x="64" y="75"/>
                  <a:pt x="65" y="76"/>
                </a:cubicBezTo>
                <a:cubicBezTo>
                  <a:pt x="65" y="77"/>
                  <a:pt x="64" y="78"/>
                  <a:pt x="64" y="79"/>
                </a:cubicBezTo>
                <a:cubicBezTo>
                  <a:pt x="64" y="81"/>
                  <a:pt x="64" y="82"/>
                  <a:pt x="65" y="83"/>
                </a:cubicBezTo>
                <a:cubicBezTo>
                  <a:pt x="65" y="85"/>
                  <a:pt x="66" y="86"/>
                  <a:pt x="66" y="88"/>
                </a:cubicBezTo>
                <a:cubicBezTo>
                  <a:pt x="66" y="90"/>
                  <a:pt x="67" y="92"/>
                  <a:pt x="68" y="94"/>
                </a:cubicBezTo>
                <a:cubicBezTo>
                  <a:pt x="69" y="93"/>
                  <a:pt x="70" y="91"/>
                  <a:pt x="72" y="90"/>
                </a:cubicBezTo>
                <a:cubicBezTo>
                  <a:pt x="72" y="90"/>
                  <a:pt x="72" y="90"/>
                  <a:pt x="72" y="90"/>
                </a:cubicBezTo>
                <a:cubicBezTo>
                  <a:pt x="72" y="90"/>
                  <a:pt x="72" y="90"/>
                  <a:pt x="72" y="90"/>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16" name="Freeform 326">
            <a:extLst>
              <a:ext uri="{FF2B5EF4-FFF2-40B4-BE49-F238E27FC236}">
                <a16:creationId xmlns:a16="http://schemas.microsoft.com/office/drawing/2014/main" id="{C107B7D2-B763-83B3-DD2D-F999CEB101AE}"/>
              </a:ext>
            </a:extLst>
          </p:cNvPr>
          <p:cNvSpPr/>
          <p:nvPr>
            <p:custDataLst>
              <p:tags r:id="rId72"/>
            </p:custDataLst>
          </p:nvPr>
        </p:nvSpPr>
        <p:spPr bwMode="auto">
          <a:xfrm>
            <a:off x="5999863" y="3560088"/>
            <a:ext cx="45049" cy="78084"/>
          </a:xfrm>
          <a:custGeom>
            <a:avLst/>
            <a:gdLst>
              <a:gd name="T0" fmla="*/ 33 w 38"/>
              <a:gd name="T1" fmla="*/ 33 h 67"/>
              <a:gd name="T2" fmla="*/ 30 w 38"/>
              <a:gd name="T3" fmla="*/ 26 h 67"/>
              <a:gd name="T4" fmla="*/ 24 w 38"/>
              <a:gd name="T5" fmla="*/ 19 h 67"/>
              <a:gd name="T6" fmla="*/ 21 w 38"/>
              <a:gd name="T7" fmla="*/ 11 h 67"/>
              <a:gd name="T8" fmla="*/ 19 w 38"/>
              <a:gd name="T9" fmla="*/ 8 h 67"/>
              <a:gd name="T10" fmla="*/ 16 w 38"/>
              <a:gd name="T11" fmla="*/ 5 h 67"/>
              <a:gd name="T12" fmla="*/ 12 w 38"/>
              <a:gd name="T13" fmla="*/ 2 h 67"/>
              <a:gd name="T14" fmla="*/ 10 w 38"/>
              <a:gd name="T15" fmla="*/ 2 h 67"/>
              <a:gd name="T16" fmla="*/ 8 w 38"/>
              <a:gd name="T17" fmla="*/ 1 h 67"/>
              <a:gd name="T18" fmla="*/ 9 w 38"/>
              <a:gd name="T19" fmla="*/ 5 h 67"/>
              <a:gd name="T20" fmla="*/ 7 w 38"/>
              <a:gd name="T21" fmla="*/ 5 h 67"/>
              <a:gd name="T22" fmla="*/ 7 w 38"/>
              <a:gd name="T23" fmla="*/ 7 h 67"/>
              <a:gd name="T24" fmla="*/ 6 w 38"/>
              <a:gd name="T25" fmla="*/ 11 h 67"/>
              <a:gd name="T26" fmla="*/ 4 w 38"/>
              <a:gd name="T27" fmla="*/ 13 h 67"/>
              <a:gd name="T28" fmla="*/ 2 w 38"/>
              <a:gd name="T29" fmla="*/ 13 h 67"/>
              <a:gd name="T30" fmla="*/ 3 w 38"/>
              <a:gd name="T31" fmla="*/ 16 h 67"/>
              <a:gd name="T32" fmla="*/ 4 w 38"/>
              <a:gd name="T33" fmla="*/ 24 h 67"/>
              <a:gd name="T34" fmla="*/ 3 w 38"/>
              <a:gd name="T35" fmla="*/ 26 h 67"/>
              <a:gd name="T36" fmla="*/ 0 w 38"/>
              <a:gd name="T37" fmla="*/ 29 h 67"/>
              <a:gd name="T38" fmla="*/ 1 w 38"/>
              <a:gd name="T39" fmla="*/ 32 h 67"/>
              <a:gd name="T40" fmla="*/ 1 w 38"/>
              <a:gd name="T41" fmla="*/ 37 h 67"/>
              <a:gd name="T42" fmla="*/ 2 w 38"/>
              <a:gd name="T43" fmla="*/ 46 h 67"/>
              <a:gd name="T44" fmla="*/ 8 w 38"/>
              <a:gd name="T45" fmla="*/ 62 h 67"/>
              <a:gd name="T46" fmla="*/ 19 w 38"/>
              <a:gd name="T47" fmla="*/ 65 h 67"/>
              <a:gd name="T48" fmla="*/ 25 w 38"/>
              <a:gd name="T49" fmla="*/ 61 h 67"/>
              <a:gd name="T50" fmla="*/ 32 w 38"/>
              <a:gd name="T51" fmla="*/ 58 h 67"/>
              <a:gd name="T52" fmla="*/ 36 w 38"/>
              <a:gd name="T53" fmla="*/ 54 h 67"/>
              <a:gd name="T54" fmla="*/ 37 w 38"/>
              <a:gd name="T55" fmla="*/ 46 h 67"/>
              <a:gd name="T56" fmla="*/ 33 w 38"/>
              <a:gd name="T57" fmla="*/ 32 h 67"/>
              <a:gd name="T58" fmla="*/ 33 w 38"/>
              <a:gd name="T59" fmla="*/ 33 h 67"/>
              <a:gd name="T60" fmla="*/ 33 w 38"/>
              <a:gd name="T61" fmla="*/ 3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67">
                <a:moveTo>
                  <a:pt x="33" y="33"/>
                </a:moveTo>
                <a:cubicBezTo>
                  <a:pt x="32" y="31"/>
                  <a:pt x="31" y="28"/>
                  <a:pt x="30" y="26"/>
                </a:cubicBezTo>
                <a:cubicBezTo>
                  <a:pt x="28" y="24"/>
                  <a:pt x="26" y="22"/>
                  <a:pt x="24" y="19"/>
                </a:cubicBezTo>
                <a:cubicBezTo>
                  <a:pt x="22" y="17"/>
                  <a:pt x="22" y="14"/>
                  <a:pt x="21" y="11"/>
                </a:cubicBezTo>
                <a:cubicBezTo>
                  <a:pt x="20" y="10"/>
                  <a:pt x="20" y="9"/>
                  <a:pt x="19" y="8"/>
                </a:cubicBezTo>
                <a:cubicBezTo>
                  <a:pt x="18" y="7"/>
                  <a:pt x="16" y="6"/>
                  <a:pt x="16" y="5"/>
                </a:cubicBezTo>
                <a:cubicBezTo>
                  <a:pt x="15" y="4"/>
                  <a:pt x="14" y="2"/>
                  <a:pt x="12" y="2"/>
                </a:cubicBezTo>
                <a:cubicBezTo>
                  <a:pt x="11" y="2"/>
                  <a:pt x="10" y="2"/>
                  <a:pt x="10" y="2"/>
                </a:cubicBezTo>
                <a:cubicBezTo>
                  <a:pt x="9" y="1"/>
                  <a:pt x="9" y="0"/>
                  <a:pt x="8" y="1"/>
                </a:cubicBezTo>
                <a:cubicBezTo>
                  <a:pt x="7" y="2"/>
                  <a:pt x="10" y="4"/>
                  <a:pt x="9" y="5"/>
                </a:cubicBezTo>
                <a:cubicBezTo>
                  <a:pt x="9" y="6"/>
                  <a:pt x="8" y="5"/>
                  <a:pt x="7" y="5"/>
                </a:cubicBezTo>
                <a:cubicBezTo>
                  <a:pt x="6" y="5"/>
                  <a:pt x="7" y="7"/>
                  <a:pt x="7" y="7"/>
                </a:cubicBezTo>
                <a:cubicBezTo>
                  <a:pt x="7" y="9"/>
                  <a:pt x="7" y="10"/>
                  <a:pt x="6" y="11"/>
                </a:cubicBezTo>
                <a:cubicBezTo>
                  <a:pt x="5" y="11"/>
                  <a:pt x="5" y="13"/>
                  <a:pt x="4" y="13"/>
                </a:cubicBezTo>
                <a:cubicBezTo>
                  <a:pt x="3" y="13"/>
                  <a:pt x="3" y="13"/>
                  <a:pt x="2" y="13"/>
                </a:cubicBezTo>
                <a:cubicBezTo>
                  <a:pt x="1" y="13"/>
                  <a:pt x="3" y="16"/>
                  <a:pt x="3" y="16"/>
                </a:cubicBezTo>
                <a:cubicBezTo>
                  <a:pt x="5" y="18"/>
                  <a:pt x="4" y="21"/>
                  <a:pt x="4" y="24"/>
                </a:cubicBezTo>
                <a:cubicBezTo>
                  <a:pt x="4" y="24"/>
                  <a:pt x="4" y="26"/>
                  <a:pt x="3" y="26"/>
                </a:cubicBezTo>
                <a:cubicBezTo>
                  <a:pt x="2" y="27"/>
                  <a:pt x="0" y="27"/>
                  <a:pt x="0" y="29"/>
                </a:cubicBezTo>
                <a:cubicBezTo>
                  <a:pt x="0" y="30"/>
                  <a:pt x="1" y="31"/>
                  <a:pt x="1" y="32"/>
                </a:cubicBezTo>
                <a:cubicBezTo>
                  <a:pt x="1" y="34"/>
                  <a:pt x="1" y="35"/>
                  <a:pt x="1" y="37"/>
                </a:cubicBezTo>
                <a:cubicBezTo>
                  <a:pt x="1" y="40"/>
                  <a:pt x="2" y="43"/>
                  <a:pt x="2" y="46"/>
                </a:cubicBezTo>
                <a:cubicBezTo>
                  <a:pt x="3" y="52"/>
                  <a:pt x="4" y="57"/>
                  <a:pt x="8" y="62"/>
                </a:cubicBezTo>
                <a:cubicBezTo>
                  <a:pt x="11" y="66"/>
                  <a:pt x="15" y="67"/>
                  <a:pt x="19" y="65"/>
                </a:cubicBezTo>
                <a:cubicBezTo>
                  <a:pt x="21" y="64"/>
                  <a:pt x="23" y="62"/>
                  <a:pt x="25" y="61"/>
                </a:cubicBezTo>
                <a:cubicBezTo>
                  <a:pt x="27" y="59"/>
                  <a:pt x="29" y="59"/>
                  <a:pt x="32" y="58"/>
                </a:cubicBezTo>
                <a:cubicBezTo>
                  <a:pt x="34" y="57"/>
                  <a:pt x="35" y="56"/>
                  <a:pt x="36" y="54"/>
                </a:cubicBezTo>
                <a:cubicBezTo>
                  <a:pt x="36" y="51"/>
                  <a:pt x="37" y="49"/>
                  <a:pt x="37" y="46"/>
                </a:cubicBezTo>
                <a:cubicBezTo>
                  <a:pt x="38" y="41"/>
                  <a:pt x="35" y="37"/>
                  <a:pt x="33" y="32"/>
                </a:cubicBezTo>
                <a:cubicBezTo>
                  <a:pt x="33" y="32"/>
                  <a:pt x="33" y="33"/>
                  <a:pt x="33" y="33"/>
                </a:cubicBezTo>
                <a:cubicBezTo>
                  <a:pt x="32" y="32"/>
                  <a:pt x="33" y="33"/>
                  <a:pt x="33" y="33"/>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17" name="Freeform 330">
            <a:extLst>
              <a:ext uri="{FF2B5EF4-FFF2-40B4-BE49-F238E27FC236}">
                <a16:creationId xmlns:a16="http://schemas.microsoft.com/office/drawing/2014/main" id="{03D60C75-EA8D-FD11-E3D4-94ABD4D302B0}"/>
              </a:ext>
            </a:extLst>
          </p:cNvPr>
          <p:cNvSpPr/>
          <p:nvPr>
            <p:custDataLst>
              <p:tags r:id="rId73"/>
            </p:custDataLst>
          </p:nvPr>
        </p:nvSpPr>
        <p:spPr bwMode="auto">
          <a:xfrm>
            <a:off x="5333138" y="3013493"/>
            <a:ext cx="1001"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1" y="0"/>
                  <a:pt x="0" y="0"/>
                </a:cubicBezTo>
                <a:cubicBezTo>
                  <a:pt x="0" y="0"/>
                  <a:pt x="0" y="0"/>
                  <a:pt x="0" y="0"/>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118" name="Freeform 331">
            <a:extLst>
              <a:ext uri="{FF2B5EF4-FFF2-40B4-BE49-F238E27FC236}">
                <a16:creationId xmlns:a16="http://schemas.microsoft.com/office/drawing/2014/main" id="{CB75283B-9143-7616-2075-C26B2CC19179}"/>
              </a:ext>
            </a:extLst>
          </p:cNvPr>
          <p:cNvSpPr/>
          <p:nvPr>
            <p:custDataLst>
              <p:tags r:id="rId74"/>
            </p:custDataLst>
          </p:nvPr>
        </p:nvSpPr>
        <p:spPr bwMode="auto">
          <a:xfrm>
            <a:off x="5292095" y="2922394"/>
            <a:ext cx="380413" cy="322350"/>
          </a:xfrm>
          <a:custGeom>
            <a:avLst/>
            <a:gdLst>
              <a:gd name="T0" fmla="*/ 308 w 326"/>
              <a:gd name="T1" fmla="*/ 252 h 276"/>
              <a:gd name="T2" fmla="*/ 325 w 326"/>
              <a:gd name="T3" fmla="*/ 243 h 276"/>
              <a:gd name="T4" fmla="*/ 317 w 326"/>
              <a:gd name="T5" fmla="*/ 236 h 276"/>
              <a:gd name="T6" fmla="*/ 309 w 326"/>
              <a:gd name="T7" fmla="*/ 217 h 276"/>
              <a:gd name="T8" fmla="*/ 286 w 326"/>
              <a:gd name="T9" fmla="*/ 191 h 276"/>
              <a:gd name="T10" fmla="*/ 300 w 326"/>
              <a:gd name="T11" fmla="*/ 171 h 276"/>
              <a:gd name="T12" fmla="*/ 284 w 326"/>
              <a:gd name="T13" fmla="*/ 155 h 276"/>
              <a:gd name="T14" fmla="*/ 281 w 326"/>
              <a:gd name="T15" fmla="*/ 128 h 276"/>
              <a:gd name="T16" fmla="*/ 278 w 326"/>
              <a:gd name="T17" fmla="*/ 119 h 276"/>
              <a:gd name="T18" fmla="*/ 283 w 326"/>
              <a:gd name="T19" fmla="*/ 106 h 276"/>
              <a:gd name="T20" fmla="*/ 288 w 326"/>
              <a:gd name="T21" fmla="*/ 96 h 276"/>
              <a:gd name="T22" fmla="*/ 289 w 326"/>
              <a:gd name="T23" fmla="*/ 65 h 276"/>
              <a:gd name="T24" fmla="*/ 276 w 326"/>
              <a:gd name="T25" fmla="*/ 60 h 276"/>
              <a:gd name="T26" fmla="*/ 260 w 326"/>
              <a:gd name="T27" fmla="*/ 47 h 276"/>
              <a:gd name="T28" fmla="*/ 237 w 326"/>
              <a:gd name="T29" fmla="*/ 41 h 276"/>
              <a:gd name="T30" fmla="*/ 219 w 326"/>
              <a:gd name="T31" fmla="*/ 30 h 276"/>
              <a:gd name="T32" fmla="*/ 195 w 326"/>
              <a:gd name="T33" fmla="*/ 34 h 276"/>
              <a:gd name="T34" fmla="*/ 169 w 326"/>
              <a:gd name="T35" fmla="*/ 49 h 276"/>
              <a:gd name="T36" fmla="*/ 152 w 326"/>
              <a:gd name="T37" fmla="*/ 57 h 276"/>
              <a:gd name="T38" fmla="*/ 127 w 326"/>
              <a:gd name="T39" fmla="*/ 60 h 276"/>
              <a:gd name="T40" fmla="*/ 88 w 326"/>
              <a:gd name="T41" fmla="*/ 44 h 276"/>
              <a:gd name="T42" fmla="*/ 82 w 326"/>
              <a:gd name="T43" fmla="*/ 27 h 276"/>
              <a:gd name="T44" fmla="*/ 68 w 326"/>
              <a:gd name="T45" fmla="*/ 17 h 276"/>
              <a:gd name="T46" fmla="*/ 71 w 326"/>
              <a:gd name="T47" fmla="*/ 6 h 276"/>
              <a:gd name="T48" fmla="*/ 50 w 326"/>
              <a:gd name="T49" fmla="*/ 13 h 276"/>
              <a:gd name="T50" fmla="*/ 10 w 326"/>
              <a:gd name="T51" fmla="*/ 2 h 276"/>
              <a:gd name="T52" fmla="*/ 0 w 326"/>
              <a:gd name="T53" fmla="*/ 8 h 276"/>
              <a:gd name="T54" fmla="*/ 4 w 326"/>
              <a:gd name="T55" fmla="*/ 16 h 276"/>
              <a:gd name="T56" fmla="*/ 8 w 326"/>
              <a:gd name="T57" fmla="*/ 27 h 276"/>
              <a:gd name="T58" fmla="*/ 7 w 326"/>
              <a:gd name="T59" fmla="*/ 37 h 276"/>
              <a:gd name="T60" fmla="*/ 11 w 326"/>
              <a:gd name="T61" fmla="*/ 46 h 276"/>
              <a:gd name="T62" fmla="*/ 21 w 326"/>
              <a:gd name="T63" fmla="*/ 66 h 276"/>
              <a:gd name="T64" fmla="*/ 30 w 326"/>
              <a:gd name="T65" fmla="*/ 75 h 276"/>
              <a:gd name="T66" fmla="*/ 36 w 326"/>
              <a:gd name="T67" fmla="*/ 87 h 276"/>
              <a:gd name="T68" fmla="*/ 26 w 326"/>
              <a:gd name="T69" fmla="*/ 102 h 276"/>
              <a:gd name="T70" fmla="*/ 24 w 326"/>
              <a:gd name="T71" fmla="*/ 113 h 276"/>
              <a:gd name="T72" fmla="*/ 36 w 326"/>
              <a:gd name="T73" fmla="*/ 131 h 276"/>
              <a:gd name="T74" fmla="*/ 53 w 326"/>
              <a:gd name="T75" fmla="*/ 140 h 276"/>
              <a:gd name="T76" fmla="*/ 65 w 326"/>
              <a:gd name="T77" fmla="*/ 154 h 276"/>
              <a:gd name="T78" fmla="*/ 68 w 326"/>
              <a:gd name="T79" fmla="*/ 169 h 276"/>
              <a:gd name="T80" fmla="*/ 78 w 326"/>
              <a:gd name="T81" fmla="*/ 187 h 276"/>
              <a:gd name="T82" fmla="*/ 84 w 326"/>
              <a:gd name="T83" fmla="*/ 178 h 276"/>
              <a:gd name="T84" fmla="*/ 96 w 326"/>
              <a:gd name="T85" fmla="*/ 186 h 276"/>
              <a:gd name="T86" fmla="*/ 111 w 326"/>
              <a:gd name="T87" fmla="*/ 197 h 276"/>
              <a:gd name="T88" fmla="*/ 117 w 326"/>
              <a:gd name="T89" fmla="*/ 207 h 276"/>
              <a:gd name="T90" fmla="*/ 123 w 326"/>
              <a:gd name="T91" fmla="*/ 221 h 276"/>
              <a:gd name="T92" fmla="*/ 148 w 326"/>
              <a:gd name="T93" fmla="*/ 237 h 276"/>
              <a:gd name="T94" fmla="*/ 185 w 326"/>
              <a:gd name="T95" fmla="*/ 250 h 276"/>
              <a:gd name="T96" fmla="*/ 206 w 326"/>
              <a:gd name="T97" fmla="*/ 240 h 276"/>
              <a:gd name="T98" fmla="*/ 222 w 326"/>
              <a:gd name="T99" fmla="*/ 254 h 276"/>
              <a:gd name="T100" fmla="*/ 238 w 326"/>
              <a:gd name="T101" fmla="*/ 267 h 276"/>
              <a:gd name="T102" fmla="*/ 263 w 326"/>
              <a:gd name="T103" fmla="*/ 270 h 276"/>
              <a:gd name="T104" fmla="*/ 282 w 326"/>
              <a:gd name="T105" fmla="*/ 274 h 276"/>
              <a:gd name="T106" fmla="*/ 298 w 326"/>
              <a:gd name="T107" fmla="*/ 276 h 276"/>
              <a:gd name="T108" fmla="*/ 300 w 326"/>
              <a:gd name="T109" fmla="*/ 26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 h="276">
                <a:moveTo>
                  <a:pt x="300" y="264"/>
                </a:moveTo>
                <a:cubicBezTo>
                  <a:pt x="300" y="262"/>
                  <a:pt x="301" y="259"/>
                  <a:pt x="302" y="257"/>
                </a:cubicBezTo>
                <a:cubicBezTo>
                  <a:pt x="303" y="255"/>
                  <a:pt x="306" y="253"/>
                  <a:pt x="308" y="252"/>
                </a:cubicBezTo>
                <a:cubicBezTo>
                  <a:pt x="310" y="251"/>
                  <a:pt x="313" y="250"/>
                  <a:pt x="315" y="250"/>
                </a:cubicBezTo>
                <a:cubicBezTo>
                  <a:pt x="318" y="250"/>
                  <a:pt x="321" y="250"/>
                  <a:pt x="323" y="248"/>
                </a:cubicBezTo>
                <a:cubicBezTo>
                  <a:pt x="324" y="247"/>
                  <a:pt x="324" y="244"/>
                  <a:pt x="325" y="243"/>
                </a:cubicBezTo>
                <a:cubicBezTo>
                  <a:pt x="325" y="242"/>
                  <a:pt x="326" y="240"/>
                  <a:pt x="325" y="239"/>
                </a:cubicBezTo>
                <a:cubicBezTo>
                  <a:pt x="325" y="239"/>
                  <a:pt x="322" y="239"/>
                  <a:pt x="321" y="239"/>
                </a:cubicBezTo>
                <a:cubicBezTo>
                  <a:pt x="319" y="239"/>
                  <a:pt x="317" y="239"/>
                  <a:pt x="317" y="236"/>
                </a:cubicBezTo>
                <a:cubicBezTo>
                  <a:pt x="317" y="233"/>
                  <a:pt x="317" y="230"/>
                  <a:pt x="317" y="228"/>
                </a:cubicBezTo>
                <a:cubicBezTo>
                  <a:pt x="317" y="226"/>
                  <a:pt x="318" y="222"/>
                  <a:pt x="317" y="220"/>
                </a:cubicBezTo>
                <a:cubicBezTo>
                  <a:pt x="315" y="219"/>
                  <a:pt x="311" y="218"/>
                  <a:pt x="309" y="217"/>
                </a:cubicBezTo>
                <a:cubicBezTo>
                  <a:pt x="306" y="217"/>
                  <a:pt x="304" y="216"/>
                  <a:pt x="302" y="214"/>
                </a:cubicBezTo>
                <a:cubicBezTo>
                  <a:pt x="300" y="212"/>
                  <a:pt x="298" y="209"/>
                  <a:pt x="296" y="207"/>
                </a:cubicBezTo>
                <a:cubicBezTo>
                  <a:pt x="293" y="202"/>
                  <a:pt x="289" y="197"/>
                  <a:pt x="286" y="191"/>
                </a:cubicBezTo>
                <a:cubicBezTo>
                  <a:pt x="285" y="189"/>
                  <a:pt x="287" y="187"/>
                  <a:pt x="288" y="185"/>
                </a:cubicBezTo>
                <a:cubicBezTo>
                  <a:pt x="291" y="183"/>
                  <a:pt x="293" y="181"/>
                  <a:pt x="295" y="178"/>
                </a:cubicBezTo>
                <a:cubicBezTo>
                  <a:pt x="297" y="176"/>
                  <a:pt x="299" y="174"/>
                  <a:pt x="300" y="171"/>
                </a:cubicBezTo>
                <a:cubicBezTo>
                  <a:pt x="300" y="169"/>
                  <a:pt x="301" y="166"/>
                  <a:pt x="299" y="165"/>
                </a:cubicBezTo>
                <a:cubicBezTo>
                  <a:pt x="296" y="161"/>
                  <a:pt x="290" y="162"/>
                  <a:pt x="286" y="160"/>
                </a:cubicBezTo>
                <a:cubicBezTo>
                  <a:pt x="284" y="160"/>
                  <a:pt x="284" y="157"/>
                  <a:pt x="284" y="155"/>
                </a:cubicBezTo>
                <a:cubicBezTo>
                  <a:pt x="284" y="151"/>
                  <a:pt x="284" y="148"/>
                  <a:pt x="284" y="145"/>
                </a:cubicBezTo>
                <a:cubicBezTo>
                  <a:pt x="284" y="142"/>
                  <a:pt x="283" y="139"/>
                  <a:pt x="282" y="137"/>
                </a:cubicBezTo>
                <a:cubicBezTo>
                  <a:pt x="281" y="134"/>
                  <a:pt x="280" y="131"/>
                  <a:pt x="281" y="128"/>
                </a:cubicBezTo>
                <a:cubicBezTo>
                  <a:pt x="281" y="126"/>
                  <a:pt x="283" y="124"/>
                  <a:pt x="284" y="123"/>
                </a:cubicBezTo>
                <a:cubicBezTo>
                  <a:pt x="286" y="121"/>
                  <a:pt x="283" y="121"/>
                  <a:pt x="282" y="121"/>
                </a:cubicBezTo>
                <a:cubicBezTo>
                  <a:pt x="281" y="121"/>
                  <a:pt x="279" y="121"/>
                  <a:pt x="278" y="119"/>
                </a:cubicBezTo>
                <a:cubicBezTo>
                  <a:pt x="278" y="118"/>
                  <a:pt x="278" y="116"/>
                  <a:pt x="279" y="115"/>
                </a:cubicBezTo>
                <a:cubicBezTo>
                  <a:pt x="279" y="114"/>
                  <a:pt x="279" y="112"/>
                  <a:pt x="279" y="111"/>
                </a:cubicBezTo>
                <a:cubicBezTo>
                  <a:pt x="280" y="109"/>
                  <a:pt x="281" y="107"/>
                  <a:pt x="283" y="106"/>
                </a:cubicBezTo>
                <a:cubicBezTo>
                  <a:pt x="284" y="106"/>
                  <a:pt x="284" y="105"/>
                  <a:pt x="284" y="104"/>
                </a:cubicBezTo>
                <a:cubicBezTo>
                  <a:pt x="283" y="103"/>
                  <a:pt x="283" y="102"/>
                  <a:pt x="283" y="100"/>
                </a:cubicBezTo>
                <a:cubicBezTo>
                  <a:pt x="284" y="98"/>
                  <a:pt x="288" y="98"/>
                  <a:pt x="288" y="96"/>
                </a:cubicBezTo>
                <a:cubicBezTo>
                  <a:pt x="288" y="93"/>
                  <a:pt x="289" y="90"/>
                  <a:pt x="290" y="87"/>
                </a:cubicBezTo>
                <a:cubicBezTo>
                  <a:pt x="291" y="81"/>
                  <a:pt x="290" y="75"/>
                  <a:pt x="290" y="69"/>
                </a:cubicBezTo>
                <a:cubicBezTo>
                  <a:pt x="289" y="68"/>
                  <a:pt x="289" y="66"/>
                  <a:pt x="289" y="65"/>
                </a:cubicBezTo>
                <a:cubicBezTo>
                  <a:pt x="289" y="64"/>
                  <a:pt x="289" y="62"/>
                  <a:pt x="289" y="61"/>
                </a:cubicBezTo>
                <a:cubicBezTo>
                  <a:pt x="288" y="60"/>
                  <a:pt x="285" y="61"/>
                  <a:pt x="283" y="61"/>
                </a:cubicBezTo>
                <a:cubicBezTo>
                  <a:pt x="281" y="61"/>
                  <a:pt x="278" y="61"/>
                  <a:pt x="276" y="60"/>
                </a:cubicBezTo>
                <a:cubicBezTo>
                  <a:pt x="273" y="59"/>
                  <a:pt x="272" y="57"/>
                  <a:pt x="271" y="55"/>
                </a:cubicBezTo>
                <a:cubicBezTo>
                  <a:pt x="269" y="53"/>
                  <a:pt x="267" y="53"/>
                  <a:pt x="265" y="52"/>
                </a:cubicBezTo>
                <a:cubicBezTo>
                  <a:pt x="263" y="51"/>
                  <a:pt x="262" y="49"/>
                  <a:pt x="260" y="47"/>
                </a:cubicBezTo>
                <a:cubicBezTo>
                  <a:pt x="258" y="45"/>
                  <a:pt x="256" y="43"/>
                  <a:pt x="253" y="43"/>
                </a:cubicBezTo>
                <a:cubicBezTo>
                  <a:pt x="251" y="42"/>
                  <a:pt x="248" y="43"/>
                  <a:pt x="245" y="43"/>
                </a:cubicBezTo>
                <a:cubicBezTo>
                  <a:pt x="242" y="43"/>
                  <a:pt x="239" y="43"/>
                  <a:pt x="237" y="41"/>
                </a:cubicBezTo>
                <a:cubicBezTo>
                  <a:pt x="235" y="40"/>
                  <a:pt x="234" y="37"/>
                  <a:pt x="232" y="37"/>
                </a:cubicBezTo>
                <a:cubicBezTo>
                  <a:pt x="229" y="36"/>
                  <a:pt x="227" y="37"/>
                  <a:pt x="225" y="35"/>
                </a:cubicBezTo>
                <a:cubicBezTo>
                  <a:pt x="223" y="32"/>
                  <a:pt x="222" y="30"/>
                  <a:pt x="219" y="30"/>
                </a:cubicBezTo>
                <a:cubicBezTo>
                  <a:pt x="217" y="30"/>
                  <a:pt x="213" y="30"/>
                  <a:pt x="211" y="31"/>
                </a:cubicBezTo>
                <a:cubicBezTo>
                  <a:pt x="209" y="31"/>
                  <a:pt x="208" y="34"/>
                  <a:pt x="205" y="34"/>
                </a:cubicBezTo>
                <a:cubicBezTo>
                  <a:pt x="202" y="35"/>
                  <a:pt x="198" y="33"/>
                  <a:pt x="195" y="34"/>
                </a:cubicBezTo>
                <a:cubicBezTo>
                  <a:pt x="192" y="35"/>
                  <a:pt x="188" y="36"/>
                  <a:pt x="186" y="39"/>
                </a:cubicBezTo>
                <a:cubicBezTo>
                  <a:pt x="183" y="41"/>
                  <a:pt x="181" y="44"/>
                  <a:pt x="178" y="47"/>
                </a:cubicBezTo>
                <a:cubicBezTo>
                  <a:pt x="176" y="49"/>
                  <a:pt x="172" y="49"/>
                  <a:pt x="169" y="49"/>
                </a:cubicBezTo>
                <a:cubicBezTo>
                  <a:pt x="169" y="51"/>
                  <a:pt x="171" y="55"/>
                  <a:pt x="169" y="56"/>
                </a:cubicBezTo>
                <a:cubicBezTo>
                  <a:pt x="167" y="58"/>
                  <a:pt x="163" y="56"/>
                  <a:pt x="161" y="56"/>
                </a:cubicBezTo>
                <a:cubicBezTo>
                  <a:pt x="158" y="56"/>
                  <a:pt x="155" y="56"/>
                  <a:pt x="152" y="57"/>
                </a:cubicBezTo>
                <a:cubicBezTo>
                  <a:pt x="149" y="57"/>
                  <a:pt x="147" y="59"/>
                  <a:pt x="144" y="60"/>
                </a:cubicBezTo>
                <a:cubicBezTo>
                  <a:pt x="141" y="61"/>
                  <a:pt x="139" y="62"/>
                  <a:pt x="136" y="62"/>
                </a:cubicBezTo>
                <a:cubicBezTo>
                  <a:pt x="133" y="62"/>
                  <a:pt x="130" y="61"/>
                  <a:pt x="127" y="60"/>
                </a:cubicBezTo>
                <a:cubicBezTo>
                  <a:pt x="121" y="59"/>
                  <a:pt x="115" y="56"/>
                  <a:pt x="111" y="53"/>
                </a:cubicBezTo>
                <a:cubicBezTo>
                  <a:pt x="106" y="49"/>
                  <a:pt x="103" y="45"/>
                  <a:pt x="97" y="45"/>
                </a:cubicBezTo>
                <a:cubicBezTo>
                  <a:pt x="94" y="45"/>
                  <a:pt x="91" y="45"/>
                  <a:pt x="88" y="44"/>
                </a:cubicBezTo>
                <a:cubicBezTo>
                  <a:pt x="86" y="43"/>
                  <a:pt x="85" y="41"/>
                  <a:pt x="85" y="39"/>
                </a:cubicBezTo>
                <a:cubicBezTo>
                  <a:pt x="85" y="36"/>
                  <a:pt x="84" y="33"/>
                  <a:pt x="83" y="30"/>
                </a:cubicBezTo>
                <a:cubicBezTo>
                  <a:pt x="83" y="29"/>
                  <a:pt x="82" y="28"/>
                  <a:pt x="82" y="27"/>
                </a:cubicBezTo>
                <a:cubicBezTo>
                  <a:pt x="82" y="26"/>
                  <a:pt x="79" y="26"/>
                  <a:pt x="78" y="26"/>
                </a:cubicBezTo>
                <a:cubicBezTo>
                  <a:pt x="76" y="26"/>
                  <a:pt x="74" y="25"/>
                  <a:pt x="72" y="23"/>
                </a:cubicBezTo>
                <a:cubicBezTo>
                  <a:pt x="71" y="21"/>
                  <a:pt x="68" y="19"/>
                  <a:pt x="68" y="17"/>
                </a:cubicBezTo>
                <a:cubicBezTo>
                  <a:pt x="68" y="14"/>
                  <a:pt x="72" y="13"/>
                  <a:pt x="70" y="12"/>
                </a:cubicBezTo>
                <a:cubicBezTo>
                  <a:pt x="70" y="11"/>
                  <a:pt x="69" y="10"/>
                  <a:pt x="69" y="9"/>
                </a:cubicBezTo>
                <a:cubicBezTo>
                  <a:pt x="69" y="8"/>
                  <a:pt x="71" y="7"/>
                  <a:pt x="71" y="6"/>
                </a:cubicBezTo>
                <a:cubicBezTo>
                  <a:pt x="71" y="5"/>
                  <a:pt x="69" y="3"/>
                  <a:pt x="68" y="3"/>
                </a:cubicBezTo>
                <a:cubicBezTo>
                  <a:pt x="66" y="1"/>
                  <a:pt x="64" y="1"/>
                  <a:pt x="62" y="3"/>
                </a:cubicBezTo>
                <a:cubicBezTo>
                  <a:pt x="57" y="5"/>
                  <a:pt x="54" y="10"/>
                  <a:pt x="50" y="13"/>
                </a:cubicBezTo>
                <a:cubicBezTo>
                  <a:pt x="45" y="17"/>
                  <a:pt x="41" y="21"/>
                  <a:pt x="35" y="20"/>
                </a:cubicBezTo>
                <a:cubicBezTo>
                  <a:pt x="30" y="19"/>
                  <a:pt x="24" y="17"/>
                  <a:pt x="20" y="13"/>
                </a:cubicBezTo>
                <a:cubicBezTo>
                  <a:pt x="17" y="9"/>
                  <a:pt x="14" y="5"/>
                  <a:pt x="10" y="2"/>
                </a:cubicBezTo>
                <a:cubicBezTo>
                  <a:pt x="8" y="0"/>
                  <a:pt x="8" y="3"/>
                  <a:pt x="7" y="4"/>
                </a:cubicBezTo>
                <a:cubicBezTo>
                  <a:pt x="7" y="6"/>
                  <a:pt x="5" y="9"/>
                  <a:pt x="2" y="8"/>
                </a:cubicBezTo>
                <a:cubicBezTo>
                  <a:pt x="2" y="8"/>
                  <a:pt x="1" y="8"/>
                  <a:pt x="0" y="8"/>
                </a:cubicBezTo>
                <a:cubicBezTo>
                  <a:pt x="0" y="9"/>
                  <a:pt x="1" y="10"/>
                  <a:pt x="1" y="10"/>
                </a:cubicBezTo>
                <a:cubicBezTo>
                  <a:pt x="1" y="11"/>
                  <a:pt x="1" y="12"/>
                  <a:pt x="2" y="13"/>
                </a:cubicBezTo>
                <a:cubicBezTo>
                  <a:pt x="2" y="14"/>
                  <a:pt x="3" y="15"/>
                  <a:pt x="4" y="16"/>
                </a:cubicBezTo>
                <a:cubicBezTo>
                  <a:pt x="6" y="18"/>
                  <a:pt x="6" y="20"/>
                  <a:pt x="6" y="23"/>
                </a:cubicBezTo>
                <a:cubicBezTo>
                  <a:pt x="6" y="24"/>
                  <a:pt x="5" y="25"/>
                  <a:pt x="6" y="26"/>
                </a:cubicBezTo>
                <a:cubicBezTo>
                  <a:pt x="6" y="26"/>
                  <a:pt x="7" y="26"/>
                  <a:pt x="8" y="27"/>
                </a:cubicBezTo>
                <a:cubicBezTo>
                  <a:pt x="10" y="28"/>
                  <a:pt x="7" y="31"/>
                  <a:pt x="6" y="32"/>
                </a:cubicBezTo>
                <a:cubicBezTo>
                  <a:pt x="5" y="33"/>
                  <a:pt x="4" y="34"/>
                  <a:pt x="4" y="35"/>
                </a:cubicBezTo>
                <a:cubicBezTo>
                  <a:pt x="5" y="36"/>
                  <a:pt x="6" y="37"/>
                  <a:pt x="7" y="37"/>
                </a:cubicBezTo>
                <a:cubicBezTo>
                  <a:pt x="8" y="38"/>
                  <a:pt x="9" y="40"/>
                  <a:pt x="9" y="42"/>
                </a:cubicBezTo>
                <a:cubicBezTo>
                  <a:pt x="9" y="43"/>
                  <a:pt x="9" y="44"/>
                  <a:pt x="9" y="45"/>
                </a:cubicBezTo>
                <a:cubicBezTo>
                  <a:pt x="9" y="46"/>
                  <a:pt x="11" y="46"/>
                  <a:pt x="11" y="46"/>
                </a:cubicBezTo>
                <a:cubicBezTo>
                  <a:pt x="13" y="48"/>
                  <a:pt x="14" y="50"/>
                  <a:pt x="14" y="53"/>
                </a:cubicBezTo>
                <a:cubicBezTo>
                  <a:pt x="15" y="56"/>
                  <a:pt x="15" y="58"/>
                  <a:pt x="17" y="60"/>
                </a:cubicBezTo>
                <a:cubicBezTo>
                  <a:pt x="18" y="62"/>
                  <a:pt x="20" y="64"/>
                  <a:pt x="21" y="66"/>
                </a:cubicBezTo>
                <a:cubicBezTo>
                  <a:pt x="22" y="68"/>
                  <a:pt x="22" y="72"/>
                  <a:pt x="24" y="72"/>
                </a:cubicBezTo>
                <a:cubicBezTo>
                  <a:pt x="25" y="73"/>
                  <a:pt x="26" y="72"/>
                  <a:pt x="27" y="73"/>
                </a:cubicBezTo>
                <a:cubicBezTo>
                  <a:pt x="28" y="73"/>
                  <a:pt x="29" y="74"/>
                  <a:pt x="30" y="75"/>
                </a:cubicBezTo>
                <a:cubicBezTo>
                  <a:pt x="32" y="77"/>
                  <a:pt x="34" y="74"/>
                  <a:pt x="36" y="76"/>
                </a:cubicBezTo>
                <a:cubicBezTo>
                  <a:pt x="38" y="78"/>
                  <a:pt x="37" y="79"/>
                  <a:pt x="35" y="80"/>
                </a:cubicBezTo>
                <a:cubicBezTo>
                  <a:pt x="33" y="81"/>
                  <a:pt x="35" y="85"/>
                  <a:pt x="36" y="87"/>
                </a:cubicBezTo>
                <a:cubicBezTo>
                  <a:pt x="36" y="89"/>
                  <a:pt x="35" y="91"/>
                  <a:pt x="33" y="92"/>
                </a:cubicBezTo>
                <a:cubicBezTo>
                  <a:pt x="31" y="94"/>
                  <a:pt x="30" y="95"/>
                  <a:pt x="30" y="98"/>
                </a:cubicBezTo>
                <a:cubicBezTo>
                  <a:pt x="30" y="101"/>
                  <a:pt x="29" y="102"/>
                  <a:pt x="26" y="102"/>
                </a:cubicBezTo>
                <a:cubicBezTo>
                  <a:pt x="25" y="103"/>
                  <a:pt x="24" y="103"/>
                  <a:pt x="24" y="104"/>
                </a:cubicBezTo>
                <a:cubicBezTo>
                  <a:pt x="25" y="105"/>
                  <a:pt x="26" y="106"/>
                  <a:pt x="26" y="108"/>
                </a:cubicBezTo>
                <a:cubicBezTo>
                  <a:pt x="26" y="109"/>
                  <a:pt x="23" y="112"/>
                  <a:pt x="24" y="113"/>
                </a:cubicBezTo>
                <a:cubicBezTo>
                  <a:pt x="26" y="116"/>
                  <a:pt x="28" y="117"/>
                  <a:pt x="30" y="118"/>
                </a:cubicBezTo>
                <a:cubicBezTo>
                  <a:pt x="32" y="119"/>
                  <a:pt x="33" y="121"/>
                  <a:pt x="34" y="124"/>
                </a:cubicBezTo>
                <a:cubicBezTo>
                  <a:pt x="34" y="125"/>
                  <a:pt x="35" y="131"/>
                  <a:pt x="36" y="131"/>
                </a:cubicBezTo>
                <a:cubicBezTo>
                  <a:pt x="38" y="131"/>
                  <a:pt x="40" y="131"/>
                  <a:pt x="42" y="132"/>
                </a:cubicBezTo>
                <a:cubicBezTo>
                  <a:pt x="45" y="134"/>
                  <a:pt x="48" y="136"/>
                  <a:pt x="50" y="138"/>
                </a:cubicBezTo>
                <a:cubicBezTo>
                  <a:pt x="51" y="139"/>
                  <a:pt x="52" y="140"/>
                  <a:pt x="53" y="140"/>
                </a:cubicBezTo>
                <a:cubicBezTo>
                  <a:pt x="55" y="140"/>
                  <a:pt x="56" y="140"/>
                  <a:pt x="57" y="141"/>
                </a:cubicBezTo>
                <a:cubicBezTo>
                  <a:pt x="59" y="142"/>
                  <a:pt x="61" y="145"/>
                  <a:pt x="62" y="147"/>
                </a:cubicBezTo>
                <a:cubicBezTo>
                  <a:pt x="64" y="149"/>
                  <a:pt x="65" y="152"/>
                  <a:pt x="65" y="154"/>
                </a:cubicBezTo>
                <a:cubicBezTo>
                  <a:pt x="65" y="157"/>
                  <a:pt x="63" y="159"/>
                  <a:pt x="62" y="162"/>
                </a:cubicBezTo>
                <a:cubicBezTo>
                  <a:pt x="61" y="163"/>
                  <a:pt x="60" y="166"/>
                  <a:pt x="63" y="167"/>
                </a:cubicBezTo>
                <a:cubicBezTo>
                  <a:pt x="64" y="168"/>
                  <a:pt x="67" y="167"/>
                  <a:pt x="68" y="169"/>
                </a:cubicBezTo>
                <a:cubicBezTo>
                  <a:pt x="69" y="171"/>
                  <a:pt x="68" y="173"/>
                  <a:pt x="69" y="175"/>
                </a:cubicBezTo>
                <a:cubicBezTo>
                  <a:pt x="69" y="179"/>
                  <a:pt x="71" y="179"/>
                  <a:pt x="73" y="181"/>
                </a:cubicBezTo>
                <a:cubicBezTo>
                  <a:pt x="75" y="182"/>
                  <a:pt x="76" y="185"/>
                  <a:pt x="78" y="187"/>
                </a:cubicBezTo>
                <a:cubicBezTo>
                  <a:pt x="79" y="187"/>
                  <a:pt x="80" y="187"/>
                  <a:pt x="80" y="186"/>
                </a:cubicBezTo>
                <a:cubicBezTo>
                  <a:pt x="82" y="186"/>
                  <a:pt x="82" y="185"/>
                  <a:pt x="82" y="183"/>
                </a:cubicBezTo>
                <a:cubicBezTo>
                  <a:pt x="82" y="182"/>
                  <a:pt x="82" y="179"/>
                  <a:pt x="84" y="178"/>
                </a:cubicBezTo>
                <a:cubicBezTo>
                  <a:pt x="85" y="178"/>
                  <a:pt x="88" y="178"/>
                  <a:pt x="88" y="179"/>
                </a:cubicBezTo>
                <a:cubicBezTo>
                  <a:pt x="87" y="181"/>
                  <a:pt x="87" y="184"/>
                  <a:pt x="89" y="185"/>
                </a:cubicBezTo>
                <a:cubicBezTo>
                  <a:pt x="91" y="186"/>
                  <a:pt x="94" y="187"/>
                  <a:pt x="96" y="186"/>
                </a:cubicBezTo>
                <a:cubicBezTo>
                  <a:pt x="98" y="184"/>
                  <a:pt x="101" y="184"/>
                  <a:pt x="103" y="185"/>
                </a:cubicBezTo>
                <a:cubicBezTo>
                  <a:pt x="105" y="186"/>
                  <a:pt x="105" y="189"/>
                  <a:pt x="106" y="191"/>
                </a:cubicBezTo>
                <a:cubicBezTo>
                  <a:pt x="107" y="193"/>
                  <a:pt x="110" y="195"/>
                  <a:pt x="111" y="197"/>
                </a:cubicBezTo>
                <a:cubicBezTo>
                  <a:pt x="112" y="198"/>
                  <a:pt x="112" y="199"/>
                  <a:pt x="112" y="200"/>
                </a:cubicBezTo>
                <a:cubicBezTo>
                  <a:pt x="112" y="201"/>
                  <a:pt x="112" y="203"/>
                  <a:pt x="113" y="204"/>
                </a:cubicBezTo>
                <a:cubicBezTo>
                  <a:pt x="114" y="205"/>
                  <a:pt x="117" y="205"/>
                  <a:pt x="117" y="207"/>
                </a:cubicBezTo>
                <a:cubicBezTo>
                  <a:pt x="117" y="209"/>
                  <a:pt x="117" y="210"/>
                  <a:pt x="118" y="211"/>
                </a:cubicBezTo>
                <a:cubicBezTo>
                  <a:pt x="118" y="212"/>
                  <a:pt x="119" y="213"/>
                  <a:pt x="120" y="214"/>
                </a:cubicBezTo>
                <a:cubicBezTo>
                  <a:pt x="122" y="216"/>
                  <a:pt x="123" y="219"/>
                  <a:pt x="123" y="221"/>
                </a:cubicBezTo>
                <a:cubicBezTo>
                  <a:pt x="124" y="224"/>
                  <a:pt x="124" y="225"/>
                  <a:pt x="127" y="226"/>
                </a:cubicBezTo>
                <a:cubicBezTo>
                  <a:pt x="131" y="229"/>
                  <a:pt x="137" y="228"/>
                  <a:pt x="142" y="231"/>
                </a:cubicBezTo>
                <a:cubicBezTo>
                  <a:pt x="144" y="233"/>
                  <a:pt x="146" y="235"/>
                  <a:pt x="148" y="237"/>
                </a:cubicBezTo>
                <a:cubicBezTo>
                  <a:pt x="150" y="239"/>
                  <a:pt x="152" y="240"/>
                  <a:pt x="155" y="241"/>
                </a:cubicBezTo>
                <a:cubicBezTo>
                  <a:pt x="160" y="242"/>
                  <a:pt x="162" y="248"/>
                  <a:pt x="167" y="249"/>
                </a:cubicBezTo>
                <a:cubicBezTo>
                  <a:pt x="173" y="250"/>
                  <a:pt x="179" y="252"/>
                  <a:pt x="185" y="250"/>
                </a:cubicBezTo>
                <a:cubicBezTo>
                  <a:pt x="187" y="249"/>
                  <a:pt x="190" y="248"/>
                  <a:pt x="192" y="247"/>
                </a:cubicBezTo>
                <a:cubicBezTo>
                  <a:pt x="194" y="246"/>
                  <a:pt x="196" y="244"/>
                  <a:pt x="199" y="243"/>
                </a:cubicBezTo>
                <a:cubicBezTo>
                  <a:pt x="201" y="242"/>
                  <a:pt x="203" y="240"/>
                  <a:pt x="206" y="240"/>
                </a:cubicBezTo>
                <a:cubicBezTo>
                  <a:pt x="209" y="240"/>
                  <a:pt x="211" y="240"/>
                  <a:pt x="214" y="241"/>
                </a:cubicBezTo>
                <a:cubicBezTo>
                  <a:pt x="217" y="242"/>
                  <a:pt x="218" y="243"/>
                  <a:pt x="219" y="245"/>
                </a:cubicBezTo>
                <a:cubicBezTo>
                  <a:pt x="220" y="248"/>
                  <a:pt x="222" y="251"/>
                  <a:pt x="222" y="254"/>
                </a:cubicBezTo>
                <a:cubicBezTo>
                  <a:pt x="222" y="257"/>
                  <a:pt x="223" y="260"/>
                  <a:pt x="224" y="262"/>
                </a:cubicBezTo>
                <a:cubicBezTo>
                  <a:pt x="225" y="265"/>
                  <a:pt x="227" y="267"/>
                  <a:pt x="230" y="266"/>
                </a:cubicBezTo>
                <a:cubicBezTo>
                  <a:pt x="233" y="266"/>
                  <a:pt x="235" y="267"/>
                  <a:pt x="238" y="267"/>
                </a:cubicBezTo>
                <a:cubicBezTo>
                  <a:pt x="241" y="268"/>
                  <a:pt x="245" y="268"/>
                  <a:pt x="248" y="268"/>
                </a:cubicBezTo>
                <a:cubicBezTo>
                  <a:pt x="251" y="268"/>
                  <a:pt x="253" y="269"/>
                  <a:pt x="256" y="271"/>
                </a:cubicBezTo>
                <a:cubicBezTo>
                  <a:pt x="258" y="272"/>
                  <a:pt x="261" y="270"/>
                  <a:pt x="263" y="270"/>
                </a:cubicBezTo>
                <a:cubicBezTo>
                  <a:pt x="266" y="270"/>
                  <a:pt x="269" y="271"/>
                  <a:pt x="272" y="271"/>
                </a:cubicBezTo>
                <a:cubicBezTo>
                  <a:pt x="274" y="271"/>
                  <a:pt x="277" y="270"/>
                  <a:pt x="279" y="272"/>
                </a:cubicBezTo>
                <a:cubicBezTo>
                  <a:pt x="280" y="272"/>
                  <a:pt x="281" y="273"/>
                  <a:pt x="282" y="274"/>
                </a:cubicBezTo>
                <a:cubicBezTo>
                  <a:pt x="283" y="274"/>
                  <a:pt x="284" y="274"/>
                  <a:pt x="285" y="275"/>
                </a:cubicBezTo>
                <a:cubicBezTo>
                  <a:pt x="288" y="275"/>
                  <a:pt x="290" y="276"/>
                  <a:pt x="293" y="276"/>
                </a:cubicBezTo>
                <a:cubicBezTo>
                  <a:pt x="295" y="276"/>
                  <a:pt x="296" y="276"/>
                  <a:pt x="298" y="276"/>
                </a:cubicBezTo>
                <a:cubicBezTo>
                  <a:pt x="298" y="274"/>
                  <a:pt x="298" y="273"/>
                  <a:pt x="299" y="271"/>
                </a:cubicBezTo>
                <a:cubicBezTo>
                  <a:pt x="299" y="269"/>
                  <a:pt x="300" y="266"/>
                  <a:pt x="300" y="263"/>
                </a:cubicBezTo>
                <a:cubicBezTo>
                  <a:pt x="300" y="263"/>
                  <a:pt x="300" y="264"/>
                  <a:pt x="300" y="264"/>
                </a:cubicBezTo>
                <a:cubicBezTo>
                  <a:pt x="301" y="261"/>
                  <a:pt x="300" y="264"/>
                  <a:pt x="300" y="264"/>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grpSp>
        <p:nvGrpSpPr>
          <p:cNvPr id="119" name="Group 118">
            <a:extLst>
              <a:ext uri="{FF2B5EF4-FFF2-40B4-BE49-F238E27FC236}">
                <a16:creationId xmlns:a16="http://schemas.microsoft.com/office/drawing/2014/main" id="{F579590E-43C6-40EE-F2DA-CA1F53DB6F3C}"/>
              </a:ext>
            </a:extLst>
          </p:cNvPr>
          <p:cNvGrpSpPr/>
          <p:nvPr>
            <p:custDataLst>
              <p:tags r:id="rId75"/>
            </p:custDataLst>
          </p:nvPr>
        </p:nvGrpSpPr>
        <p:grpSpPr>
          <a:xfrm>
            <a:off x="6303194" y="3636170"/>
            <a:ext cx="915995" cy="339368"/>
            <a:chOff x="8716963" y="4391026"/>
            <a:chExt cx="1452562" cy="538162"/>
          </a:xfrm>
        </p:grpSpPr>
        <p:sp>
          <p:nvSpPr>
            <p:cNvPr id="120" name="Freeform 172">
              <a:extLst>
                <a:ext uri="{FF2B5EF4-FFF2-40B4-BE49-F238E27FC236}">
                  <a16:creationId xmlns:a16="http://schemas.microsoft.com/office/drawing/2014/main" id="{F0855BC8-30A2-DD83-7170-C19DEA5D716C}"/>
                </a:ext>
              </a:extLst>
            </p:cNvPr>
            <p:cNvSpPr/>
            <p:nvPr>
              <p:custDataLst>
                <p:tags r:id="rId284"/>
              </p:custDataLst>
            </p:nvPr>
          </p:nvSpPr>
          <p:spPr bwMode="auto">
            <a:xfrm>
              <a:off x="9664701" y="4843463"/>
              <a:ext cx="76200" cy="34925"/>
            </a:xfrm>
            <a:custGeom>
              <a:avLst/>
              <a:gdLst>
                <a:gd name="T0" fmla="*/ 9 w 41"/>
                <a:gd name="T1" fmla="*/ 17 h 19"/>
                <a:gd name="T2" fmla="*/ 28 w 41"/>
                <a:gd name="T3" fmla="*/ 9 h 19"/>
                <a:gd name="T4" fmla="*/ 38 w 41"/>
                <a:gd name="T5" fmla="*/ 5 h 19"/>
                <a:gd name="T6" fmla="*/ 36 w 41"/>
                <a:gd name="T7" fmla="*/ 1 h 19"/>
                <a:gd name="T8" fmla="*/ 27 w 41"/>
                <a:gd name="T9" fmla="*/ 2 h 19"/>
                <a:gd name="T10" fmla="*/ 17 w 41"/>
                <a:gd name="T11" fmla="*/ 4 h 19"/>
                <a:gd name="T12" fmla="*/ 6 w 41"/>
                <a:gd name="T13" fmla="*/ 5 h 19"/>
                <a:gd name="T14" fmla="*/ 2 w 41"/>
                <a:gd name="T15" fmla="*/ 6 h 19"/>
                <a:gd name="T16" fmla="*/ 0 w 41"/>
                <a:gd name="T17" fmla="*/ 10 h 19"/>
                <a:gd name="T18" fmla="*/ 4 w 41"/>
                <a:gd name="T19" fmla="*/ 13 h 19"/>
                <a:gd name="T20" fmla="*/ 5 w 41"/>
                <a:gd name="T21" fmla="*/ 19 h 19"/>
                <a:gd name="T22" fmla="*/ 11 w 41"/>
                <a:gd name="T23" fmla="*/ 16 h 19"/>
                <a:gd name="T24" fmla="*/ 9 w 41"/>
                <a:gd name="T25" fmla="*/ 17 h 19"/>
                <a:gd name="T26" fmla="*/ 9 w 41"/>
                <a:gd name="T2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19">
                  <a:moveTo>
                    <a:pt x="9" y="17"/>
                  </a:moveTo>
                  <a:cubicBezTo>
                    <a:pt x="16" y="15"/>
                    <a:pt x="22" y="10"/>
                    <a:pt x="28" y="9"/>
                  </a:cubicBezTo>
                  <a:cubicBezTo>
                    <a:pt x="32" y="8"/>
                    <a:pt x="35" y="7"/>
                    <a:pt x="38" y="5"/>
                  </a:cubicBezTo>
                  <a:cubicBezTo>
                    <a:pt x="41" y="4"/>
                    <a:pt x="38" y="2"/>
                    <a:pt x="36" y="1"/>
                  </a:cubicBezTo>
                  <a:cubicBezTo>
                    <a:pt x="33" y="0"/>
                    <a:pt x="30" y="1"/>
                    <a:pt x="27" y="2"/>
                  </a:cubicBezTo>
                  <a:cubicBezTo>
                    <a:pt x="24" y="4"/>
                    <a:pt x="20" y="4"/>
                    <a:pt x="17" y="4"/>
                  </a:cubicBezTo>
                  <a:cubicBezTo>
                    <a:pt x="13" y="4"/>
                    <a:pt x="9" y="4"/>
                    <a:pt x="6" y="5"/>
                  </a:cubicBezTo>
                  <a:cubicBezTo>
                    <a:pt x="5" y="5"/>
                    <a:pt x="3" y="6"/>
                    <a:pt x="2" y="6"/>
                  </a:cubicBezTo>
                  <a:cubicBezTo>
                    <a:pt x="1" y="7"/>
                    <a:pt x="1" y="9"/>
                    <a:pt x="0" y="10"/>
                  </a:cubicBezTo>
                  <a:cubicBezTo>
                    <a:pt x="2" y="11"/>
                    <a:pt x="3" y="12"/>
                    <a:pt x="4" y="13"/>
                  </a:cubicBezTo>
                  <a:cubicBezTo>
                    <a:pt x="4" y="15"/>
                    <a:pt x="5" y="17"/>
                    <a:pt x="5" y="19"/>
                  </a:cubicBezTo>
                  <a:cubicBezTo>
                    <a:pt x="7" y="18"/>
                    <a:pt x="9" y="17"/>
                    <a:pt x="11" y="16"/>
                  </a:cubicBezTo>
                  <a:cubicBezTo>
                    <a:pt x="11" y="16"/>
                    <a:pt x="10" y="17"/>
                    <a:pt x="9" y="17"/>
                  </a:cubicBezTo>
                  <a:cubicBezTo>
                    <a:pt x="12" y="16"/>
                    <a:pt x="9" y="17"/>
                    <a:pt x="9" y="17"/>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21" name="Freeform 299">
              <a:extLst>
                <a:ext uri="{FF2B5EF4-FFF2-40B4-BE49-F238E27FC236}">
                  <a16:creationId xmlns:a16="http://schemas.microsoft.com/office/drawing/2014/main" id="{A271BE2E-9057-9B00-5644-A403BC543B60}"/>
                </a:ext>
              </a:extLst>
            </p:cNvPr>
            <p:cNvSpPr/>
            <p:nvPr>
              <p:custDataLst>
                <p:tags r:id="rId285"/>
              </p:custDataLst>
            </p:nvPr>
          </p:nvSpPr>
          <p:spPr bwMode="auto">
            <a:xfrm>
              <a:off x="9763125" y="4667251"/>
              <a:ext cx="87313" cy="38100"/>
            </a:xfrm>
            <a:custGeom>
              <a:avLst/>
              <a:gdLst>
                <a:gd name="T0" fmla="*/ 35 w 47"/>
                <a:gd name="T1" fmla="*/ 13 h 20"/>
                <a:gd name="T2" fmla="*/ 41 w 47"/>
                <a:gd name="T3" fmla="*/ 15 h 20"/>
                <a:gd name="T4" fmla="*/ 46 w 47"/>
                <a:gd name="T5" fmla="*/ 19 h 20"/>
                <a:gd name="T6" fmla="*/ 47 w 47"/>
                <a:gd name="T7" fmla="*/ 16 h 20"/>
                <a:gd name="T8" fmla="*/ 44 w 47"/>
                <a:gd name="T9" fmla="*/ 12 h 20"/>
                <a:gd name="T10" fmla="*/ 42 w 47"/>
                <a:gd name="T11" fmla="*/ 8 h 20"/>
                <a:gd name="T12" fmla="*/ 36 w 47"/>
                <a:gd name="T13" fmla="*/ 4 h 20"/>
                <a:gd name="T14" fmla="*/ 29 w 47"/>
                <a:gd name="T15" fmla="*/ 3 h 20"/>
                <a:gd name="T16" fmla="*/ 26 w 47"/>
                <a:gd name="T17" fmla="*/ 1 h 20"/>
                <a:gd name="T18" fmla="*/ 21 w 47"/>
                <a:gd name="T19" fmla="*/ 2 h 20"/>
                <a:gd name="T20" fmla="*/ 18 w 47"/>
                <a:gd name="T21" fmla="*/ 3 h 20"/>
                <a:gd name="T22" fmla="*/ 16 w 47"/>
                <a:gd name="T23" fmla="*/ 1 h 20"/>
                <a:gd name="T24" fmla="*/ 13 w 47"/>
                <a:gd name="T25" fmla="*/ 1 h 20"/>
                <a:gd name="T26" fmla="*/ 9 w 47"/>
                <a:gd name="T27" fmla="*/ 2 h 20"/>
                <a:gd name="T28" fmla="*/ 6 w 47"/>
                <a:gd name="T29" fmla="*/ 3 h 20"/>
                <a:gd name="T30" fmla="*/ 2 w 47"/>
                <a:gd name="T31" fmla="*/ 3 h 20"/>
                <a:gd name="T32" fmla="*/ 0 w 47"/>
                <a:gd name="T33" fmla="*/ 4 h 20"/>
                <a:gd name="T34" fmla="*/ 0 w 47"/>
                <a:gd name="T35" fmla="*/ 7 h 20"/>
                <a:gd name="T36" fmla="*/ 6 w 47"/>
                <a:gd name="T37" fmla="*/ 11 h 20"/>
                <a:gd name="T38" fmla="*/ 14 w 47"/>
                <a:gd name="T39" fmla="*/ 10 h 20"/>
                <a:gd name="T40" fmla="*/ 22 w 47"/>
                <a:gd name="T41" fmla="*/ 10 h 20"/>
                <a:gd name="T42" fmla="*/ 31 w 47"/>
                <a:gd name="T43" fmla="*/ 10 h 20"/>
                <a:gd name="T44" fmla="*/ 35 w 47"/>
                <a:gd name="T45" fmla="*/ 13 h 20"/>
                <a:gd name="T46" fmla="*/ 35 w 47"/>
                <a:gd name="T47" fmla="*/ 13 h 20"/>
                <a:gd name="T48" fmla="*/ 35 w 47"/>
                <a:gd name="T4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20">
                  <a:moveTo>
                    <a:pt x="35" y="13"/>
                  </a:moveTo>
                  <a:cubicBezTo>
                    <a:pt x="36" y="14"/>
                    <a:pt x="39" y="13"/>
                    <a:pt x="41" y="15"/>
                  </a:cubicBezTo>
                  <a:cubicBezTo>
                    <a:pt x="43" y="17"/>
                    <a:pt x="43" y="19"/>
                    <a:pt x="46" y="19"/>
                  </a:cubicBezTo>
                  <a:cubicBezTo>
                    <a:pt x="47" y="20"/>
                    <a:pt x="47" y="17"/>
                    <a:pt x="47" y="16"/>
                  </a:cubicBezTo>
                  <a:cubicBezTo>
                    <a:pt x="47" y="14"/>
                    <a:pt x="46" y="12"/>
                    <a:pt x="44" y="12"/>
                  </a:cubicBezTo>
                  <a:cubicBezTo>
                    <a:pt x="42" y="11"/>
                    <a:pt x="42" y="9"/>
                    <a:pt x="42" y="8"/>
                  </a:cubicBezTo>
                  <a:cubicBezTo>
                    <a:pt x="41" y="5"/>
                    <a:pt x="39" y="4"/>
                    <a:pt x="36" y="4"/>
                  </a:cubicBezTo>
                  <a:cubicBezTo>
                    <a:pt x="34" y="4"/>
                    <a:pt x="31" y="4"/>
                    <a:pt x="29" y="3"/>
                  </a:cubicBezTo>
                  <a:cubicBezTo>
                    <a:pt x="28" y="2"/>
                    <a:pt x="27" y="2"/>
                    <a:pt x="26" y="1"/>
                  </a:cubicBezTo>
                  <a:cubicBezTo>
                    <a:pt x="24" y="0"/>
                    <a:pt x="23" y="1"/>
                    <a:pt x="21" y="2"/>
                  </a:cubicBezTo>
                  <a:cubicBezTo>
                    <a:pt x="21" y="2"/>
                    <a:pt x="19" y="3"/>
                    <a:pt x="18" y="3"/>
                  </a:cubicBezTo>
                  <a:cubicBezTo>
                    <a:pt x="17" y="2"/>
                    <a:pt x="17" y="1"/>
                    <a:pt x="16" y="1"/>
                  </a:cubicBezTo>
                  <a:cubicBezTo>
                    <a:pt x="15" y="0"/>
                    <a:pt x="14" y="1"/>
                    <a:pt x="13" y="1"/>
                  </a:cubicBezTo>
                  <a:cubicBezTo>
                    <a:pt x="12" y="1"/>
                    <a:pt x="11" y="1"/>
                    <a:pt x="9" y="2"/>
                  </a:cubicBezTo>
                  <a:cubicBezTo>
                    <a:pt x="8" y="3"/>
                    <a:pt x="7" y="3"/>
                    <a:pt x="6" y="3"/>
                  </a:cubicBezTo>
                  <a:cubicBezTo>
                    <a:pt x="4" y="3"/>
                    <a:pt x="3" y="3"/>
                    <a:pt x="2" y="3"/>
                  </a:cubicBezTo>
                  <a:cubicBezTo>
                    <a:pt x="1" y="2"/>
                    <a:pt x="0" y="2"/>
                    <a:pt x="0" y="4"/>
                  </a:cubicBezTo>
                  <a:cubicBezTo>
                    <a:pt x="0" y="5"/>
                    <a:pt x="0" y="6"/>
                    <a:pt x="0" y="7"/>
                  </a:cubicBezTo>
                  <a:cubicBezTo>
                    <a:pt x="2" y="9"/>
                    <a:pt x="3" y="11"/>
                    <a:pt x="6" y="11"/>
                  </a:cubicBezTo>
                  <a:cubicBezTo>
                    <a:pt x="9" y="11"/>
                    <a:pt x="11" y="9"/>
                    <a:pt x="14" y="10"/>
                  </a:cubicBezTo>
                  <a:cubicBezTo>
                    <a:pt x="16" y="11"/>
                    <a:pt x="19" y="10"/>
                    <a:pt x="22" y="10"/>
                  </a:cubicBezTo>
                  <a:cubicBezTo>
                    <a:pt x="25" y="10"/>
                    <a:pt x="28" y="9"/>
                    <a:pt x="31" y="10"/>
                  </a:cubicBezTo>
                  <a:cubicBezTo>
                    <a:pt x="32" y="11"/>
                    <a:pt x="34" y="12"/>
                    <a:pt x="35" y="13"/>
                  </a:cubicBezTo>
                  <a:cubicBezTo>
                    <a:pt x="35" y="13"/>
                    <a:pt x="35" y="13"/>
                    <a:pt x="35" y="13"/>
                  </a:cubicBezTo>
                  <a:cubicBezTo>
                    <a:pt x="36" y="14"/>
                    <a:pt x="35" y="13"/>
                    <a:pt x="35" y="13"/>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22" name="Freeform 301">
              <a:extLst>
                <a:ext uri="{FF2B5EF4-FFF2-40B4-BE49-F238E27FC236}">
                  <a16:creationId xmlns:a16="http://schemas.microsoft.com/office/drawing/2014/main" id="{0BC7D4EA-E794-3BCC-5FBD-79FF0AAAC970}"/>
                </a:ext>
              </a:extLst>
            </p:cNvPr>
            <p:cNvSpPr/>
            <p:nvPr>
              <p:custDataLst>
                <p:tags r:id="rId286"/>
              </p:custDataLst>
            </p:nvPr>
          </p:nvSpPr>
          <p:spPr bwMode="auto">
            <a:xfrm>
              <a:off x="10061575" y="4813301"/>
              <a:ext cx="44450" cy="33338"/>
            </a:xfrm>
            <a:custGeom>
              <a:avLst/>
              <a:gdLst>
                <a:gd name="T0" fmla="*/ 22 w 24"/>
                <a:gd name="T1" fmla="*/ 8 h 18"/>
                <a:gd name="T2" fmla="*/ 23 w 24"/>
                <a:gd name="T3" fmla="*/ 5 h 18"/>
                <a:gd name="T4" fmla="*/ 22 w 24"/>
                <a:gd name="T5" fmla="*/ 2 h 18"/>
                <a:gd name="T6" fmla="*/ 12 w 24"/>
                <a:gd name="T7" fmla="*/ 1 h 18"/>
                <a:gd name="T8" fmla="*/ 6 w 24"/>
                <a:gd name="T9" fmla="*/ 6 h 18"/>
                <a:gd name="T10" fmla="*/ 5 w 24"/>
                <a:gd name="T11" fmla="*/ 11 h 18"/>
                <a:gd name="T12" fmla="*/ 3 w 24"/>
                <a:gd name="T13" fmla="*/ 14 h 18"/>
                <a:gd name="T14" fmla="*/ 2 w 24"/>
                <a:gd name="T15" fmla="*/ 18 h 18"/>
                <a:gd name="T16" fmla="*/ 6 w 24"/>
                <a:gd name="T17" fmla="*/ 18 h 18"/>
                <a:gd name="T18" fmla="*/ 12 w 24"/>
                <a:gd name="T19" fmla="*/ 17 h 18"/>
                <a:gd name="T20" fmla="*/ 16 w 24"/>
                <a:gd name="T21" fmla="*/ 15 h 18"/>
                <a:gd name="T22" fmla="*/ 17 w 24"/>
                <a:gd name="T23" fmla="*/ 14 h 18"/>
                <a:gd name="T24" fmla="*/ 19 w 24"/>
                <a:gd name="T25" fmla="*/ 13 h 18"/>
                <a:gd name="T26" fmla="*/ 22 w 24"/>
                <a:gd name="T27" fmla="*/ 10 h 18"/>
                <a:gd name="T28" fmla="*/ 22 w 24"/>
                <a:gd name="T29" fmla="*/ 8 h 18"/>
                <a:gd name="T30" fmla="*/ 22 w 24"/>
                <a:gd name="T31" fmla="*/ 8 h 18"/>
                <a:gd name="T32" fmla="*/ 22 w 24"/>
                <a:gd name="T3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18">
                  <a:moveTo>
                    <a:pt x="22" y="8"/>
                  </a:moveTo>
                  <a:cubicBezTo>
                    <a:pt x="22" y="7"/>
                    <a:pt x="23" y="6"/>
                    <a:pt x="23" y="5"/>
                  </a:cubicBezTo>
                  <a:cubicBezTo>
                    <a:pt x="24" y="4"/>
                    <a:pt x="23" y="3"/>
                    <a:pt x="22" y="2"/>
                  </a:cubicBezTo>
                  <a:cubicBezTo>
                    <a:pt x="19" y="0"/>
                    <a:pt x="15" y="0"/>
                    <a:pt x="12" y="1"/>
                  </a:cubicBezTo>
                  <a:cubicBezTo>
                    <a:pt x="10" y="2"/>
                    <a:pt x="7" y="4"/>
                    <a:pt x="6" y="6"/>
                  </a:cubicBezTo>
                  <a:cubicBezTo>
                    <a:pt x="5" y="8"/>
                    <a:pt x="5" y="9"/>
                    <a:pt x="5" y="11"/>
                  </a:cubicBezTo>
                  <a:cubicBezTo>
                    <a:pt x="4" y="12"/>
                    <a:pt x="4" y="13"/>
                    <a:pt x="3" y="14"/>
                  </a:cubicBezTo>
                  <a:cubicBezTo>
                    <a:pt x="3" y="15"/>
                    <a:pt x="0" y="17"/>
                    <a:pt x="2" y="18"/>
                  </a:cubicBezTo>
                  <a:cubicBezTo>
                    <a:pt x="3" y="18"/>
                    <a:pt x="5" y="18"/>
                    <a:pt x="6" y="18"/>
                  </a:cubicBezTo>
                  <a:cubicBezTo>
                    <a:pt x="8" y="17"/>
                    <a:pt x="10" y="17"/>
                    <a:pt x="12" y="17"/>
                  </a:cubicBezTo>
                  <a:cubicBezTo>
                    <a:pt x="13" y="17"/>
                    <a:pt x="15" y="16"/>
                    <a:pt x="16" y="15"/>
                  </a:cubicBezTo>
                  <a:cubicBezTo>
                    <a:pt x="16" y="15"/>
                    <a:pt x="17" y="14"/>
                    <a:pt x="17" y="14"/>
                  </a:cubicBezTo>
                  <a:cubicBezTo>
                    <a:pt x="18" y="13"/>
                    <a:pt x="19" y="14"/>
                    <a:pt x="19" y="13"/>
                  </a:cubicBezTo>
                  <a:cubicBezTo>
                    <a:pt x="19" y="12"/>
                    <a:pt x="21" y="11"/>
                    <a:pt x="22" y="10"/>
                  </a:cubicBezTo>
                  <a:cubicBezTo>
                    <a:pt x="22" y="10"/>
                    <a:pt x="22" y="8"/>
                    <a:pt x="22" y="8"/>
                  </a:cubicBezTo>
                  <a:cubicBezTo>
                    <a:pt x="22" y="8"/>
                    <a:pt x="22" y="8"/>
                    <a:pt x="22" y="8"/>
                  </a:cubicBezTo>
                  <a:cubicBezTo>
                    <a:pt x="22" y="7"/>
                    <a:pt x="22" y="8"/>
                    <a:pt x="22" y="8"/>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nvGrpSpPr>
            <p:cNvPr id="123" name="Group 122">
              <a:extLst>
                <a:ext uri="{FF2B5EF4-FFF2-40B4-BE49-F238E27FC236}">
                  <a16:creationId xmlns:a16="http://schemas.microsoft.com/office/drawing/2014/main" id="{EBB3B753-12A6-0E88-C1CA-7B1C07268200}"/>
                </a:ext>
              </a:extLst>
            </p:cNvPr>
            <p:cNvGrpSpPr/>
            <p:nvPr>
              <p:custDataLst>
                <p:tags r:id="rId287"/>
              </p:custDataLst>
            </p:nvPr>
          </p:nvGrpSpPr>
          <p:grpSpPr>
            <a:xfrm>
              <a:off x="8716963" y="4391026"/>
              <a:ext cx="1452562" cy="538162"/>
              <a:chOff x="8716963" y="4391026"/>
              <a:chExt cx="1452562" cy="538162"/>
            </a:xfrm>
          </p:grpSpPr>
          <p:sp>
            <p:nvSpPr>
              <p:cNvPr id="124" name="Freeform 304">
                <a:extLst>
                  <a:ext uri="{FF2B5EF4-FFF2-40B4-BE49-F238E27FC236}">
                    <a16:creationId xmlns:a16="http://schemas.microsoft.com/office/drawing/2014/main" id="{2AD74869-E615-D5E9-45D1-FC7840E654AC}"/>
                  </a:ext>
                </a:extLst>
              </p:cNvPr>
              <p:cNvSpPr>
                <a:spLocks noEditPoints="1"/>
              </p:cNvSpPr>
              <p:nvPr>
                <p:custDataLst>
                  <p:tags r:id="rId288"/>
                </p:custDataLst>
              </p:nvPr>
            </p:nvSpPr>
            <p:spPr bwMode="auto">
              <a:xfrm>
                <a:off x="9740900" y="4500564"/>
                <a:ext cx="428625" cy="368300"/>
              </a:xfrm>
              <a:custGeom>
                <a:avLst/>
                <a:gdLst>
                  <a:gd name="T0" fmla="*/ 230 w 231"/>
                  <a:gd name="T1" fmla="*/ 199 h 199"/>
                  <a:gd name="T2" fmla="*/ 230 w 231"/>
                  <a:gd name="T3" fmla="*/ 131 h 199"/>
                  <a:gd name="T4" fmla="*/ 207 w 231"/>
                  <a:gd name="T5" fmla="*/ 83 h 199"/>
                  <a:gd name="T6" fmla="*/ 184 w 231"/>
                  <a:gd name="T7" fmla="*/ 71 h 199"/>
                  <a:gd name="T8" fmla="*/ 167 w 231"/>
                  <a:gd name="T9" fmla="*/ 75 h 199"/>
                  <a:gd name="T10" fmla="*/ 146 w 231"/>
                  <a:gd name="T11" fmla="*/ 89 h 199"/>
                  <a:gd name="T12" fmla="*/ 130 w 231"/>
                  <a:gd name="T13" fmla="*/ 100 h 199"/>
                  <a:gd name="T14" fmla="*/ 121 w 231"/>
                  <a:gd name="T15" fmla="*/ 90 h 199"/>
                  <a:gd name="T16" fmla="*/ 114 w 231"/>
                  <a:gd name="T17" fmla="*/ 72 h 199"/>
                  <a:gd name="T18" fmla="*/ 113 w 231"/>
                  <a:gd name="T19" fmla="*/ 57 h 199"/>
                  <a:gd name="T20" fmla="*/ 88 w 231"/>
                  <a:gd name="T21" fmla="*/ 49 h 199"/>
                  <a:gd name="T22" fmla="*/ 65 w 231"/>
                  <a:gd name="T23" fmla="*/ 58 h 199"/>
                  <a:gd name="T24" fmla="*/ 70 w 231"/>
                  <a:gd name="T25" fmla="*/ 69 h 199"/>
                  <a:gd name="T26" fmla="*/ 84 w 231"/>
                  <a:gd name="T27" fmla="*/ 82 h 199"/>
                  <a:gd name="T28" fmla="*/ 105 w 231"/>
                  <a:gd name="T29" fmla="*/ 80 h 199"/>
                  <a:gd name="T30" fmla="*/ 101 w 231"/>
                  <a:gd name="T31" fmla="*/ 89 h 199"/>
                  <a:gd name="T32" fmla="*/ 87 w 231"/>
                  <a:gd name="T33" fmla="*/ 90 h 199"/>
                  <a:gd name="T34" fmla="*/ 89 w 231"/>
                  <a:gd name="T35" fmla="*/ 99 h 199"/>
                  <a:gd name="T36" fmla="*/ 103 w 231"/>
                  <a:gd name="T37" fmla="*/ 105 h 199"/>
                  <a:gd name="T38" fmla="*/ 109 w 231"/>
                  <a:gd name="T39" fmla="*/ 97 h 199"/>
                  <a:gd name="T40" fmla="*/ 115 w 231"/>
                  <a:gd name="T41" fmla="*/ 107 h 199"/>
                  <a:gd name="T42" fmla="*/ 127 w 231"/>
                  <a:gd name="T43" fmla="*/ 112 h 199"/>
                  <a:gd name="T44" fmla="*/ 165 w 231"/>
                  <a:gd name="T45" fmla="*/ 128 h 199"/>
                  <a:gd name="T46" fmla="*/ 186 w 231"/>
                  <a:gd name="T47" fmla="*/ 146 h 199"/>
                  <a:gd name="T48" fmla="*/ 201 w 231"/>
                  <a:gd name="T49" fmla="*/ 162 h 199"/>
                  <a:gd name="T50" fmla="*/ 201 w 231"/>
                  <a:gd name="T51" fmla="*/ 166 h 199"/>
                  <a:gd name="T52" fmla="*/ 198 w 231"/>
                  <a:gd name="T53" fmla="*/ 176 h 199"/>
                  <a:gd name="T54" fmla="*/ 201 w 231"/>
                  <a:gd name="T55" fmla="*/ 181 h 199"/>
                  <a:gd name="T56" fmla="*/ 216 w 231"/>
                  <a:gd name="T57" fmla="*/ 178 h 199"/>
                  <a:gd name="T58" fmla="*/ 10 w 231"/>
                  <a:gd name="T59" fmla="*/ 8 h 199"/>
                  <a:gd name="T60" fmla="*/ 10 w 231"/>
                  <a:gd name="T61" fmla="*/ 8 h 199"/>
                  <a:gd name="T62" fmla="*/ 8 w 231"/>
                  <a:gd name="T63" fmla="*/ 14 h 199"/>
                  <a:gd name="T64" fmla="*/ 1 w 231"/>
                  <a:gd name="T65" fmla="*/ 25 h 199"/>
                  <a:gd name="T66" fmla="*/ 14 w 231"/>
                  <a:gd name="T67" fmla="*/ 3 h 199"/>
                  <a:gd name="T68" fmla="*/ 19 w 231"/>
                  <a:gd name="T69" fmla="*/ 5 h 199"/>
                  <a:gd name="T70" fmla="*/ 16 w 231"/>
                  <a:gd name="T71" fmla="*/ 56 h 199"/>
                  <a:gd name="T72" fmla="*/ 8 w 231"/>
                  <a:gd name="T73" fmla="*/ 37 h 199"/>
                  <a:gd name="T74" fmla="*/ 14 w 231"/>
                  <a:gd name="T75" fmla="*/ 30 h 199"/>
                  <a:gd name="T76" fmla="*/ 16 w 231"/>
                  <a:gd name="T77" fmla="*/ 19 h 199"/>
                  <a:gd name="T78" fmla="*/ 7 w 231"/>
                  <a:gd name="T79" fmla="*/ 30 h 199"/>
                  <a:gd name="T80" fmla="*/ 5 w 231"/>
                  <a:gd name="T81" fmla="*/ 44 h 199"/>
                  <a:gd name="T82" fmla="*/ 16 w 231"/>
                  <a:gd name="T83" fmla="*/ 56 h 199"/>
                  <a:gd name="T84" fmla="*/ 131 w 231"/>
                  <a:gd name="T85" fmla="*/ 70 h 199"/>
                  <a:gd name="T86" fmla="*/ 129 w 231"/>
                  <a:gd name="T87" fmla="*/ 63 h 199"/>
                  <a:gd name="T88" fmla="*/ 142 w 231"/>
                  <a:gd name="T89" fmla="*/ 71 h 199"/>
                  <a:gd name="T90" fmla="*/ 157 w 231"/>
                  <a:gd name="T91" fmla="*/ 75 h 199"/>
                  <a:gd name="T92" fmla="*/ 145 w 231"/>
                  <a:gd name="T93" fmla="*/ 72 h 199"/>
                  <a:gd name="T94" fmla="*/ 141 w 231"/>
                  <a:gd name="T95" fmla="*/ 57 h 199"/>
                  <a:gd name="T96" fmla="*/ 151 w 231"/>
                  <a:gd name="T97" fmla="*/ 62 h 199"/>
                  <a:gd name="T98" fmla="*/ 32 w 231"/>
                  <a:gd name="T99" fmla="*/ 42 h 199"/>
                  <a:gd name="T100" fmla="*/ 35 w 231"/>
                  <a:gd name="T101" fmla="*/ 44 h 199"/>
                  <a:gd name="T102" fmla="*/ 49 w 231"/>
                  <a:gd name="T103" fmla="*/ 77 h 199"/>
                  <a:gd name="T104" fmla="*/ 45 w 231"/>
                  <a:gd name="T105" fmla="*/ 78 h 199"/>
                  <a:gd name="T106" fmla="*/ 40 w 231"/>
                  <a:gd name="T107" fmla="*/ 63 h 199"/>
                  <a:gd name="T108" fmla="*/ 56 w 231"/>
                  <a:gd name="T109" fmla="*/ 62 h 199"/>
                  <a:gd name="T110" fmla="*/ 56 w 231"/>
                  <a:gd name="T111" fmla="*/ 48 h 199"/>
                  <a:gd name="T112" fmla="*/ 55 w 231"/>
                  <a:gd name="T113" fmla="*/ 47 h 199"/>
                  <a:gd name="T114" fmla="*/ 58 w 231"/>
                  <a:gd name="T115" fmla="*/ 44 h 199"/>
                  <a:gd name="T116" fmla="*/ 66 w 231"/>
                  <a:gd name="T117" fmla="*/ 49 h 199"/>
                  <a:gd name="T118" fmla="*/ 54 w 231"/>
                  <a:gd name="T119" fmla="*/ 57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1" h="199">
                    <a:moveTo>
                      <a:pt x="215" y="183"/>
                    </a:moveTo>
                    <a:cubicBezTo>
                      <a:pt x="214" y="184"/>
                      <a:pt x="216" y="186"/>
                      <a:pt x="217" y="187"/>
                    </a:cubicBezTo>
                    <a:cubicBezTo>
                      <a:pt x="218" y="188"/>
                      <a:pt x="219" y="189"/>
                      <a:pt x="221" y="191"/>
                    </a:cubicBezTo>
                    <a:cubicBezTo>
                      <a:pt x="223" y="192"/>
                      <a:pt x="225" y="193"/>
                      <a:pt x="226" y="195"/>
                    </a:cubicBezTo>
                    <a:cubicBezTo>
                      <a:pt x="228" y="196"/>
                      <a:pt x="228" y="198"/>
                      <a:pt x="230" y="199"/>
                    </a:cubicBezTo>
                    <a:cubicBezTo>
                      <a:pt x="230" y="189"/>
                      <a:pt x="230" y="180"/>
                      <a:pt x="230" y="170"/>
                    </a:cubicBezTo>
                    <a:cubicBezTo>
                      <a:pt x="230" y="168"/>
                      <a:pt x="231" y="166"/>
                      <a:pt x="230" y="163"/>
                    </a:cubicBezTo>
                    <a:cubicBezTo>
                      <a:pt x="230" y="162"/>
                      <a:pt x="228" y="160"/>
                      <a:pt x="228" y="158"/>
                    </a:cubicBezTo>
                    <a:cubicBezTo>
                      <a:pt x="227" y="154"/>
                      <a:pt x="229" y="149"/>
                      <a:pt x="230" y="145"/>
                    </a:cubicBezTo>
                    <a:cubicBezTo>
                      <a:pt x="231" y="140"/>
                      <a:pt x="230" y="136"/>
                      <a:pt x="230" y="131"/>
                    </a:cubicBezTo>
                    <a:cubicBezTo>
                      <a:pt x="230" y="126"/>
                      <a:pt x="230" y="122"/>
                      <a:pt x="230" y="117"/>
                    </a:cubicBezTo>
                    <a:cubicBezTo>
                      <a:pt x="231" y="107"/>
                      <a:pt x="231" y="97"/>
                      <a:pt x="231" y="88"/>
                    </a:cubicBezTo>
                    <a:cubicBezTo>
                      <a:pt x="228" y="88"/>
                      <a:pt x="225" y="87"/>
                      <a:pt x="223" y="85"/>
                    </a:cubicBezTo>
                    <a:cubicBezTo>
                      <a:pt x="220" y="84"/>
                      <a:pt x="218" y="83"/>
                      <a:pt x="215" y="83"/>
                    </a:cubicBezTo>
                    <a:cubicBezTo>
                      <a:pt x="212" y="83"/>
                      <a:pt x="210" y="83"/>
                      <a:pt x="207" y="83"/>
                    </a:cubicBezTo>
                    <a:cubicBezTo>
                      <a:pt x="206" y="83"/>
                      <a:pt x="206" y="82"/>
                      <a:pt x="205" y="82"/>
                    </a:cubicBezTo>
                    <a:cubicBezTo>
                      <a:pt x="204" y="81"/>
                      <a:pt x="203" y="81"/>
                      <a:pt x="202" y="80"/>
                    </a:cubicBezTo>
                    <a:cubicBezTo>
                      <a:pt x="199" y="79"/>
                      <a:pt x="197" y="78"/>
                      <a:pt x="195" y="77"/>
                    </a:cubicBezTo>
                    <a:cubicBezTo>
                      <a:pt x="192" y="75"/>
                      <a:pt x="189" y="74"/>
                      <a:pt x="186" y="73"/>
                    </a:cubicBezTo>
                    <a:cubicBezTo>
                      <a:pt x="186" y="73"/>
                      <a:pt x="184" y="72"/>
                      <a:pt x="184" y="71"/>
                    </a:cubicBezTo>
                    <a:cubicBezTo>
                      <a:pt x="184" y="71"/>
                      <a:pt x="183" y="70"/>
                      <a:pt x="182" y="70"/>
                    </a:cubicBezTo>
                    <a:cubicBezTo>
                      <a:pt x="180" y="68"/>
                      <a:pt x="178" y="69"/>
                      <a:pt x="176" y="70"/>
                    </a:cubicBezTo>
                    <a:cubicBezTo>
                      <a:pt x="174" y="71"/>
                      <a:pt x="174" y="73"/>
                      <a:pt x="171" y="73"/>
                    </a:cubicBezTo>
                    <a:cubicBezTo>
                      <a:pt x="170" y="73"/>
                      <a:pt x="169" y="73"/>
                      <a:pt x="168" y="73"/>
                    </a:cubicBezTo>
                    <a:cubicBezTo>
                      <a:pt x="166" y="73"/>
                      <a:pt x="167" y="74"/>
                      <a:pt x="167" y="75"/>
                    </a:cubicBezTo>
                    <a:cubicBezTo>
                      <a:pt x="167" y="76"/>
                      <a:pt x="169" y="79"/>
                      <a:pt x="166" y="80"/>
                    </a:cubicBezTo>
                    <a:cubicBezTo>
                      <a:pt x="165" y="80"/>
                      <a:pt x="164" y="80"/>
                      <a:pt x="163" y="80"/>
                    </a:cubicBezTo>
                    <a:cubicBezTo>
                      <a:pt x="162" y="80"/>
                      <a:pt x="161" y="81"/>
                      <a:pt x="160" y="82"/>
                    </a:cubicBezTo>
                    <a:cubicBezTo>
                      <a:pt x="157" y="82"/>
                      <a:pt x="154" y="81"/>
                      <a:pt x="152" y="83"/>
                    </a:cubicBezTo>
                    <a:cubicBezTo>
                      <a:pt x="150" y="84"/>
                      <a:pt x="148" y="86"/>
                      <a:pt x="146" y="89"/>
                    </a:cubicBezTo>
                    <a:cubicBezTo>
                      <a:pt x="145" y="90"/>
                      <a:pt x="145" y="91"/>
                      <a:pt x="145" y="92"/>
                    </a:cubicBezTo>
                    <a:cubicBezTo>
                      <a:pt x="144" y="93"/>
                      <a:pt x="143" y="94"/>
                      <a:pt x="142" y="95"/>
                    </a:cubicBezTo>
                    <a:cubicBezTo>
                      <a:pt x="141" y="95"/>
                      <a:pt x="140" y="96"/>
                      <a:pt x="140" y="97"/>
                    </a:cubicBezTo>
                    <a:cubicBezTo>
                      <a:pt x="139" y="98"/>
                      <a:pt x="139" y="100"/>
                      <a:pt x="138" y="100"/>
                    </a:cubicBezTo>
                    <a:cubicBezTo>
                      <a:pt x="135" y="101"/>
                      <a:pt x="133" y="100"/>
                      <a:pt x="130" y="100"/>
                    </a:cubicBezTo>
                    <a:cubicBezTo>
                      <a:pt x="128" y="99"/>
                      <a:pt x="128" y="97"/>
                      <a:pt x="127" y="95"/>
                    </a:cubicBezTo>
                    <a:cubicBezTo>
                      <a:pt x="126" y="94"/>
                      <a:pt x="125" y="94"/>
                      <a:pt x="125" y="93"/>
                    </a:cubicBezTo>
                    <a:cubicBezTo>
                      <a:pt x="124" y="92"/>
                      <a:pt x="124" y="91"/>
                      <a:pt x="124" y="90"/>
                    </a:cubicBezTo>
                    <a:cubicBezTo>
                      <a:pt x="124" y="89"/>
                      <a:pt x="121" y="84"/>
                      <a:pt x="121" y="87"/>
                    </a:cubicBezTo>
                    <a:cubicBezTo>
                      <a:pt x="121" y="88"/>
                      <a:pt x="121" y="89"/>
                      <a:pt x="121" y="90"/>
                    </a:cubicBezTo>
                    <a:cubicBezTo>
                      <a:pt x="121" y="92"/>
                      <a:pt x="121" y="93"/>
                      <a:pt x="119" y="91"/>
                    </a:cubicBezTo>
                    <a:cubicBezTo>
                      <a:pt x="118" y="89"/>
                      <a:pt x="118" y="87"/>
                      <a:pt x="118" y="85"/>
                    </a:cubicBezTo>
                    <a:cubicBezTo>
                      <a:pt x="118" y="83"/>
                      <a:pt x="118" y="79"/>
                      <a:pt x="116" y="78"/>
                    </a:cubicBezTo>
                    <a:cubicBezTo>
                      <a:pt x="116" y="78"/>
                      <a:pt x="116" y="76"/>
                      <a:pt x="115" y="75"/>
                    </a:cubicBezTo>
                    <a:cubicBezTo>
                      <a:pt x="115" y="74"/>
                      <a:pt x="114" y="73"/>
                      <a:pt x="114" y="72"/>
                    </a:cubicBezTo>
                    <a:cubicBezTo>
                      <a:pt x="114" y="71"/>
                      <a:pt x="114" y="70"/>
                      <a:pt x="115" y="69"/>
                    </a:cubicBezTo>
                    <a:cubicBezTo>
                      <a:pt x="116" y="68"/>
                      <a:pt x="116" y="68"/>
                      <a:pt x="117" y="66"/>
                    </a:cubicBezTo>
                    <a:cubicBezTo>
                      <a:pt x="117" y="65"/>
                      <a:pt x="114" y="62"/>
                      <a:pt x="113" y="62"/>
                    </a:cubicBezTo>
                    <a:cubicBezTo>
                      <a:pt x="113" y="61"/>
                      <a:pt x="112" y="60"/>
                      <a:pt x="112" y="59"/>
                    </a:cubicBezTo>
                    <a:cubicBezTo>
                      <a:pt x="113" y="58"/>
                      <a:pt x="114" y="58"/>
                      <a:pt x="113" y="57"/>
                    </a:cubicBezTo>
                    <a:cubicBezTo>
                      <a:pt x="113" y="56"/>
                      <a:pt x="109" y="57"/>
                      <a:pt x="108" y="57"/>
                    </a:cubicBezTo>
                    <a:cubicBezTo>
                      <a:pt x="106" y="57"/>
                      <a:pt x="102" y="57"/>
                      <a:pt x="100" y="56"/>
                    </a:cubicBezTo>
                    <a:cubicBezTo>
                      <a:pt x="98" y="55"/>
                      <a:pt x="96" y="53"/>
                      <a:pt x="94" y="52"/>
                    </a:cubicBezTo>
                    <a:cubicBezTo>
                      <a:pt x="93" y="51"/>
                      <a:pt x="92" y="51"/>
                      <a:pt x="91" y="51"/>
                    </a:cubicBezTo>
                    <a:cubicBezTo>
                      <a:pt x="90" y="51"/>
                      <a:pt x="89" y="50"/>
                      <a:pt x="88" y="49"/>
                    </a:cubicBezTo>
                    <a:cubicBezTo>
                      <a:pt x="86" y="49"/>
                      <a:pt x="84" y="50"/>
                      <a:pt x="82" y="51"/>
                    </a:cubicBezTo>
                    <a:cubicBezTo>
                      <a:pt x="81" y="51"/>
                      <a:pt x="80" y="52"/>
                      <a:pt x="79" y="53"/>
                    </a:cubicBezTo>
                    <a:cubicBezTo>
                      <a:pt x="78" y="54"/>
                      <a:pt x="77" y="54"/>
                      <a:pt x="76" y="55"/>
                    </a:cubicBezTo>
                    <a:cubicBezTo>
                      <a:pt x="73" y="56"/>
                      <a:pt x="70" y="56"/>
                      <a:pt x="68" y="57"/>
                    </a:cubicBezTo>
                    <a:cubicBezTo>
                      <a:pt x="67" y="57"/>
                      <a:pt x="65" y="57"/>
                      <a:pt x="65" y="58"/>
                    </a:cubicBezTo>
                    <a:cubicBezTo>
                      <a:pt x="65" y="59"/>
                      <a:pt x="65" y="60"/>
                      <a:pt x="65" y="61"/>
                    </a:cubicBezTo>
                    <a:cubicBezTo>
                      <a:pt x="65" y="63"/>
                      <a:pt x="63" y="64"/>
                      <a:pt x="62" y="65"/>
                    </a:cubicBezTo>
                    <a:cubicBezTo>
                      <a:pt x="61" y="65"/>
                      <a:pt x="61" y="66"/>
                      <a:pt x="60" y="66"/>
                    </a:cubicBezTo>
                    <a:cubicBezTo>
                      <a:pt x="60" y="67"/>
                      <a:pt x="63" y="67"/>
                      <a:pt x="63" y="67"/>
                    </a:cubicBezTo>
                    <a:cubicBezTo>
                      <a:pt x="66" y="67"/>
                      <a:pt x="68" y="69"/>
                      <a:pt x="70" y="69"/>
                    </a:cubicBezTo>
                    <a:cubicBezTo>
                      <a:pt x="71" y="69"/>
                      <a:pt x="73" y="68"/>
                      <a:pt x="74" y="68"/>
                    </a:cubicBezTo>
                    <a:cubicBezTo>
                      <a:pt x="75" y="68"/>
                      <a:pt x="77" y="69"/>
                      <a:pt x="78" y="70"/>
                    </a:cubicBezTo>
                    <a:cubicBezTo>
                      <a:pt x="78" y="71"/>
                      <a:pt x="77" y="72"/>
                      <a:pt x="77" y="72"/>
                    </a:cubicBezTo>
                    <a:cubicBezTo>
                      <a:pt x="77" y="74"/>
                      <a:pt x="78" y="75"/>
                      <a:pt x="78" y="76"/>
                    </a:cubicBezTo>
                    <a:cubicBezTo>
                      <a:pt x="79" y="78"/>
                      <a:pt x="82" y="81"/>
                      <a:pt x="84" y="82"/>
                    </a:cubicBezTo>
                    <a:cubicBezTo>
                      <a:pt x="85" y="82"/>
                      <a:pt x="86" y="82"/>
                      <a:pt x="87" y="81"/>
                    </a:cubicBezTo>
                    <a:cubicBezTo>
                      <a:pt x="88" y="81"/>
                      <a:pt x="89" y="81"/>
                      <a:pt x="91" y="81"/>
                    </a:cubicBezTo>
                    <a:cubicBezTo>
                      <a:pt x="92" y="80"/>
                      <a:pt x="92" y="80"/>
                      <a:pt x="93" y="81"/>
                    </a:cubicBezTo>
                    <a:cubicBezTo>
                      <a:pt x="95" y="81"/>
                      <a:pt x="96" y="82"/>
                      <a:pt x="97" y="82"/>
                    </a:cubicBezTo>
                    <a:cubicBezTo>
                      <a:pt x="99" y="81"/>
                      <a:pt x="102" y="81"/>
                      <a:pt x="105" y="80"/>
                    </a:cubicBezTo>
                    <a:cubicBezTo>
                      <a:pt x="107" y="80"/>
                      <a:pt x="109" y="80"/>
                      <a:pt x="111" y="82"/>
                    </a:cubicBezTo>
                    <a:cubicBezTo>
                      <a:pt x="112" y="85"/>
                      <a:pt x="111" y="86"/>
                      <a:pt x="109" y="88"/>
                    </a:cubicBezTo>
                    <a:cubicBezTo>
                      <a:pt x="109" y="89"/>
                      <a:pt x="108" y="90"/>
                      <a:pt x="107" y="89"/>
                    </a:cubicBezTo>
                    <a:cubicBezTo>
                      <a:pt x="106" y="89"/>
                      <a:pt x="106" y="88"/>
                      <a:pt x="105" y="88"/>
                    </a:cubicBezTo>
                    <a:cubicBezTo>
                      <a:pt x="104" y="88"/>
                      <a:pt x="102" y="91"/>
                      <a:pt x="101" y="89"/>
                    </a:cubicBezTo>
                    <a:cubicBezTo>
                      <a:pt x="101" y="88"/>
                      <a:pt x="101" y="88"/>
                      <a:pt x="101" y="87"/>
                    </a:cubicBezTo>
                    <a:cubicBezTo>
                      <a:pt x="101" y="86"/>
                      <a:pt x="99" y="86"/>
                      <a:pt x="99" y="86"/>
                    </a:cubicBezTo>
                    <a:cubicBezTo>
                      <a:pt x="96" y="85"/>
                      <a:pt x="95" y="87"/>
                      <a:pt x="93" y="88"/>
                    </a:cubicBezTo>
                    <a:cubicBezTo>
                      <a:pt x="93" y="89"/>
                      <a:pt x="92" y="91"/>
                      <a:pt x="91" y="91"/>
                    </a:cubicBezTo>
                    <a:cubicBezTo>
                      <a:pt x="89" y="92"/>
                      <a:pt x="88" y="91"/>
                      <a:pt x="87" y="90"/>
                    </a:cubicBezTo>
                    <a:cubicBezTo>
                      <a:pt x="87" y="90"/>
                      <a:pt x="86" y="89"/>
                      <a:pt x="84" y="89"/>
                    </a:cubicBezTo>
                    <a:cubicBezTo>
                      <a:pt x="83" y="89"/>
                      <a:pt x="83" y="90"/>
                      <a:pt x="82" y="90"/>
                    </a:cubicBezTo>
                    <a:cubicBezTo>
                      <a:pt x="80" y="90"/>
                      <a:pt x="80" y="92"/>
                      <a:pt x="81" y="93"/>
                    </a:cubicBezTo>
                    <a:cubicBezTo>
                      <a:pt x="82" y="93"/>
                      <a:pt x="84" y="94"/>
                      <a:pt x="85" y="94"/>
                    </a:cubicBezTo>
                    <a:cubicBezTo>
                      <a:pt x="87" y="95"/>
                      <a:pt x="88" y="98"/>
                      <a:pt x="89" y="99"/>
                    </a:cubicBezTo>
                    <a:cubicBezTo>
                      <a:pt x="91" y="101"/>
                      <a:pt x="93" y="102"/>
                      <a:pt x="94" y="105"/>
                    </a:cubicBezTo>
                    <a:cubicBezTo>
                      <a:pt x="94" y="106"/>
                      <a:pt x="91" y="109"/>
                      <a:pt x="92" y="110"/>
                    </a:cubicBezTo>
                    <a:cubicBezTo>
                      <a:pt x="93" y="112"/>
                      <a:pt x="95" y="113"/>
                      <a:pt x="97" y="113"/>
                    </a:cubicBezTo>
                    <a:cubicBezTo>
                      <a:pt x="99" y="112"/>
                      <a:pt x="101" y="111"/>
                      <a:pt x="102" y="108"/>
                    </a:cubicBezTo>
                    <a:cubicBezTo>
                      <a:pt x="102" y="107"/>
                      <a:pt x="102" y="106"/>
                      <a:pt x="103" y="105"/>
                    </a:cubicBezTo>
                    <a:cubicBezTo>
                      <a:pt x="104" y="104"/>
                      <a:pt x="104" y="103"/>
                      <a:pt x="105" y="102"/>
                    </a:cubicBezTo>
                    <a:cubicBezTo>
                      <a:pt x="105" y="101"/>
                      <a:pt x="105" y="99"/>
                      <a:pt x="106" y="98"/>
                    </a:cubicBezTo>
                    <a:cubicBezTo>
                      <a:pt x="106" y="97"/>
                      <a:pt x="107" y="96"/>
                      <a:pt x="108" y="95"/>
                    </a:cubicBezTo>
                    <a:cubicBezTo>
                      <a:pt x="108" y="94"/>
                      <a:pt x="111" y="93"/>
                      <a:pt x="111" y="95"/>
                    </a:cubicBezTo>
                    <a:cubicBezTo>
                      <a:pt x="110" y="95"/>
                      <a:pt x="109" y="96"/>
                      <a:pt x="109" y="97"/>
                    </a:cubicBezTo>
                    <a:cubicBezTo>
                      <a:pt x="108" y="98"/>
                      <a:pt x="108" y="100"/>
                      <a:pt x="108" y="101"/>
                    </a:cubicBezTo>
                    <a:cubicBezTo>
                      <a:pt x="107" y="102"/>
                      <a:pt x="107" y="103"/>
                      <a:pt x="109" y="103"/>
                    </a:cubicBezTo>
                    <a:cubicBezTo>
                      <a:pt x="110" y="104"/>
                      <a:pt x="110" y="104"/>
                      <a:pt x="110" y="105"/>
                    </a:cubicBezTo>
                    <a:cubicBezTo>
                      <a:pt x="111" y="106"/>
                      <a:pt x="111" y="107"/>
                      <a:pt x="112" y="107"/>
                    </a:cubicBezTo>
                    <a:cubicBezTo>
                      <a:pt x="113" y="108"/>
                      <a:pt x="114" y="107"/>
                      <a:pt x="115" y="107"/>
                    </a:cubicBezTo>
                    <a:cubicBezTo>
                      <a:pt x="116" y="108"/>
                      <a:pt x="117" y="108"/>
                      <a:pt x="118" y="109"/>
                    </a:cubicBezTo>
                    <a:cubicBezTo>
                      <a:pt x="119" y="109"/>
                      <a:pt x="120" y="110"/>
                      <a:pt x="121" y="110"/>
                    </a:cubicBezTo>
                    <a:cubicBezTo>
                      <a:pt x="123" y="112"/>
                      <a:pt x="124" y="109"/>
                      <a:pt x="126" y="110"/>
                    </a:cubicBezTo>
                    <a:cubicBezTo>
                      <a:pt x="127" y="110"/>
                      <a:pt x="128" y="110"/>
                      <a:pt x="128" y="111"/>
                    </a:cubicBezTo>
                    <a:cubicBezTo>
                      <a:pt x="128" y="111"/>
                      <a:pt x="127" y="112"/>
                      <a:pt x="127" y="112"/>
                    </a:cubicBezTo>
                    <a:cubicBezTo>
                      <a:pt x="126" y="112"/>
                      <a:pt x="125" y="113"/>
                      <a:pt x="125" y="114"/>
                    </a:cubicBezTo>
                    <a:cubicBezTo>
                      <a:pt x="125" y="115"/>
                      <a:pt x="128" y="116"/>
                      <a:pt x="128" y="116"/>
                    </a:cubicBezTo>
                    <a:cubicBezTo>
                      <a:pt x="131" y="117"/>
                      <a:pt x="134" y="118"/>
                      <a:pt x="136" y="119"/>
                    </a:cubicBezTo>
                    <a:cubicBezTo>
                      <a:pt x="140" y="119"/>
                      <a:pt x="143" y="121"/>
                      <a:pt x="146" y="122"/>
                    </a:cubicBezTo>
                    <a:cubicBezTo>
                      <a:pt x="152" y="124"/>
                      <a:pt x="158" y="126"/>
                      <a:pt x="165" y="128"/>
                    </a:cubicBezTo>
                    <a:cubicBezTo>
                      <a:pt x="167" y="128"/>
                      <a:pt x="170" y="129"/>
                      <a:pt x="173" y="131"/>
                    </a:cubicBezTo>
                    <a:cubicBezTo>
                      <a:pt x="175" y="131"/>
                      <a:pt x="179" y="132"/>
                      <a:pt x="180" y="134"/>
                    </a:cubicBezTo>
                    <a:cubicBezTo>
                      <a:pt x="182" y="136"/>
                      <a:pt x="180" y="138"/>
                      <a:pt x="183" y="139"/>
                    </a:cubicBezTo>
                    <a:cubicBezTo>
                      <a:pt x="186" y="140"/>
                      <a:pt x="186" y="140"/>
                      <a:pt x="187" y="142"/>
                    </a:cubicBezTo>
                    <a:cubicBezTo>
                      <a:pt x="188" y="145"/>
                      <a:pt x="185" y="144"/>
                      <a:pt x="186" y="146"/>
                    </a:cubicBezTo>
                    <a:cubicBezTo>
                      <a:pt x="186" y="147"/>
                      <a:pt x="186" y="149"/>
                      <a:pt x="187" y="150"/>
                    </a:cubicBezTo>
                    <a:cubicBezTo>
                      <a:pt x="187" y="151"/>
                      <a:pt x="188" y="152"/>
                      <a:pt x="190" y="153"/>
                    </a:cubicBezTo>
                    <a:cubicBezTo>
                      <a:pt x="192" y="154"/>
                      <a:pt x="193" y="156"/>
                      <a:pt x="195" y="158"/>
                    </a:cubicBezTo>
                    <a:cubicBezTo>
                      <a:pt x="196" y="159"/>
                      <a:pt x="197" y="159"/>
                      <a:pt x="198" y="160"/>
                    </a:cubicBezTo>
                    <a:cubicBezTo>
                      <a:pt x="199" y="160"/>
                      <a:pt x="202" y="161"/>
                      <a:pt x="201" y="162"/>
                    </a:cubicBezTo>
                    <a:cubicBezTo>
                      <a:pt x="200" y="164"/>
                      <a:pt x="198" y="162"/>
                      <a:pt x="196" y="161"/>
                    </a:cubicBezTo>
                    <a:cubicBezTo>
                      <a:pt x="195" y="161"/>
                      <a:pt x="194" y="161"/>
                      <a:pt x="193" y="162"/>
                    </a:cubicBezTo>
                    <a:cubicBezTo>
                      <a:pt x="192" y="162"/>
                      <a:pt x="194" y="163"/>
                      <a:pt x="194" y="164"/>
                    </a:cubicBezTo>
                    <a:cubicBezTo>
                      <a:pt x="196" y="164"/>
                      <a:pt x="197" y="165"/>
                      <a:pt x="198" y="165"/>
                    </a:cubicBezTo>
                    <a:cubicBezTo>
                      <a:pt x="200" y="165"/>
                      <a:pt x="201" y="165"/>
                      <a:pt x="201" y="166"/>
                    </a:cubicBezTo>
                    <a:cubicBezTo>
                      <a:pt x="204" y="168"/>
                      <a:pt x="199" y="168"/>
                      <a:pt x="198" y="168"/>
                    </a:cubicBezTo>
                    <a:cubicBezTo>
                      <a:pt x="197" y="167"/>
                      <a:pt x="196" y="167"/>
                      <a:pt x="195" y="167"/>
                    </a:cubicBezTo>
                    <a:cubicBezTo>
                      <a:pt x="194" y="167"/>
                      <a:pt x="194" y="168"/>
                      <a:pt x="194" y="169"/>
                    </a:cubicBezTo>
                    <a:cubicBezTo>
                      <a:pt x="196" y="170"/>
                      <a:pt x="200" y="171"/>
                      <a:pt x="199" y="173"/>
                    </a:cubicBezTo>
                    <a:cubicBezTo>
                      <a:pt x="199" y="174"/>
                      <a:pt x="198" y="175"/>
                      <a:pt x="198" y="176"/>
                    </a:cubicBezTo>
                    <a:cubicBezTo>
                      <a:pt x="198" y="176"/>
                      <a:pt x="198" y="177"/>
                      <a:pt x="198" y="178"/>
                    </a:cubicBezTo>
                    <a:cubicBezTo>
                      <a:pt x="198" y="179"/>
                      <a:pt x="197" y="180"/>
                      <a:pt x="196" y="181"/>
                    </a:cubicBezTo>
                    <a:cubicBezTo>
                      <a:pt x="195" y="182"/>
                      <a:pt x="194" y="182"/>
                      <a:pt x="196" y="183"/>
                    </a:cubicBezTo>
                    <a:cubicBezTo>
                      <a:pt x="198" y="184"/>
                      <a:pt x="198" y="183"/>
                      <a:pt x="199" y="182"/>
                    </a:cubicBezTo>
                    <a:cubicBezTo>
                      <a:pt x="200" y="182"/>
                      <a:pt x="201" y="182"/>
                      <a:pt x="201" y="181"/>
                    </a:cubicBezTo>
                    <a:cubicBezTo>
                      <a:pt x="201" y="181"/>
                      <a:pt x="201" y="178"/>
                      <a:pt x="202" y="179"/>
                    </a:cubicBezTo>
                    <a:cubicBezTo>
                      <a:pt x="203" y="181"/>
                      <a:pt x="202" y="183"/>
                      <a:pt x="205" y="183"/>
                    </a:cubicBezTo>
                    <a:cubicBezTo>
                      <a:pt x="206" y="183"/>
                      <a:pt x="207" y="183"/>
                      <a:pt x="208" y="182"/>
                    </a:cubicBezTo>
                    <a:cubicBezTo>
                      <a:pt x="209" y="182"/>
                      <a:pt x="210" y="183"/>
                      <a:pt x="212" y="183"/>
                    </a:cubicBezTo>
                    <a:cubicBezTo>
                      <a:pt x="214" y="182"/>
                      <a:pt x="214" y="179"/>
                      <a:pt x="216" y="178"/>
                    </a:cubicBezTo>
                    <a:cubicBezTo>
                      <a:pt x="219" y="177"/>
                      <a:pt x="215" y="183"/>
                      <a:pt x="215" y="183"/>
                    </a:cubicBezTo>
                    <a:cubicBezTo>
                      <a:pt x="215" y="183"/>
                      <a:pt x="214" y="184"/>
                      <a:pt x="214" y="184"/>
                    </a:cubicBezTo>
                    <a:cubicBezTo>
                      <a:pt x="214" y="183"/>
                      <a:pt x="214" y="183"/>
                      <a:pt x="215" y="183"/>
                    </a:cubicBezTo>
                    <a:cubicBezTo>
                      <a:pt x="214" y="184"/>
                      <a:pt x="215" y="183"/>
                      <a:pt x="215" y="183"/>
                    </a:cubicBezTo>
                    <a:close/>
                    <a:moveTo>
                      <a:pt x="10" y="8"/>
                    </a:moveTo>
                    <a:cubicBezTo>
                      <a:pt x="10" y="8"/>
                      <a:pt x="11" y="5"/>
                      <a:pt x="10" y="6"/>
                    </a:cubicBezTo>
                    <a:cubicBezTo>
                      <a:pt x="10" y="6"/>
                      <a:pt x="10" y="6"/>
                      <a:pt x="9" y="6"/>
                    </a:cubicBezTo>
                    <a:cubicBezTo>
                      <a:pt x="9" y="7"/>
                      <a:pt x="8" y="7"/>
                      <a:pt x="8" y="8"/>
                    </a:cubicBezTo>
                    <a:cubicBezTo>
                      <a:pt x="8" y="10"/>
                      <a:pt x="10" y="8"/>
                      <a:pt x="10" y="7"/>
                    </a:cubicBezTo>
                    <a:cubicBezTo>
                      <a:pt x="10" y="8"/>
                      <a:pt x="10" y="8"/>
                      <a:pt x="10" y="8"/>
                    </a:cubicBezTo>
                    <a:cubicBezTo>
                      <a:pt x="10" y="7"/>
                      <a:pt x="10" y="8"/>
                      <a:pt x="10" y="8"/>
                    </a:cubicBezTo>
                    <a:close/>
                    <a:moveTo>
                      <a:pt x="5" y="26"/>
                    </a:moveTo>
                    <a:cubicBezTo>
                      <a:pt x="6" y="25"/>
                      <a:pt x="7" y="23"/>
                      <a:pt x="7" y="22"/>
                    </a:cubicBezTo>
                    <a:cubicBezTo>
                      <a:pt x="8" y="20"/>
                      <a:pt x="10" y="20"/>
                      <a:pt x="10" y="17"/>
                    </a:cubicBezTo>
                    <a:cubicBezTo>
                      <a:pt x="9" y="16"/>
                      <a:pt x="9" y="15"/>
                      <a:pt x="8" y="14"/>
                    </a:cubicBezTo>
                    <a:cubicBezTo>
                      <a:pt x="8" y="13"/>
                      <a:pt x="8" y="12"/>
                      <a:pt x="8" y="11"/>
                    </a:cubicBezTo>
                    <a:cubicBezTo>
                      <a:pt x="7" y="10"/>
                      <a:pt x="5" y="11"/>
                      <a:pt x="5" y="12"/>
                    </a:cubicBezTo>
                    <a:cubicBezTo>
                      <a:pt x="5" y="14"/>
                      <a:pt x="4" y="15"/>
                      <a:pt x="3" y="16"/>
                    </a:cubicBezTo>
                    <a:cubicBezTo>
                      <a:pt x="1" y="18"/>
                      <a:pt x="2" y="20"/>
                      <a:pt x="1" y="21"/>
                    </a:cubicBezTo>
                    <a:cubicBezTo>
                      <a:pt x="0" y="22"/>
                      <a:pt x="0" y="24"/>
                      <a:pt x="1" y="25"/>
                    </a:cubicBezTo>
                    <a:cubicBezTo>
                      <a:pt x="2" y="27"/>
                      <a:pt x="4" y="27"/>
                      <a:pt x="5" y="26"/>
                    </a:cubicBezTo>
                    <a:cubicBezTo>
                      <a:pt x="5" y="26"/>
                      <a:pt x="5" y="26"/>
                      <a:pt x="5" y="26"/>
                    </a:cubicBezTo>
                    <a:cubicBezTo>
                      <a:pt x="6" y="25"/>
                      <a:pt x="5" y="26"/>
                      <a:pt x="5" y="26"/>
                    </a:cubicBezTo>
                    <a:close/>
                    <a:moveTo>
                      <a:pt x="17" y="2"/>
                    </a:moveTo>
                    <a:cubicBezTo>
                      <a:pt x="16" y="3"/>
                      <a:pt x="15" y="3"/>
                      <a:pt x="14" y="3"/>
                    </a:cubicBezTo>
                    <a:cubicBezTo>
                      <a:pt x="14" y="4"/>
                      <a:pt x="14" y="5"/>
                      <a:pt x="14" y="6"/>
                    </a:cubicBezTo>
                    <a:cubicBezTo>
                      <a:pt x="14" y="7"/>
                      <a:pt x="15" y="9"/>
                      <a:pt x="16" y="9"/>
                    </a:cubicBezTo>
                    <a:cubicBezTo>
                      <a:pt x="16" y="9"/>
                      <a:pt x="17" y="8"/>
                      <a:pt x="17" y="7"/>
                    </a:cubicBezTo>
                    <a:cubicBezTo>
                      <a:pt x="17" y="7"/>
                      <a:pt x="18" y="6"/>
                      <a:pt x="18" y="6"/>
                    </a:cubicBezTo>
                    <a:cubicBezTo>
                      <a:pt x="18" y="5"/>
                      <a:pt x="19" y="5"/>
                      <a:pt x="19" y="5"/>
                    </a:cubicBezTo>
                    <a:cubicBezTo>
                      <a:pt x="19" y="5"/>
                      <a:pt x="19" y="3"/>
                      <a:pt x="19" y="3"/>
                    </a:cubicBezTo>
                    <a:cubicBezTo>
                      <a:pt x="19" y="0"/>
                      <a:pt x="17" y="2"/>
                      <a:pt x="16" y="3"/>
                    </a:cubicBezTo>
                    <a:cubicBezTo>
                      <a:pt x="17" y="2"/>
                      <a:pt x="17" y="2"/>
                      <a:pt x="17" y="2"/>
                    </a:cubicBezTo>
                    <a:cubicBezTo>
                      <a:pt x="16" y="3"/>
                      <a:pt x="17" y="2"/>
                      <a:pt x="17" y="2"/>
                    </a:cubicBezTo>
                    <a:close/>
                    <a:moveTo>
                      <a:pt x="16" y="56"/>
                    </a:moveTo>
                    <a:cubicBezTo>
                      <a:pt x="15" y="54"/>
                      <a:pt x="13" y="52"/>
                      <a:pt x="12" y="51"/>
                    </a:cubicBezTo>
                    <a:cubicBezTo>
                      <a:pt x="10" y="48"/>
                      <a:pt x="9" y="46"/>
                      <a:pt x="8" y="44"/>
                    </a:cubicBezTo>
                    <a:cubicBezTo>
                      <a:pt x="7" y="43"/>
                      <a:pt x="8" y="42"/>
                      <a:pt x="8" y="41"/>
                    </a:cubicBezTo>
                    <a:cubicBezTo>
                      <a:pt x="9" y="40"/>
                      <a:pt x="9" y="40"/>
                      <a:pt x="8" y="39"/>
                    </a:cubicBezTo>
                    <a:cubicBezTo>
                      <a:pt x="8" y="38"/>
                      <a:pt x="8" y="37"/>
                      <a:pt x="8" y="37"/>
                    </a:cubicBezTo>
                    <a:cubicBezTo>
                      <a:pt x="8" y="35"/>
                      <a:pt x="10" y="36"/>
                      <a:pt x="11" y="36"/>
                    </a:cubicBezTo>
                    <a:cubicBezTo>
                      <a:pt x="14" y="37"/>
                      <a:pt x="16" y="37"/>
                      <a:pt x="19" y="38"/>
                    </a:cubicBezTo>
                    <a:cubicBezTo>
                      <a:pt x="20" y="39"/>
                      <a:pt x="24" y="40"/>
                      <a:pt x="22" y="38"/>
                    </a:cubicBezTo>
                    <a:cubicBezTo>
                      <a:pt x="20" y="36"/>
                      <a:pt x="20" y="34"/>
                      <a:pt x="17" y="33"/>
                    </a:cubicBezTo>
                    <a:cubicBezTo>
                      <a:pt x="16" y="33"/>
                      <a:pt x="14" y="32"/>
                      <a:pt x="14" y="30"/>
                    </a:cubicBezTo>
                    <a:cubicBezTo>
                      <a:pt x="14" y="28"/>
                      <a:pt x="16" y="28"/>
                      <a:pt x="18" y="27"/>
                    </a:cubicBezTo>
                    <a:cubicBezTo>
                      <a:pt x="20" y="26"/>
                      <a:pt x="22" y="25"/>
                      <a:pt x="22" y="21"/>
                    </a:cubicBezTo>
                    <a:cubicBezTo>
                      <a:pt x="22" y="20"/>
                      <a:pt x="23" y="19"/>
                      <a:pt x="22" y="18"/>
                    </a:cubicBezTo>
                    <a:cubicBezTo>
                      <a:pt x="21" y="17"/>
                      <a:pt x="20" y="17"/>
                      <a:pt x="19" y="18"/>
                    </a:cubicBezTo>
                    <a:cubicBezTo>
                      <a:pt x="18" y="18"/>
                      <a:pt x="17" y="18"/>
                      <a:pt x="16" y="19"/>
                    </a:cubicBezTo>
                    <a:cubicBezTo>
                      <a:pt x="15" y="19"/>
                      <a:pt x="15" y="19"/>
                      <a:pt x="14" y="19"/>
                    </a:cubicBezTo>
                    <a:cubicBezTo>
                      <a:pt x="13" y="20"/>
                      <a:pt x="14" y="20"/>
                      <a:pt x="13" y="21"/>
                    </a:cubicBezTo>
                    <a:cubicBezTo>
                      <a:pt x="13" y="22"/>
                      <a:pt x="13" y="23"/>
                      <a:pt x="13" y="24"/>
                    </a:cubicBezTo>
                    <a:cubicBezTo>
                      <a:pt x="13" y="25"/>
                      <a:pt x="11" y="25"/>
                      <a:pt x="10" y="25"/>
                    </a:cubicBezTo>
                    <a:cubicBezTo>
                      <a:pt x="9" y="26"/>
                      <a:pt x="9" y="31"/>
                      <a:pt x="7" y="30"/>
                    </a:cubicBezTo>
                    <a:cubicBezTo>
                      <a:pt x="5" y="30"/>
                      <a:pt x="3" y="29"/>
                      <a:pt x="3" y="32"/>
                    </a:cubicBezTo>
                    <a:cubicBezTo>
                      <a:pt x="3" y="33"/>
                      <a:pt x="2" y="33"/>
                      <a:pt x="2" y="34"/>
                    </a:cubicBezTo>
                    <a:cubicBezTo>
                      <a:pt x="3" y="36"/>
                      <a:pt x="3" y="36"/>
                      <a:pt x="4" y="36"/>
                    </a:cubicBezTo>
                    <a:cubicBezTo>
                      <a:pt x="5" y="37"/>
                      <a:pt x="5" y="39"/>
                      <a:pt x="5" y="40"/>
                    </a:cubicBezTo>
                    <a:cubicBezTo>
                      <a:pt x="5" y="41"/>
                      <a:pt x="5" y="43"/>
                      <a:pt x="5" y="44"/>
                    </a:cubicBezTo>
                    <a:cubicBezTo>
                      <a:pt x="5" y="45"/>
                      <a:pt x="5" y="47"/>
                      <a:pt x="5" y="48"/>
                    </a:cubicBezTo>
                    <a:cubicBezTo>
                      <a:pt x="5" y="49"/>
                      <a:pt x="7" y="50"/>
                      <a:pt x="8" y="51"/>
                    </a:cubicBezTo>
                    <a:cubicBezTo>
                      <a:pt x="9" y="53"/>
                      <a:pt x="11" y="55"/>
                      <a:pt x="13" y="56"/>
                    </a:cubicBezTo>
                    <a:cubicBezTo>
                      <a:pt x="14" y="57"/>
                      <a:pt x="17" y="58"/>
                      <a:pt x="16" y="56"/>
                    </a:cubicBezTo>
                    <a:cubicBezTo>
                      <a:pt x="16" y="56"/>
                      <a:pt x="16" y="56"/>
                      <a:pt x="16" y="56"/>
                    </a:cubicBezTo>
                    <a:cubicBezTo>
                      <a:pt x="16" y="55"/>
                      <a:pt x="16" y="56"/>
                      <a:pt x="16" y="56"/>
                    </a:cubicBezTo>
                    <a:close/>
                    <a:moveTo>
                      <a:pt x="133" y="70"/>
                    </a:moveTo>
                    <a:cubicBezTo>
                      <a:pt x="134" y="70"/>
                      <a:pt x="135" y="69"/>
                      <a:pt x="135" y="69"/>
                    </a:cubicBezTo>
                    <a:cubicBezTo>
                      <a:pt x="134" y="68"/>
                      <a:pt x="133" y="68"/>
                      <a:pt x="132" y="68"/>
                    </a:cubicBezTo>
                    <a:cubicBezTo>
                      <a:pt x="131" y="68"/>
                      <a:pt x="130" y="69"/>
                      <a:pt x="131" y="70"/>
                    </a:cubicBezTo>
                    <a:cubicBezTo>
                      <a:pt x="132" y="70"/>
                      <a:pt x="132" y="70"/>
                      <a:pt x="133" y="70"/>
                    </a:cubicBezTo>
                    <a:cubicBezTo>
                      <a:pt x="133" y="70"/>
                      <a:pt x="134" y="70"/>
                      <a:pt x="133" y="70"/>
                    </a:cubicBezTo>
                    <a:cubicBezTo>
                      <a:pt x="134" y="70"/>
                      <a:pt x="133" y="70"/>
                      <a:pt x="133" y="70"/>
                    </a:cubicBezTo>
                    <a:close/>
                    <a:moveTo>
                      <a:pt x="127" y="59"/>
                    </a:moveTo>
                    <a:cubicBezTo>
                      <a:pt x="125" y="61"/>
                      <a:pt x="127" y="64"/>
                      <a:pt x="129" y="63"/>
                    </a:cubicBezTo>
                    <a:cubicBezTo>
                      <a:pt x="130" y="63"/>
                      <a:pt x="128" y="58"/>
                      <a:pt x="126" y="60"/>
                    </a:cubicBezTo>
                    <a:cubicBezTo>
                      <a:pt x="126" y="60"/>
                      <a:pt x="126" y="59"/>
                      <a:pt x="127" y="59"/>
                    </a:cubicBezTo>
                    <a:cubicBezTo>
                      <a:pt x="126" y="60"/>
                      <a:pt x="127" y="59"/>
                      <a:pt x="127" y="59"/>
                    </a:cubicBezTo>
                    <a:close/>
                    <a:moveTo>
                      <a:pt x="145" y="72"/>
                    </a:moveTo>
                    <a:cubicBezTo>
                      <a:pt x="144" y="72"/>
                      <a:pt x="143" y="71"/>
                      <a:pt x="142" y="71"/>
                    </a:cubicBezTo>
                    <a:cubicBezTo>
                      <a:pt x="140" y="71"/>
                      <a:pt x="140" y="72"/>
                      <a:pt x="141" y="73"/>
                    </a:cubicBezTo>
                    <a:cubicBezTo>
                      <a:pt x="143" y="73"/>
                      <a:pt x="144" y="73"/>
                      <a:pt x="146" y="74"/>
                    </a:cubicBezTo>
                    <a:cubicBezTo>
                      <a:pt x="148" y="74"/>
                      <a:pt x="148" y="77"/>
                      <a:pt x="151" y="76"/>
                    </a:cubicBezTo>
                    <a:cubicBezTo>
                      <a:pt x="152" y="76"/>
                      <a:pt x="152" y="75"/>
                      <a:pt x="154" y="75"/>
                    </a:cubicBezTo>
                    <a:cubicBezTo>
                      <a:pt x="155" y="75"/>
                      <a:pt x="156" y="75"/>
                      <a:pt x="157" y="75"/>
                    </a:cubicBezTo>
                    <a:cubicBezTo>
                      <a:pt x="158" y="75"/>
                      <a:pt x="162" y="74"/>
                      <a:pt x="159" y="73"/>
                    </a:cubicBezTo>
                    <a:cubicBezTo>
                      <a:pt x="156" y="73"/>
                      <a:pt x="154" y="73"/>
                      <a:pt x="151" y="73"/>
                    </a:cubicBezTo>
                    <a:cubicBezTo>
                      <a:pt x="149" y="72"/>
                      <a:pt x="147" y="72"/>
                      <a:pt x="144" y="72"/>
                    </a:cubicBezTo>
                    <a:cubicBezTo>
                      <a:pt x="145" y="72"/>
                      <a:pt x="145" y="72"/>
                      <a:pt x="145" y="72"/>
                    </a:cubicBezTo>
                    <a:cubicBezTo>
                      <a:pt x="144" y="72"/>
                      <a:pt x="145" y="72"/>
                      <a:pt x="145" y="72"/>
                    </a:cubicBezTo>
                    <a:close/>
                    <a:moveTo>
                      <a:pt x="150" y="61"/>
                    </a:moveTo>
                    <a:cubicBezTo>
                      <a:pt x="148" y="61"/>
                      <a:pt x="146" y="60"/>
                      <a:pt x="146" y="58"/>
                    </a:cubicBezTo>
                    <a:cubicBezTo>
                      <a:pt x="146" y="57"/>
                      <a:pt x="143" y="57"/>
                      <a:pt x="142" y="56"/>
                    </a:cubicBezTo>
                    <a:cubicBezTo>
                      <a:pt x="142" y="56"/>
                      <a:pt x="139" y="54"/>
                      <a:pt x="138" y="55"/>
                    </a:cubicBezTo>
                    <a:cubicBezTo>
                      <a:pt x="138" y="56"/>
                      <a:pt x="141" y="57"/>
                      <a:pt x="141" y="57"/>
                    </a:cubicBezTo>
                    <a:cubicBezTo>
                      <a:pt x="142" y="58"/>
                      <a:pt x="143" y="58"/>
                      <a:pt x="143" y="60"/>
                    </a:cubicBezTo>
                    <a:cubicBezTo>
                      <a:pt x="143" y="62"/>
                      <a:pt x="143" y="64"/>
                      <a:pt x="145" y="64"/>
                    </a:cubicBezTo>
                    <a:cubicBezTo>
                      <a:pt x="146" y="65"/>
                      <a:pt x="147" y="65"/>
                      <a:pt x="148" y="64"/>
                    </a:cubicBezTo>
                    <a:cubicBezTo>
                      <a:pt x="149" y="64"/>
                      <a:pt x="150" y="63"/>
                      <a:pt x="151" y="63"/>
                    </a:cubicBezTo>
                    <a:cubicBezTo>
                      <a:pt x="152" y="63"/>
                      <a:pt x="152" y="63"/>
                      <a:pt x="151" y="62"/>
                    </a:cubicBezTo>
                    <a:cubicBezTo>
                      <a:pt x="151" y="61"/>
                      <a:pt x="150" y="61"/>
                      <a:pt x="149" y="61"/>
                    </a:cubicBezTo>
                    <a:cubicBezTo>
                      <a:pt x="149" y="61"/>
                      <a:pt x="150" y="61"/>
                      <a:pt x="150" y="61"/>
                    </a:cubicBezTo>
                    <a:cubicBezTo>
                      <a:pt x="148" y="61"/>
                      <a:pt x="150" y="61"/>
                      <a:pt x="150" y="61"/>
                    </a:cubicBezTo>
                    <a:close/>
                    <a:moveTo>
                      <a:pt x="35" y="44"/>
                    </a:moveTo>
                    <a:cubicBezTo>
                      <a:pt x="35" y="44"/>
                      <a:pt x="33" y="42"/>
                      <a:pt x="32" y="42"/>
                    </a:cubicBezTo>
                    <a:cubicBezTo>
                      <a:pt x="32" y="43"/>
                      <a:pt x="33" y="44"/>
                      <a:pt x="33" y="44"/>
                    </a:cubicBezTo>
                    <a:cubicBezTo>
                      <a:pt x="34" y="45"/>
                      <a:pt x="33" y="46"/>
                      <a:pt x="34" y="46"/>
                    </a:cubicBezTo>
                    <a:cubicBezTo>
                      <a:pt x="35" y="46"/>
                      <a:pt x="35" y="46"/>
                      <a:pt x="35" y="46"/>
                    </a:cubicBezTo>
                    <a:cubicBezTo>
                      <a:pt x="36" y="47"/>
                      <a:pt x="35" y="44"/>
                      <a:pt x="35" y="44"/>
                    </a:cubicBezTo>
                    <a:cubicBezTo>
                      <a:pt x="35" y="44"/>
                      <a:pt x="35" y="44"/>
                      <a:pt x="35" y="44"/>
                    </a:cubicBezTo>
                    <a:cubicBezTo>
                      <a:pt x="34" y="44"/>
                      <a:pt x="35" y="44"/>
                      <a:pt x="35" y="44"/>
                    </a:cubicBezTo>
                    <a:close/>
                    <a:moveTo>
                      <a:pt x="44" y="77"/>
                    </a:moveTo>
                    <a:cubicBezTo>
                      <a:pt x="45" y="78"/>
                      <a:pt x="46" y="79"/>
                      <a:pt x="47" y="78"/>
                    </a:cubicBezTo>
                    <a:cubicBezTo>
                      <a:pt x="47" y="78"/>
                      <a:pt x="47" y="78"/>
                      <a:pt x="48" y="78"/>
                    </a:cubicBezTo>
                    <a:cubicBezTo>
                      <a:pt x="48" y="77"/>
                      <a:pt x="49" y="77"/>
                      <a:pt x="49" y="77"/>
                    </a:cubicBezTo>
                    <a:cubicBezTo>
                      <a:pt x="51" y="77"/>
                      <a:pt x="51" y="74"/>
                      <a:pt x="49" y="73"/>
                    </a:cubicBezTo>
                    <a:cubicBezTo>
                      <a:pt x="48" y="72"/>
                      <a:pt x="47" y="72"/>
                      <a:pt x="46" y="73"/>
                    </a:cubicBezTo>
                    <a:cubicBezTo>
                      <a:pt x="45" y="74"/>
                      <a:pt x="44" y="74"/>
                      <a:pt x="43" y="74"/>
                    </a:cubicBezTo>
                    <a:cubicBezTo>
                      <a:pt x="42" y="74"/>
                      <a:pt x="41" y="75"/>
                      <a:pt x="41" y="76"/>
                    </a:cubicBezTo>
                    <a:cubicBezTo>
                      <a:pt x="42" y="77"/>
                      <a:pt x="44" y="77"/>
                      <a:pt x="45" y="78"/>
                    </a:cubicBezTo>
                    <a:cubicBezTo>
                      <a:pt x="44" y="78"/>
                      <a:pt x="44" y="77"/>
                      <a:pt x="44" y="77"/>
                    </a:cubicBezTo>
                    <a:cubicBezTo>
                      <a:pt x="45" y="78"/>
                      <a:pt x="44" y="77"/>
                      <a:pt x="44" y="77"/>
                    </a:cubicBezTo>
                    <a:close/>
                    <a:moveTo>
                      <a:pt x="41" y="63"/>
                    </a:moveTo>
                    <a:cubicBezTo>
                      <a:pt x="40" y="63"/>
                      <a:pt x="38" y="65"/>
                      <a:pt x="40" y="65"/>
                    </a:cubicBezTo>
                    <a:cubicBezTo>
                      <a:pt x="42" y="65"/>
                      <a:pt x="42" y="62"/>
                      <a:pt x="40" y="63"/>
                    </a:cubicBezTo>
                    <a:cubicBezTo>
                      <a:pt x="40" y="63"/>
                      <a:pt x="40" y="63"/>
                      <a:pt x="41" y="63"/>
                    </a:cubicBezTo>
                    <a:cubicBezTo>
                      <a:pt x="39" y="64"/>
                      <a:pt x="41" y="63"/>
                      <a:pt x="41" y="63"/>
                    </a:cubicBezTo>
                    <a:close/>
                    <a:moveTo>
                      <a:pt x="61" y="61"/>
                    </a:moveTo>
                    <a:cubicBezTo>
                      <a:pt x="61" y="59"/>
                      <a:pt x="60" y="59"/>
                      <a:pt x="59" y="59"/>
                    </a:cubicBezTo>
                    <a:cubicBezTo>
                      <a:pt x="57" y="60"/>
                      <a:pt x="55" y="60"/>
                      <a:pt x="56" y="62"/>
                    </a:cubicBezTo>
                    <a:cubicBezTo>
                      <a:pt x="56" y="63"/>
                      <a:pt x="58" y="67"/>
                      <a:pt x="59" y="64"/>
                    </a:cubicBezTo>
                    <a:cubicBezTo>
                      <a:pt x="60" y="63"/>
                      <a:pt x="62" y="63"/>
                      <a:pt x="61" y="60"/>
                    </a:cubicBezTo>
                    <a:cubicBezTo>
                      <a:pt x="61" y="61"/>
                      <a:pt x="61" y="61"/>
                      <a:pt x="61" y="61"/>
                    </a:cubicBezTo>
                    <a:cubicBezTo>
                      <a:pt x="61" y="58"/>
                      <a:pt x="61" y="61"/>
                      <a:pt x="61" y="61"/>
                    </a:cubicBezTo>
                    <a:close/>
                    <a:moveTo>
                      <a:pt x="56" y="48"/>
                    </a:moveTo>
                    <a:cubicBezTo>
                      <a:pt x="55" y="47"/>
                      <a:pt x="54" y="46"/>
                      <a:pt x="53" y="45"/>
                    </a:cubicBezTo>
                    <a:cubicBezTo>
                      <a:pt x="51" y="45"/>
                      <a:pt x="50" y="47"/>
                      <a:pt x="51" y="47"/>
                    </a:cubicBezTo>
                    <a:cubicBezTo>
                      <a:pt x="52" y="47"/>
                      <a:pt x="52" y="47"/>
                      <a:pt x="53" y="48"/>
                    </a:cubicBezTo>
                    <a:cubicBezTo>
                      <a:pt x="53" y="48"/>
                      <a:pt x="53" y="48"/>
                      <a:pt x="54" y="49"/>
                    </a:cubicBezTo>
                    <a:cubicBezTo>
                      <a:pt x="56" y="49"/>
                      <a:pt x="56" y="48"/>
                      <a:pt x="55" y="47"/>
                    </a:cubicBezTo>
                    <a:cubicBezTo>
                      <a:pt x="55" y="47"/>
                      <a:pt x="55" y="48"/>
                      <a:pt x="56" y="48"/>
                    </a:cubicBezTo>
                    <a:cubicBezTo>
                      <a:pt x="55" y="46"/>
                      <a:pt x="56" y="48"/>
                      <a:pt x="56" y="48"/>
                    </a:cubicBezTo>
                    <a:close/>
                    <a:moveTo>
                      <a:pt x="66" y="49"/>
                    </a:moveTo>
                    <a:cubicBezTo>
                      <a:pt x="66" y="46"/>
                      <a:pt x="63" y="47"/>
                      <a:pt x="61" y="45"/>
                    </a:cubicBezTo>
                    <a:cubicBezTo>
                      <a:pt x="61" y="44"/>
                      <a:pt x="60" y="44"/>
                      <a:pt x="58" y="44"/>
                    </a:cubicBezTo>
                    <a:cubicBezTo>
                      <a:pt x="57" y="44"/>
                      <a:pt x="56" y="45"/>
                      <a:pt x="58" y="46"/>
                    </a:cubicBezTo>
                    <a:cubicBezTo>
                      <a:pt x="59" y="47"/>
                      <a:pt x="59" y="47"/>
                      <a:pt x="60" y="48"/>
                    </a:cubicBezTo>
                    <a:cubicBezTo>
                      <a:pt x="61" y="49"/>
                      <a:pt x="62" y="50"/>
                      <a:pt x="63" y="50"/>
                    </a:cubicBezTo>
                    <a:cubicBezTo>
                      <a:pt x="64" y="50"/>
                      <a:pt x="67" y="50"/>
                      <a:pt x="66" y="48"/>
                    </a:cubicBezTo>
                    <a:cubicBezTo>
                      <a:pt x="66" y="49"/>
                      <a:pt x="66" y="49"/>
                      <a:pt x="66" y="49"/>
                    </a:cubicBezTo>
                    <a:cubicBezTo>
                      <a:pt x="66" y="48"/>
                      <a:pt x="66" y="49"/>
                      <a:pt x="66" y="49"/>
                    </a:cubicBezTo>
                    <a:close/>
                    <a:moveTo>
                      <a:pt x="52" y="57"/>
                    </a:moveTo>
                    <a:cubicBezTo>
                      <a:pt x="52" y="57"/>
                      <a:pt x="51" y="58"/>
                      <a:pt x="51" y="58"/>
                    </a:cubicBezTo>
                    <a:cubicBezTo>
                      <a:pt x="52" y="59"/>
                      <a:pt x="54" y="58"/>
                      <a:pt x="54" y="58"/>
                    </a:cubicBezTo>
                    <a:cubicBezTo>
                      <a:pt x="55" y="57"/>
                      <a:pt x="55" y="57"/>
                      <a:pt x="54" y="57"/>
                    </a:cubicBezTo>
                    <a:cubicBezTo>
                      <a:pt x="53" y="56"/>
                      <a:pt x="52" y="56"/>
                      <a:pt x="52" y="57"/>
                    </a:cubicBezTo>
                    <a:cubicBezTo>
                      <a:pt x="52" y="57"/>
                      <a:pt x="52" y="57"/>
                      <a:pt x="52" y="57"/>
                    </a:cubicBezTo>
                    <a:cubicBezTo>
                      <a:pt x="52" y="57"/>
                      <a:pt x="52" y="57"/>
                      <a:pt x="52" y="57"/>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nvGrpSpPr>
              <p:cNvPr id="125" name="Group 124">
                <a:extLst>
                  <a:ext uri="{FF2B5EF4-FFF2-40B4-BE49-F238E27FC236}">
                    <a16:creationId xmlns:a16="http://schemas.microsoft.com/office/drawing/2014/main" id="{98A4FC5F-415B-BCFF-C997-C94997F66AE0}"/>
                  </a:ext>
                </a:extLst>
              </p:cNvPr>
              <p:cNvGrpSpPr/>
              <p:nvPr>
                <p:custDataLst>
                  <p:tags r:id="rId289"/>
                </p:custDataLst>
              </p:nvPr>
            </p:nvGrpSpPr>
            <p:grpSpPr>
              <a:xfrm>
                <a:off x="8716963" y="4391026"/>
                <a:ext cx="1046164" cy="538162"/>
                <a:chOff x="8716963" y="4391026"/>
                <a:chExt cx="1046164" cy="538162"/>
              </a:xfrm>
            </p:grpSpPr>
            <p:sp>
              <p:nvSpPr>
                <p:cNvPr id="126" name="Freeform 173">
                  <a:extLst>
                    <a:ext uri="{FF2B5EF4-FFF2-40B4-BE49-F238E27FC236}">
                      <a16:creationId xmlns:a16="http://schemas.microsoft.com/office/drawing/2014/main" id="{414B9B2C-8C46-8794-7632-AD778C15EF7E}"/>
                    </a:ext>
                  </a:extLst>
                </p:cNvPr>
                <p:cNvSpPr>
                  <a:spLocks noEditPoints="1"/>
                </p:cNvSpPr>
                <p:nvPr>
                  <p:custDataLst>
                    <p:tags r:id="rId290"/>
                  </p:custDataLst>
                </p:nvPr>
              </p:nvSpPr>
              <p:spPr bwMode="auto">
                <a:xfrm>
                  <a:off x="9466264" y="4524376"/>
                  <a:ext cx="296863" cy="238125"/>
                </a:xfrm>
                <a:custGeom>
                  <a:avLst/>
                  <a:gdLst>
                    <a:gd name="T0" fmla="*/ 66 w 160"/>
                    <a:gd name="T1" fmla="*/ 97 h 128"/>
                    <a:gd name="T2" fmla="*/ 60 w 160"/>
                    <a:gd name="T3" fmla="*/ 81 h 128"/>
                    <a:gd name="T4" fmla="*/ 56 w 160"/>
                    <a:gd name="T5" fmla="*/ 58 h 128"/>
                    <a:gd name="T6" fmla="*/ 79 w 160"/>
                    <a:gd name="T7" fmla="*/ 49 h 128"/>
                    <a:gd name="T8" fmla="*/ 73 w 160"/>
                    <a:gd name="T9" fmla="*/ 43 h 128"/>
                    <a:gd name="T10" fmla="*/ 36 w 160"/>
                    <a:gd name="T11" fmla="*/ 54 h 128"/>
                    <a:gd name="T12" fmla="*/ 26 w 160"/>
                    <a:gd name="T13" fmla="*/ 27 h 128"/>
                    <a:gd name="T14" fmla="*/ 80 w 160"/>
                    <a:gd name="T15" fmla="*/ 25 h 128"/>
                    <a:gd name="T16" fmla="*/ 105 w 160"/>
                    <a:gd name="T17" fmla="*/ 14 h 128"/>
                    <a:gd name="T18" fmla="*/ 103 w 160"/>
                    <a:gd name="T19" fmla="*/ 6 h 128"/>
                    <a:gd name="T20" fmla="*/ 90 w 160"/>
                    <a:gd name="T21" fmla="*/ 16 h 128"/>
                    <a:gd name="T22" fmla="*/ 58 w 160"/>
                    <a:gd name="T23" fmla="*/ 13 h 128"/>
                    <a:gd name="T24" fmla="*/ 39 w 160"/>
                    <a:gd name="T25" fmla="*/ 9 h 128"/>
                    <a:gd name="T26" fmla="*/ 22 w 160"/>
                    <a:gd name="T27" fmla="*/ 20 h 128"/>
                    <a:gd name="T28" fmla="*/ 19 w 160"/>
                    <a:gd name="T29" fmla="*/ 39 h 128"/>
                    <a:gd name="T30" fmla="*/ 10 w 160"/>
                    <a:gd name="T31" fmla="*/ 53 h 128"/>
                    <a:gd name="T32" fmla="*/ 1 w 160"/>
                    <a:gd name="T33" fmla="*/ 73 h 128"/>
                    <a:gd name="T34" fmla="*/ 13 w 160"/>
                    <a:gd name="T35" fmla="*/ 91 h 128"/>
                    <a:gd name="T36" fmla="*/ 12 w 160"/>
                    <a:gd name="T37" fmla="*/ 113 h 128"/>
                    <a:gd name="T38" fmla="*/ 26 w 160"/>
                    <a:gd name="T39" fmla="*/ 124 h 128"/>
                    <a:gd name="T40" fmla="*/ 30 w 160"/>
                    <a:gd name="T41" fmla="*/ 110 h 128"/>
                    <a:gd name="T42" fmla="*/ 27 w 160"/>
                    <a:gd name="T43" fmla="*/ 83 h 128"/>
                    <a:gd name="T44" fmla="*/ 40 w 160"/>
                    <a:gd name="T45" fmla="*/ 84 h 128"/>
                    <a:gd name="T46" fmla="*/ 49 w 160"/>
                    <a:gd name="T47" fmla="*/ 101 h 128"/>
                    <a:gd name="T48" fmla="*/ 59 w 160"/>
                    <a:gd name="T49" fmla="*/ 110 h 128"/>
                    <a:gd name="T50" fmla="*/ 145 w 160"/>
                    <a:gd name="T51" fmla="*/ 44 h 128"/>
                    <a:gd name="T52" fmla="*/ 147 w 160"/>
                    <a:gd name="T53" fmla="*/ 27 h 128"/>
                    <a:gd name="T54" fmla="*/ 147 w 160"/>
                    <a:gd name="T55" fmla="*/ 27 h 128"/>
                    <a:gd name="T56" fmla="*/ 146 w 160"/>
                    <a:gd name="T57" fmla="*/ 18 h 128"/>
                    <a:gd name="T58" fmla="*/ 123 w 160"/>
                    <a:gd name="T59" fmla="*/ 69 h 128"/>
                    <a:gd name="T60" fmla="*/ 123 w 160"/>
                    <a:gd name="T61" fmla="*/ 69 h 128"/>
                    <a:gd name="T62" fmla="*/ 127 w 160"/>
                    <a:gd name="T63" fmla="*/ 84 h 128"/>
                    <a:gd name="T64" fmla="*/ 140 w 160"/>
                    <a:gd name="T65" fmla="*/ 93 h 128"/>
                    <a:gd name="T66" fmla="*/ 114 w 160"/>
                    <a:gd name="T67" fmla="*/ 62 h 128"/>
                    <a:gd name="T68" fmla="*/ 111 w 160"/>
                    <a:gd name="T69" fmla="*/ 62 h 128"/>
                    <a:gd name="T70" fmla="*/ 98 w 160"/>
                    <a:gd name="T71" fmla="*/ 64 h 128"/>
                    <a:gd name="T72" fmla="*/ 153 w 160"/>
                    <a:gd name="T73" fmla="*/ 43 h 128"/>
                    <a:gd name="T74" fmla="*/ 150 w 160"/>
                    <a:gd name="T75" fmla="*/ 43 h 128"/>
                    <a:gd name="T76" fmla="*/ 149 w 160"/>
                    <a:gd name="T77" fmla="*/ 51 h 128"/>
                    <a:gd name="T78" fmla="*/ 79 w 160"/>
                    <a:gd name="T79" fmla="*/ 53 h 128"/>
                    <a:gd name="T80" fmla="*/ 79 w 160"/>
                    <a:gd name="T81" fmla="*/ 54 h 128"/>
                    <a:gd name="T82" fmla="*/ 149 w 160"/>
                    <a:gd name="T83" fmla="*/ 56 h 128"/>
                    <a:gd name="T84" fmla="*/ 155 w 160"/>
                    <a:gd name="T85" fmla="*/ 88 h 128"/>
                    <a:gd name="T86" fmla="*/ 156 w 160"/>
                    <a:gd name="T87" fmla="*/ 84 h 128"/>
                    <a:gd name="T88" fmla="*/ 82 w 160"/>
                    <a:gd name="T89" fmla="*/ 59 h 128"/>
                    <a:gd name="T90" fmla="*/ 88 w 160"/>
                    <a:gd name="T91" fmla="*/ 64 h 128"/>
                    <a:gd name="T92" fmla="*/ 52 w 160"/>
                    <a:gd name="T93" fmla="*/ 40 h 128"/>
                    <a:gd name="T94" fmla="*/ 63 w 160"/>
                    <a:gd name="T95" fmla="*/ 36 h 128"/>
                    <a:gd name="T96" fmla="*/ 72 w 160"/>
                    <a:gd name="T97" fmla="*/ 56 h 128"/>
                    <a:gd name="T98" fmla="*/ 70 w 160"/>
                    <a:gd name="T99" fmla="*/ 57 h 128"/>
                    <a:gd name="T100" fmla="*/ 74 w 160"/>
                    <a:gd name="T101" fmla="*/ 61 h 128"/>
                    <a:gd name="T102" fmla="*/ 54 w 160"/>
                    <a:gd name="T103" fmla="*/ 118 h 128"/>
                    <a:gd name="T104" fmla="*/ 68 w 160"/>
                    <a:gd name="T105" fmla="*/ 111 h 128"/>
                    <a:gd name="T106" fmla="*/ 62 w 160"/>
                    <a:gd name="T107" fmla="*/ 122 h 128"/>
                    <a:gd name="T108" fmla="*/ 71 w 160"/>
                    <a:gd name="T109" fmla="*/ 112 h 128"/>
                    <a:gd name="T110" fmla="*/ 76 w 160"/>
                    <a:gd name="T111" fmla="*/ 120 h 128"/>
                    <a:gd name="T112" fmla="*/ 77 w 160"/>
                    <a:gd name="T113" fmla="*/ 10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128">
                      <a:moveTo>
                        <a:pt x="66" y="105"/>
                      </a:moveTo>
                      <a:cubicBezTo>
                        <a:pt x="67" y="105"/>
                        <a:pt x="70" y="107"/>
                        <a:pt x="70" y="105"/>
                      </a:cubicBezTo>
                      <a:cubicBezTo>
                        <a:pt x="71" y="104"/>
                        <a:pt x="71" y="103"/>
                        <a:pt x="71" y="102"/>
                      </a:cubicBezTo>
                      <a:cubicBezTo>
                        <a:pt x="71" y="101"/>
                        <a:pt x="70" y="100"/>
                        <a:pt x="69" y="101"/>
                      </a:cubicBezTo>
                      <a:cubicBezTo>
                        <a:pt x="68" y="102"/>
                        <a:pt x="68" y="102"/>
                        <a:pt x="67" y="101"/>
                      </a:cubicBezTo>
                      <a:cubicBezTo>
                        <a:pt x="66" y="99"/>
                        <a:pt x="66" y="99"/>
                        <a:pt x="66" y="97"/>
                      </a:cubicBezTo>
                      <a:cubicBezTo>
                        <a:pt x="66" y="96"/>
                        <a:pt x="64" y="95"/>
                        <a:pt x="63" y="94"/>
                      </a:cubicBezTo>
                      <a:cubicBezTo>
                        <a:pt x="62" y="94"/>
                        <a:pt x="59" y="92"/>
                        <a:pt x="60" y="91"/>
                      </a:cubicBezTo>
                      <a:cubicBezTo>
                        <a:pt x="61" y="90"/>
                        <a:pt x="62" y="90"/>
                        <a:pt x="62" y="89"/>
                      </a:cubicBezTo>
                      <a:cubicBezTo>
                        <a:pt x="63" y="88"/>
                        <a:pt x="62" y="87"/>
                        <a:pt x="62" y="86"/>
                      </a:cubicBezTo>
                      <a:cubicBezTo>
                        <a:pt x="62" y="84"/>
                        <a:pt x="65" y="85"/>
                        <a:pt x="63" y="83"/>
                      </a:cubicBezTo>
                      <a:cubicBezTo>
                        <a:pt x="62" y="82"/>
                        <a:pt x="61" y="81"/>
                        <a:pt x="60" y="81"/>
                      </a:cubicBezTo>
                      <a:cubicBezTo>
                        <a:pt x="59" y="80"/>
                        <a:pt x="58" y="79"/>
                        <a:pt x="57" y="78"/>
                      </a:cubicBezTo>
                      <a:cubicBezTo>
                        <a:pt x="54" y="74"/>
                        <a:pt x="53" y="68"/>
                        <a:pt x="48" y="66"/>
                      </a:cubicBezTo>
                      <a:cubicBezTo>
                        <a:pt x="46" y="65"/>
                        <a:pt x="43" y="65"/>
                        <a:pt x="44" y="62"/>
                      </a:cubicBezTo>
                      <a:cubicBezTo>
                        <a:pt x="45" y="60"/>
                        <a:pt x="48" y="63"/>
                        <a:pt x="50" y="63"/>
                      </a:cubicBezTo>
                      <a:cubicBezTo>
                        <a:pt x="51" y="63"/>
                        <a:pt x="53" y="62"/>
                        <a:pt x="54" y="61"/>
                      </a:cubicBezTo>
                      <a:cubicBezTo>
                        <a:pt x="55" y="60"/>
                        <a:pt x="55" y="60"/>
                        <a:pt x="56" y="58"/>
                      </a:cubicBezTo>
                      <a:cubicBezTo>
                        <a:pt x="58" y="56"/>
                        <a:pt x="60" y="55"/>
                        <a:pt x="62" y="53"/>
                      </a:cubicBezTo>
                      <a:cubicBezTo>
                        <a:pt x="64" y="51"/>
                        <a:pt x="66" y="51"/>
                        <a:pt x="67" y="49"/>
                      </a:cubicBezTo>
                      <a:cubicBezTo>
                        <a:pt x="68" y="48"/>
                        <a:pt x="68" y="47"/>
                        <a:pt x="69" y="46"/>
                      </a:cubicBezTo>
                      <a:cubicBezTo>
                        <a:pt x="70" y="46"/>
                        <a:pt x="71" y="45"/>
                        <a:pt x="73" y="45"/>
                      </a:cubicBezTo>
                      <a:cubicBezTo>
                        <a:pt x="75" y="45"/>
                        <a:pt x="78" y="44"/>
                        <a:pt x="78" y="47"/>
                      </a:cubicBezTo>
                      <a:cubicBezTo>
                        <a:pt x="78" y="48"/>
                        <a:pt x="78" y="49"/>
                        <a:pt x="79" y="49"/>
                      </a:cubicBezTo>
                      <a:cubicBezTo>
                        <a:pt x="80" y="48"/>
                        <a:pt x="79" y="46"/>
                        <a:pt x="80" y="45"/>
                      </a:cubicBezTo>
                      <a:cubicBezTo>
                        <a:pt x="80" y="44"/>
                        <a:pt x="80" y="43"/>
                        <a:pt x="79" y="42"/>
                      </a:cubicBezTo>
                      <a:cubicBezTo>
                        <a:pt x="79" y="41"/>
                        <a:pt x="79" y="42"/>
                        <a:pt x="78" y="42"/>
                      </a:cubicBezTo>
                      <a:cubicBezTo>
                        <a:pt x="77" y="41"/>
                        <a:pt x="77" y="41"/>
                        <a:pt x="76" y="41"/>
                      </a:cubicBezTo>
                      <a:cubicBezTo>
                        <a:pt x="76" y="41"/>
                        <a:pt x="75" y="40"/>
                        <a:pt x="74" y="40"/>
                      </a:cubicBezTo>
                      <a:cubicBezTo>
                        <a:pt x="73" y="40"/>
                        <a:pt x="73" y="42"/>
                        <a:pt x="73" y="43"/>
                      </a:cubicBezTo>
                      <a:cubicBezTo>
                        <a:pt x="72" y="45"/>
                        <a:pt x="67" y="44"/>
                        <a:pt x="65" y="44"/>
                      </a:cubicBezTo>
                      <a:cubicBezTo>
                        <a:pt x="63" y="44"/>
                        <a:pt x="59" y="43"/>
                        <a:pt x="57" y="45"/>
                      </a:cubicBezTo>
                      <a:cubicBezTo>
                        <a:pt x="55" y="47"/>
                        <a:pt x="54" y="46"/>
                        <a:pt x="51" y="45"/>
                      </a:cubicBezTo>
                      <a:cubicBezTo>
                        <a:pt x="50" y="45"/>
                        <a:pt x="49" y="44"/>
                        <a:pt x="48" y="45"/>
                      </a:cubicBezTo>
                      <a:cubicBezTo>
                        <a:pt x="47" y="45"/>
                        <a:pt x="47" y="47"/>
                        <a:pt x="46" y="48"/>
                      </a:cubicBezTo>
                      <a:cubicBezTo>
                        <a:pt x="43" y="51"/>
                        <a:pt x="41" y="56"/>
                        <a:pt x="36" y="54"/>
                      </a:cubicBezTo>
                      <a:cubicBezTo>
                        <a:pt x="33" y="54"/>
                        <a:pt x="33" y="52"/>
                        <a:pt x="32" y="50"/>
                      </a:cubicBezTo>
                      <a:cubicBezTo>
                        <a:pt x="31" y="47"/>
                        <a:pt x="29" y="46"/>
                        <a:pt x="27" y="45"/>
                      </a:cubicBezTo>
                      <a:cubicBezTo>
                        <a:pt x="25" y="44"/>
                        <a:pt x="24" y="42"/>
                        <a:pt x="23" y="40"/>
                      </a:cubicBezTo>
                      <a:cubicBezTo>
                        <a:pt x="22" y="38"/>
                        <a:pt x="22" y="35"/>
                        <a:pt x="23" y="32"/>
                      </a:cubicBezTo>
                      <a:cubicBezTo>
                        <a:pt x="23" y="31"/>
                        <a:pt x="23" y="30"/>
                        <a:pt x="23" y="29"/>
                      </a:cubicBezTo>
                      <a:cubicBezTo>
                        <a:pt x="24" y="28"/>
                        <a:pt x="25" y="28"/>
                        <a:pt x="26" y="27"/>
                      </a:cubicBezTo>
                      <a:cubicBezTo>
                        <a:pt x="27" y="26"/>
                        <a:pt x="29" y="22"/>
                        <a:pt x="31" y="22"/>
                      </a:cubicBezTo>
                      <a:cubicBezTo>
                        <a:pt x="34" y="22"/>
                        <a:pt x="37" y="21"/>
                        <a:pt x="40" y="22"/>
                      </a:cubicBezTo>
                      <a:cubicBezTo>
                        <a:pt x="42" y="22"/>
                        <a:pt x="45" y="24"/>
                        <a:pt x="48" y="23"/>
                      </a:cubicBezTo>
                      <a:cubicBezTo>
                        <a:pt x="51" y="23"/>
                        <a:pt x="53" y="22"/>
                        <a:pt x="56" y="22"/>
                      </a:cubicBezTo>
                      <a:cubicBezTo>
                        <a:pt x="59" y="23"/>
                        <a:pt x="62" y="22"/>
                        <a:pt x="65" y="22"/>
                      </a:cubicBezTo>
                      <a:cubicBezTo>
                        <a:pt x="70" y="21"/>
                        <a:pt x="76" y="22"/>
                        <a:pt x="80" y="25"/>
                      </a:cubicBezTo>
                      <a:cubicBezTo>
                        <a:pt x="82" y="26"/>
                        <a:pt x="84" y="27"/>
                        <a:pt x="86" y="26"/>
                      </a:cubicBezTo>
                      <a:cubicBezTo>
                        <a:pt x="87" y="26"/>
                        <a:pt x="88" y="25"/>
                        <a:pt x="89" y="25"/>
                      </a:cubicBezTo>
                      <a:cubicBezTo>
                        <a:pt x="91" y="24"/>
                        <a:pt x="92" y="24"/>
                        <a:pt x="94" y="24"/>
                      </a:cubicBezTo>
                      <a:cubicBezTo>
                        <a:pt x="96" y="23"/>
                        <a:pt x="98" y="21"/>
                        <a:pt x="99" y="19"/>
                      </a:cubicBezTo>
                      <a:cubicBezTo>
                        <a:pt x="100" y="18"/>
                        <a:pt x="101" y="17"/>
                        <a:pt x="102" y="16"/>
                      </a:cubicBezTo>
                      <a:cubicBezTo>
                        <a:pt x="103" y="15"/>
                        <a:pt x="104" y="15"/>
                        <a:pt x="105" y="14"/>
                      </a:cubicBezTo>
                      <a:cubicBezTo>
                        <a:pt x="105" y="13"/>
                        <a:pt x="105" y="12"/>
                        <a:pt x="106" y="11"/>
                      </a:cubicBezTo>
                      <a:cubicBezTo>
                        <a:pt x="106" y="10"/>
                        <a:pt x="107" y="10"/>
                        <a:pt x="108" y="9"/>
                      </a:cubicBezTo>
                      <a:cubicBezTo>
                        <a:pt x="109" y="8"/>
                        <a:pt x="109" y="7"/>
                        <a:pt x="109" y="6"/>
                      </a:cubicBezTo>
                      <a:cubicBezTo>
                        <a:pt x="110" y="5"/>
                        <a:pt x="111" y="4"/>
                        <a:pt x="110" y="3"/>
                      </a:cubicBezTo>
                      <a:cubicBezTo>
                        <a:pt x="109" y="0"/>
                        <a:pt x="106" y="1"/>
                        <a:pt x="105" y="3"/>
                      </a:cubicBezTo>
                      <a:cubicBezTo>
                        <a:pt x="104" y="4"/>
                        <a:pt x="104" y="5"/>
                        <a:pt x="103" y="6"/>
                      </a:cubicBezTo>
                      <a:cubicBezTo>
                        <a:pt x="103" y="6"/>
                        <a:pt x="102" y="6"/>
                        <a:pt x="101" y="7"/>
                      </a:cubicBezTo>
                      <a:cubicBezTo>
                        <a:pt x="98" y="7"/>
                        <a:pt x="101" y="9"/>
                        <a:pt x="100" y="10"/>
                      </a:cubicBezTo>
                      <a:cubicBezTo>
                        <a:pt x="99" y="11"/>
                        <a:pt x="98" y="11"/>
                        <a:pt x="97" y="11"/>
                      </a:cubicBezTo>
                      <a:cubicBezTo>
                        <a:pt x="96" y="12"/>
                        <a:pt x="95" y="13"/>
                        <a:pt x="94" y="14"/>
                      </a:cubicBezTo>
                      <a:cubicBezTo>
                        <a:pt x="94" y="14"/>
                        <a:pt x="92" y="14"/>
                        <a:pt x="91" y="14"/>
                      </a:cubicBezTo>
                      <a:cubicBezTo>
                        <a:pt x="90" y="14"/>
                        <a:pt x="90" y="15"/>
                        <a:pt x="90" y="16"/>
                      </a:cubicBezTo>
                      <a:cubicBezTo>
                        <a:pt x="88" y="18"/>
                        <a:pt x="85" y="16"/>
                        <a:pt x="84" y="15"/>
                      </a:cubicBezTo>
                      <a:cubicBezTo>
                        <a:pt x="81" y="15"/>
                        <a:pt x="79" y="16"/>
                        <a:pt x="76" y="15"/>
                      </a:cubicBezTo>
                      <a:cubicBezTo>
                        <a:pt x="75" y="15"/>
                        <a:pt x="74" y="15"/>
                        <a:pt x="73" y="16"/>
                      </a:cubicBezTo>
                      <a:cubicBezTo>
                        <a:pt x="73" y="16"/>
                        <a:pt x="72" y="18"/>
                        <a:pt x="70" y="17"/>
                      </a:cubicBezTo>
                      <a:cubicBezTo>
                        <a:pt x="69" y="16"/>
                        <a:pt x="66" y="17"/>
                        <a:pt x="64" y="15"/>
                      </a:cubicBezTo>
                      <a:cubicBezTo>
                        <a:pt x="62" y="13"/>
                        <a:pt x="61" y="13"/>
                        <a:pt x="58" y="13"/>
                      </a:cubicBezTo>
                      <a:cubicBezTo>
                        <a:pt x="57" y="13"/>
                        <a:pt x="56" y="12"/>
                        <a:pt x="55" y="13"/>
                      </a:cubicBezTo>
                      <a:cubicBezTo>
                        <a:pt x="54" y="13"/>
                        <a:pt x="53" y="14"/>
                        <a:pt x="51" y="13"/>
                      </a:cubicBezTo>
                      <a:cubicBezTo>
                        <a:pt x="51" y="13"/>
                        <a:pt x="50" y="13"/>
                        <a:pt x="49" y="13"/>
                      </a:cubicBezTo>
                      <a:cubicBezTo>
                        <a:pt x="48" y="12"/>
                        <a:pt x="48" y="11"/>
                        <a:pt x="48" y="10"/>
                      </a:cubicBezTo>
                      <a:cubicBezTo>
                        <a:pt x="47" y="8"/>
                        <a:pt x="44" y="9"/>
                        <a:pt x="43" y="9"/>
                      </a:cubicBezTo>
                      <a:cubicBezTo>
                        <a:pt x="42" y="9"/>
                        <a:pt x="40" y="9"/>
                        <a:pt x="39" y="9"/>
                      </a:cubicBezTo>
                      <a:cubicBezTo>
                        <a:pt x="38" y="9"/>
                        <a:pt x="38" y="8"/>
                        <a:pt x="37" y="8"/>
                      </a:cubicBezTo>
                      <a:cubicBezTo>
                        <a:pt x="35" y="8"/>
                        <a:pt x="35" y="11"/>
                        <a:pt x="35" y="13"/>
                      </a:cubicBezTo>
                      <a:cubicBezTo>
                        <a:pt x="35" y="14"/>
                        <a:pt x="34" y="14"/>
                        <a:pt x="34" y="15"/>
                      </a:cubicBezTo>
                      <a:cubicBezTo>
                        <a:pt x="33" y="16"/>
                        <a:pt x="32" y="17"/>
                        <a:pt x="31" y="17"/>
                      </a:cubicBezTo>
                      <a:cubicBezTo>
                        <a:pt x="29" y="17"/>
                        <a:pt x="29" y="15"/>
                        <a:pt x="27" y="15"/>
                      </a:cubicBezTo>
                      <a:cubicBezTo>
                        <a:pt x="24" y="15"/>
                        <a:pt x="24" y="19"/>
                        <a:pt x="22" y="20"/>
                      </a:cubicBezTo>
                      <a:cubicBezTo>
                        <a:pt x="21" y="20"/>
                        <a:pt x="20" y="21"/>
                        <a:pt x="19" y="22"/>
                      </a:cubicBezTo>
                      <a:cubicBezTo>
                        <a:pt x="19" y="23"/>
                        <a:pt x="19" y="23"/>
                        <a:pt x="19" y="24"/>
                      </a:cubicBezTo>
                      <a:cubicBezTo>
                        <a:pt x="19" y="27"/>
                        <a:pt x="15" y="28"/>
                        <a:pt x="17" y="31"/>
                      </a:cubicBezTo>
                      <a:cubicBezTo>
                        <a:pt x="17" y="32"/>
                        <a:pt x="18" y="32"/>
                        <a:pt x="19" y="33"/>
                      </a:cubicBezTo>
                      <a:cubicBezTo>
                        <a:pt x="19" y="34"/>
                        <a:pt x="19" y="35"/>
                        <a:pt x="19" y="36"/>
                      </a:cubicBezTo>
                      <a:cubicBezTo>
                        <a:pt x="19" y="37"/>
                        <a:pt x="19" y="38"/>
                        <a:pt x="19" y="39"/>
                      </a:cubicBezTo>
                      <a:cubicBezTo>
                        <a:pt x="19" y="41"/>
                        <a:pt x="20" y="41"/>
                        <a:pt x="19" y="42"/>
                      </a:cubicBezTo>
                      <a:cubicBezTo>
                        <a:pt x="19" y="44"/>
                        <a:pt x="18" y="43"/>
                        <a:pt x="17" y="43"/>
                      </a:cubicBezTo>
                      <a:cubicBezTo>
                        <a:pt x="16" y="42"/>
                        <a:pt x="15" y="43"/>
                        <a:pt x="14" y="44"/>
                      </a:cubicBezTo>
                      <a:cubicBezTo>
                        <a:pt x="14" y="45"/>
                        <a:pt x="13" y="46"/>
                        <a:pt x="13" y="47"/>
                      </a:cubicBezTo>
                      <a:cubicBezTo>
                        <a:pt x="12" y="48"/>
                        <a:pt x="11" y="48"/>
                        <a:pt x="10" y="49"/>
                      </a:cubicBezTo>
                      <a:cubicBezTo>
                        <a:pt x="10" y="50"/>
                        <a:pt x="10" y="52"/>
                        <a:pt x="10" y="53"/>
                      </a:cubicBezTo>
                      <a:cubicBezTo>
                        <a:pt x="10" y="54"/>
                        <a:pt x="10" y="55"/>
                        <a:pt x="10" y="56"/>
                      </a:cubicBezTo>
                      <a:cubicBezTo>
                        <a:pt x="11" y="59"/>
                        <a:pt x="12" y="62"/>
                        <a:pt x="10" y="64"/>
                      </a:cubicBezTo>
                      <a:cubicBezTo>
                        <a:pt x="9" y="65"/>
                        <a:pt x="8" y="65"/>
                        <a:pt x="7" y="66"/>
                      </a:cubicBezTo>
                      <a:cubicBezTo>
                        <a:pt x="6" y="67"/>
                        <a:pt x="6" y="68"/>
                        <a:pt x="6" y="69"/>
                      </a:cubicBezTo>
                      <a:cubicBezTo>
                        <a:pt x="5" y="70"/>
                        <a:pt x="5" y="71"/>
                        <a:pt x="4" y="71"/>
                      </a:cubicBezTo>
                      <a:cubicBezTo>
                        <a:pt x="2" y="72"/>
                        <a:pt x="2" y="72"/>
                        <a:pt x="1" y="73"/>
                      </a:cubicBezTo>
                      <a:cubicBezTo>
                        <a:pt x="1" y="76"/>
                        <a:pt x="2" y="77"/>
                        <a:pt x="3" y="78"/>
                      </a:cubicBezTo>
                      <a:cubicBezTo>
                        <a:pt x="5" y="81"/>
                        <a:pt x="2" y="80"/>
                        <a:pt x="1" y="82"/>
                      </a:cubicBezTo>
                      <a:cubicBezTo>
                        <a:pt x="0" y="84"/>
                        <a:pt x="1" y="86"/>
                        <a:pt x="3" y="86"/>
                      </a:cubicBezTo>
                      <a:cubicBezTo>
                        <a:pt x="4" y="87"/>
                        <a:pt x="4" y="87"/>
                        <a:pt x="5" y="89"/>
                      </a:cubicBezTo>
                      <a:cubicBezTo>
                        <a:pt x="5" y="90"/>
                        <a:pt x="5" y="91"/>
                        <a:pt x="7" y="91"/>
                      </a:cubicBezTo>
                      <a:cubicBezTo>
                        <a:pt x="9" y="91"/>
                        <a:pt x="11" y="89"/>
                        <a:pt x="13" y="91"/>
                      </a:cubicBezTo>
                      <a:cubicBezTo>
                        <a:pt x="13" y="92"/>
                        <a:pt x="14" y="92"/>
                        <a:pt x="13" y="93"/>
                      </a:cubicBezTo>
                      <a:cubicBezTo>
                        <a:pt x="13" y="94"/>
                        <a:pt x="12" y="95"/>
                        <a:pt x="12" y="96"/>
                      </a:cubicBezTo>
                      <a:cubicBezTo>
                        <a:pt x="14" y="97"/>
                        <a:pt x="16" y="98"/>
                        <a:pt x="16" y="100"/>
                      </a:cubicBezTo>
                      <a:cubicBezTo>
                        <a:pt x="16" y="101"/>
                        <a:pt x="15" y="102"/>
                        <a:pt x="14" y="102"/>
                      </a:cubicBezTo>
                      <a:cubicBezTo>
                        <a:pt x="14" y="104"/>
                        <a:pt x="14" y="105"/>
                        <a:pt x="14" y="106"/>
                      </a:cubicBezTo>
                      <a:cubicBezTo>
                        <a:pt x="14" y="109"/>
                        <a:pt x="14" y="111"/>
                        <a:pt x="12" y="113"/>
                      </a:cubicBezTo>
                      <a:cubicBezTo>
                        <a:pt x="10" y="115"/>
                        <a:pt x="14" y="116"/>
                        <a:pt x="13" y="119"/>
                      </a:cubicBezTo>
                      <a:cubicBezTo>
                        <a:pt x="12" y="121"/>
                        <a:pt x="12" y="122"/>
                        <a:pt x="13" y="124"/>
                      </a:cubicBezTo>
                      <a:cubicBezTo>
                        <a:pt x="14" y="127"/>
                        <a:pt x="16" y="123"/>
                        <a:pt x="18" y="125"/>
                      </a:cubicBezTo>
                      <a:cubicBezTo>
                        <a:pt x="19" y="126"/>
                        <a:pt x="19" y="127"/>
                        <a:pt x="20" y="127"/>
                      </a:cubicBezTo>
                      <a:cubicBezTo>
                        <a:pt x="20" y="128"/>
                        <a:pt x="22" y="127"/>
                        <a:pt x="22" y="127"/>
                      </a:cubicBezTo>
                      <a:cubicBezTo>
                        <a:pt x="24" y="126"/>
                        <a:pt x="24" y="123"/>
                        <a:pt x="26" y="124"/>
                      </a:cubicBezTo>
                      <a:cubicBezTo>
                        <a:pt x="27" y="125"/>
                        <a:pt x="28" y="126"/>
                        <a:pt x="29" y="125"/>
                      </a:cubicBezTo>
                      <a:cubicBezTo>
                        <a:pt x="30" y="124"/>
                        <a:pt x="29" y="121"/>
                        <a:pt x="29" y="120"/>
                      </a:cubicBezTo>
                      <a:cubicBezTo>
                        <a:pt x="28" y="119"/>
                        <a:pt x="27" y="119"/>
                        <a:pt x="27" y="119"/>
                      </a:cubicBezTo>
                      <a:cubicBezTo>
                        <a:pt x="26" y="118"/>
                        <a:pt x="27" y="117"/>
                        <a:pt x="27" y="116"/>
                      </a:cubicBezTo>
                      <a:cubicBezTo>
                        <a:pt x="27" y="115"/>
                        <a:pt x="28" y="114"/>
                        <a:pt x="29" y="113"/>
                      </a:cubicBezTo>
                      <a:cubicBezTo>
                        <a:pt x="29" y="112"/>
                        <a:pt x="30" y="111"/>
                        <a:pt x="30" y="110"/>
                      </a:cubicBezTo>
                      <a:cubicBezTo>
                        <a:pt x="30" y="108"/>
                        <a:pt x="29" y="105"/>
                        <a:pt x="28" y="103"/>
                      </a:cubicBezTo>
                      <a:cubicBezTo>
                        <a:pt x="28" y="102"/>
                        <a:pt x="28" y="101"/>
                        <a:pt x="28" y="99"/>
                      </a:cubicBezTo>
                      <a:cubicBezTo>
                        <a:pt x="28" y="98"/>
                        <a:pt x="29" y="97"/>
                        <a:pt x="30" y="96"/>
                      </a:cubicBezTo>
                      <a:cubicBezTo>
                        <a:pt x="30" y="95"/>
                        <a:pt x="30" y="94"/>
                        <a:pt x="30" y="93"/>
                      </a:cubicBezTo>
                      <a:cubicBezTo>
                        <a:pt x="30" y="91"/>
                        <a:pt x="30" y="90"/>
                        <a:pt x="30" y="89"/>
                      </a:cubicBezTo>
                      <a:cubicBezTo>
                        <a:pt x="30" y="86"/>
                        <a:pt x="29" y="85"/>
                        <a:pt x="27" y="83"/>
                      </a:cubicBezTo>
                      <a:cubicBezTo>
                        <a:pt x="26" y="80"/>
                        <a:pt x="29" y="80"/>
                        <a:pt x="30" y="78"/>
                      </a:cubicBezTo>
                      <a:cubicBezTo>
                        <a:pt x="31" y="78"/>
                        <a:pt x="31" y="77"/>
                        <a:pt x="32" y="77"/>
                      </a:cubicBezTo>
                      <a:cubicBezTo>
                        <a:pt x="33" y="76"/>
                        <a:pt x="35" y="76"/>
                        <a:pt x="36" y="76"/>
                      </a:cubicBezTo>
                      <a:cubicBezTo>
                        <a:pt x="37" y="77"/>
                        <a:pt x="39" y="77"/>
                        <a:pt x="40" y="78"/>
                      </a:cubicBezTo>
                      <a:cubicBezTo>
                        <a:pt x="40" y="79"/>
                        <a:pt x="39" y="80"/>
                        <a:pt x="40" y="81"/>
                      </a:cubicBezTo>
                      <a:cubicBezTo>
                        <a:pt x="40" y="82"/>
                        <a:pt x="40" y="83"/>
                        <a:pt x="40" y="84"/>
                      </a:cubicBezTo>
                      <a:cubicBezTo>
                        <a:pt x="41" y="85"/>
                        <a:pt x="39" y="87"/>
                        <a:pt x="38" y="88"/>
                      </a:cubicBezTo>
                      <a:cubicBezTo>
                        <a:pt x="38" y="88"/>
                        <a:pt x="37" y="89"/>
                        <a:pt x="37" y="89"/>
                      </a:cubicBezTo>
                      <a:cubicBezTo>
                        <a:pt x="37" y="90"/>
                        <a:pt x="38" y="90"/>
                        <a:pt x="38" y="90"/>
                      </a:cubicBezTo>
                      <a:cubicBezTo>
                        <a:pt x="38" y="92"/>
                        <a:pt x="40" y="93"/>
                        <a:pt x="41" y="93"/>
                      </a:cubicBezTo>
                      <a:cubicBezTo>
                        <a:pt x="43" y="94"/>
                        <a:pt x="43" y="96"/>
                        <a:pt x="45" y="97"/>
                      </a:cubicBezTo>
                      <a:cubicBezTo>
                        <a:pt x="46" y="98"/>
                        <a:pt x="51" y="99"/>
                        <a:pt x="49" y="101"/>
                      </a:cubicBezTo>
                      <a:cubicBezTo>
                        <a:pt x="48" y="103"/>
                        <a:pt x="49" y="104"/>
                        <a:pt x="48" y="106"/>
                      </a:cubicBezTo>
                      <a:cubicBezTo>
                        <a:pt x="47" y="108"/>
                        <a:pt x="47" y="109"/>
                        <a:pt x="48" y="111"/>
                      </a:cubicBezTo>
                      <a:cubicBezTo>
                        <a:pt x="49" y="111"/>
                        <a:pt x="50" y="112"/>
                        <a:pt x="51" y="112"/>
                      </a:cubicBezTo>
                      <a:cubicBezTo>
                        <a:pt x="51" y="113"/>
                        <a:pt x="52" y="112"/>
                        <a:pt x="53" y="112"/>
                      </a:cubicBezTo>
                      <a:cubicBezTo>
                        <a:pt x="55" y="112"/>
                        <a:pt x="56" y="113"/>
                        <a:pt x="57" y="113"/>
                      </a:cubicBezTo>
                      <a:cubicBezTo>
                        <a:pt x="58" y="113"/>
                        <a:pt x="59" y="111"/>
                        <a:pt x="59" y="110"/>
                      </a:cubicBezTo>
                      <a:cubicBezTo>
                        <a:pt x="58" y="109"/>
                        <a:pt x="55" y="108"/>
                        <a:pt x="56" y="107"/>
                      </a:cubicBezTo>
                      <a:cubicBezTo>
                        <a:pt x="57" y="106"/>
                        <a:pt x="59" y="106"/>
                        <a:pt x="60" y="106"/>
                      </a:cubicBezTo>
                      <a:cubicBezTo>
                        <a:pt x="62" y="106"/>
                        <a:pt x="64" y="105"/>
                        <a:pt x="66" y="105"/>
                      </a:cubicBezTo>
                      <a:cubicBezTo>
                        <a:pt x="66" y="105"/>
                        <a:pt x="66" y="105"/>
                        <a:pt x="66" y="105"/>
                      </a:cubicBezTo>
                      <a:cubicBezTo>
                        <a:pt x="67" y="105"/>
                        <a:pt x="66" y="105"/>
                        <a:pt x="66" y="105"/>
                      </a:cubicBezTo>
                      <a:close/>
                      <a:moveTo>
                        <a:pt x="145" y="44"/>
                      </a:moveTo>
                      <a:cubicBezTo>
                        <a:pt x="146" y="43"/>
                        <a:pt x="145" y="41"/>
                        <a:pt x="144" y="42"/>
                      </a:cubicBezTo>
                      <a:cubicBezTo>
                        <a:pt x="144" y="42"/>
                        <a:pt x="143" y="43"/>
                        <a:pt x="144" y="44"/>
                      </a:cubicBezTo>
                      <a:cubicBezTo>
                        <a:pt x="144" y="45"/>
                        <a:pt x="145" y="44"/>
                        <a:pt x="145" y="43"/>
                      </a:cubicBezTo>
                      <a:cubicBezTo>
                        <a:pt x="145" y="44"/>
                        <a:pt x="145" y="44"/>
                        <a:pt x="145" y="44"/>
                      </a:cubicBezTo>
                      <a:cubicBezTo>
                        <a:pt x="146" y="43"/>
                        <a:pt x="145" y="44"/>
                        <a:pt x="145" y="44"/>
                      </a:cubicBezTo>
                      <a:close/>
                      <a:moveTo>
                        <a:pt x="147" y="27"/>
                      </a:moveTo>
                      <a:cubicBezTo>
                        <a:pt x="148" y="26"/>
                        <a:pt x="148" y="26"/>
                        <a:pt x="148" y="25"/>
                      </a:cubicBezTo>
                      <a:cubicBezTo>
                        <a:pt x="148" y="25"/>
                        <a:pt x="148" y="23"/>
                        <a:pt x="148" y="23"/>
                      </a:cubicBezTo>
                      <a:cubicBezTo>
                        <a:pt x="148" y="23"/>
                        <a:pt x="146" y="25"/>
                        <a:pt x="146" y="25"/>
                      </a:cubicBezTo>
                      <a:cubicBezTo>
                        <a:pt x="146" y="26"/>
                        <a:pt x="146" y="27"/>
                        <a:pt x="147" y="27"/>
                      </a:cubicBezTo>
                      <a:cubicBezTo>
                        <a:pt x="147" y="27"/>
                        <a:pt x="147" y="27"/>
                        <a:pt x="147" y="27"/>
                      </a:cubicBezTo>
                      <a:cubicBezTo>
                        <a:pt x="147" y="26"/>
                        <a:pt x="147" y="27"/>
                        <a:pt x="147" y="27"/>
                      </a:cubicBezTo>
                      <a:close/>
                      <a:moveTo>
                        <a:pt x="146" y="18"/>
                      </a:moveTo>
                      <a:cubicBezTo>
                        <a:pt x="147" y="18"/>
                        <a:pt x="147" y="19"/>
                        <a:pt x="148" y="18"/>
                      </a:cubicBezTo>
                      <a:cubicBezTo>
                        <a:pt x="149" y="18"/>
                        <a:pt x="148" y="17"/>
                        <a:pt x="148" y="16"/>
                      </a:cubicBezTo>
                      <a:cubicBezTo>
                        <a:pt x="147" y="15"/>
                        <a:pt x="145" y="17"/>
                        <a:pt x="147" y="18"/>
                      </a:cubicBezTo>
                      <a:cubicBezTo>
                        <a:pt x="147" y="18"/>
                        <a:pt x="146" y="18"/>
                        <a:pt x="146" y="18"/>
                      </a:cubicBezTo>
                      <a:cubicBezTo>
                        <a:pt x="147" y="18"/>
                        <a:pt x="146" y="18"/>
                        <a:pt x="146" y="18"/>
                      </a:cubicBezTo>
                      <a:close/>
                      <a:moveTo>
                        <a:pt x="145" y="37"/>
                      </a:moveTo>
                      <a:cubicBezTo>
                        <a:pt x="145" y="36"/>
                        <a:pt x="144" y="35"/>
                        <a:pt x="143" y="37"/>
                      </a:cubicBezTo>
                      <a:cubicBezTo>
                        <a:pt x="143" y="38"/>
                        <a:pt x="145" y="38"/>
                        <a:pt x="145" y="37"/>
                      </a:cubicBezTo>
                      <a:cubicBezTo>
                        <a:pt x="145" y="37"/>
                        <a:pt x="145" y="37"/>
                        <a:pt x="145" y="37"/>
                      </a:cubicBezTo>
                      <a:cubicBezTo>
                        <a:pt x="145" y="36"/>
                        <a:pt x="145" y="37"/>
                        <a:pt x="145" y="37"/>
                      </a:cubicBezTo>
                      <a:close/>
                      <a:moveTo>
                        <a:pt x="123" y="69"/>
                      </a:moveTo>
                      <a:cubicBezTo>
                        <a:pt x="123" y="70"/>
                        <a:pt x="125" y="72"/>
                        <a:pt x="125" y="70"/>
                      </a:cubicBezTo>
                      <a:cubicBezTo>
                        <a:pt x="124" y="69"/>
                        <a:pt x="124" y="67"/>
                        <a:pt x="123" y="66"/>
                      </a:cubicBezTo>
                      <a:cubicBezTo>
                        <a:pt x="123" y="65"/>
                        <a:pt x="120" y="65"/>
                        <a:pt x="121" y="66"/>
                      </a:cubicBezTo>
                      <a:cubicBezTo>
                        <a:pt x="122" y="68"/>
                        <a:pt x="123" y="69"/>
                        <a:pt x="123" y="70"/>
                      </a:cubicBezTo>
                      <a:cubicBezTo>
                        <a:pt x="123" y="70"/>
                        <a:pt x="123" y="70"/>
                        <a:pt x="123" y="69"/>
                      </a:cubicBezTo>
                      <a:cubicBezTo>
                        <a:pt x="123" y="70"/>
                        <a:pt x="123" y="69"/>
                        <a:pt x="123" y="69"/>
                      </a:cubicBezTo>
                      <a:close/>
                      <a:moveTo>
                        <a:pt x="142" y="93"/>
                      </a:moveTo>
                      <a:cubicBezTo>
                        <a:pt x="145" y="92"/>
                        <a:pt x="145" y="90"/>
                        <a:pt x="144" y="88"/>
                      </a:cubicBezTo>
                      <a:cubicBezTo>
                        <a:pt x="144" y="87"/>
                        <a:pt x="143" y="87"/>
                        <a:pt x="142" y="86"/>
                      </a:cubicBezTo>
                      <a:cubicBezTo>
                        <a:pt x="141" y="86"/>
                        <a:pt x="140" y="85"/>
                        <a:pt x="139" y="84"/>
                      </a:cubicBezTo>
                      <a:cubicBezTo>
                        <a:pt x="137" y="82"/>
                        <a:pt x="134" y="82"/>
                        <a:pt x="132" y="83"/>
                      </a:cubicBezTo>
                      <a:cubicBezTo>
                        <a:pt x="130" y="83"/>
                        <a:pt x="129" y="84"/>
                        <a:pt x="127" y="84"/>
                      </a:cubicBezTo>
                      <a:cubicBezTo>
                        <a:pt x="126" y="84"/>
                        <a:pt x="125" y="84"/>
                        <a:pt x="124" y="85"/>
                      </a:cubicBezTo>
                      <a:cubicBezTo>
                        <a:pt x="123" y="85"/>
                        <a:pt x="123" y="86"/>
                        <a:pt x="124" y="87"/>
                      </a:cubicBezTo>
                      <a:cubicBezTo>
                        <a:pt x="124" y="88"/>
                        <a:pt x="125" y="89"/>
                        <a:pt x="126" y="90"/>
                      </a:cubicBezTo>
                      <a:cubicBezTo>
                        <a:pt x="127" y="91"/>
                        <a:pt x="129" y="92"/>
                        <a:pt x="131" y="93"/>
                      </a:cubicBezTo>
                      <a:cubicBezTo>
                        <a:pt x="132" y="95"/>
                        <a:pt x="135" y="97"/>
                        <a:pt x="137" y="95"/>
                      </a:cubicBezTo>
                      <a:cubicBezTo>
                        <a:pt x="138" y="94"/>
                        <a:pt x="138" y="93"/>
                        <a:pt x="140" y="93"/>
                      </a:cubicBezTo>
                      <a:cubicBezTo>
                        <a:pt x="141" y="92"/>
                        <a:pt x="142" y="93"/>
                        <a:pt x="143" y="93"/>
                      </a:cubicBezTo>
                      <a:cubicBezTo>
                        <a:pt x="143" y="93"/>
                        <a:pt x="143" y="93"/>
                        <a:pt x="142" y="93"/>
                      </a:cubicBezTo>
                      <a:cubicBezTo>
                        <a:pt x="145" y="92"/>
                        <a:pt x="142" y="93"/>
                        <a:pt x="142" y="93"/>
                      </a:cubicBezTo>
                      <a:close/>
                      <a:moveTo>
                        <a:pt x="120" y="62"/>
                      </a:moveTo>
                      <a:cubicBezTo>
                        <a:pt x="122" y="61"/>
                        <a:pt x="118" y="61"/>
                        <a:pt x="117" y="61"/>
                      </a:cubicBezTo>
                      <a:cubicBezTo>
                        <a:pt x="116" y="61"/>
                        <a:pt x="114" y="61"/>
                        <a:pt x="114" y="62"/>
                      </a:cubicBezTo>
                      <a:cubicBezTo>
                        <a:pt x="112" y="63"/>
                        <a:pt x="115" y="64"/>
                        <a:pt x="116" y="64"/>
                      </a:cubicBezTo>
                      <a:cubicBezTo>
                        <a:pt x="117" y="63"/>
                        <a:pt x="117" y="63"/>
                        <a:pt x="118" y="63"/>
                      </a:cubicBezTo>
                      <a:cubicBezTo>
                        <a:pt x="119" y="63"/>
                        <a:pt x="120" y="63"/>
                        <a:pt x="121" y="62"/>
                      </a:cubicBezTo>
                      <a:cubicBezTo>
                        <a:pt x="121" y="62"/>
                        <a:pt x="120" y="62"/>
                        <a:pt x="120" y="62"/>
                      </a:cubicBezTo>
                      <a:cubicBezTo>
                        <a:pt x="121" y="62"/>
                        <a:pt x="120" y="62"/>
                        <a:pt x="120" y="62"/>
                      </a:cubicBezTo>
                      <a:close/>
                      <a:moveTo>
                        <a:pt x="111" y="62"/>
                      </a:moveTo>
                      <a:cubicBezTo>
                        <a:pt x="111" y="61"/>
                        <a:pt x="111" y="60"/>
                        <a:pt x="109" y="60"/>
                      </a:cubicBezTo>
                      <a:cubicBezTo>
                        <a:pt x="108" y="60"/>
                        <a:pt x="108" y="60"/>
                        <a:pt x="107" y="60"/>
                      </a:cubicBezTo>
                      <a:cubicBezTo>
                        <a:pt x="106" y="60"/>
                        <a:pt x="106" y="60"/>
                        <a:pt x="105" y="60"/>
                      </a:cubicBezTo>
                      <a:cubicBezTo>
                        <a:pt x="103" y="60"/>
                        <a:pt x="101" y="60"/>
                        <a:pt x="99" y="60"/>
                      </a:cubicBezTo>
                      <a:cubicBezTo>
                        <a:pt x="98" y="59"/>
                        <a:pt x="97" y="59"/>
                        <a:pt x="97" y="61"/>
                      </a:cubicBezTo>
                      <a:cubicBezTo>
                        <a:pt x="97" y="62"/>
                        <a:pt x="97" y="64"/>
                        <a:pt x="98" y="64"/>
                      </a:cubicBezTo>
                      <a:cubicBezTo>
                        <a:pt x="99" y="65"/>
                        <a:pt x="101" y="64"/>
                        <a:pt x="102" y="63"/>
                      </a:cubicBezTo>
                      <a:cubicBezTo>
                        <a:pt x="104" y="63"/>
                        <a:pt x="106" y="63"/>
                        <a:pt x="108" y="63"/>
                      </a:cubicBezTo>
                      <a:cubicBezTo>
                        <a:pt x="109" y="63"/>
                        <a:pt x="111" y="64"/>
                        <a:pt x="111" y="62"/>
                      </a:cubicBezTo>
                      <a:cubicBezTo>
                        <a:pt x="111" y="62"/>
                        <a:pt x="111" y="62"/>
                        <a:pt x="111" y="62"/>
                      </a:cubicBezTo>
                      <a:cubicBezTo>
                        <a:pt x="111" y="62"/>
                        <a:pt x="111" y="62"/>
                        <a:pt x="111" y="62"/>
                      </a:cubicBezTo>
                      <a:close/>
                      <a:moveTo>
                        <a:pt x="153" y="43"/>
                      </a:moveTo>
                      <a:cubicBezTo>
                        <a:pt x="153" y="42"/>
                        <a:pt x="152" y="41"/>
                        <a:pt x="151" y="40"/>
                      </a:cubicBezTo>
                      <a:cubicBezTo>
                        <a:pt x="151" y="40"/>
                        <a:pt x="151" y="39"/>
                        <a:pt x="150" y="38"/>
                      </a:cubicBezTo>
                      <a:cubicBezTo>
                        <a:pt x="150" y="37"/>
                        <a:pt x="148" y="37"/>
                        <a:pt x="148" y="37"/>
                      </a:cubicBezTo>
                      <a:cubicBezTo>
                        <a:pt x="146" y="38"/>
                        <a:pt x="147" y="38"/>
                        <a:pt x="147" y="39"/>
                      </a:cubicBezTo>
                      <a:cubicBezTo>
                        <a:pt x="148" y="40"/>
                        <a:pt x="148" y="41"/>
                        <a:pt x="148" y="42"/>
                      </a:cubicBezTo>
                      <a:cubicBezTo>
                        <a:pt x="149" y="43"/>
                        <a:pt x="148" y="44"/>
                        <a:pt x="150" y="43"/>
                      </a:cubicBezTo>
                      <a:cubicBezTo>
                        <a:pt x="151" y="43"/>
                        <a:pt x="151" y="43"/>
                        <a:pt x="152" y="43"/>
                      </a:cubicBezTo>
                      <a:cubicBezTo>
                        <a:pt x="153" y="43"/>
                        <a:pt x="153" y="43"/>
                        <a:pt x="153" y="42"/>
                      </a:cubicBezTo>
                      <a:cubicBezTo>
                        <a:pt x="153" y="42"/>
                        <a:pt x="153" y="42"/>
                        <a:pt x="153" y="43"/>
                      </a:cubicBezTo>
                      <a:cubicBezTo>
                        <a:pt x="153" y="41"/>
                        <a:pt x="153" y="43"/>
                        <a:pt x="153" y="43"/>
                      </a:cubicBezTo>
                      <a:close/>
                      <a:moveTo>
                        <a:pt x="150" y="50"/>
                      </a:moveTo>
                      <a:cubicBezTo>
                        <a:pt x="150" y="51"/>
                        <a:pt x="149" y="51"/>
                        <a:pt x="149" y="51"/>
                      </a:cubicBezTo>
                      <a:cubicBezTo>
                        <a:pt x="150" y="52"/>
                        <a:pt x="150" y="52"/>
                        <a:pt x="151" y="52"/>
                      </a:cubicBezTo>
                      <a:cubicBezTo>
                        <a:pt x="154" y="52"/>
                        <a:pt x="151" y="49"/>
                        <a:pt x="149" y="51"/>
                      </a:cubicBezTo>
                      <a:cubicBezTo>
                        <a:pt x="150" y="51"/>
                        <a:pt x="150" y="51"/>
                        <a:pt x="150" y="50"/>
                      </a:cubicBezTo>
                      <a:cubicBezTo>
                        <a:pt x="149" y="51"/>
                        <a:pt x="150" y="50"/>
                        <a:pt x="150" y="50"/>
                      </a:cubicBezTo>
                      <a:close/>
                      <a:moveTo>
                        <a:pt x="79" y="54"/>
                      </a:moveTo>
                      <a:cubicBezTo>
                        <a:pt x="80" y="54"/>
                        <a:pt x="82" y="53"/>
                        <a:pt x="79" y="53"/>
                      </a:cubicBezTo>
                      <a:cubicBezTo>
                        <a:pt x="77" y="53"/>
                        <a:pt x="76" y="53"/>
                        <a:pt x="75" y="55"/>
                      </a:cubicBezTo>
                      <a:cubicBezTo>
                        <a:pt x="75" y="56"/>
                        <a:pt x="75" y="58"/>
                        <a:pt x="75" y="58"/>
                      </a:cubicBezTo>
                      <a:cubicBezTo>
                        <a:pt x="76" y="58"/>
                        <a:pt x="77" y="58"/>
                        <a:pt x="78" y="58"/>
                      </a:cubicBezTo>
                      <a:cubicBezTo>
                        <a:pt x="78" y="57"/>
                        <a:pt x="77" y="56"/>
                        <a:pt x="77" y="55"/>
                      </a:cubicBezTo>
                      <a:cubicBezTo>
                        <a:pt x="77" y="54"/>
                        <a:pt x="79" y="54"/>
                        <a:pt x="79" y="54"/>
                      </a:cubicBezTo>
                      <a:cubicBezTo>
                        <a:pt x="79" y="54"/>
                        <a:pt x="79" y="54"/>
                        <a:pt x="79" y="54"/>
                      </a:cubicBezTo>
                      <a:cubicBezTo>
                        <a:pt x="79" y="54"/>
                        <a:pt x="79" y="54"/>
                        <a:pt x="79" y="54"/>
                      </a:cubicBezTo>
                      <a:close/>
                      <a:moveTo>
                        <a:pt x="151" y="59"/>
                      </a:moveTo>
                      <a:cubicBezTo>
                        <a:pt x="153" y="59"/>
                        <a:pt x="154" y="59"/>
                        <a:pt x="155" y="59"/>
                      </a:cubicBezTo>
                      <a:cubicBezTo>
                        <a:pt x="156" y="59"/>
                        <a:pt x="158" y="59"/>
                        <a:pt x="159" y="59"/>
                      </a:cubicBezTo>
                      <a:cubicBezTo>
                        <a:pt x="160" y="58"/>
                        <a:pt x="155" y="55"/>
                        <a:pt x="154" y="55"/>
                      </a:cubicBezTo>
                      <a:cubicBezTo>
                        <a:pt x="153" y="53"/>
                        <a:pt x="149" y="54"/>
                        <a:pt x="149" y="56"/>
                      </a:cubicBezTo>
                      <a:cubicBezTo>
                        <a:pt x="148" y="56"/>
                        <a:pt x="149" y="58"/>
                        <a:pt x="149" y="58"/>
                      </a:cubicBezTo>
                      <a:cubicBezTo>
                        <a:pt x="150" y="59"/>
                        <a:pt x="151" y="59"/>
                        <a:pt x="152" y="59"/>
                      </a:cubicBezTo>
                      <a:cubicBezTo>
                        <a:pt x="152" y="59"/>
                        <a:pt x="152" y="59"/>
                        <a:pt x="151" y="59"/>
                      </a:cubicBezTo>
                      <a:cubicBezTo>
                        <a:pt x="152" y="59"/>
                        <a:pt x="151" y="59"/>
                        <a:pt x="151" y="59"/>
                      </a:cubicBezTo>
                      <a:close/>
                      <a:moveTo>
                        <a:pt x="156" y="84"/>
                      </a:moveTo>
                      <a:cubicBezTo>
                        <a:pt x="155" y="85"/>
                        <a:pt x="155" y="87"/>
                        <a:pt x="155" y="88"/>
                      </a:cubicBezTo>
                      <a:cubicBezTo>
                        <a:pt x="155" y="89"/>
                        <a:pt x="155" y="91"/>
                        <a:pt x="156" y="90"/>
                      </a:cubicBezTo>
                      <a:cubicBezTo>
                        <a:pt x="156" y="90"/>
                        <a:pt x="156" y="89"/>
                        <a:pt x="157" y="89"/>
                      </a:cubicBezTo>
                      <a:cubicBezTo>
                        <a:pt x="157" y="88"/>
                        <a:pt x="157" y="87"/>
                        <a:pt x="158" y="87"/>
                      </a:cubicBezTo>
                      <a:cubicBezTo>
                        <a:pt x="158" y="86"/>
                        <a:pt x="159" y="86"/>
                        <a:pt x="159" y="85"/>
                      </a:cubicBezTo>
                      <a:cubicBezTo>
                        <a:pt x="159" y="83"/>
                        <a:pt x="157" y="84"/>
                        <a:pt x="156" y="84"/>
                      </a:cubicBezTo>
                      <a:cubicBezTo>
                        <a:pt x="156" y="84"/>
                        <a:pt x="156" y="84"/>
                        <a:pt x="156" y="84"/>
                      </a:cubicBezTo>
                      <a:cubicBezTo>
                        <a:pt x="155" y="85"/>
                        <a:pt x="156" y="84"/>
                        <a:pt x="156" y="84"/>
                      </a:cubicBezTo>
                      <a:close/>
                      <a:moveTo>
                        <a:pt x="82" y="59"/>
                      </a:moveTo>
                      <a:cubicBezTo>
                        <a:pt x="83" y="58"/>
                        <a:pt x="83" y="57"/>
                        <a:pt x="83" y="56"/>
                      </a:cubicBezTo>
                      <a:cubicBezTo>
                        <a:pt x="82" y="55"/>
                        <a:pt x="81" y="55"/>
                        <a:pt x="81" y="56"/>
                      </a:cubicBezTo>
                      <a:cubicBezTo>
                        <a:pt x="81" y="57"/>
                        <a:pt x="81" y="60"/>
                        <a:pt x="82" y="59"/>
                      </a:cubicBezTo>
                      <a:cubicBezTo>
                        <a:pt x="82" y="59"/>
                        <a:pt x="82" y="59"/>
                        <a:pt x="82" y="59"/>
                      </a:cubicBezTo>
                      <a:cubicBezTo>
                        <a:pt x="83" y="58"/>
                        <a:pt x="82" y="59"/>
                        <a:pt x="82" y="59"/>
                      </a:cubicBezTo>
                      <a:close/>
                      <a:moveTo>
                        <a:pt x="88" y="64"/>
                      </a:moveTo>
                      <a:cubicBezTo>
                        <a:pt x="88" y="63"/>
                        <a:pt x="88" y="62"/>
                        <a:pt x="87" y="62"/>
                      </a:cubicBezTo>
                      <a:cubicBezTo>
                        <a:pt x="87" y="62"/>
                        <a:pt x="85" y="62"/>
                        <a:pt x="86" y="63"/>
                      </a:cubicBezTo>
                      <a:cubicBezTo>
                        <a:pt x="86" y="64"/>
                        <a:pt x="88" y="66"/>
                        <a:pt x="88" y="64"/>
                      </a:cubicBezTo>
                      <a:cubicBezTo>
                        <a:pt x="88" y="64"/>
                        <a:pt x="88" y="64"/>
                        <a:pt x="88" y="64"/>
                      </a:cubicBezTo>
                      <a:cubicBezTo>
                        <a:pt x="88" y="63"/>
                        <a:pt x="88" y="64"/>
                        <a:pt x="88" y="64"/>
                      </a:cubicBezTo>
                      <a:close/>
                      <a:moveTo>
                        <a:pt x="56" y="37"/>
                      </a:moveTo>
                      <a:cubicBezTo>
                        <a:pt x="56" y="36"/>
                        <a:pt x="56" y="36"/>
                        <a:pt x="55" y="35"/>
                      </a:cubicBezTo>
                      <a:cubicBezTo>
                        <a:pt x="54" y="35"/>
                        <a:pt x="54" y="36"/>
                        <a:pt x="54" y="37"/>
                      </a:cubicBezTo>
                      <a:cubicBezTo>
                        <a:pt x="53" y="39"/>
                        <a:pt x="50" y="36"/>
                        <a:pt x="49" y="39"/>
                      </a:cubicBezTo>
                      <a:cubicBezTo>
                        <a:pt x="49" y="41"/>
                        <a:pt x="51" y="40"/>
                        <a:pt x="52" y="40"/>
                      </a:cubicBezTo>
                      <a:cubicBezTo>
                        <a:pt x="53" y="39"/>
                        <a:pt x="54" y="39"/>
                        <a:pt x="55" y="39"/>
                      </a:cubicBezTo>
                      <a:cubicBezTo>
                        <a:pt x="56" y="38"/>
                        <a:pt x="55" y="37"/>
                        <a:pt x="56" y="37"/>
                      </a:cubicBezTo>
                      <a:cubicBezTo>
                        <a:pt x="56" y="37"/>
                        <a:pt x="56" y="37"/>
                        <a:pt x="56" y="37"/>
                      </a:cubicBezTo>
                      <a:cubicBezTo>
                        <a:pt x="56" y="37"/>
                        <a:pt x="56" y="37"/>
                        <a:pt x="56" y="37"/>
                      </a:cubicBezTo>
                      <a:close/>
                      <a:moveTo>
                        <a:pt x="60" y="33"/>
                      </a:moveTo>
                      <a:cubicBezTo>
                        <a:pt x="59" y="34"/>
                        <a:pt x="62" y="36"/>
                        <a:pt x="63" y="36"/>
                      </a:cubicBezTo>
                      <a:cubicBezTo>
                        <a:pt x="64" y="36"/>
                        <a:pt x="63" y="35"/>
                        <a:pt x="62" y="35"/>
                      </a:cubicBezTo>
                      <a:cubicBezTo>
                        <a:pt x="62" y="34"/>
                        <a:pt x="61" y="33"/>
                        <a:pt x="60" y="34"/>
                      </a:cubicBezTo>
                      <a:cubicBezTo>
                        <a:pt x="60" y="33"/>
                        <a:pt x="60" y="33"/>
                        <a:pt x="60" y="33"/>
                      </a:cubicBezTo>
                      <a:cubicBezTo>
                        <a:pt x="59" y="34"/>
                        <a:pt x="60" y="33"/>
                        <a:pt x="60" y="33"/>
                      </a:cubicBezTo>
                      <a:close/>
                      <a:moveTo>
                        <a:pt x="70" y="57"/>
                      </a:moveTo>
                      <a:cubicBezTo>
                        <a:pt x="71" y="57"/>
                        <a:pt x="72" y="57"/>
                        <a:pt x="72" y="56"/>
                      </a:cubicBezTo>
                      <a:cubicBezTo>
                        <a:pt x="72" y="55"/>
                        <a:pt x="72" y="54"/>
                        <a:pt x="73" y="54"/>
                      </a:cubicBezTo>
                      <a:cubicBezTo>
                        <a:pt x="74" y="53"/>
                        <a:pt x="75" y="52"/>
                        <a:pt x="76" y="52"/>
                      </a:cubicBezTo>
                      <a:cubicBezTo>
                        <a:pt x="77" y="52"/>
                        <a:pt x="76" y="51"/>
                        <a:pt x="76" y="51"/>
                      </a:cubicBezTo>
                      <a:cubicBezTo>
                        <a:pt x="74" y="50"/>
                        <a:pt x="70" y="50"/>
                        <a:pt x="70" y="52"/>
                      </a:cubicBezTo>
                      <a:cubicBezTo>
                        <a:pt x="70" y="54"/>
                        <a:pt x="69" y="56"/>
                        <a:pt x="71" y="57"/>
                      </a:cubicBezTo>
                      <a:cubicBezTo>
                        <a:pt x="70" y="57"/>
                        <a:pt x="70" y="57"/>
                        <a:pt x="70" y="57"/>
                      </a:cubicBezTo>
                      <a:cubicBezTo>
                        <a:pt x="71" y="57"/>
                        <a:pt x="70" y="57"/>
                        <a:pt x="70" y="57"/>
                      </a:cubicBezTo>
                      <a:close/>
                      <a:moveTo>
                        <a:pt x="74" y="61"/>
                      </a:moveTo>
                      <a:cubicBezTo>
                        <a:pt x="74" y="61"/>
                        <a:pt x="76" y="64"/>
                        <a:pt x="76" y="63"/>
                      </a:cubicBezTo>
                      <a:cubicBezTo>
                        <a:pt x="76" y="61"/>
                        <a:pt x="74" y="58"/>
                        <a:pt x="74" y="61"/>
                      </a:cubicBezTo>
                      <a:cubicBezTo>
                        <a:pt x="74" y="61"/>
                        <a:pt x="74" y="61"/>
                        <a:pt x="74" y="61"/>
                      </a:cubicBezTo>
                      <a:cubicBezTo>
                        <a:pt x="74" y="61"/>
                        <a:pt x="74" y="61"/>
                        <a:pt x="74" y="61"/>
                      </a:cubicBezTo>
                      <a:close/>
                      <a:moveTo>
                        <a:pt x="54" y="117"/>
                      </a:moveTo>
                      <a:cubicBezTo>
                        <a:pt x="54" y="118"/>
                        <a:pt x="53" y="118"/>
                        <a:pt x="53" y="119"/>
                      </a:cubicBezTo>
                      <a:cubicBezTo>
                        <a:pt x="53" y="119"/>
                        <a:pt x="53" y="120"/>
                        <a:pt x="53" y="120"/>
                      </a:cubicBezTo>
                      <a:cubicBezTo>
                        <a:pt x="53" y="121"/>
                        <a:pt x="55" y="123"/>
                        <a:pt x="55" y="122"/>
                      </a:cubicBezTo>
                      <a:cubicBezTo>
                        <a:pt x="56" y="121"/>
                        <a:pt x="55" y="119"/>
                        <a:pt x="55" y="118"/>
                      </a:cubicBezTo>
                      <a:cubicBezTo>
                        <a:pt x="55" y="117"/>
                        <a:pt x="54" y="116"/>
                        <a:pt x="54" y="118"/>
                      </a:cubicBezTo>
                      <a:cubicBezTo>
                        <a:pt x="54" y="117"/>
                        <a:pt x="54" y="117"/>
                        <a:pt x="54" y="117"/>
                      </a:cubicBezTo>
                      <a:cubicBezTo>
                        <a:pt x="54" y="118"/>
                        <a:pt x="54" y="117"/>
                        <a:pt x="54" y="117"/>
                      </a:cubicBezTo>
                      <a:close/>
                      <a:moveTo>
                        <a:pt x="62" y="122"/>
                      </a:moveTo>
                      <a:cubicBezTo>
                        <a:pt x="64" y="122"/>
                        <a:pt x="65" y="122"/>
                        <a:pt x="65" y="120"/>
                      </a:cubicBezTo>
                      <a:cubicBezTo>
                        <a:pt x="66" y="119"/>
                        <a:pt x="65" y="117"/>
                        <a:pt x="67" y="116"/>
                      </a:cubicBezTo>
                      <a:cubicBezTo>
                        <a:pt x="68" y="114"/>
                        <a:pt x="69" y="113"/>
                        <a:pt x="68" y="111"/>
                      </a:cubicBezTo>
                      <a:cubicBezTo>
                        <a:pt x="67" y="110"/>
                        <a:pt x="67" y="110"/>
                        <a:pt x="65" y="110"/>
                      </a:cubicBezTo>
                      <a:cubicBezTo>
                        <a:pt x="64" y="110"/>
                        <a:pt x="63" y="111"/>
                        <a:pt x="62" y="112"/>
                      </a:cubicBezTo>
                      <a:cubicBezTo>
                        <a:pt x="61" y="113"/>
                        <a:pt x="62" y="114"/>
                        <a:pt x="62" y="115"/>
                      </a:cubicBezTo>
                      <a:cubicBezTo>
                        <a:pt x="62" y="117"/>
                        <a:pt x="60" y="122"/>
                        <a:pt x="63" y="122"/>
                      </a:cubicBezTo>
                      <a:cubicBezTo>
                        <a:pt x="62" y="122"/>
                        <a:pt x="62" y="122"/>
                        <a:pt x="62" y="122"/>
                      </a:cubicBezTo>
                      <a:cubicBezTo>
                        <a:pt x="64" y="123"/>
                        <a:pt x="62" y="122"/>
                        <a:pt x="62" y="122"/>
                      </a:cubicBezTo>
                      <a:close/>
                      <a:moveTo>
                        <a:pt x="75" y="112"/>
                      </a:moveTo>
                      <a:cubicBezTo>
                        <a:pt x="75" y="112"/>
                        <a:pt x="76" y="113"/>
                        <a:pt x="76" y="113"/>
                      </a:cubicBezTo>
                      <a:cubicBezTo>
                        <a:pt x="77" y="112"/>
                        <a:pt x="76" y="111"/>
                        <a:pt x="76" y="110"/>
                      </a:cubicBezTo>
                      <a:cubicBezTo>
                        <a:pt x="75" y="109"/>
                        <a:pt x="75" y="108"/>
                        <a:pt x="75" y="107"/>
                      </a:cubicBezTo>
                      <a:cubicBezTo>
                        <a:pt x="74" y="106"/>
                        <a:pt x="72" y="107"/>
                        <a:pt x="72" y="108"/>
                      </a:cubicBezTo>
                      <a:cubicBezTo>
                        <a:pt x="71" y="109"/>
                        <a:pt x="71" y="111"/>
                        <a:pt x="71" y="112"/>
                      </a:cubicBezTo>
                      <a:cubicBezTo>
                        <a:pt x="71" y="113"/>
                        <a:pt x="70" y="114"/>
                        <a:pt x="70" y="116"/>
                      </a:cubicBezTo>
                      <a:cubicBezTo>
                        <a:pt x="70" y="117"/>
                        <a:pt x="71" y="119"/>
                        <a:pt x="70" y="120"/>
                      </a:cubicBezTo>
                      <a:cubicBezTo>
                        <a:pt x="69" y="120"/>
                        <a:pt x="68" y="121"/>
                        <a:pt x="68" y="122"/>
                      </a:cubicBezTo>
                      <a:cubicBezTo>
                        <a:pt x="67" y="124"/>
                        <a:pt x="69" y="126"/>
                        <a:pt x="71" y="125"/>
                      </a:cubicBezTo>
                      <a:cubicBezTo>
                        <a:pt x="72" y="125"/>
                        <a:pt x="73" y="123"/>
                        <a:pt x="73" y="123"/>
                      </a:cubicBezTo>
                      <a:cubicBezTo>
                        <a:pt x="74" y="122"/>
                        <a:pt x="76" y="121"/>
                        <a:pt x="76" y="120"/>
                      </a:cubicBezTo>
                      <a:cubicBezTo>
                        <a:pt x="76" y="119"/>
                        <a:pt x="74" y="118"/>
                        <a:pt x="73" y="117"/>
                      </a:cubicBezTo>
                      <a:cubicBezTo>
                        <a:pt x="73" y="116"/>
                        <a:pt x="73" y="114"/>
                        <a:pt x="74" y="113"/>
                      </a:cubicBezTo>
                      <a:cubicBezTo>
                        <a:pt x="74" y="112"/>
                        <a:pt x="74" y="112"/>
                        <a:pt x="75" y="113"/>
                      </a:cubicBezTo>
                      <a:cubicBezTo>
                        <a:pt x="75" y="112"/>
                        <a:pt x="75" y="112"/>
                        <a:pt x="75" y="112"/>
                      </a:cubicBezTo>
                      <a:cubicBezTo>
                        <a:pt x="75" y="113"/>
                        <a:pt x="75" y="112"/>
                        <a:pt x="75" y="112"/>
                      </a:cubicBezTo>
                      <a:close/>
                      <a:moveTo>
                        <a:pt x="77" y="101"/>
                      </a:moveTo>
                      <a:cubicBezTo>
                        <a:pt x="77" y="98"/>
                        <a:pt x="72" y="99"/>
                        <a:pt x="73" y="100"/>
                      </a:cubicBezTo>
                      <a:cubicBezTo>
                        <a:pt x="74" y="101"/>
                        <a:pt x="75" y="103"/>
                        <a:pt x="75" y="102"/>
                      </a:cubicBezTo>
                      <a:cubicBezTo>
                        <a:pt x="77" y="102"/>
                        <a:pt x="77" y="101"/>
                        <a:pt x="77" y="100"/>
                      </a:cubicBezTo>
                      <a:cubicBezTo>
                        <a:pt x="77" y="100"/>
                        <a:pt x="77" y="100"/>
                        <a:pt x="77" y="101"/>
                      </a:cubicBezTo>
                      <a:cubicBezTo>
                        <a:pt x="77" y="100"/>
                        <a:pt x="77" y="101"/>
                        <a:pt x="77" y="101"/>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27" name="Freeform 300">
                  <a:extLst>
                    <a:ext uri="{FF2B5EF4-FFF2-40B4-BE49-F238E27FC236}">
                      <a16:creationId xmlns:a16="http://schemas.microsoft.com/office/drawing/2014/main" id="{262C5F39-F62C-4CE2-3E21-1EC2347FF6E2}"/>
                    </a:ext>
                  </a:extLst>
                </p:cNvPr>
                <p:cNvSpPr>
                  <a:spLocks noEditPoints="1"/>
                </p:cNvSpPr>
                <p:nvPr>
                  <p:custDataLst>
                    <p:tags r:id="rId291"/>
                  </p:custDataLst>
                </p:nvPr>
              </p:nvSpPr>
              <p:spPr bwMode="auto">
                <a:xfrm>
                  <a:off x="9053513" y="4427539"/>
                  <a:ext cx="420688" cy="284163"/>
                </a:xfrm>
                <a:custGeom>
                  <a:avLst/>
                  <a:gdLst>
                    <a:gd name="T0" fmla="*/ 195 w 227"/>
                    <a:gd name="T1" fmla="*/ 102 h 153"/>
                    <a:gd name="T2" fmla="*/ 202 w 227"/>
                    <a:gd name="T3" fmla="*/ 94 h 153"/>
                    <a:gd name="T4" fmla="*/ 201 w 227"/>
                    <a:gd name="T5" fmla="*/ 87 h 153"/>
                    <a:gd name="T6" fmla="*/ 208 w 227"/>
                    <a:gd name="T7" fmla="*/ 68 h 153"/>
                    <a:gd name="T8" fmla="*/ 213 w 227"/>
                    <a:gd name="T9" fmla="*/ 67 h 153"/>
                    <a:gd name="T10" fmla="*/ 226 w 227"/>
                    <a:gd name="T11" fmla="*/ 65 h 153"/>
                    <a:gd name="T12" fmla="*/ 217 w 227"/>
                    <a:gd name="T13" fmla="*/ 57 h 153"/>
                    <a:gd name="T14" fmla="*/ 210 w 227"/>
                    <a:gd name="T15" fmla="*/ 45 h 153"/>
                    <a:gd name="T16" fmla="*/ 204 w 227"/>
                    <a:gd name="T17" fmla="*/ 33 h 153"/>
                    <a:gd name="T18" fmla="*/ 199 w 227"/>
                    <a:gd name="T19" fmla="*/ 27 h 153"/>
                    <a:gd name="T20" fmla="*/ 200 w 227"/>
                    <a:gd name="T21" fmla="*/ 21 h 153"/>
                    <a:gd name="T22" fmla="*/ 207 w 227"/>
                    <a:gd name="T23" fmla="*/ 19 h 153"/>
                    <a:gd name="T24" fmla="*/ 185 w 227"/>
                    <a:gd name="T25" fmla="*/ 9 h 153"/>
                    <a:gd name="T26" fmla="*/ 170 w 227"/>
                    <a:gd name="T27" fmla="*/ 29 h 153"/>
                    <a:gd name="T28" fmla="*/ 162 w 227"/>
                    <a:gd name="T29" fmla="*/ 43 h 153"/>
                    <a:gd name="T30" fmla="*/ 157 w 227"/>
                    <a:gd name="T31" fmla="*/ 53 h 153"/>
                    <a:gd name="T32" fmla="*/ 136 w 227"/>
                    <a:gd name="T33" fmla="*/ 63 h 153"/>
                    <a:gd name="T34" fmla="*/ 113 w 227"/>
                    <a:gd name="T35" fmla="*/ 59 h 153"/>
                    <a:gd name="T36" fmla="*/ 93 w 227"/>
                    <a:gd name="T37" fmla="*/ 66 h 153"/>
                    <a:gd name="T38" fmla="*/ 71 w 227"/>
                    <a:gd name="T39" fmla="*/ 57 h 153"/>
                    <a:gd name="T40" fmla="*/ 63 w 227"/>
                    <a:gd name="T41" fmla="*/ 54 h 153"/>
                    <a:gd name="T42" fmla="*/ 60 w 227"/>
                    <a:gd name="T43" fmla="*/ 62 h 153"/>
                    <a:gd name="T44" fmla="*/ 56 w 227"/>
                    <a:gd name="T45" fmla="*/ 68 h 153"/>
                    <a:gd name="T46" fmla="*/ 61 w 227"/>
                    <a:gd name="T47" fmla="*/ 80 h 153"/>
                    <a:gd name="T48" fmla="*/ 61 w 227"/>
                    <a:gd name="T49" fmla="*/ 88 h 153"/>
                    <a:gd name="T50" fmla="*/ 62 w 227"/>
                    <a:gd name="T51" fmla="*/ 93 h 153"/>
                    <a:gd name="T52" fmla="*/ 67 w 227"/>
                    <a:gd name="T53" fmla="*/ 98 h 153"/>
                    <a:gd name="T54" fmla="*/ 76 w 227"/>
                    <a:gd name="T55" fmla="*/ 105 h 153"/>
                    <a:gd name="T56" fmla="*/ 75 w 227"/>
                    <a:gd name="T57" fmla="*/ 115 h 153"/>
                    <a:gd name="T58" fmla="*/ 78 w 227"/>
                    <a:gd name="T59" fmla="*/ 126 h 153"/>
                    <a:gd name="T60" fmla="*/ 88 w 227"/>
                    <a:gd name="T61" fmla="*/ 132 h 153"/>
                    <a:gd name="T62" fmla="*/ 94 w 227"/>
                    <a:gd name="T63" fmla="*/ 133 h 153"/>
                    <a:gd name="T64" fmla="*/ 105 w 227"/>
                    <a:gd name="T65" fmla="*/ 130 h 153"/>
                    <a:gd name="T66" fmla="*/ 115 w 227"/>
                    <a:gd name="T67" fmla="*/ 138 h 153"/>
                    <a:gd name="T68" fmla="*/ 131 w 227"/>
                    <a:gd name="T69" fmla="*/ 136 h 153"/>
                    <a:gd name="T70" fmla="*/ 143 w 227"/>
                    <a:gd name="T71" fmla="*/ 138 h 153"/>
                    <a:gd name="T72" fmla="*/ 152 w 227"/>
                    <a:gd name="T73" fmla="*/ 140 h 153"/>
                    <a:gd name="T74" fmla="*/ 156 w 227"/>
                    <a:gd name="T75" fmla="*/ 153 h 153"/>
                    <a:gd name="T76" fmla="*/ 170 w 227"/>
                    <a:gd name="T77" fmla="*/ 146 h 153"/>
                    <a:gd name="T78" fmla="*/ 181 w 227"/>
                    <a:gd name="T79" fmla="*/ 135 h 153"/>
                    <a:gd name="T80" fmla="*/ 183 w 227"/>
                    <a:gd name="T81" fmla="*/ 130 h 153"/>
                    <a:gd name="T82" fmla="*/ 186 w 227"/>
                    <a:gd name="T83" fmla="*/ 120 h 153"/>
                    <a:gd name="T84" fmla="*/ 184 w 227"/>
                    <a:gd name="T85" fmla="*/ 113 h 153"/>
                    <a:gd name="T86" fmla="*/ 187 w 227"/>
                    <a:gd name="T87" fmla="*/ 107 h 153"/>
                    <a:gd name="T88" fmla="*/ 191 w 227"/>
                    <a:gd name="T89" fmla="*/ 101 h 153"/>
                    <a:gd name="T90" fmla="*/ 1 w 227"/>
                    <a:gd name="T91" fmla="*/ 34 h 153"/>
                    <a:gd name="T92" fmla="*/ 1 w 227"/>
                    <a:gd name="T93" fmla="*/ 31 h 153"/>
                    <a:gd name="T94" fmla="*/ 56 w 227"/>
                    <a:gd name="T95" fmla="*/ 35 h 153"/>
                    <a:gd name="T96" fmla="*/ 53 w 227"/>
                    <a:gd name="T97" fmla="*/ 34 h 153"/>
                    <a:gd name="T98" fmla="*/ 42 w 227"/>
                    <a:gd name="T99" fmla="*/ 2 h 153"/>
                    <a:gd name="T100" fmla="*/ 42 w 227"/>
                    <a:gd name="T101" fmla="*/ 2 h 153"/>
                    <a:gd name="T102" fmla="*/ 47 w 227"/>
                    <a:gd name="T103" fmla="*/ 18 h 153"/>
                    <a:gd name="T104" fmla="*/ 41 w 227"/>
                    <a:gd name="T105" fmla="*/ 15 h 153"/>
                    <a:gd name="T106" fmla="*/ 48 w 227"/>
                    <a:gd name="T107" fmla="*/ 19 h 153"/>
                    <a:gd name="T108" fmla="*/ 47 w 227"/>
                    <a:gd name="T109" fmla="*/ 18 h 153"/>
                    <a:gd name="T110" fmla="*/ 182 w 227"/>
                    <a:gd name="T111" fmla="*/ 147 h 153"/>
                    <a:gd name="T112" fmla="*/ 179 w 227"/>
                    <a:gd name="T113" fmla="*/ 147 h 153"/>
                    <a:gd name="T114" fmla="*/ 179 w 227"/>
                    <a:gd name="T115" fmla="*/ 1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6" h="153">
                      <a:moveTo>
                        <a:pt x="191" y="101"/>
                      </a:moveTo>
                      <a:cubicBezTo>
                        <a:pt x="192" y="101"/>
                        <a:pt x="192" y="102"/>
                        <a:pt x="192" y="102"/>
                      </a:cubicBezTo>
                      <a:cubicBezTo>
                        <a:pt x="193" y="103"/>
                        <a:pt x="194" y="102"/>
                        <a:pt x="195" y="102"/>
                      </a:cubicBezTo>
                      <a:cubicBezTo>
                        <a:pt x="196" y="101"/>
                        <a:pt x="197" y="101"/>
                        <a:pt x="198" y="100"/>
                      </a:cubicBezTo>
                      <a:cubicBezTo>
                        <a:pt x="199" y="99"/>
                        <a:pt x="198" y="98"/>
                        <a:pt x="199" y="97"/>
                      </a:cubicBezTo>
                      <a:cubicBezTo>
                        <a:pt x="199" y="95"/>
                        <a:pt x="202" y="96"/>
                        <a:pt x="202" y="94"/>
                      </a:cubicBezTo>
                      <a:cubicBezTo>
                        <a:pt x="203" y="93"/>
                        <a:pt x="204" y="91"/>
                        <a:pt x="204" y="90"/>
                      </a:cubicBezTo>
                      <a:cubicBezTo>
                        <a:pt x="203" y="89"/>
                        <a:pt x="202" y="90"/>
                        <a:pt x="202" y="89"/>
                      </a:cubicBezTo>
                      <a:cubicBezTo>
                        <a:pt x="201" y="89"/>
                        <a:pt x="201" y="88"/>
                        <a:pt x="201" y="87"/>
                      </a:cubicBezTo>
                      <a:cubicBezTo>
                        <a:pt x="203" y="84"/>
                        <a:pt x="202" y="81"/>
                        <a:pt x="202" y="78"/>
                      </a:cubicBezTo>
                      <a:cubicBezTo>
                        <a:pt x="203" y="76"/>
                        <a:pt x="205" y="75"/>
                        <a:pt x="205" y="72"/>
                      </a:cubicBezTo>
                      <a:cubicBezTo>
                        <a:pt x="206" y="70"/>
                        <a:pt x="205" y="69"/>
                        <a:pt x="208" y="68"/>
                      </a:cubicBezTo>
                      <a:cubicBezTo>
                        <a:pt x="211" y="68"/>
                        <a:pt x="210" y="66"/>
                        <a:pt x="209" y="65"/>
                      </a:cubicBezTo>
                      <a:cubicBezTo>
                        <a:pt x="209" y="62"/>
                        <a:pt x="210" y="63"/>
                        <a:pt x="211" y="64"/>
                      </a:cubicBezTo>
                      <a:cubicBezTo>
                        <a:pt x="212" y="65"/>
                        <a:pt x="213" y="66"/>
                        <a:pt x="213" y="67"/>
                      </a:cubicBezTo>
                      <a:cubicBezTo>
                        <a:pt x="214" y="67"/>
                        <a:pt x="216" y="67"/>
                        <a:pt x="217" y="68"/>
                      </a:cubicBezTo>
                      <a:cubicBezTo>
                        <a:pt x="219" y="68"/>
                        <a:pt x="221" y="69"/>
                        <a:pt x="223" y="68"/>
                      </a:cubicBezTo>
                      <a:cubicBezTo>
                        <a:pt x="225" y="68"/>
                        <a:pt x="227" y="67"/>
                        <a:pt x="226" y="65"/>
                      </a:cubicBezTo>
                      <a:cubicBezTo>
                        <a:pt x="226" y="64"/>
                        <a:pt x="225" y="64"/>
                        <a:pt x="225" y="63"/>
                      </a:cubicBezTo>
                      <a:cubicBezTo>
                        <a:pt x="224" y="62"/>
                        <a:pt x="223" y="61"/>
                        <a:pt x="222" y="60"/>
                      </a:cubicBezTo>
                      <a:cubicBezTo>
                        <a:pt x="221" y="59"/>
                        <a:pt x="218" y="59"/>
                        <a:pt x="217" y="57"/>
                      </a:cubicBezTo>
                      <a:cubicBezTo>
                        <a:pt x="215" y="56"/>
                        <a:pt x="216" y="53"/>
                        <a:pt x="214" y="52"/>
                      </a:cubicBezTo>
                      <a:cubicBezTo>
                        <a:pt x="212" y="51"/>
                        <a:pt x="205" y="50"/>
                        <a:pt x="208" y="46"/>
                      </a:cubicBezTo>
                      <a:cubicBezTo>
                        <a:pt x="208" y="46"/>
                        <a:pt x="209" y="45"/>
                        <a:pt x="210" y="45"/>
                      </a:cubicBezTo>
                      <a:cubicBezTo>
                        <a:pt x="211" y="44"/>
                        <a:pt x="211" y="43"/>
                        <a:pt x="211" y="42"/>
                      </a:cubicBezTo>
                      <a:cubicBezTo>
                        <a:pt x="212" y="41"/>
                        <a:pt x="208" y="38"/>
                        <a:pt x="207" y="37"/>
                      </a:cubicBezTo>
                      <a:cubicBezTo>
                        <a:pt x="206" y="36"/>
                        <a:pt x="204" y="35"/>
                        <a:pt x="204" y="33"/>
                      </a:cubicBezTo>
                      <a:cubicBezTo>
                        <a:pt x="203" y="32"/>
                        <a:pt x="204" y="31"/>
                        <a:pt x="204" y="30"/>
                      </a:cubicBezTo>
                      <a:cubicBezTo>
                        <a:pt x="204" y="28"/>
                        <a:pt x="204" y="28"/>
                        <a:pt x="202" y="29"/>
                      </a:cubicBezTo>
                      <a:cubicBezTo>
                        <a:pt x="201" y="29"/>
                        <a:pt x="199" y="28"/>
                        <a:pt x="199" y="27"/>
                      </a:cubicBezTo>
                      <a:cubicBezTo>
                        <a:pt x="200" y="25"/>
                        <a:pt x="201" y="24"/>
                        <a:pt x="198" y="23"/>
                      </a:cubicBezTo>
                      <a:cubicBezTo>
                        <a:pt x="198" y="23"/>
                        <a:pt x="194" y="22"/>
                        <a:pt x="195" y="21"/>
                      </a:cubicBezTo>
                      <a:cubicBezTo>
                        <a:pt x="195" y="20"/>
                        <a:pt x="199" y="20"/>
                        <a:pt x="200" y="21"/>
                      </a:cubicBezTo>
                      <a:cubicBezTo>
                        <a:pt x="201" y="21"/>
                        <a:pt x="202" y="21"/>
                        <a:pt x="203" y="20"/>
                      </a:cubicBezTo>
                      <a:cubicBezTo>
                        <a:pt x="203" y="19"/>
                        <a:pt x="202" y="19"/>
                        <a:pt x="203" y="18"/>
                      </a:cubicBezTo>
                      <a:cubicBezTo>
                        <a:pt x="203" y="16"/>
                        <a:pt x="206" y="20"/>
                        <a:pt x="207" y="19"/>
                      </a:cubicBezTo>
                      <a:cubicBezTo>
                        <a:pt x="208" y="16"/>
                        <a:pt x="201" y="14"/>
                        <a:pt x="203" y="12"/>
                      </a:cubicBezTo>
                      <a:cubicBezTo>
                        <a:pt x="200" y="11"/>
                        <a:pt x="197" y="11"/>
                        <a:pt x="194" y="10"/>
                      </a:cubicBezTo>
                      <a:cubicBezTo>
                        <a:pt x="191" y="10"/>
                        <a:pt x="188" y="9"/>
                        <a:pt x="185" y="9"/>
                      </a:cubicBezTo>
                      <a:cubicBezTo>
                        <a:pt x="180" y="8"/>
                        <a:pt x="174" y="9"/>
                        <a:pt x="172" y="13"/>
                      </a:cubicBezTo>
                      <a:cubicBezTo>
                        <a:pt x="170" y="16"/>
                        <a:pt x="171" y="18"/>
                        <a:pt x="171" y="21"/>
                      </a:cubicBezTo>
                      <a:cubicBezTo>
                        <a:pt x="171" y="24"/>
                        <a:pt x="171" y="27"/>
                        <a:pt x="170" y="29"/>
                      </a:cubicBezTo>
                      <a:cubicBezTo>
                        <a:pt x="168" y="31"/>
                        <a:pt x="166" y="32"/>
                        <a:pt x="164" y="33"/>
                      </a:cubicBezTo>
                      <a:cubicBezTo>
                        <a:pt x="163" y="35"/>
                        <a:pt x="163" y="37"/>
                        <a:pt x="163" y="38"/>
                      </a:cubicBezTo>
                      <a:cubicBezTo>
                        <a:pt x="164" y="40"/>
                        <a:pt x="164" y="42"/>
                        <a:pt x="162" y="43"/>
                      </a:cubicBezTo>
                      <a:cubicBezTo>
                        <a:pt x="161" y="43"/>
                        <a:pt x="159" y="43"/>
                        <a:pt x="159" y="44"/>
                      </a:cubicBezTo>
                      <a:cubicBezTo>
                        <a:pt x="158" y="45"/>
                        <a:pt x="158" y="46"/>
                        <a:pt x="158" y="47"/>
                      </a:cubicBezTo>
                      <a:cubicBezTo>
                        <a:pt x="159" y="50"/>
                        <a:pt x="158" y="51"/>
                        <a:pt x="157" y="53"/>
                      </a:cubicBezTo>
                      <a:cubicBezTo>
                        <a:pt x="155" y="55"/>
                        <a:pt x="154" y="58"/>
                        <a:pt x="152" y="59"/>
                      </a:cubicBezTo>
                      <a:cubicBezTo>
                        <a:pt x="149" y="61"/>
                        <a:pt x="146" y="59"/>
                        <a:pt x="144" y="60"/>
                      </a:cubicBezTo>
                      <a:cubicBezTo>
                        <a:pt x="141" y="60"/>
                        <a:pt x="139" y="62"/>
                        <a:pt x="136" y="63"/>
                      </a:cubicBezTo>
                      <a:cubicBezTo>
                        <a:pt x="133" y="63"/>
                        <a:pt x="131" y="62"/>
                        <a:pt x="129" y="60"/>
                      </a:cubicBezTo>
                      <a:cubicBezTo>
                        <a:pt x="127" y="59"/>
                        <a:pt x="124" y="58"/>
                        <a:pt x="121" y="58"/>
                      </a:cubicBezTo>
                      <a:cubicBezTo>
                        <a:pt x="119" y="58"/>
                        <a:pt x="115" y="58"/>
                        <a:pt x="113" y="59"/>
                      </a:cubicBezTo>
                      <a:cubicBezTo>
                        <a:pt x="111" y="60"/>
                        <a:pt x="111" y="63"/>
                        <a:pt x="110" y="65"/>
                      </a:cubicBezTo>
                      <a:cubicBezTo>
                        <a:pt x="108" y="67"/>
                        <a:pt x="105" y="67"/>
                        <a:pt x="102" y="66"/>
                      </a:cubicBezTo>
                      <a:cubicBezTo>
                        <a:pt x="99" y="66"/>
                        <a:pt x="96" y="65"/>
                        <a:pt x="93" y="66"/>
                      </a:cubicBezTo>
                      <a:cubicBezTo>
                        <a:pt x="90" y="67"/>
                        <a:pt x="87" y="68"/>
                        <a:pt x="84" y="68"/>
                      </a:cubicBezTo>
                      <a:cubicBezTo>
                        <a:pt x="81" y="67"/>
                        <a:pt x="79" y="66"/>
                        <a:pt x="77" y="64"/>
                      </a:cubicBezTo>
                      <a:cubicBezTo>
                        <a:pt x="75" y="62"/>
                        <a:pt x="72" y="60"/>
                        <a:pt x="71" y="57"/>
                      </a:cubicBezTo>
                      <a:cubicBezTo>
                        <a:pt x="70" y="56"/>
                        <a:pt x="69" y="55"/>
                        <a:pt x="68" y="54"/>
                      </a:cubicBezTo>
                      <a:cubicBezTo>
                        <a:pt x="67" y="52"/>
                        <a:pt x="67" y="51"/>
                        <a:pt x="68" y="49"/>
                      </a:cubicBezTo>
                      <a:cubicBezTo>
                        <a:pt x="65" y="49"/>
                        <a:pt x="64" y="52"/>
                        <a:pt x="63" y="54"/>
                      </a:cubicBezTo>
                      <a:cubicBezTo>
                        <a:pt x="62" y="54"/>
                        <a:pt x="61" y="55"/>
                        <a:pt x="60" y="56"/>
                      </a:cubicBezTo>
                      <a:cubicBezTo>
                        <a:pt x="59" y="57"/>
                        <a:pt x="61" y="58"/>
                        <a:pt x="62" y="58"/>
                      </a:cubicBezTo>
                      <a:cubicBezTo>
                        <a:pt x="64" y="59"/>
                        <a:pt x="61" y="61"/>
                        <a:pt x="60" y="62"/>
                      </a:cubicBezTo>
                      <a:cubicBezTo>
                        <a:pt x="59" y="62"/>
                        <a:pt x="58" y="62"/>
                        <a:pt x="58" y="63"/>
                      </a:cubicBezTo>
                      <a:cubicBezTo>
                        <a:pt x="57" y="64"/>
                        <a:pt x="58" y="65"/>
                        <a:pt x="58" y="66"/>
                      </a:cubicBezTo>
                      <a:cubicBezTo>
                        <a:pt x="58" y="67"/>
                        <a:pt x="57" y="67"/>
                        <a:pt x="56" y="68"/>
                      </a:cubicBezTo>
                      <a:cubicBezTo>
                        <a:pt x="56" y="68"/>
                        <a:pt x="56" y="69"/>
                        <a:pt x="56" y="70"/>
                      </a:cubicBezTo>
                      <a:cubicBezTo>
                        <a:pt x="56" y="72"/>
                        <a:pt x="59" y="74"/>
                        <a:pt x="58" y="76"/>
                      </a:cubicBezTo>
                      <a:cubicBezTo>
                        <a:pt x="57" y="77"/>
                        <a:pt x="60" y="79"/>
                        <a:pt x="61" y="80"/>
                      </a:cubicBezTo>
                      <a:cubicBezTo>
                        <a:pt x="62" y="80"/>
                        <a:pt x="63" y="81"/>
                        <a:pt x="62" y="82"/>
                      </a:cubicBezTo>
                      <a:cubicBezTo>
                        <a:pt x="62" y="83"/>
                        <a:pt x="62" y="85"/>
                        <a:pt x="61" y="86"/>
                      </a:cubicBezTo>
                      <a:cubicBezTo>
                        <a:pt x="61" y="87"/>
                        <a:pt x="61" y="87"/>
                        <a:pt x="61" y="88"/>
                      </a:cubicBezTo>
                      <a:cubicBezTo>
                        <a:pt x="60" y="88"/>
                        <a:pt x="60" y="88"/>
                        <a:pt x="59" y="88"/>
                      </a:cubicBezTo>
                      <a:cubicBezTo>
                        <a:pt x="58" y="88"/>
                        <a:pt x="60" y="90"/>
                        <a:pt x="60" y="91"/>
                      </a:cubicBezTo>
                      <a:cubicBezTo>
                        <a:pt x="61" y="91"/>
                        <a:pt x="62" y="92"/>
                        <a:pt x="62" y="93"/>
                      </a:cubicBezTo>
                      <a:cubicBezTo>
                        <a:pt x="63" y="94"/>
                        <a:pt x="63" y="95"/>
                        <a:pt x="63" y="96"/>
                      </a:cubicBezTo>
                      <a:cubicBezTo>
                        <a:pt x="63" y="97"/>
                        <a:pt x="64" y="97"/>
                        <a:pt x="65" y="97"/>
                      </a:cubicBezTo>
                      <a:cubicBezTo>
                        <a:pt x="66" y="97"/>
                        <a:pt x="67" y="98"/>
                        <a:pt x="67" y="98"/>
                      </a:cubicBezTo>
                      <a:cubicBezTo>
                        <a:pt x="69" y="98"/>
                        <a:pt x="70" y="97"/>
                        <a:pt x="71" y="97"/>
                      </a:cubicBezTo>
                      <a:cubicBezTo>
                        <a:pt x="72" y="97"/>
                        <a:pt x="72" y="98"/>
                        <a:pt x="73" y="99"/>
                      </a:cubicBezTo>
                      <a:cubicBezTo>
                        <a:pt x="74" y="102"/>
                        <a:pt x="76" y="102"/>
                        <a:pt x="76" y="105"/>
                      </a:cubicBezTo>
                      <a:cubicBezTo>
                        <a:pt x="76" y="106"/>
                        <a:pt x="76" y="107"/>
                        <a:pt x="75" y="109"/>
                      </a:cubicBezTo>
                      <a:cubicBezTo>
                        <a:pt x="75" y="110"/>
                        <a:pt x="74" y="111"/>
                        <a:pt x="74" y="112"/>
                      </a:cubicBezTo>
                      <a:cubicBezTo>
                        <a:pt x="75" y="113"/>
                        <a:pt x="74" y="115"/>
                        <a:pt x="75" y="115"/>
                      </a:cubicBezTo>
                      <a:cubicBezTo>
                        <a:pt x="76" y="116"/>
                        <a:pt x="77" y="116"/>
                        <a:pt x="77" y="117"/>
                      </a:cubicBezTo>
                      <a:cubicBezTo>
                        <a:pt x="79" y="118"/>
                        <a:pt x="80" y="121"/>
                        <a:pt x="79" y="123"/>
                      </a:cubicBezTo>
                      <a:cubicBezTo>
                        <a:pt x="79" y="124"/>
                        <a:pt x="78" y="125"/>
                        <a:pt x="78" y="126"/>
                      </a:cubicBezTo>
                      <a:cubicBezTo>
                        <a:pt x="78" y="127"/>
                        <a:pt x="79" y="127"/>
                        <a:pt x="79" y="128"/>
                      </a:cubicBezTo>
                      <a:cubicBezTo>
                        <a:pt x="80" y="130"/>
                        <a:pt x="79" y="133"/>
                        <a:pt x="82" y="133"/>
                      </a:cubicBezTo>
                      <a:cubicBezTo>
                        <a:pt x="84" y="134"/>
                        <a:pt x="86" y="133"/>
                        <a:pt x="88" y="132"/>
                      </a:cubicBezTo>
                      <a:cubicBezTo>
                        <a:pt x="89" y="132"/>
                        <a:pt x="91" y="131"/>
                        <a:pt x="91" y="132"/>
                      </a:cubicBezTo>
                      <a:cubicBezTo>
                        <a:pt x="91" y="132"/>
                        <a:pt x="90" y="133"/>
                        <a:pt x="90" y="134"/>
                      </a:cubicBezTo>
                      <a:cubicBezTo>
                        <a:pt x="91" y="135"/>
                        <a:pt x="94" y="134"/>
                        <a:pt x="94" y="133"/>
                      </a:cubicBezTo>
                      <a:cubicBezTo>
                        <a:pt x="95" y="133"/>
                        <a:pt x="96" y="132"/>
                        <a:pt x="98" y="132"/>
                      </a:cubicBezTo>
                      <a:cubicBezTo>
                        <a:pt x="99" y="131"/>
                        <a:pt x="100" y="133"/>
                        <a:pt x="101" y="132"/>
                      </a:cubicBezTo>
                      <a:cubicBezTo>
                        <a:pt x="103" y="132"/>
                        <a:pt x="103" y="128"/>
                        <a:pt x="105" y="130"/>
                      </a:cubicBezTo>
                      <a:cubicBezTo>
                        <a:pt x="107" y="131"/>
                        <a:pt x="106" y="135"/>
                        <a:pt x="106" y="137"/>
                      </a:cubicBezTo>
                      <a:cubicBezTo>
                        <a:pt x="106" y="139"/>
                        <a:pt x="106" y="142"/>
                        <a:pt x="109" y="141"/>
                      </a:cubicBezTo>
                      <a:cubicBezTo>
                        <a:pt x="111" y="141"/>
                        <a:pt x="112" y="138"/>
                        <a:pt x="115" y="138"/>
                      </a:cubicBezTo>
                      <a:cubicBezTo>
                        <a:pt x="117" y="137"/>
                        <a:pt x="120" y="138"/>
                        <a:pt x="122" y="137"/>
                      </a:cubicBezTo>
                      <a:cubicBezTo>
                        <a:pt x="125" y="137"/>
                        <a:pt x="124" y="133"/>
                        <a:pt x="127" y="133"/>
                      </a:cubicBezTo>
                      <a:cubicBezTo>
                        <a:pt x="129" y="132"/>
                        <a:pt x="129" y="135"/>
                        <a:pt x="131" y="136"/>
                      </a:cubicBezTo>
                      <a:cubicBezTo>
                        <a:pt x="133" y="136"/>
                        <a:pt x="135" y="135"/>
                        <a:pt x="137" y="136"/>
                      </a:cubicBezTo>
                      <a:cubicBezTo>
                        <a:pt x="138" y="138"/>
                        <a:pt x="138" y="141"/>
                        <a:pt x="141" y="140"/>
                      </a:cubicBezTo>
                      <a:cubicBezTo>
                        <a:pt x="142" y="139"/>
                        <a:pt x="143" y="139"/>
                        <a:pt x="143" y="138"/>
                      </a:cubicBezTo>
                      <a:cubicBezTo>
                        <a:pt x="145" y="137"/>
                        <a:pt x="145" y="137"/>
                        <a:pt x="146" y="138"/>
                      </a:cubicBezTo>
                      <a:cubicBezTo>
                        <a:pt x="148" y="139"/>
                        <a:pt x="148" y="138"/>
                        <a:pt x="149" y="138"/>
                      </a:cubicBezTo>
                      <a:cubicBezTo>
                        <a:pt x="150" y="138"/>
                        <a:pt x="151" y="139"/>
                        <a:pt x="152" y="140"/>
                      </a:cubicBezTo>
                      <a:cubicBezTo>
                        <a:pt x="154" y="142"/>
                        <a:pt x="152" y="145"/>
                        <a:pt x="153" y="148"/>
                      </a:cubicBezTo>
                      <a:cubicBezTo>
                        <a:pt x="153" y="149"/>
                        <a:pt x="154" y="150"/>
                        <a:pt x="154" y="151"/>
                      </a:cubicBezTo>
                      <a:cubicBezTo>
                        <a:pt x="155" y="152"/>
                        <a:pt x="155" y="153"/>
                        <a:pt x="156" y="153"/>
                      </a:cubicBezTo>
                      <a:cubicBezTo>
                        <a:pt x="158" y="151"/>
                        <a:pt x="161" y="150"/>
                        <a:pt x="164" y="149"/>
                      </a:cubicBezTo>
                      <a:cubicBezTo>
                        <a:pt x="165" y="149"/>
                        <a:pt x="166" y="149"/>
                        <a:pt x="167" y="148"/>
                      </a:cubicBezTo>
                      <a:cubicBezTo>
                        <a:pt x="169" y="148"/>
                        <a:pt x="169" y="147"/>
                        <a:pt x="170" y="146"/>
                      </a:cubicBezTo>
                      <a:cubicBezTo>
                        <a:pt x="172" y="145"/>
                        <a:pt x="176" y="145"/>
                        <a:pt x="176" y="143"/>
                      </a:cubicBezTo>
                      <a:cubicBezTo>
                        <a:pt x="177" y="141"/>
                        <a:pt x="176" y="139"/>
                        <a:pt x="178" y="137"/>
                      </a:cubicBezTo>
                      <a:cubicBezTo>
                        <a:pt x="179" y="137"/>
                        <a:pt x="180" y="136"/>
                        <a:pt x="181" y="135"/>
                      </a:cubicBezTo>
                      <a:cubicBezTo>
                        <a:pt x="181" y="135"/>
                        <a:pt x="180" y="134"/>
                        <a:pt x="180" y="133"/>
                      </a:cubicBezTo>
                      <a:cubicBezTo>
                        <a:pt x="179" y="133"/>
                        <a:pt x="177" y="130"/>
                        <a:pt x="179" y="130"/>
                      </a:cubicBezTo>
                      <a:cubicBezTo>
                        <a:pt x="180" y="129"/>
                        <a:pt x="183" y="132"/>
                        <a:pt x="183" y="130"/>
                      </a:cubicBezTo>
                      <a:cubicBezTo>
                        <a:pt x="184" y="128"/>
                        <a:pt x="182" y="127"/>
                        <a:pt x="182" y="126"/>
                      </a:cubicBezTo>
                      <a:cubicBezTo>
                        <a:pt x="181" y="124"/>
                        <a:pt x="185" y="122"/>
                        <a:pt x="187" y="122"/>
                      </a:cubicBezTo>
                      <a:cubicBezTo>
                        <a:pt x="187" y="121"/>
                        <a:pt x="186" y="120"/>
                        <a:pt x="186" y="120"/>
                      </a:cubicBezTo>
                      <a:cubicBezTo>
                        <a:pt x="185" y="119"/>
                        <a:pt x="184" y="120"/>
                        <a:pt x="183" y="120"/>
                      </a:cubicBezTo>
                      <a:cubicBezTo>
                        <a:pt x="180" y="119"/>
                        <a:pt x="182" y="117"/>
                        <a:pt x="183" y="116"/>
                      </a:cubicBezTo>
                      <a:cubicBezTo>
                        <a:pt x="184" y="115"/>
                        <a:pt x="184" y="114"/>
                        <a:pt x="184" y="113"/>
                      </a:cubicBezTo>
                      <a:cubicBezTo>
                        <a:pt x="184" y="112"/>
                        <a:pt x="183" y="113"/>
                        <a:pt x="182" y="112"/>
                      </a:cubicBezTo>
                      <a:cubicBezTo>
                        <a:pt x="180" y="112"/>
                        <a:pt x="183" y="110"/>
                        <a:pt x="184" y="110"/>
                      </a:cubicBezTo>
                      <a:cubicBezTo>
                        <a:pt x="185" y="109"/>
                        <a:pt x="186" y="108"/>
                        <a:pt x="187" y="107"/>
                      </a:cubicBezTo>
                      <a:cubicBezTo>
                        <a:pt x="188" y="107"/>
                        <a:pt x="189" y="106"/>
                        <a:pt x="190" y="105"/>
                      </a:cubicBezTo>
                      <a:cubicBezTo>
                        <a:pt x="190" y="103"/>
                        <a:pt x="189" y="101"/>
                        <a:pt x="192" y="101"/>
                      </a:cubicBezTo>
                      <a:cubicBezTo>
                        <a:pt x="192" y="101"/>
                        <a:pt x="191" y="101"/>
                        <a:pt x="191" y="101"/>
                      </a:cubicBezTo>
                      <a:cubicBezTo>
                        <a:pt x="192" y="101"/>
                        <a:pt x="191" y="101"/>
                        <a:pt x="191" y="101"/>
                      </a:cubicBezTo>
                      <a:close/>
                      <a:moveTo>
                        <a:pt x="1" y="31"/>
                      </a:moveTo>
                      <a:cubicBezTo>
                        <a:pt x="1" y="32"/>
                        <a:pt x="0" y="33"/>
                        <a:pt x="1" y="34"/>
                      </a:cubicBezTo>
                      <a:cubicBezTo>
                        <a:pt x="2" y="35"/>
                        <a:pt x="4" y="35"/>
                        <a:pt x="4" y="33"/>
                      </a:cubicBezTo>
                      <a:cubicBezTo>
                        <a:pt x="6" y="30"/>
                        <a:pt x="2" y="28"/>
                        <a:pt x="1" y="31"/>
                      </a:cubicBezTo>
                      <a:cubicBezTo>
                        <a:pt x="1" y="31"/>
                        <a:pt x="1" y="31"/>
                        <a:pt x="1" y="31"/>
                      </a:cubicBezTo>
                      <a:cubicBezTo>
                        <a:pt x="1" y="32"/>
                        <a:pt x="1" y="31"/>
                        <a:pt x="1" y="31"/>
                      </a:cubicBezTo>
                      <a:close/>
                      <a:moveTo>
                        <a:pt x="53" y="34"/>
                      </a:moveTo>
                      <a:cubicBezTo>
                        <a:pt x="54" y="34"/>
                        <a:pt x="55" y="35"/>
                        <a:pt x="56" y="35"/>
                      </a:cubicBezTo>
                      <a:cubicBezTo>
                        <a:pt x="57" y="34"/>
                        <a:pt x="57" y="32"/>
                        <a:pt x="56" y="31"/>
                      </a:cubicBezTo>
                      <a:cubicBezTo>
                        <a:pt x="55" y="30"/>
                        <a:pt x="54" y="32"/>
                        <a:pt x="53" y="32"/>
                      </a:cubicBezTo>
                      <a:cubicBezTo>
                        <a:pt x="52" y="33"/>
                        <a:pt x="52" y="34"/>
                        <a:pt x="53" y="34"/>
                      </a:cubicBezTo>
                      <a:cubicBezTo>
                        <a:pt x="53" y="34"/>
                        <a:pt x="53" y="34"/>
                        <a:pt x="53" y="34"/>
                      </a:cubicBezTo>
                      <a:cubicBezTo>
                        <a:pt x="54" y="35"/>
                        <a:pt x="53" y="34"/>
                        <a:pt x="53" y="34"/>
                      </a:cubicBezTo>
                      <a:close/>
                      <a:moveTo>
                        <a:pt x="42" y="2"/>
                      </a:moveTo>
                      <a:cubicBezTo>
                        <a:pt x="42" y="1"/>
                        <a:pt x="41" y="0"/>
                        <a:pt x="40" y="0"/>
                      </a:cubicBezTo>
                      <a:cubicBezTo>
                        <a:pt x="39" y="0"/>
                        <a:pt x="38" y="2"/>
                        <a:pt x="38" y="3"/>
                      </a:cubicBezTo>
                      <a:cubicBezTo>
                        <a:pt x="38" y="3"/>
                        <a:pt x="42" y="4"/>
                        <a:pt x="42" y="2"/>
                      </a:cubicBezTo>
                      <a:cubicBezTo>
                        <a:pt x="42" y="2"/>
                        <a:pt x="42" y="2"/>
                        <a:pt x="42" y="2"/>
                      </a:cubicBezTo>
                      <a:cubicBezTo>
                        <a:pt x="42" y="1"/>
                        <a:pt x="42" y="2"/>
                        <a:pt x="42" y="2"/>
                      </a:cubicBezTo>
                      <a:close/>
                      <a:moveTo>
                        <a:pt x="47" y="18"/>
                      </a:moveTo>
                      <a:cubicBezTo>
                        <a:pt x="47" y="17"/>
                        <a:pt x="46" y="16"/>
                        <a:pt x="46" y="14"/>
                      </a:cubicBezTo>
                      <a:cubicBezTo>
                        <a:pt x="46" y="13"/>
                        <a:pt x="46" y="12"/>
                        <a:pt x="45" y="11"/>
                      </a:cubicBezTo>
                      <a:cubicBezTo>
                        <a:pt x="42" y="10"/>
                        <a:pt x="41" y="13"/>
                        <a:pt x="41" y="15"/>
                      </a:cubicBezTo>
                      <a:cubicBezTo>
                        <a:pt x="42" y="16"/>
                        <a:pt x="43" y="16"/>
                        <a:pt x="43" y="17"/>
                      </a:cubicBezTo>
                      <a:cubicBezTo>
                        <a:pt x="44" y="17"/>
                        <a:pt x="44" y="19"/>
                        <a:pt x="45" y="19"/>
                      </a:cubicBezTo>
                      <a:cubicBezTo>
                        <a:pt x="46" y="19"/>
                        <a:pt x="48" y="20"/>
                        <a:pt x="48" y="19"/>
                      </a:cubicBezTo>
                      <a:cubicBezTo>
                        <a:pt x="48" y="18"/>
                        <a:pt x="47" y="17"/>
                        <a:pt x="47" y="17"/>
                      </a:cubicBezTo>
                      <a:cubicBezTo>
                        <a:pt x="47" y="17"/>
                        <a:pt x="47" y="17"/>
                        <a:pt x="47" y="18"/>
                      </a:cubicBezTo>
                      <a:cubicBezTo>
                        <a:pt x="47" y="17"/>
                        <a:pt x="47" y="18"/>
                        <a:pt x="47" y="18"/>
                      </a:cubicBezTo>
                      <a:close/>
                      <a:moveTo>
                        <a:pt x="179" y="151"/>
                      </a:moveTo>
                      <a:cubicBezTo>
                        <a:pt x="180" y="151"/>
                        <a:pt x="180" y="151"/>
                        <a:pt x="181" y="150"/>
                      </a:cubicBezTo>
                      <a:cubicBezTo>
                        <a:pt x="181" y="149"/>
                        <a:pt x="182" y="148"/>
                        <a:pt x="182" y="147"/>
                      </a:cubicBezTo>
                      <a:cubicBezTo>
                        <a:pt x="184" y="145"/>
                        <a:pt x="184" y="142"/>
                        <a:pt x="181" y="141"/>
                      </a:cubicBezTo>
                      <a:cubicBezTo>
                        <a:pt x="180" y="141"/>
                        <a:pt x="179" y="142"/>
                        <a:pt x="179" y="143"/>
                      </a:cubicBezTo>
                      <a:cubicBezTo>
                        <a:pt x="178" y="144"/>
                        <a:pt x="179" y="145"/>
                        <a:pt x="179" y="147"/>
                      </a:cubicBezTo>
                      <a:cubicBezTo>
                        <a:pt x="179" y="148"/>
                        <a:pt x="179" y="149"/>
                        <a:pt x="178" y="150"/>
                      </a:cubicBezTo>
                      <a:cubicBezTo>
                        <a:pt x="178" y="151"/>
                        <a:pt x="178" y="152"/>
                        <a:pt x="179" y="151"/>
                      </a:cubicBezTo>
                      <a:cubicBezTo>
                        <a:pt x="179" y="151"/>
                        <a:pt x="179" y="151"/>
                        <a:pt x="179" y="151"/>
                      </a:cubicBezTo>
                      <a:cubicBezTo>
                        <a:pt x="179" y="151"/>
                        <a:pt x="179" y="151"/>
                        <a:pt x="179" y="151"/>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nvGrpSpPr>
                <p:cNvPr id="128" name="Group 127">
                  <a:extLst>
                    <a:ext uri="{FF2B5EF4-FFF2-40B4-BE49-F238E27FC236}">
                      <a16:creationId xmlns:a16="http://schemas.microsoft.com/office/drawing/2014/main" id="{D3B44BAD-F7A5-AC2A-D31B-FC57A6E36882}"/>
                    </a:ext>
                  </a:extLst>
                </p:cNvPr>
                <p:cNvGrpSpPr/>
                <p:nvPr>
                  <p:custDataLst>
                    <p:tags r:id="rId292"/>
                  </p:custDataLst>
                </p:nvPr>
              </p:nvGrpSpPr>
              <p:grpSpPr>
                <a:xfrm>
                  <a:off x="8716963" y="4391026"/>
                  <a:ext cx="954089" cy="538162"/>
                  <a:chOff x="8716963" y="4391026"/>
                  <a:chExt cx="954089" cy="538162"/>
                </a:xfrm>
              </p:grpSpPr>
              <p:sp>
                <p:nvSpPr>
                  <p:cNvPr id="129" name="Freeform 174">
                    <a:extLst>
                      <a:ext uri="{FF2B5EF4-FFF2-40B4-BE49-F238E27FC236}">
                        <a16:creationId xmlns:a16="http://schemas.microsoft.com/office/drawing/2014/main" id="{C06AF010-5F19-5BB3-A9D7-8B7789EBAEA8}"/>
                      </a:ext>
                    </a:extLst>
                  </p:cNvPr>
                  <p:cNvSpPr>
                    <a:spLocks noEditPoints="1"/>
                  </p:cNvSpPr>
                  <p:nvPr>
                    <p:custDataLst>
                      <p:tags r:id="rId293"/>
                    </p:custDataLst>
                  </p:nvPr>
                </p:nvSpPr>
                <p:spPr bwMode="auto">
                  <a:xfrm>
                    <a:off x="9272589" y="4760913"/>
                    <a:ext cx="398463" cy="168275"/>
                  </a:xfrm>
                  <a:custGeom>
                    <a:avLst/>
                    <a:gdLst>
                      <a:gd name="T0" fmla="*/ 207 w 215"/>
                      <a:gd name="T1" fmla="*/ 73 h 91"/>
                      <a:gd name="T2" fmla="*/ 211 w 215"/>
                      <a:gd name="T3" fmla="*/ 57 h 91"/>
                      <a:gd name="T4" fmla="*/ 189 w 215"/>
                      <a:gd name="T5" fmla="*/ 72 h 91"/>
                      <a:gd name="T6" fmla="*/ 188 w 215"/>
                      <a:gd name="T7" fmla="*/ 79 h 91"/>
                      <a:gd name="T8" fmla="*/ 68 w 215"/>
                      <a:gd name="T9" fmla="*/ 54 h 91"/>
                      <a:gd name="T10" fmla="*/ 61 w 215"/>
                      <a:gd name="T11" fmla="*/ 49 h 91"/>
                      <a:gd name="T12" fmla="*/ 53 w 215"/>
                      <a:gd name="T13" fmla="*/ 45 h 91"/>
                      <a:gd name="T14" fmla="*/ 34 w 215"/>
                      <a:gd name="T15" fmla="*/ 44 h 91"/>
                      <a:gd name="T16" fmla="*/ 49 w 215"/>
                      <a:gd name="T17" fmla="*/ 49 h 91"/>
                      <a:gd name="T18" fmla="*/ 50 w 215"/>
                      <a:gd name="T19" fmla="*/ 52 h 91"/>
                      <a:gd name="T20" fmla="*/ 50 w 215"/>
                      <a:gd name="T21" fmla="*/ 52 h 91"/>
                      <a:gd name="T22" fmla="*/ 112 w 215"/>
                      <a:gd name="T23" fmla="*/ 51 h 91"/>
                      <a:gd name="T24" fmla="*/ 105 w 215"/>
                      <a:gd name="T25" fmla="*/ 48 h 91"/>
                      <a:gd name="T26" fmla="*/ 97 w 215"/>
                      <a:gd name="T27" fmla="*/ 46 h 91"/>
                      <a:gd name="T28" fmla="*/ 90 w 215"/>
                      <a:gd name="T29" fmla="*/ 45 h 91"/>
                      <a:gd name="T30" fmla="*/ 100 w 215"/>
                      <a:gd name="T31" fmla="*/ 54 h 91"/>
                      <a:gd name="T32" fmla="*/ 158 w 215"/>
                      <a:gd name="T33" fmla="*/ 83 h 91"/>
                      <a:gd name="T34" fmla="*/ 158 w 215"/>
                      <a:gd name="T35" fmla="*/ 83 h 91"/>
                      <a:gd name="T36" fmla="*/ 164 w 215"/>
                      <a:gd name="T37" fmla="*/ 51 h 91"/>
                      <a:gd name="T38" fmla="*/ 151 w 215"/>
                      <a:gd name="T39" fmla="*/ 50 h 91"/>
                      <a:gd name="T40" fmla="*/ 130 w 215"/>
                      <a:gd name="T41" fmla="*/ 46 h 91"/>
                      <a:gd name="T42" fmla="*/ 127 w 215"/>
                      <a:gd name="T43" fmla="*/ 53 h 91"/>
                      <a:gd name="T44" fmla="*/ 143 w 215"/>
                      <a:gd name="T45" fmla="*/ 55 h 91"/>
                      <a:gd name="T46" fmla="*/ 159 w 215"/>
                      <a:gd name="T47" fmla="*/ 54 h 91"/>
                      <a:gd name="T48" fmla="*/ 50 w 215"/>
                      <a:gd name="T49" fmla="*/ 23 h 91"/>
                      <a:gd name="T50" fmla="*/ 50 w 215"/>
                      <a:gd name="T51" fmla="*/ 23 h 91"/>
                      <a:gd name="T52" fmla="*/ 111 w 215"/>
                      <a:gd name="T53" fmla="*/ 44 h 91"/>
                      <a:gd name="T54" fmla="*/ 80 w 215"/>
                      <a:gd name="T55" fmla="*/ 58 h 91"/>
                      <a:gd name="T56" fmla="*/ 96 w 215"/>
                      <a:gd name="T57" fmla="*/ 53 h 91"/>
                      <a:gd name="T58" fmla="*/ 84 w 215"/>
                      <a:gd name="T59" fmla="*/ 50 h 91"/>
                      <a:gd name="T60" fmla="*/ 81 w 215"/>
                      <a:gd name="T61" fmla="*/ 58 h 91"/>
                      <a:gd name="T62" fmla="*/ 120 w 215"/>
                      <a:gd name="T63" fmla="*/ 51 h 91"/>
                      <a:gd name="T64" fmla="*/ 117 w 215"/>
                      <a:gd name="T65" fmla="*/ 52 h 91"/>
                      <a:gd name="T66" fmla="*/ 1 w 215"/>
                      <a:gd name="T67" fmla="*/ 4 h 91"/>
                      <a:gd name="T68" fmla="*/ 1 w 215"/>
                      <a:gd name="T69" fmla="*/ 1 h 91"/>
                      <a:gd name="T70" fmla="*/ 135 w 215"/>
                      <a:gd name="T71" fmla="*/ 13 h 91"/>
                      <a:gd name="T72" fmla="*/ 7 w 215"/>
                      <a:gd name="T73" fmla="*/ 22 h 91"/>
                      <a:gd name="T74" fmla="*/ 17 w 215"/>
                      <a:gd name="T75" fmla="*/ 26 h 91"/>
                      <a:gd name="T76" fmla="*/ 13 w 215"/>
                      <a:gd name="T77" fmla="*/ 21 h 91"/>
                      <a:gd name="T78" fmla="*/ 125 w 215"/>
                      <a:gd name="T79" fmla="*/ 72 h 91"/>
                      <a:gd name="T80" fmla="*/ 135 w 215"/>
                      <a:gd name="T81" fmla="*/ 79 h 91"/>
                      <a:gd name="T82" fmla="*/ 137 w 215"/>
                      <a:gd name="T83" fmla="*/ 71 h 91"/>
                      <a:gd name="T84" fmla="*/ 129 w 215"/>
                      <a:gd name="T85" fmla="*/ 65 h 91"/>
                      <a:gd name="T86" fmla="*/ 113 w 215"/>
                      <a:gd name="T87" fmla="*/ 65 h 91"/>
                      <a:gd name="T88" fmla="*/ 115 w 215"/>
                      <a:gd name="T89" fmla="*/ 70 h 91"/>
                      <a:gd name="T90" fmla="*/ 135 w 215"/>
                      <a:gd name="T91" fmla="*/ 4 h 91"/>
                      <a:gd name="T92" fmla="*/ 204 w 215"/>
                      <a:gd name="T93" fmla="*/ 48 h 91"/>
                      <a:gd name="T94" fmla="*/ 206 w 215"/>
                      <a:gd name="T95" fmla="*/ 43 h 91"/>
                      <a:gd name="T96" fmla="*/ 205 w 215"/>
                      <a:gd name="T97" fmla="*/ 48 h 91"/>
                      <a:gd name="T98" fmla="*/ 183 w 215"/>
                      <a:gd name="T99" fmla="*/ 48 h 91"/>
                      <a:gd name="T100" fmla="*/ 186 w 215"/>
                      <a:gd name="T101" fmla="*/ 49 h 91"/>
                      <a:gd name="T102" fmla="*/ 196 w 215"/>
                      <a:gd name="T103" fmla="*/ 45 h 91"/>
                      <a:gd name="T104" fmla="*/ 183 w 215"/>
                      <a:gd name="T105" fmla="*/ 79 h 91"/>
                      <a:gd name="T106" fmla="*/ 184 w 215"/>
                      <a:gd name="T107" fmla="*/ 77 h 91"/>
                      <a:gd name="T108" fmla="*/ 176 w 215"/>
                      <a:gd name="T109" fmla="*/ 49 h 91"/>
                      <a:gd name="T110" fmla="*/ 168 w 215"/>
                      <a:gd name="T111" fmla="*/ 50 h 91"/>
                      <a:gd name="T112" fmla="*/ 189 w 215"/>
                      <a:gd name="T113" fmla="*/ 44 h 91"/>
                      <a:gd name="T114" fmla="*/ 189 w 215"/>
                      <a:gd name="T115" fmla="*/ 44 h 91"/>
                      <a:gd name="T116" fmla="*/ 185 w 215"/>
                      <a:gd name="T117" fmla="*/ 85 h 91"/>
                      <a:gd name="T118" fmla="*/ 175 w 215"/>
                      <a:gd name="T119" fmla="*/ 9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5" h="91">
                        <a:moveTo>
                          <a:pt x="188" y="79"/>
                        </a:moveTo>
                        <a:cubicBezTo>
                          <a:pt x="189" y="80"/>
                          <a:pt x="190" y="80"/>
                          <a:pt x="192" y="79"/>
                        </a:cubicBezTo>
                        <a:cubicBezTo>
                          <a:pt x="194" y="79"/>
                          <a:pt x="195" y="78"/>
                          <a:pt x="198" y="78"/>
                        </a:cubicBezTo>
                        <a:cubicBezTo>
                          <a:pt x="202" y="77"/>
                          <a:pt x="204" y="76"/>
                          <a:pt x="207" y="73"/>
                        </a:cubicBezTo>
                        <a:cubicBezTo>
                          <a:pt x="208" y="71"/>
                          <a:pt x="209" y="70"/>
                          <a:pt x="211" y="69"/>
                        </a:cubicBezTo>
                        <a:cubicBezTo>
                          <a:pt x="212" y="68"/>
                          <a:pt x="215" y="66"/>
                          <a:pt x="215" y="65"/>
                        </a:cubicBezTo>
                        <a:cubicBezTo>
                          <a:pt x="215" y="64"/>
                          <a:pt x="215" y="62"/>
                          <a:pt x="214" y="60"/>
                        </a:cubicBezTo>
                        <a:cubicBezTo>
                          <a:pt x="214" y="58"/>
                          <a:pt x="212" y="58"/>
                          <a:pt x="211" y="57"/>
                        </a:cubicBezTo>
                        <a:cubicBezTo>
                          <a:pt x="208" y="55"/>
                          <a:pt x="205" y="60"/>
                          <a:pt x="203" y="62"/>
                        </a:cubicBezTo>
                        <a:cubicBezTo>
                          <a:pt x="200" y="65"/>
                          <a:pt x="196" y="63"/>
                          <a:pt x="193" y="65"/>
                        </a:cubicBezTo>
                        <a:cubicBezTo>
                          <a:pt x="192" y="65"/>
                          <a:pt x="191" y="66"/>
                          <a:pt x="190" y="67"/>
                        </a:cubicBezTo>
                        <a:cubicBezTo>
                          <a:pt x="189" y="69"/>
                          <a:pt x="189" y="71"/>
                          <a:pt x="189" y="72"/>
                        </a:cubicBezTo>
                        <a:cubicBezTo>
                          <a:pt x="190" y="75"/>
                          <a:pt x="190" y="76"/>
                          <a:pt x="189" y="77"/>
                        </a:cubicBezTo>
                        <a:cubicBezTo>
                          <a:pt x="187" y="78"/>
                          <a:pt x="187" y="79"/>
                          <a:pt x="189" y="80"/>
                        </a:cubicBezTo>
                        <a:cubicBezTo>
                          <a:pt x="188" y="80"/>
                          <a:pt x="188" y="80"/>
                          <a:pt x="188" y="79"/>
                        </a:cubicBezTo>
                        <a:cubicBezTo>
                          <a:pt x="188" y="80"/>
                          <a:pt x="188" y="79"/>
                          <a:pt x="188" y="79"/>
                        </a:cubicBezTo>
                        <a:close/>
                        <a:moveTo>
                          <a:pt x="59" y="52"/>
                        </a:moveTo>
                        <a:cubicBezTo>
                          <a:pt x="58" y="52"/>
                          <a:pt x="55" y="53"/>
                          <a:pt x="57" y="54"/>
                        </a:cubicBezTo>
                        <a:cubicBezTo>
                          <a:pt x="59" y="55"/>
                          <a:pt x="61" y="54"/>
                          <a:pt x="63" y="55"/>
                        </a:cubicBezTo>
                        <a:cubicBezTo>
                          <a:pt x="65" y="56"/>
                          <a:pt x="66" y="56"/>
                          <a:pt x="68" y="54"/>
                        </a:cubicBezTo>
                        <a:cubicBezTo>
                          <a:pt x="68" y="54"/>
                          <a:pt x="69" y="53"/>
                          <a:pt x="69" y="52"/>
                        </a:cubicBezTo>
                        <a:cubicBezTo>
                          <a:pt x="70" y="51"/>
                          <a:pt x="70" y="50"/>
                          <a:pt x="71" y="49"/>
                        </a:cubicBezTo>
                        <a:cubicBezTo>
                          <a:pt x="74" y="44"/>
                          <a:pt x="66" y="43"/>
                          <a:pt x="63" y="45"/>
                        </a:cubicBezTo>
                        <a:cubicBezTo>
                          <a:pt x="61" y="45"/>
                          <a:pt x="61" y="47"/>
                          <a:pt x="61" y="49"/>
                        </a:cubicBezTo>
                        <a:cubicBezTo>
                          <a:pt x="61" y="51"/>
                          <a:pt x="59" y="51"/>
                          <a:pt x="58" y="52"/>
                        </a:cubicBezTo>
                        <a:cubicBezTo>
                          <a:pt x="58" y="52"/>
                          <a:pt x="58" y="52"/>
                          <a:pt x="59" y="52"/>
                        </a:cubicBezTo>
                        <a:cubicBezTo>
                          <a:pt x="58" y="52"/>
                          <a:pt x="59" y="52"/>
                          <a:pt x="59" y="52"/>
                        </a:cubicBezTo>
                        <a:close/>
                        <a:moveTo>
                          <a:pt x="53" y="45"/>
                        </a:moveTo>
                        <a:cubicBezTo>
                          <a:pt x="52" y="44"/>
                          <a:pt x="51" y="44"/>
                          <a:pt x="51" y="43"/>
                        </a:cubicBezTo>
                        <a:cubicBezTo>
                          <a:pt x="50" y="43"/>
                          <a:pt x="49" y="42"/>
                          <a:pt x="47" y="41"/>
                        </a:cubicBezTo>
                        <a:cubicBezTo>
                          <a:pt x="45" y="41"/>
                          <a:pt x="42" y="41"/>
                          <a:pt x="40" y="42"/>
                        </a:cubicBezTo>
                        <a:cubicBezTo>
                          <a:pt x="39" y="42"/>
                          <a:pt x="33" y="42"/>
                          <a:pt x="34" y="44"/>
                        </a:cubicBezTo>
                        <a:cubicBezTo>
                          <a:pt x="34" y="45"/>
                          <a:pt x="37" y="47"/>
                          <a:pt x="38" y="47"/>
                        </a:cubicBezTo>
                        <a:cubicBezTo>
                          <a:pt x="41" y="48"/>
                          <a:pt x="43" y="47"/>
                          <a:pt x="43" y="50"/>
                        </a:cubicBezTo>
                        <a:cubicBezTo>
                          <a:pt x="43" y="51"/>
                          <a:pt x="43" y="55"/>
                          <a:pt x="45" y="53"/>
                        </a:cubicBezTo>
                        <a:cubicBezTo>
                          <a:pt x="46" y="52"/>
                          <a:pt x="47" y="50"/>
                          <a:pt x="49" y="49"/>
                        </a:cubicBezTo>
                        <a:cubicBezTo>
                          <a:pt x="51" y="48"/>
                          <a:pt x="54" y="47"/>
                          <a:pt x="53" y="44"/>
                        </a:cubicBezTo>
                        <a:cubicBezTo>
                          <a:pt x="53" y="45"/>
                          <a:pt x="53" y="45"/>
                          <a:pt x="53" y="45"/>
                        </a:cubicBezTo>
                        <a:cubicBezTo>
                          <a:pt x="52" y="44"/>
                          <a:pt x="53" y="45"/>
                          <a:pt x="53" y="45"/>
                        </a:cubicBezTo>
                        <a:close/>
                        <a:moveTo>
                          <a:pt x="50" y="52"/>
                        </a:moveTo>
                        <a:cubicBezTo>
                          <a:pt x="50" y="54"/>
                          <a:pt x="52" y="55"/>
                          <a:pt x="52" y="54"/>
                        </a:cubicBezTo>
                        <a:cubicBezTo>
                          <a:pt x="52" y="52"/>
                          <a:pt x="51" y="51"/>
                          <a:pt x="50" y="52"/>
                        </a:cubicBezTo>
                        <a:cubicBezTo>
                          <a:pt x="50" y="52"/>
                          <a:pt x="50" y="52"/>
                          <a:pt x="50" y="52"/>
                        </a:cubicBezTo>
                        <a:cubicBezTo>
                          <a:pt x="50" y="53"/>
                          <a:pt x="50" y="52"/>
                          <a:pt x="50" y="52"/>
                        </a:cubicBezTo>
                        <a:close/>
                        <a:moveTo>
                          <a:pt x="104" y="54"/>
                        </a:moveTo>
                        <a:cubicBezTo>
                          <a:pt x="104" y="54"/>
                          <a:pt x="105" y="54"/>
                          <a:pt x="106" y="53"/>
                        </a:cubicBezTo>
                        <a:cubicBezTo>
                          <a:pt x="107" y="53"/>
                          <a:pt x="107" y="52"/>
                          <a:pt x="108" y="52"/>
                        </a:cubicBezTo>
                        <a:cubicBezTo>
                          <a:pt x="109" y="52"/>
                          <a:pt x="113" y="53"/>
                          <a:pt x="112" y="51"/>
                        </a:cubicBezTo>
                        <a:cubicBezTo>
                          <a:pt x="112" y="50"/>
                          <a:pt x="110" y="51"/>
                          <a:pt x="110" y="49"/>
                        </a:cubicBezTo>
                        <a:cubicBezTo>
                          <a:pt x="110" y="47"/>
                          <a:pt x="110" y="46"/>
                          <a:pt x="108" y="45"/>
                        </a:cubicBezTo>
                        <a:cubicBezTo>
                          <a:pt x="107" y="45"/>
                          <a:pt x="107" y="46"/>
                          <a:pt x="106" y="46"/>
                        </a:cubicBezTo>
                        <a:cubicBezTo>
                          <a:pt x="105" y="47"/>
                          <a:pt x="106" y="47"/>
                          <a:pt x="105" y="48"/>
                        </a:cubicBezTo>
                        <a:cubicBezTo>
                          <a:pt x="105" y="49"/>
                          <a:pt x="104" y="48"/>
                          <a:pt x="103" y="48"/>
                        </a:cubicBezTo>
                        <a:cubicBezTo>
                          <a:pt x="103" y="47"/>
                          <a:pt x="104" y="47"/>
                          <a:pt x="104" y="46"/>
                        </a:cubicBezTo>
                        <a:cubicBezTo>
                          <a:pt x="105" y="45"/>
                          <a:pt x="102" y="44"/>
                          <a:pt x="101" y="45"/>
                        </a:cubicBezTo>
                        <a:cubicBezTo>
                          <a:pt x="100" y="46"/>
                          <a:pt x="99" y="47"/>
                          <a:pt x="97" y="46"/>
                        </a:cubicBezTo>
                        <a:cubicBezTo>
                          <a:pt x="97" y="45"/>
                          <a:pt x="96" y="43"/>
                          <a:pt x="95" y="43"/>
                        </a:cubicBezTo>
                        <a:cubicBezTo>
                          <a:pt x="94" y="43"/>
                          <a:pt x="93" y="43"/>
                          <a:pt x="92" y="43"/>
                        </a:cubicBezTo>
                        <a:cubicBezTo>
                          <a:pt x="92" y="43"/>
                          <a:pt x="91" y="42"/>
                          <a:pt x="90" y="42"/>
                        </a:cubicBezTo>
                        <a:cubicBezTo>
                          <a:pt x="89" y="42"/>
                          <a:pt x="89" y="44"/>
                          <a:pt x="90" y="45"/>
                        </a:cubicBezTo>
                        <a:cubicBezTo>
                          <a:pt x="90" y="47"/>
                          <a:pt x="93" y="47"/>
                          <a:pt x="94" y="48"/>
                        </a:cubicBezTo>
                        <a:cubicBezTo>
                          <a:pt x="95" y="48"/>
                          <a:pt x="97" y="50"/>
                          <a:pt x="98" y="50"/>
                        </a:cubicBezTo>
                        <a:cubicBezTo>
                          <a:pt x="99" y="50"/>
                          <a:pt x="101" y="50"/>
                          <a:pt x="101" y="51"/>
                        </a:cubicBezTo>
                        <a:cubicBezTo>
                          <a:pt x="101" y="52"/>
                          <a:pt x="99" y="53"/>
                          <a:pt x="100" y="54"/>
                        </a:cubicBezTo>
                        <a:cubicBezTo>
                          <a:pt x="101" y="55"/>
                          <a:pt x="103" y="54"/>
                          <a:pt x="104" y="54"/>
                        </a:cubicBezTo>
                        <a:cubicBezTo>
                          <a:pt x="104" y="54"/>
                          <a:pt x="104" y="54"/>
                          <a:pt x="104" y="54"/>
                        </a:cubicBezTo>
                        <a:cubicBezTo>
                          <a:pt x="104" y="54"/>
                          <a:pt x="104" y="54"/>
                          <a:pt x="104" y="54"/>
                        </a:cubicBezTo>
                        <a:close/>
                        <a:moveTo>
                          <a:pt x="158" y="83"/>
                        </a:moveTo>
                        <a:cubicBezTo>
                          <a:pt x="158" y="83"/>
                          <a:pt x="156" y="83"/>
                          <a:pt x="157" y="84"/>
                        </a:cubicBezTo>
                        <a:cubicBezTo>
                          <a:pt x="157" y="85"/>
                          <a:pt x="158" y="85"/>
                          <a:pt x="159" y="85"/>
                        </a:cubicBezTo>
                        <a:cubicBezTo>
                          <a:pt x="160" y="84"/>
                          <a:pt x="161" y="83"/>
                          <a:pt x="160" y="83"/>
                        </a:cubicBezTo>
                        <a:cubicBezTo>
                          <a:pt x="160" y="82"/>
                          <a:pt x="158" y="83"/>
                          <a:pt x="158" y="83"/>
                        </a:cubicBezTo>
                        <a:cubicBezTo>
                          <a:pt x="158" y="83"/>
                          <a:pt x="158" y="83"/>
                          <a:pt x="158" y="83"/>
                        </a:cubicBezTo>
                        <a:cubicBezTo>
                          <a:pt x="158" y="83"/>
                          <a:pt x="158" y="83"/>
                          <a:pt x="158" y="83"/>
                        </a:cubicBezTo>
                        <a:close/>
                        <a:moveTo>
                          <a:pt x="163" y="53"/>
                        </a:moveTo>
                        <a:cubicBezTo>
                          <a:pt x="165" y="53"/>
                          <a:pt x="166" y="52"/>
                          <a:pt x="164" y="51"/>
                        </a:cubicBezTo>
                        <a:cubicBezTo>
                          <a:pt x="163" y="51"/>
                          <a:pt x="163" y="50"/>
                          <a:pt x="162" y="50"/>
                        </a:cubicBezTo>
                        <a:cubicBezTo>
                          <a:pt x="162" y="49"/>
                          <a:pt x="161" y="49"/>
                          <a:pt x="160" y="49"/>
                        </a:cubicBezTo>
                        <a:cubicBezTo>
                          <a:pt x="158" y="48"/>
                          <a:pt x="156" y="48"/>
                          <a:pt x="154" y="49"/>
                        </a:cubicBezTo>
                        <a:cubicBezTo>
                          <a:pt x="153" y="49"/>
                          <a:pt x="153" y="52"/>
                          <a:pt x="151" y="50"/>
                        </a:cubicBezTo>
                        <a:cubicBezTo>
                          <a:pt x="149" y="49"/>
                          <a:pt x="148" y="47"/>
                          <a:pt x="146" y="47"/>
                        </a:cubicBezTo>
                        <a:cubicBezTo>
                          <a:pt x="145" y="46"/>
                          <a:pt x="144" y="46"/>
                          <a:pt x="143" y="46"/>
                        </a:cubicBezTo>
                        <a:cubicBezTo>
                          <a:pt x="141" y="46"/>
                          <a:pt x="140" y="46"/>
                          <a:pt x="139" y="46"/>
                        </a:cubicBezTo>
                        <a:cubicBezTo>
                          <a:pt x="136" y="45"/>
                          <a:pt x="133" y="45"/>
                          <a:pt x="130" y="46"/>
                        </a:cubicBezTo>
                        <a:cubicBezTo>
                          <a:pt x="129" y="46"/>
                          <a:pt x="129" y="46"/>
                          <a:pt x="127" y="47"/>
                        </a:cubicBezTo>
                        <a:cubicBezTo>
                          <a:pt x="126" y="47"/>
                          <a:pt x="126" y="47"/>
                          <a:pt x="125" y="48"/>
                        </a:cubicBezTo>
                        <a:cubicBezTo>
                          <a:pt x="125" y="49"/>
                          <a:pt x="123" y="53"/>
                          <a:pt x="125" y="53"/>
                        </a:cubicBezTo>
                        <a:cubicBezTo>
                          <a:pt x="125" y="53"/>
                          <a:pt x="126" y="53"/>
                          <a:pt x="127" y="53"/>
                        </a:cubicBezTo>
                        <a:cubicBezTo>
                          <a:pt x="128" y="52"/>
                          <a:pt x="129" y="52"/>
                          <a:pt x="130" y="53"/>
                        </a:cubicBezTo>
                        <a:cubicBezTo>
                          <a:pt x="133" y="54"/>
                          <a:pt x="134" y="54"/>
                          <a:pt x="137" y="53"/>
                        </a:cubicBezTo>
                        <a:cubicBezTo>
                          <a:pt x="138" y="53"/>
                          <a:pt x="139" y="53"/>
                          <a:pt x="140" y="53"/>
                        </a:cubicBezTo>
                        <a:cubicBezTo>
                          <a:pt x="142" y="53"/>
                          <a:pt x="142" y="53"/>
                          <a:pt x="143" y="55"/>
                        </a:cubicBezTo>
                        <a:cubicBezTo>
                          <a:pt x="144" y="57"/>
                          <a:pt x="146" y="55"/>
                          <a:pt x="148" y="54"/>
                        </a:cubicBezTo>
                        <a:cubicBezTo>
                          <a:pt x="149" y="54"/>
                          <a:pt x="150" y="53"/>
                          <a:pt x="151" y="53"/>
                        </a:cubicBezTo>
                        <a:cubicBezTo>
                          <a:pt x="152" y="53"/>
                          <a:pt x="152" y="54"/>
                          <a:pt x="153" y="54"/>
                        </a:cubicBezTo>
                        <a:cubicBezTo>
                          <a:pt x="155" y="56"/>
                          <a:pt x="157" y="56"/>
                          <a:pt x="159" y="54"/>
                        </a:cubicBezTo>
                        <a:cubicBezTo>
                          <a:pt x="160" y="53"/>
                          <a:pt x="162" y="53"/>
                          <a:pt x="164" y="53"/>
                        </a:cubicBezTo>
                        <a:cubicBezTo>
                          <a:pt x="164" y="53"/>
                          <a:pt x="164" y="53"/>
                          <a:pt x="163" y="53"/>
                        </a:cubicBezTo>
                        <a:cubicBezTo>
                          <a:pt x="165" y="53"/>
                          <a:pt x="163" y="53"/>
                          <a:pt x="163" y="53"/>
                        </a:cubicBezTo>
                        <a:close/>
                        <a:moveTo>
                          <a:pt x="50" y="23"/>
                        </a:moveTo>
                        <a:cubicBezTo>
                          <a:pt x="51" y="22"/>
                          <a:pt x="49" y="21"/>
                          <a:pt x="49" y="21"/>
                        </a:cubicBezTo>
                        <a:cubicBezTo>
                          <a:pt x="48" y="20"/>
                          <a:pt x="47" y="20"/>
                          <a:pt x="46" y="20"/>
                        </a:cubicBezTo>
                        <a:cubicBezTo>
                          <a:pt x="43" y="23"/>
                          <a:pt x="49" y="23"/>
                          <a:pt x="50" y="22"/>
                        </a:cubicBezTo>
                        <a:cubicBezTo>
                          <a:pt x="50" y="23"/>
                          <a:pt x="50" y="23"/>
                          <a:pt x="50" y="23"/>
                        </a:cubicBezTo>
                        <a:cubicBezTo>
                          <a:pt x="51" y="22"/>
                          <a:pt x="50" y="23"/>
                          <a:pt x="50" y="23"/>
                        </a:cubicBezTo>
                        <a:close/>
                        <a:moveTo>
                          <a:pt x="113" y="43"/>
                        </a:moveTo>
                        <a:cubicBezTo>
                          <a:pt x="113" y="42"/>
                          <a:pt x="111" y="40"/>
                          <a:pt x="111" y="42"/>
                        </a:cubicBezTo>
                        <a:cubicBezTo>
                          <a:pt x="111" y="43"/>
                          <a:pt x="110" y="44"/>
                          <a:pt x="111" y="44"/>
                        </a:cubicBezTo>
                        <a:cubicBezTo>
                          <a:pt x="112" y="44"/>
                          <a:pt x="112" y="44"/>
                          <a:pt x="113" y="43"/>
                        </a:cubicBezTo>
                        <a:cubicBezTo>
                          <a:pt x="113" y="43"/>
                          <a:pt x="113" y="43"/>
                          <a:pt x="113" y="43"/>
                        </a:cubicBezTo>
                        <a:cubicBezTo>
                          <a:pt x="113" y="42"/>
                          <a:pt x="113" y="43"/>
                          <a:pt x="113" y="43"/>
                        </a:cubicBezTo>
                        <a:close/>
                        <a:moveTo>
                          <a:pt x="80" y="58"/>
                        </a:moveTo>
                        <a:cubicBezTo>
                          <a:pt x="81" y="57"/>
                          <a:pt x="83" y="57"/>
                          <a:pt x="85" y="56"/>
                        </a:cubicBezTo>
                        <a:cubicBezTo>
                          <a:pt x="86" y="56"/>
                          <a:pt x="88" y="56"/>
                          <a:pt x="89" y="55"/>
                        </a:cubicBezTo>
                        <a:cubicBezTo>
                          <a:pt x="90" y="54"/>
                          <a:pt x="91" y="54"/>
                          <a:pt x="93" y="54"/>
                        </a:cubicBezTo>
                        <a:cubicBezTo>
                          <a:pt x="94" y="54"/>
                          <a:pt x="95" y="54"/>
                          <a:pt x="96" y="53"/>
                        </a:cubicBezTo>
                        <a:cubicBezTo>
                          <a:pt x="97" y="53"/>
                          <a:pt x="97" y="51"/>
                          <a:pt x="96" y="52"/>
                        </a:cubicBezTo>
                        <a:cubicBezTo>
                          <a:pt x="95" y="52"/>
                          <a:pt x="94" y="52"/>
                          <a:pt x="93" y="52"/>
                        </a:cubicBezTo>
                        <a:cubicBezTo>
                          <a:pt x="92" y="53"/>
                          <a:pt x="90" y="53"/>
                          <a:pt x="89" y="53"/>
                        </a:cubicBezTo>
                        <a:cubicBezTo>
                          <a:pt x="87" y="52"/>
                          <a:pt x="86" y="51"/>
                          <a:pt x="84" y="50"/>
                        </a:cubicBezTo>
                        <a:cubicBezTo>
                          <a:pt x="83" y="48"/>
                          <a:pt x="80" y="47"/>
                          <a:pt x="77" y="47"/>
                        </a:cubicBezTo>
                        <a:cubicBezTo>
                          <a:pt x="75" y="48"/>
                          <a:pt x="74" y="50"/>
                          <a:pt x="73" y="53"/>
                        </a:cubicBezTo>
                        <a:cubicBezTo>
                          <a:pt x="73" y="55"/>
                          <a:pt x="73" y="58"/>
                          <a:pt x="75" y="58"/>
                        </a:cubicBezTo>
                        <a:cubicBezTo>
                          <a:pt x="77" y="58"/>
                          <a:pt x="79" y="58"/>
                          <a:pt x="81" y="58"/>
                        </a:cubicBezTo>
                        <a:cubicBezTo>
                          <a:pt x="81" y="58"/>
                          <a:pt x="80" y="58"/>
                          <a:pt x="80" y="58"/>
                        </a:cubicBezTo>
                        <a:cubicBezTo>
                          <a:pt x="82" y="57"/>
                          <a:pt x="80" y="58"/>
                          <a:pt x="80" y="58"/>
                        </a:cubicBezTo>
                        <a:close/>
                        <a:moveTo>
                          <a:pt x="117" y="52"/>
                        </a:moveTo>
                        <a:cubicBezTo>
                          <a:pt x="118" y="52"/>
                          <a:pt x="119" y="52"/>
                          <a:pt x="120" y="51"/>
                        </a:cubicBezTo>
                        <a:cubicBezTo>
                          <a:pt x="120" y="50"/>
                          <a:pt x="120" y="48"/>
                          <a:pt x="118" y="47"/>
                        </a:cubicBezTo>
                        <a:cubicBezTo>
                          <a:pt x="117" y="47"/>
                          <a:pt x="117" y="50"/>
                          <a:pt x="117" y="51"/>
                        </a:cubicBezTo>
                        <a:cubicBezTo>
                          <a:pt x="116" y="52"/>
                          <a:pt x="117" y="52"/>
                          <a:pt x="117" y="52"/>
                        </a:cubicBezTo>
                        <a:cubicBezTo>
                          <a:pt x="117" y="52"/>
                          <a:pt x="117" y="52"/>
                          <a:pt x="117" y="52"/>
                        </a:cubicBezTo>
                        <a:cubicBezTo>
                          <a:pt x="118" y="52"/>
                          <a:pt x="117" y="52"/>
                          <a:pt x="117" y="52"/>
                        </a:cubicBezTo>
                        <a:close/>
                        <a:moveTo>
                          <a:pt x="1" y="1"/>
                        </a:moveTo>
                        <a:cubicBezTo>
                          <a:pt x="1" y="2"/>
                          <a:pt x="0" y="2"/>
                          <a:pt x="0" y="3"/>
                        </a:cubicBezTo>
                        <a:cubicBezTo>
                          <a:pt x="0" y="3"/>
                          <a:pt x="1" y="4"/>
                          <a:pt x="1" y="4"/>
                        </a:cubicBezTo>
                        <a:cubicBezTo>
                          <a:pt x="2" y="3"/>
                          <a:pt x="3" y="2"/>
                          <a:pt x="2" y="1"/>
                        </a:cubicBezTo>
                        <a:cubicBezTo>
                          <a:pt x="2" y="0"/>
                          <a:pt x="1" y="1"/>
                          <a:pt x="1" y="2"/>
                        </a:cubicBezTo>
                        <a:cubicBezTo>
                          <a:pt x="1" y="1"/>
                          <a:pt x="1" y="1"/>
                          <a:pt x="1" y="1"/>
                        </a:cubicBezTo>
                        <a:cubicBezTo>
                          <a:pt x="1" y="1"/>
                          <a:pt x="1" y="1"/>
                          <a:pt x="1" y="1"/>
                        </a:cubicBezTo>
                        <a:close/>
                        <a:moveTo>
                          <a:pt x="135" y="14"/>
                        </a:moveTo>
                        <a:cubicBezTo>
                          <a:pt x="136" y="13"/>
                          <a:pt x="136" y="12"/>
                          <a:pt x="136" y="11"/>
                        </a:cubicBezTo>
                        <a:cubicBezTo>
                          <a:pt x="136" y="10"/>
                          <a:pt x="135" y="9"/>
                          <a:pt x="135" y="10"/>
                        </a:cubicBezTo>
                        <a:cubicBezTo>
                          <a:pt x="135" y="11"/>
                          <a:pt x="133" y="14"/>
                          <a:pt x="135" y="13"/>
                        </a:cubicBezTo>
                        <a:cubicBezTo>
                          <a:pt x="135" y="13"/>
                          <a:pt x="135" y="13"/>
                          <a:pt x="135" y="14"/>
                        </a:cubicBezTo>
                        <a:cubicBezTo>
                          <a:pt x="136" y="13"/>
                          <a:pt x="135" y="14"/>
                          <a:pt x="135" y="14"/>
                        </a:cubicBezTo>
                        <a:close/>
                        <a:moveTo>
                          <a:pt x="14" y="21"/>
                        </a:moveTo>
                        <a:cubicBezTo>
                          <a:pt x="12" y="21"/>
                          <a:pt x="9" y="21"/>
                          <a:pt x="7" y="22"/>
                        </a:cubicBezTo>
                        <a:cubicBezTo>
                          <a:pt x="6" y="22"/>
                          <a:pt x="4" y="24"/>
                          <a:pt x="5" y="25"/>
                        </a:cubicBezTo>
                        <a:cubicBezTo>
                          <a:pt x="5" y="26"/>
                          <a:pt x="7" y="26"/>
                          <a:pt x="7" y="26"/>
                        </a:cubicBezTo>
                        <a:cubicBezTo>
                          <a:pt x="8" y="26"/>
                          <a:pt x="9" y="26"/>
                          <a:pt x="11" y="27"/>
                        </a:cubicBezTo>
                        <a:cubicBezTo>
                          <a:pt x="13" y="28"/>
                          <a:pt x="15" y="27"/>
                          <a:pt x="17" y="26"/>
                        </a:cubicBezTo>
                        <a:cubicBezTo>
                          <a:pt x="19" y="25"/>
                          <a:pt x="20" y="25"/>
                          <a:pt x="22" y="24"/>
                        </a:cubicBezTo>
                        <a:cubicBezTo>
                          <a:pt x="22" y="24"/>
                          <a:pt x="25" y="23"/>
                          <a:pt x="23" y="22"/>
                        </a:cubicBezTo>
                        <a:cubicBezTo>
                          <a:pt x="22" y="21"/>
                          <a:pt x="20" y="21"/>
                          <a:pt x="19" y="21"/>
                        </a:cubicBezTo>
                        <a:cubicBezTo>
                          <a:pt x="17" y="21"/>
                          <a:pt x="15" y="21"/>
                          <a:pt x="13" y="21"/>
                        </a:cubicBezTo>
                        <a:cubicBezTo>
                          <a:pt x="13" y="21"/>
                          <a:pt x="14" y="21"/>
                          <a:pt x="14" y="21"/>
                        </a:cubicBezTo>
                        <a:cubicBezTo>
                          <a:pt x="11" y="21"/>
                          <a:pt x="14" y="21"/>
                          <a:pt x="14" y="21"/>
                        </a:cubicBezTo>
                        <a:close/>
                        <a:moveTo>
                          <a:pt x="115" y="70"/>
                        </a:moveTo>
                        <a:cubicBezTo>
                          <a:pt x="118" y="71"/>
                          <a:pt x="123" y="70"/>
                          <a:pt x="125" y="72"/>
                        </a:cubicBezTo>
                        <a:cubicBezTo>
                          <a:pt x="126" y="73"/>
                          <a:pt x="127" y="75"/>
                          <a:pt x="128" y="75"/>
                        </a:cubicBezTo>
                        <a:cubicBezTo>
                          <a:pt x="129" y="75"/>
                          <a:pt x="130" y="76"/>
                          <a:pt x="131" y="76"/>
                        </a:cubicBezTo>
                        <a:cubicBezTo>
                          <a:pt x="131" y="77"/>
                          <a:pt x="131" y="78"/>
                          <a:pt x="132" y="78"/>
                        </a:cubicBezTo>
                        <a:cubicBezTo>
                          <a:pt x="133" y="79"/>
                          <a:pt x="135" y="79"/>
                          <a:pt x="135" y="79"/>
                        </a:cubicBezTo>
                        <a:cubicBezTo>
                          <a:pt x="136" y="78"/>
                          <a:pt x="137" y="78"/>
                          <a:pt x="137" y="77"/>
                        </a:cubicBezTo>
                        <a:cubicBezTo>
                          <a:pt x="138" y="77"/>
                          <a:pt x="139" y="77"/>
                          <a:pt x="140" y="76"/>
                        </a:cubicBezTo>
                        <a:cubicBezTo>
                          <a:pt x="141" y="76"/>
                          <a:pt x="140" y="74"/>
                          <a:pt x="139" y="73"/>
                        </a:cubicBezTo>
                        <a:cubicBezTo>
                          <a:pt x="138" y="73"/>
                          <a:pt x="138" y="72"/>
                          <a:pt x="137" y="71"/>
                        </a:cubicBezTo>
                        <a:cubicBezTo>
                          <a:pt x="137" y="71"/>
                          <a:pt x="137" y="70"/>
                          <a:pt x="137" y="69"/>
                        </a:cubicBezTo>
                        <a:cubicBezTo>
                          <a:pt x="136" y="68"/>
                          <a:pt x="133" y="69"/>
                          <a:pt x="132" y="68"/>
                        </a:cubicBezTo>
                        <a:cubicBezTo>
                          <a:pt x="132" y="68"/>
                          <a:pt x="131" y="68"/>
                          <a:pt x="130" y="67"/>
                        </a:cubicBezTo>
                        <a:cubicBezTo>
                          <a:pt x="130" y="66"/>
                          <a:pt x="130" y="65"/>
                          <a:pt x="129" y="65"/>
                        </a:cubicBezTo>
                        <a:cubicBezTo>
                          <a:pt x="129" y="64"/>
                          <a:pt x="128" y="64"/>
                          <a:pt x="128" y="64"/>
                        </a:cubicBezTo>
                        <a:cubicBezTo>
                          <a:pt x="127" y="63"/>
                          <a:pt x="126" y="63"/>
                          <a:pt x="125" y="63"/>
                        </a:cubicBezTo>
                        <a:cubicBezTo>
                          <a:pt x="123" y="63"/>
                          <a:pt x="121" y="63"/>
                          <a:pt x="119" y="63"/>
                        </a:cubicBezTo>
                        <a:cubicBezTo>
                          <a:pt x="117" y="63"/>
                          <a:pt x="115" y="64"/>
                          <a:pt x="113" y="65"/>
                        </a:cubicBezTo>
                        <a:cubicBezTo>
                          <a:pt x="112" y="65"/>
                          <a:pt x="110" y="66"/>
                          <a:pt x="110" y="67"/>
                        </a:cubicBezTo>
                        <a:cubicBezTo>
                          <a:pt x="109" y="69"/>
                          <a:pt x="114" y="70"/>
                          <a:pt x="115" y="70"/>
                        </a:cubicBezTo>
                        <a:cubicBezTo>
                          <a:pt x="115" y="70"/>
                          <a:pt x="115" y="70"/>
                          <a:pt x="115" y="70"/>
                        </a:cubicBezTo>
                        <a:cubicBezTo>
                          <a:pt x="116" y="70"/>
                          <a:pt x="115" y="70"/>
                          <a:pt x="115" y="70"/>
                        </a:cubicBezTo>
                        <a:close/>
                        <a:moveTo>
                          <a:pt x="136" y="7"/>
                        </a:moveTo>
                        <a:cubicBezTo>
                          <a:pt x="137" y="6"/>
                          <a:pt x="137" y="5"/>
                          <a:pt x="137" y="4"/>
                        </a:cubicBezTo>
                        <a:cubicBezTo>
                          <a:pt x="137" y="4"/>
                          <a:pt x="135" y="1"/>
                          <a:pt x="135" y="2"/>
                        </a:cubicBezTo>
                        <a:cubicBezTo>
                          <a:pt x="135" y="3"/>
                          <a:pt x="135" y="4"/>
                          <a:pt x="135" y="4"/>
                        </a:cubicBezTo>
                        <a:cubicBezTo>
                          <a:pt x="135" y="5"/>
                          <a:pt x="135" y="7"/>
                          <a:pt x="136" y="6"/>
                        </a:cubicBezTo>
                        <a:cubicBezTo>
                          <a:pt x="136" y="6"/>
                          <a:pt x="136" y="7"/>
                          <a:pt x="136" y="7"/>
                        </a:cubicBezTo>
                        <a:cubicBezTo>
                          <a:pt x="137" y="6"/>
                          <a:pt x="136" y="7"/>
                          <a:pt x="136" y="7"/>
                        </a:cubicBezTo>
                        <a:close/>
                        <a:moveTo>
                          <a:pt x="204" y="48"/>
                        </a:moveTo>
                        <a:cubicBezTo>
                          <a:pt x="205" y="48"/>
                          <a:pt x="207" y="47"/>
                          <a:pt x="208" y="47"/>
                        </a:cubicBezTo>
                        <a:cubicBezTo>
                          <a:pt x="209" y="47"/>
                          <a:pt x="211" y="47"/>
                          <a:pt x="211" y="46"/>
                        </a:cubicBezTo>
                        <a:cubicBezTo>
                          <a:pt x="211" y="45"/>
                          <a:pt x="210" y="44"/>
                          <a:pt x="209" y="43"/>
                        </a:cubicBezTo>
                        <a:cubicBezTo>
                          <a:pt x="208" y="42"/>
                          <a:pt x="207" y="42"/>
                          <a:pt x="206" y="43"/>
                        </a:cubicBezTo>
                        <a:cubicBezTo>
                          <a:pt x="204" y="43"/>
                          <a:pt x="203" y="42"/>
                          <a:pt x="202" y="42"/>
                        </a:cubicBezTo>
                        <a:cubicBezTo>
                          <a:pt x="201" y="43"/>
                          <a:pt x="202" y="45"/>
                          <a:pt x="202" y="45"/>
                        </a:cubicBezTo>
                        <a:cubicBezTo>
                          <a:pt x="202" y="46"/>
                          <a:pt x="200" y="48"/>
                          <a:pt x="202" y="48"/>
                        </a:cubicBezTo>
                        <a:cubicBezTo>
                          <a:pt x="203" y="49"/>
                          <a:pt x="204" y="48"/>
                          <a:pt x="205" y="48"/>
                        </a:cubicBezTo>
                        <a:cubicBezTo>
                          <a:pt x="204" y="48"/>
                          <a:pt x="204" y="48"/>
                          <a:pt x="204" y="48"/>
                        </a:cubicBezTo>
                        <a:cubicBezTo>
                          <a:pt x="205" y="48"/>
                          <a:pt x="204" y="48"/>
                          <a:pt x="204" y="48"/>
                        </a:cubicBezTo>
                        <a:close/>
                        <a:moveTo>
                          <a:pt x="186" y="49"/>
                        </a:moveTo>
                        <a:cubicBezTo>
                          <a:pt x="187" y="47"/>
                          <a:pt x="184" y="47"/>
                          <a:pt x="183" y="48"/>
                        </a:cubicBezTo>
                        <a:cubicBezTo>
                          <a:pt x="182" y="49"/>
                          <a:pt x="184" y="50"/>
                          <a:pt x="184" y="50"/>
                        </a:cubicBezTo>
                        <a:cubicBezTo>
                          <a:pt x="185" y="50"/>
                          <a:pt x="186" y="49"/>
                          <a:pt x="186" y="49"/>
                        </a:cubicBezTo>
                        <a:cubicBezTo>
                          <a:pt x="186" y="49"/>
                          <a:pt x="186" y="49"/>
                          <a:pt x="186" y="49"/>
                        </a:cubicBezTo>
                        <a:cubicBezTo>
                          <a:pt x="187" y="47"/>
                          <a:pt x="186" y="49"/>
                          <a:pt x="186" y="49"/>
                        </a:cubicBezTo>
                        <a:close/>
                        <a:moveTo>
                          <a:pt x="196" y="45"/>
                        </a:moveTo>
                        <a:cubicBezTo>
                          <a:pt x="196" y="46"/>
                          <a:pt x="195" y="45"/>
                          <a:pt x="194" y="46"/>
                        </a:cubicBezTo>
                        <a:cubicBezTo>
                          <a:pt x="193" y="48"/>
                          <a:pt x="195" y="48"/>
                          <a:pt x="196" y="48"/>
                        </a:cubicBezTo>
                        <a:cubicBezTo>
                          <a:pt x="199" y="47"/>
                          <a:pt x="198" y="43"/>
                          <a:pt x="196" y="45"/>
                        </a:cubicBezTo>
                        <a:cubicBezTo>
                          <a:pt x="196" y="45"/>
                          <a:pt x="196" y="45"/>
                          <a:pt x="196" y="45"/>
                        </a:cubicBezTo>
                        <a:cubicBezTo>
                          <a:pt x="196" y="46"/>
                          <a:pt x="196" y="45"/>
                          <a:pt x="196" y="45"/>
                        </a:cubicBezTo>
                        <a:close/>
                        <a:moveTo>
                          <a:pt x="184" y="77"/>
                        </a:moveTo>
                        <a:cubicBezTo>
                          <a:pt x="184" y="78"/>
                          <a:pt x="183" y="78"/>
                          <a:pt x="183" y="79"/>
                        </a:cubicBezTo>
                        <a:cubicBezTo>
                          <a:pt x="183" y="81"/>
                          <a:pt x="184" y="79"/>
                          <a:pt x="185" y="79"/>
                        </a:cubicBezTo>
                        <a:cubicBezTo>
                          <a:pt x="185" y="78"/>
                          <a:pt x="186" y="77"/>
                          <a:pt x="185" y="76"/>
                        </a:cubicBezTo>
                        <a:cubicBezTo>
                          <a:pt x="184" y="76"/>
                          <a:pt x="184" y="77"/>
                          <a:pt x="184" y="77"/>
                        </a:cubicBezTo>
                        <a:cubicBezTo>
                          <a:pt x="184" y="77"/>
                          <a:pt x="184" y="77"/>
                          <a:pt x="184" y="77"/>
                        </a:cubicBezTo>
                        <a:cubicBezTo>
                          <a:pt x="184" y="77"/>
                          <a:pt x="184" y="77"/>
                          <a:pt x="184" y="77"/>
                        </a:cubicBezTo>
                        <a:close/>
                        <a:moveTo>
                          <a:pt x="168" y="52"/>
                        </a:moveTo>
                        <a:cubicBezTo>
                          <a:pt x="170" y="52"/>
                          <a:pt x="171" y="51"/>
                          <a:pt x="172" y="50"/>
                        </a:cubicBezTo>
                        <a:cubicBezTo>
                          <a:pt x="173" y="50"/>
                          <a:pt x="175" y="50"/>
                          <a:pt x="176" y="49"/>
                        </a:cubicBezTo>
                        <a:cubicBezTo>
                          <a:pt x="177" y="48"/>
                          <a:pt x="179" y="44"/>
                          <a:pt x="176" y="44"/>
                        </a:cubicBezTo>
                        <a:cubicBezTo>
                          <a:pt x="175" y="43"/>
                          <a:pt x="174" y="45"/>
                          <a:pt x="173" y="46"/>
                        </a:cubicBezTo>
                        <a:cubicBezTo>
                          <a:pt x="172" y="47"/>
                          <a:pt x="171" y="47"/>
                          <a:pt x="170" y="48"/>
                        </a:cubicBezTo>
                        <a:cubicBezTo>
                          <a:pt x="170" y="48"/>
                          <a:pt x="169" y="49"/>
                          <a:pt x="168" y="50"/>
                        </a:cubicBezTo>
                        <a:cubicBezTo>
                          <a:pt x="168" y="51"/>
                          <a:pt x="168" y="52"/>
                          <a:pt x="169" y="52"/>
                        </a:cubicBezTo>
                        <a:cubicBezTo>
                          <a:pt x="169" y="52"/>
                          <a:pt x="169" y="52"/>
                          <a:pt x="168" y="52"/>
                        </a:cubicBezTo>
                        <a:cubicBezTo>
                          <a:pt x="170" y="52"/>
                          <a:pt x="168" y="52"/>
                          <a:pt x="168" y="52"/>
                        </a:cubicBezTo>
                        <a:close/>
                        <a:moveTo>
                          <a:pt x="189" y="44"/>
                        </a:moveTo>
                        <a:cubicBezTo>
                          <a:pt x="188" y="45"/>
                          <a:pt x="190" y="47"/>
                          <a:pt x="191" y="46"/>
                        </a:cubicBezTo>
                        <a:cubicBezTo>
                          <a:pt x="193" y="44"/>
                          <a:pt x="190" y="43"/>
                          <a:pt x="189" y="44"/>
                        </a:cubicBezTo>
                        <a:cubicBezTo>
                          <a:pt x="189" y="44"/>
                          <a:pt x="189" y="44"/>
                          <a:pt x="189" y="44"/>
                        </a:cubicBezTo>
                        <a:cubicBezTo>
                          <a:pt x="188" y="46"/>
                          <a:pt x="189" y="44"/>
                          <a:pt x="189" y="44"/>
                        </a:cubicBezTo>
                        <a:close/>
                        <a:moveTo>
                          <a:pt x="175" y="90"/>
                        </a:moveTo>
                        <a:cubicBezTo>
                          <a:pt x="176" y="91"/>
                          <a:pt x="177" y="89"/>
                          <a:pt x="178" y="89"/>
                        </a:cubicBezTo>
                        <a:cubicBezTo>
                          <a:pt x="179" y="88"/>
                          <a:pt x="181" y="87"/>
                          <a:pt x="182" y="87"/>
                        </a:cubicBezTo>
                        <a:cubicBezTo>
                          <a:pt x="184" y="87"/>
                          <a:pt x="184" y="86"/>
                          <a:pt x="185" y="85"/>
                        </a:cubicBezTo>
                        <a:cubicBezTo>
                          <a:pt x="185" y="84"/>
                          <a:pt x="185" y="82"/>
                          <a:pt x="184" y="82"/>
                        </a:cubicBezTo>
                        <a:cubicBezTo>
                          <a:pt x="182" y="83"/>
                          <a:pt x="181" y="84"/>
                          <a:pt x="179" y="85"/>
                        </a:cubicBezTo>
                        <a:cubicBezTo>
                          <a:pt x="177" y="86"/>
                          <a:pt x="176" y="86"/>
                          <a:pt x="175" y="87"/>
                        </a:cubicBezTo>
                        <a:cubicBezTo>
                          <a:pt x="175" y="88"/>
                          <a:pt x="174" y="89"/>
                          <a:pt x="175" y="90"/>
                        </a:cubicBezTo>
                        <a:cubicBezTo>
                          <a:pt x="175" y="90"/>
                          <a:pt x="175" y="90"/>
                          <a:pt x="175" y="90"/>
                        </a:cubicBezTo>
                        <a:cubicBezTo>
                          <a:pt x="176" y="91"/>
                          <a:pt x="175" y="90"/>
                          <a:pt x="175" y="90"/>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nvGrpSpPr>
                  <p:cNvPr id="130" name="Group 129">
                    <a:extLst>
                      <a:ext uri="{FF2B5EF4-FFF2-40B4-BE49-F238E27FC236}">
                        <a16:creationId xmlns:a16="http://schemas.microsoft.com/office/drawing/2014/main" id="{69E23509-3625-84BC-B1A9-4798098907D2}"/>
                      </a:ext>
                    </a:extLst>
                  </p:cNvPr>
                  <p:cNvGrpSpPr/>
                  <p:nvPr>
                    <p:custDataLst>
                      <p:tags r:id="rId294"/>
                    </p:custDataLst>
                  </p:nvPr>
                </p:nvGrpSpPr>
                <p:grpSpPr>
                  <a:xfrm>
                    <a:off x="8716963" y="4391026"/>
                    <a:ext cx="620712" cy="469901"/>
                    <a:chOff x="8716963" y="4391026"/>
                    <a:chExt cx="620712" cy="469901"/>
                  </a:xfrm>
                </p:grpSpPr>
                <p:sp>
                  <p:nvSpPr>
                    <p:cNvPr id="131" name="Freeform 310">
                      <a:extLst>
                        <a:ext uri="{FF2B5EF4-FFF2-40B4-BE49-F238E27FC236}">
                          <a16:creationId xmlns:a16="http://schemas.microsoft.com/office/drawing/2014/main" id="{29C539A1-C086-77A9-47D8-933E551172A6}"/>
                        </a:ext>
                      </a:extLst>
                    </p:cNvPr>
                    <p:cNvSpPr>
                      <a:spLocks noEditPoints="1"/>
                    </p:cNvSpPr>
                    <p:nvPr>
                      <p:custDataLst>
                        <p:tags r:id="rId295"/>
                      </p:custDataLst>
                    </p:nvPr>
                  </p:nvSpPr>
                  <p:spPr bwMode="auto">
                    <a:xfrm>
                      <a:off x="8740775" y="4487864"/>
                      <a:ext cx="596900" cy="373063"/>
                    </a:xfrm>
                    <a:custGeom>
                      <a:avLst/>
                      <a:gdLst>
                        <a:gd name="T0" fmla="*/ 321 w 322"/>
                        <a:gd name="T1" fmla="*/ 198 h 201"/>
                        <a:gd name="T2" fmla="*/ 318 w 322"/>
                        <a:gd name="T3" fmla="*/ 182 h 201"/>
                        <a:gd name="T4" fmla="*/ 297 w 322"/>
                        <a:gd name="T5" fmla="*/ 182 h 201"/>
                        <a:gd name="T6" fmla="*/ 289 w 322"/>
                        <a:gd name="T7" fmla="*/ 173 h 201"/>
                        <a:gd name="T8" fmla="*/ 283 w 322"/>
                        <a:gd name="T9" fmla="*/ 168 h 201"/>
                        <a:gd name="T10" fmla="*/ 263 w 322"/>
                        <a:gd name="T11" fmla="*/ 163 h 201"/>
                        <a:gd name="T12" fmla="*/ 255 w 322"/>
                        <a:gd name="T13" fmla="*/ 164 h 201"/>
                        <a:gd name="T14" fmla="*/ 244 w 322"/>
                        <a:gd name="T15" fmla="*/ 168 h 201"/>
                        <a:gd name="T16" fmla="*/ 219 w 322"/>
                        <a:gd name="T17" fmla="*/ 165 h 201"/>
                        <a:gd name="T18" fmla="*/ 209 w 322"/>
                        <a:gd name="T19" fmla="*/ 157 h 201"/>
                        <a:gd name="T20" fmla="*/ 192 w 322"/>
                        <a:gd name="T21" fmla="*/ 152 h 201"/>
                        <a:gd name="T22" fmla="*/ 182 w 322"/>
                        <a:gd name="T23" fmla="*/ 154 h 201"/>
                        <a:gd name="T24" fmla="*/ 173 w 322"/>
                        <a:gd name="T25" fmla="*/ 156 h 201"/>
                        <a:gd name="T26" fmla="*/ 164 w 322"/>
                        <a:gd name="T27" fmla="*/ 165 h 201"/>
                        <a:gd name="T28" fmla="*/ 184 w 322"/>
                        <a:gd name="T29" fmla="*/ 171 h 201"/>
                        <a:gd name="T30" fmla="*/ 190 w 322"/>
                        <a:gd name="T31" fmla="*/ 178 h 201"/>
                        <a:gd name="T32" fmla="*/ 214 w 322"/>
                        <a:gd name="T33" fmla="*/ 183 h 201"/>
                        <a:gd name="T34" fmla="*/ 240 w 322"/>
                        <a:gd name="T35" fmla="*/ 183 h 201"/>
                        <a:gd name="T36" fmla="*/ 263 w 322"/>
                        <a:gd name="T37" fmla="*/ 190 h 201"/>
                        <a:gd name="T38" fmla="*/ 286 w 322"/>
                        <a:gd name="T39" fmla="*/ 193 h 201"/>
                        <a:gd name="T40" fmla="*/ 305 w 322"/>
                        <a:gd name="T41" fmla="*/ 194 h 201"/>
                        <a:gd name="T42" fmla="*/ 308 w 322"/>
                        <a:gd name="T43" fmla="*/ 195 h 201"/>
                        <a:gd name="T44" fmla="*/ 161 w 322"/>
                        <a:gd name="T45" fmla="*/ 164 h 201"/>
                        <a:gd name="T46" fmla="*/ 162 w 322"/>
                        <a:gd name="T47" fmla="*/ 162 h 201"/>
                        <a:gd name="T48" fmla="*/ 75 w 322"/>
                        <a:gd name="T49" fmla="*/ 98 h 201"/>
                        <a:gd name="T50" fmla="*/ 74 w 322"/>
                        <a:gd name="T51" fmla="*/ 95 h 201"/>
                        <a:gd name="T52" fmla="*/ 69 w 322"/>
                        <a:gd name="T53" fmla="*/ 87 h 201"/>
                        <a:gd name="T54" fmla="*/ 70 w 322"/>
                        <a:gd name="T55" fmla="*/ 90 h 201"/>
                        <a:gd name="T56" fmla="*/ 69 w 322"/>
                        <a:gd name="T57" fmla="*/ 87 h 201"/>
                        <a:gd name="T58" fmla="*/ 80 w 322"/>
                        <a:gd name="T59" fmla="*/ 104 h 201"/>
                        <a:gd name="T60" fmla="*/ 79 w 322"/>
                        <a:gd name="T61" fmla="*/ 100 h 201"/>
                        <a:gd name="T62" fmla="*/ 110 w 322"/>
                        <a:gd name="T63" fmla="*/ 141 h 201"/>
                        <a:gd name="T64" fmla="*/ 114 w 322"/>
                        <a:gd name="T65" fmla="*/ 141 h 201"/>
                        <a:gd name="T66" fmla="*/ 59 w 322"/>
                        <a:gd name="T67" fmla="*/ 72 h 201"/>
                        <a:gd name="T68" fmla="*/ 52 w 322"/>
                        <a:gd name="T69" fmla="*/ 67 h 201"/>
                        <a:gd name="T70" fmla="*/ 55 w 322"/>
                        <a:gd name="T71" fmla="*/ 79 h 201"/>
                        <a:gd name="T72" fmla="*/ 59 w 322"/>
                        <a:gd name="T73" fmla="*/ 72 h 201"/>
                        <a:gd name="T74" fmla="*/ 46 w 322"/>
                        <a:gd name="T75" fmla="*/ 56 h 201"/>
                        <a:gd name="T76" fmla="*/ 46 w 322"/>
                        <a:gd name="T77" fmla="*/ 60 h 201"/>
                        <a:gd name="T78" fmla="*/ 48 w 322"/>
                        <a:gd name="T79" fmla="*/ 55 h 201"/>
                        <a:gd name="T80" fmla="*/ 30 w 322"/>
                        <a:gd name="T81" fmla="*/ 26 h 201"/>
                        <a:gd name="T82" fmla="*/ 30 w 322"/>
                        <a:gd name="T83" fmla="*/ 33 h 201"/>
                        <a:gd name="T84" fmla="*/ 37 w 322"/>
                        <a:gd name="T85" fmla="*/ 33 h 201"/>
                        <a:gd name="T86" fmla="*/ 34 w 322"/>
                        <a:gd name="T87" fmla="*/ 30 h 201"/>
                        <a:gd name="T88" fmla="*/ 26 w 322"/>
                        <a:gd name="T89" fmla="*/ 13 h 201"/>
                        <a:gd name="T90" fmla="*/ 29 w 322"/>
                        <a:gd name="T91" fmla="*/ 15 h 201"/>
                        <a:gd name="T92" fmla="*/ 1 w 322"/>
                        <a:gd name="T93" fmla="*/ 2 h 201"/>
                        <a:gd name="T94" fmla="*/ 13 w 322"/>
                        <a:gd name="T95" fmla="*/ 10 h 201"/>
                        <a:gd name="T96" fmla="*/ 9 w 322"/>
                        <a:gd name="T97" fmla="*/ 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2" h="201">
                          <a:moveTo>
                            <a:pt x="308" y="195"/>
                          </a:moveTo>
                          <a:cubicBezTo>
                            <a:pt x="311" y="196"/>
                            <a:pt x="313" y="197"/>
                            <a:pt x="316" y="198"/>
                          </a:cubicBezTo>
                          <a:cubicBezTo>
                            <a:pt x="317" y="199"/>
                            <a:pt x="322" y="201"/>
                            <a:pt x="321" y="198"/>
                          </a:cubicBezTo>
                          <a:cubicBezTo>
                            <a:pt x="321" y="196"/>
                            <a:pt x="318" y="195"/>
                            <a:pt x="317" y="193"/>
                          </a:cubicBezTo>
                          <a:cubicBezTo>
                            <a:pt x="316" y="190"/>
                            <a:pt x="317" y="188"/>
                            <a:pt x="318" y="186"/>
                          </a:cubicBezTo>
                          <a:cubicBezTo>
                            <a:pt x="319" y="184"/>
                            <a:pt x="320" y="182"/>
                            <a:pt x="318" y="182"/>
                          </a:cubicBezTo>
                          <a:cubicBezTo>
                            <a:pt x="315" y="180"/>
                            <a:pt x="313" y="180"/>
                            <a:pt x="310" y="181"/>
                          </a:cubicBezTo>
                          <a:cubicBezTo>
                            <a:pt x="307" y="181"/>
                            <a:pt x="304" y="182"/>
                            <a:pt x="302" y="183"/>
                          </a:cubicBezTo>
                          <a:cubicBezTo>
                            <a:pt x="300" y="183"/>
                            <a:pt x="299" y="182"/>
                            <a:pt x="297" y="182"/>
                          </a:cubicBezTo>
                          <a:cubicBezTo>
                            <a:pt x="296" y="182"/>
                            <a:pt x="294" y="182"/>
                            <a:pt x="293" y="181"/>
                          </a:cubicBezTo>
                          <a:cubicBezTo>
                            <a:pt x="291" y="180"/>
                            <a:pt x="293" y="176"/>
                            <a:pt x="291" y="175"/>
                          </a:cubicBezTo>
                          <a:cubicBezTo>
                            <a:pt x="290" y="174"/>
                            <a:pt x="289" y="174"/>
                            <a:pt x="289" y="173"/>
                          </a:cubicBezTo>
                          <a:cubicBezTo>
                            <a:pt x="288" y="173"/>
                            <a:pt x="288" y="171"/>
                            <a:pt x="288" y="170"/>
                          </a:cubicBezTo>
                          <a:cubicBezTo>
                            <a:pt x="287" y="169"/>
                            <a:pt x="287" y="167"/>
                            <a:pt x="286" y="167"/>
                          </a:cubicBezTo>
                          <a:cubicBezTo>
                            <a:pt x="285" y="167"/>
                            <a:pt x="284" y="168"/>
                            <a:pt x="283" y="168"/>
                          </a:cubicBezTo>
                          <a:cubicBezTo>
                            <a:pt x="281" y="169"/>
                            <a:pt x="280" y="169"/>
                            <a:pt x="279" y="169"/>
                          </a:cubicBezTo>
                          <a:cubicBezTo>
                            <a:pt x="277" y="168"/>
                            <a:pt x="277" y="167"/>
                            <a:pt x="275" y="167"/>
                          </a:cubicBezTo>
                          <a:cubicBezTo>
                            <a:pt x="272" y="165"/>
                            <a:pt x="265" y="168"/>
                            <a:pt x="263" y="163"/>
                          </a:cubicBezTo>
                          <a:cubicBezTo>
                            <a:pt x="263" y="161"/>
                            <a:pt x="261" y="159"/>
                            <a:pt x="259" y="160"/>
                          </a:cubicBezTo>
                          <a:cubicBezTo>
                            <a:pt x="258" y="160"/>
                            <a:pt x="257" y="160"/>
                            <a:pt x="256" y="160"/>
                          </a:cubicBezTo>
                          <a:cubicBezTo>
                            <a:pt x="255" y="161"/>
                            <a:pt x="255" y="163"/>
                            <a:pt x="255" y="164"/>
                          </a:cubicBezTo>
                          <a:cubicBezTo>
                            <a:pt x="255" y="166"/>
                            <a:pt x="254" y="168"/>
                            <a:pt x="252" y="169"/>
                          </a:cubicBezTo>
                          <a:cubicBezTo>
                            <a:pt x="250" y="169"/>
                            <a:pt x="249" y="169"/>
                            <a:pt x="248" y="169"/>
                          </a:cubicBezTo>
                          <a:cubicBezTo>
                            <a:pt x="246" y="169"/>
                            <a:pt x="245" y="168"/>
                            <a:pt x="244" y="168"/>
                          </a:cubicBezTo>
                          <a:cubicBezTo>
                            <a:pt x="241" y="167"/>
                            <a:pt x="238" y="167"/>
                            <a:pt x="235" y="167"/>
                          </a:cubicBezTo>
                          <a:cubicBezTo>
                            <a:pt x="232" y="168"/>
                            <a:pt x="229" y="167"/>
                            <a:pt x="225" y="167"/>
                          </a:cubicBezTo>
                          <a:cubicBezTo>
                            <a:pt x="224" y="167"/>
                            <a:pt x="220" y="167"/>
                            <a:pt x="219" y="165"/>
                          </a:cubicBezTo>
                          <a:cubicBezTo>
                            <a:pt x="218" y="165"/>
                            <a:pt x="218" y="163"/>
                            <a:pt x="218" y="162"/>
                          </a:cubicBezTo>
                          <a:cubicBezTo>
                            <a:pt x="218" y="161"/>
                            <a:pt x="217" y="160"/>
                            <a:pt x="216" y="159"/>
                          </a:cubicBezTo>
                          <a:cubicBezTo>
                            <a:pt x="215" y="157"/>
                            <a:pt x="212" y="157"/>
                            <a:pt x="209" y="157"/>
                          </a:cubicBezTo>
                          <a:cubicBezTo>
                            <a:pt x="206" y="157"/>
                            <a:pt x="203" y="158"/>
                            <a:pt x="201" y="157"/>
                          </a:cubicBezTo>
                          <a:cubicBezTo>
                            <a:pt x="199" y="156"/>
                            <a:pt x="197" y="154"/>
                            <a:pt x="195" y="153"/>
                          </a:cubicBezTo>
                          <a:cubicBezTo>
                            <a:pt x="194" y="152"/>
                            <a:pt x="193" y="152"/>
                            <a:pt x="192" y="152"/>
                          </a:cubicBezTo>
                          <a:cubicBezTo>
                            <a:pt x="190" y="152"/>
                            <a:pt x="189" y="153"/>
                            <a:pt x="188" y="154"/>
                          </a:cubicBezTo>
                          <a:cubicBezTo>
                            <a:pt x="187" y="154"/>
                            <a:pt x="186" y="154"/>
                            <a:pt x="185" y="154"/>
                          </a:cubicBezTo>
                          <a:cubicBezTo>
                            <a:pt x="184" y="154"/>
                            <a:pt x="183" y="154"/>
                            <a:pt x="182" y="154"/>
                          </a:cubicBezTo>
                          <a:cubicBezTo>
                            <a:pt x="181" y="153"/>
                            <a:pt x="180" y="152"/>
                            <a:pt x="179" y="152"/>
                          </a:cubicBezTo>
                          <a:cubicBezTo>
                            <a:pt x="178" y="151"/>
                            <a:pt x="177" y="152"/>
                            <a:pt x="176" y="152"/>
                          </a:cubicBezTo>
                          <a:cubicBezTo>
                            <a:pt x="174" y="152"/>
                            <a:pt x="173" y="153"/>
                            <a:pt x="173" y="156"/>
                          </a:cubicBezTo>
                          <a:cubicBezTo>
                            <a:pt x="172" y="158"/>
                            <a:pt x="170" y="161"/>
                            <a:pt x="169" y="162"/>
                          </a:cubicBezTo>
                          <a:cubicBezTo>
                            <a:pt x="168" y="163"/>
                            <a:pt x="167" y="164"/>
                            <a:pt x="166" y="164"/>
                          </a:cubicBezTo>
                          <a:cubicBezTo>
                            <a:pt x="165" y="164"/>
                            <a:pt x="163" y="165"/>
                            <a:pt x="164" y="165"/>
                          </a:cubicBezTo>
                          <a:cubicBezTo>
                            <a:pt x="164" y="166"/>
                            <a:pt x="168" y="166"/>
                            <a:pt x="169" y="166"/>
                          </a:cubicBezTo>
                          <a:cubicBezTo>
                            <a:pt x="171" y="166"/>
                            <a:pt x="174" y="167"/>
                            <a:pt x="177" y="168"/>
                          </a:cubicBezTo>
                          <a:cubicBezTo>
                            <a:pt x="178" y="169"/>
                            <a:pt x="184" y="169"/>
                            <a:pt x="184" y="171"/>
                          </a:cubicBezTo>
                          <a:cubicBezTo>
                            <a:pt x="184" y="173"/>
                            <a:pt x="182" y="175"/>
                            <a:pt x="183" y="177"/>
                          </a:cubicBezTo>
                          <a:cubicBezTo>
                            <a:pt x="184" y="177"/>
                            <a:pt x="185" y="177"/>
                            <a:pt x="186" y="177"/>
                          </a:cubicBezTo>
                          <a:cubicBezTo>
                            <a:pt x="187" y="177"/>
                            <a:pt x="188" y="177"/>
                            <a:pt x="190" y="178"/>
                          </a:cubicBezTo>
                          <a:cubicBezTo>
                            <a:pt x="193" y="178"/>
                            <a:pt x="196" y="178"/>
                            <a:pt x="198" y="179"/>
                          </a:cubicBezTo>
                          <a:cubicBezTo>
                            <a:pt x="201" y="179"/>
                            <a:pt x="204" y="179"/>
                            <a:pt x="207" y="181"/>
                          </a:cubicBezTo>
                          <a:cubicBezTo>
                            <a:pt x="209" y="182"/>
                            <a:pt x="211" y="183"/>
                            <a:pt x="214" y="183"/>
                          </a:cubicBezTo>
                          <a:cubicBezTo>
                            <a:pt x="215" y="183"/>
                            <a:pt x="216" y="183"/>
                            <a:pt x="218" y="183"/>
                          </a:cubicBezTo>
                          <a:cubicBezTo>
                            <a:pt x="219" y="183"/>
                            <a:pt x="220" y="182"/>
                            <a:pt x="222" y="182"/>
                          </a:cubicBezTo>
                          <a:cubicBezTo>
                            <a:pt x="228" y="181"/>
                            <a:pt x="234" y="181"/>
                            <a:pt x="240" y="183"/>
                          </a:cubicBezTo>
                          <a:cubicBezTo>
                            <a:pt x="243" y="184"/>
                            <a:pt x="245" y="184"/>
                            <a:pt x="248" y="185"/>
                          </a:cubicBezTo>
                          <a:cubicBezTo>
                            <a:pt x="251" y="186"/>
                            <a:pt x="253" y="189"/>
                            <a:pt x="255" y="190"/>
                          </a:cubicBezTo>
                          <a:cubicBezTo>
                            <a:pt x="258" y="191"/>
                            <a:pt x="260" y="190"/>
                            <a:pt x="263" y="190"/>
                          </a:cubicBezTo>
                          <a:cubicBezTo>
                            <a:pt x="265" y="191"/>
                            <a:pt x="268" y="193"/>
                            <a:pt x="270" y="193"/>
                          </a:cubicBezTo>
                          <a:cubicBezTo>
                            <a:pt x="273" y="193"/>
                            <a:pt x="275" y="190"/>
                            <a:pt x="278" y="191"/>
                          </a:cubicBezTo>
                          <a:cubicBezTo>
                            <a:pt x="281" y="191"/>
                            <a:pt x="283" y="193"/>
                            <a:pt x="286" y="193"/>
                          </a:cubicBezTo>
                          <a:cubicBezTo>
                            <a:pt x="289" y="193"/>
                            <a:pt x="291" y="192"/>
                            <a:pt x="293" y="192"/>
                          </a:cubicBezTo>
                          <a:cubicBezTo>
                            <a:pt x="295" y="192"/>
                            <a:pt x="297" y="192"/>
                            <a:pt x="300" y="193"/>
                          </a:cubicBezTo>
                          <a:cubicBezTo>
                            <a:pt x="302" y="193"/>
                            <a:pt x="303" y="193"/>
                            <a:pt x="305" y="194"/>
                          </a:cubicBezTo>
                          <a:cubicBezTo>
                            <a:pt x="307" y="195"/>
                            <a:pt x="308" y="195"/>
                            <a:pt x="310" y="196"/>
                          </a:cubicBezTo>
                          <a:cubicBezTo>
                            <a:pt x="310" y="196"/>
                            <a:pt x="309" y="196"/>
                            <a:pt x="308" y="195"/>
                          </a:cubicBezTo>
                          <a:cubicBezTo>
                            <a:pt x="311" y="196"/>
                            <a:pt x="308" y="195"/>
                            <a:pt x="308" y="195"/>
                          </a:cubicBezTo>
                          <a:close/>
                          <a:moveTo>
                            <a:pt x="162" y="162"/>
                          </a:moveTo>
                          <a:cubicBezTo>
                            <a:pt x="161" y="162"/>
                            <a:pt x="159" y="162"/>
                            <a:pt x="159" y="163"/>
                          </a:cubicBezTo>
                          <a:cubicBezTo>
                            <a:pt x="159" y="164"/>
                            <a:pt x="160" y="164"/>
                            <a:pt x="161" y="164"/>
                          </a:cubicBezTo>
                          <a:cubicBezTo>
                            <a:pt x="162" y="164"/>
                            <a:pt x="163" y="163"/>
                            <a:pt x="163" y="162"/>
                          </a:cubicBezTo>
                          <a:cubicBezTo>
                            <a:pt x="163" y="162"/>
                            <a:pt x="162" y="162"/>
                            <a:pt x="162" y="162"/>
                          </a:cubicBezTo>
                          <a:cubicBezTo>
                            <a:pt x="162" y="162"/>
                            <a:pt x="162" y="162"/>
                            <a:pt x="162" y="162"/>
                          </a:cubicBezTo>
                          <a:cubicBezTo>
                            <a:pt x="161" y="162"/>
                            <a:pt x="162" y="162"/>
                            <a:pt x="162" y="162"/>
                          </a:cubicBezTo>
                          <a:close/>
                          <a:moveTo>
                            <a:pt x="74" y="94"/>
                          </a:moveTo>
                          <a:cubicBezTo>
                            <a:pt x="74" y="95"/>
                            <a:pt x="73" y="99"/>
                            <a:pt x="75" y="98"/>
                          </a:cubicBezTo>
                          <a:cubicBezTo>
                            <a:pt x="76" y="98"/>
                            <a:pt x="76" y="98"/>
                            <a:pt x="77" y="98"/>
                          </a:cubicBezTo>
                          <a:cubicBezTo>
                            <a:pt x="77" y="98"/>
                            <a:pt x="77" y="97"/>
                            <a:pt x="77" y="97"/>
                          </a:cubicBezTo>
                          <a:cubicBezTo>
                            <a:pt x="77" y="95"/>
                            <a:pt x="74" y="93"/>
                            <a:pt x="74" y="95"/>
                          </a:cubicBezTo>
                          <a:cubicBezTo>
                            <a:pt x="74" y="95"/>
                            <a:pt x="74" y="95"/>
                            <a:pt x="74" y="94"/>
                          </a:cubicBezTo>
                          <a:cubicBezTo>
                            <a:pt x="73" y="96"/>
                            <a:pt x="74" y="94"/>
                            <a:pt x="74" y="94"/>
                          </a:cubicBezTo>
                          <a:close/>
                          <a:moveTo>
                            <a:pt x="69" y="87"/>
                          </a:moveTo>
                          <a:cubicBezTo>
                            <a:pt x="69" y="87"/>
                            <a:pt x="67" y="85"/>
                            <a:pt x="66" y="86"/>
                          </a:cubicBezTo>
                          <a:cubicBezTo>
                            <a:pt x="65" y="87"/>
                            <a:pt x="66" y="89"/>
                            <a:pt x="68" y="89"/>
                          </a:cubicBezTo>
                          <a:cubicBezTo>
                            <a:pt x="69" y="89"/>
                            <a:pt x="69" y="89"/>
                            <a:pt x="70" y="90"/>
                          </a:cubicBezTo>
                          <a:cubicBezTo>
                            <a:pt x="70" y="90"/>
                            <a:pt x="71" y="91"/>
                            <a:pt x="71" y="90"/>
                          </a:cubicBezTo>
                          <a:cubicBezTo>
                            <a:pt x="71" y="89"/>
                            <a:pt x="69" y="88"/>
                            <a:pt x="69" y="87"/>
                          </a:cubicBezTo>
                          <a:cubicBezTo>
                            <a:pt x="69" y="87"/>
                            <a:pt x="69" y="87"/>
                            <a:pt x="69" y="87"/>
                          </a:cubicBezTo>
                          <a:cubicBezTo>
                            <a:pt x="69" y="87"/>
                            <a:pt x="69" y="87"/>
                            <a:pt x="69" y="87"/>
                          </a:cubicBezTo>
                          <a:close/>
                          <a:moveTo>
                            <a:pt x="79" y="100"/>
                          </a:moveTo>
                          <a:cubicBezTo>
                            <a:pt x="79" y="101"/>
                            <a:pt x="80" y="103"/>
                            <a:pt x="80" y="104"/>
                          </a:cubicBezTo>
                          <a:cubicBezTo>
                            <a:pt x="80" y="105"/>
                            <a:pt x="81" y="104"/>
                            <a:pt x="81" y="103"/>
                          </a:cubicBezTo>
                          <a:cubicBezTo>
                            <a:pt x="82" y="102"/>
                            <a:pt x="80" y="99"/>
                            <a:pt x="79" y="101"/>
                          </a:cubicBezTo>
                          <a:cubicBezTo>
                            <a:pt x="79" y="101"/>
                            <a:pt x="79" y="100"/>
                            <a:pt x="79" y="100"/>
                          </a:cubicBezTo>
                          <a:cubicBezTo>
                            <a:pt x="79" y="101"/>
                            <a:pt x="79" y="100"/>
                            <a:pt x="79" y="100"/>
                          </a:cubicBezTo>
                          <a:close/>
                          <a:moveTo>
                            <a:pt x="114" y="142"/>
                          </a:moveTo>
                          <a:cubicBezTo>
                            <a:pt x="113" y="141"/>
                            <a:pt x="111" y="139"/>
                            <a:pt x="110" y="141"/>
                          </a:cubicBezTo>
                          <a:cubicBezTo>
                            <a:pt x="109" y="142"/>
                            <a:pt x="111" y="143"/>
                            <a:pt x="111" y="143"/>
                          </a:cubicBezTo>
                          <a:cubicBezTo>
                            <a:pt x="112" y="144"/>
                            <a:pt x="114" y="146"/>
                            <a:pt x="114" y="144"/>
                          </a:cubicBezTo>
                          <a:cubicBezTo>
                            <a:pt x="115" y="143"/>
                            <a:pt x="114" y="142"/>
                            <a:pt x="114" y="141"/>
                          </a:cubicBezTo>
                          <a:cubicBezTo>
                            <a:pt x="114" y="141"/>
                            <a:pt x="114" y="142"/>
                            <a:pt x="114" y="142"/>
                          </a:cubicBezTo>
                          <a:cubicBezTo>
                            <a:pt x="113" y="141"/>
                            <a:pt x="114" y="142"/>
                            <a:pt x="114" y="142"/>
                          </a:cubicBezTo>
                          <a:close/>
                          <a:moveTo>
                            <a:pt x="59" y="72"/>
                          </a:moveTo>
                          <a:cubicBezTo>
                            <a:pt x="58" y="71"/>
                            <a:pt x="58" y="71"/>
                            <a:pt x="57" y="70"/>
                          </a:cubicBezTo>
                          <a:cubicBezTo>
                            <a:pt x="56" y="69"/>
                            <a:pt x="56" y="68"/>
                            <a:pt x="56" y="67"/>
                          </a:cubicBezTo>
                          <a:cubicBezTo>
                            <a:pt x="55" y="66"/>
                            <a:pt x="53" y="66"/>
                            <a:pt x="52" y="67"/>
                          </a:cubicBezTo>
                          <a:cubicBezTo>
                            <a:pt x="50" y="68"/>
                            <a:pt x="50" y="73"/>
                            <a:pt x="51" y="75"/>
                          </a:cubicBezTo>
                          <a:cubicBezTo>
                            <a:pt x="52" y="76"/>
                            <a:pt x="52" y="76"/>
                            <a:pt x="53" y="77"/>
                          </a:cubicBezTo>
                          <a:cubicBezTo>
                            <a:pt x="54" y="78"/>
                            <a:pt x="54" y="79"/>
                            <a:pt x="55" y="79"/>
                          </a:cubicBezTo>
                          <a:cubicBezTo>
                            <a:pt x="56" y="80"/>
                            <a:pt x="58" y="82"/>
                            <a:pt x="60" y="81"/>
                          </a:cubicBezTo>
                          <a:cubicBezTo>
                            <a:pt x="62" y="78"/>
                            <a:pt x="59" y="74"/>
                            <a:pt x="58" y="71"/>
                          </a:cubicBezTo>
                          <a:cubicBezTo>
                            <a:pt x="58" y="72"/>
                            <a:pt x="59" y="72"/>
                            <a:pt x="59" y="72"/>
                          </a:cubicBezTo>
                          <a:cubicBezTo>
                            <a:pt x="58" y="71"/>
                            <a:pt x="59" y="72"/>
                            <a:pt x="59" y="72"/>
                          </a:cubicBezTo>
                          <a:close/>
                          <a:moveTo>
                            <a:pt x="48" y="55"/>
                          </a:moveTo>
                          <a:cubicBezTo>
                            <a:pt x="47" y="54"/>
                            <a:pt x="46" y="54"/>
                            <a:pt x="46" y="56"/>
                          </a:cubicBezTo>
                          <a:cubicBezTo>
                            <a:pt x="46" y="57"/>
                            <a:pt x="45" y="57"/>
                            <a:pt x="45" y="58"/>
                          </a:cubicBezTo>
                          <a:cubicBezTo>
                            <a:pt x="45" y="58"/>
                            <a:pt x="43" y="59"/>
                            <a:pt x="44" y="59"/>
                          </a:cubicBezTo>
                          <a:cubicBezTo>
                            <a:pt x="44" y="59"/>
                            <a:pt x="45" y="60"/>
                            <a:pt x="46" y="60"/>
                          </a:cubicBezTo>
                          <a:cubicBezTo>
                            <a:pt x="46" y="60"/>
                            <a:pt x="47" y="59"/>
                            <a:pt x="47" y="59"/>
                          </a:cubicBezTo>
                          <a:cubicBezTo>
                            <a:pt x="49" y="58"/>
                            <a:pt x="49" y="56"/>
                            <a:pt x="48" y="55"/>
                          </a:cubicBezTo>
                          <a:cubicBezTo>
                            <a:pt x="48" y="55"/>
                            <a:pt x="48" y="55"/>
                            <a:pt x="48" y="55"/>
                          </a:cubicBezTo>
                          <a:cubicBezTo>
                            <a:pt x="48" y="55"/>
                            <a:pt x="48" y="55"/>
                            <a:pt x="48" y="55"/>
                          </a:cubicBezTo>
                          <a:close/>
                          <a:moveTo>
                            <a:pt x="34" y="30"/>
                          </a:moveTo>
                          <a:cubicBezTo>
                            <a:pt x="33" y="28"/>
                            <a:pt x="31" y="27"/>
                            <a:pt x="30" y="26"/>
                          </a:cubicBezTo>
                          <a:cubicBezTo>
                            <a:pt x="28" y="26"/>
                            <a:pt x="26" y="25"/>
                            <a:pt x="25" y="26"/>
                          </a:cubicBezTo>
                          <a:cubicBezTo>
                            <a:pt x="24" y="27"/>
                            <a:pt x="26" y="28"/>
                            <a:pt x="26" y="29"/>
                          </a:cubicBezTo>
                          <a:cubicBezTo>
                            <a:pt x="28" y="30"/>
                            <a:pt x="29" y="31"/>
                            <a:pt x="30" y="33"/>
                          </a:cubicBezTo>
                          <a:cubicBezTo>
                            <a:pt x="31" y="35"/>
                            <a:pt x="33" y="36"/>
                            <a:pt x="33" y="38"/>
                          </a:cubicBezTo>
                          <a:cubicBezTo>
                            <a:pt x="34" y="40"/>
                            <a:pt x="36" y="41"/>
                            <a:pt x="37" y="38"/>
                          </a:cubicBezTo>
                          <a:cubicBezTo>
                            <a:pt x="37" y="36"/>
                            <a:pt x="38" y="34"/>
                            <a:pt x="37" y="33"/>
                          </a:cubicBezTo>
                          <a:cubicBezTo>
                            <a:pt x="36" y="31"/>
                            <a:pt x="34" y="30"/>
                            <a:pt x="33" y="29"/>
                          </a:cubicBezTo>
                          <a:cubicBezTo>
                            <a:pt x="33" y="29"/>
                            <a:pt x="34" y="29"/>
                            <a:pt x="34" y="30"/>
                          </a:cubicBezTo>
                          <a:cubicBezTo>
                            <a:pt x="33" y="29"/>
                            <a:pt x="34" y="30"/>
                            <a:pt x="34" y="30"/>
                          </a:cubicBezTo>
                          <a:close/>
                          <a:moveTo>
                            <a:pt x="29" y="15"/>
                          </a:moveTo>
                          <a:cubicBezTo>
                            <a:pt x="29" y="14"/>
                            <a:pt x="29" y="13"/>
                            <a:pt x="28" y="12"/>
                          </a:cubicBezTo>
                          <a:cubicBezTo>
                            <a:pt x="27" y="11"/>
                            <a:pt x="26" y="11"/>
                            <a:pt x="26" y="13"/>
                          </a:cubicBezTo>
                          <a:cubicBezTo>
                            <a:pt x="26" y="14"/>
                            <a:pt x="28" y="16"/>
                            <a:pt x="29" y="15"/>
                          </a:cubicBezTo>
                          <a:cubicBezTo>
                            <a:pt x="29" y="15"/>
                            <a:pt x="29" y="15"/>
                            <a:pt x="29" y="15"/>
                          </a:cubicBezTo>
                          <a:cubicBezTo>
                            <a:pt x="29" y="14"/>
                            <a:pt x="29" y="15"/>
                            <a:pt x="29" y="15"/>
                          </a:cubicBezTo>
                          <a:close/>
                          <a:moveTo>
                            <a:pt x="9" y="4"/>
                          </a:moveTo>
                          <a:cubicBezTo>
                            <a:pt x="7" y="3"/>
                            <a:pt x="5" y="1"/>
                            <a:pt x="3" y="1"/>
                          </a:cubicBezTo>
                          <a:cubicBezTo>
                            <a:pt x="2" y="0"/>
                            <a:pt x="2" y="1"/>
                            <a:pt x="1" y="2"/>
                          </a:cubicBezTo>
                          <a:cubicBezTo>
                            <a:pt x="0" y="3"/>
                            <a:pt x="2" y="5"/>
                            <a:pt x="3" y="5"/>
                          </a:cubicBezTo>
                          <a:cubicBezTo>
                            <a:pt x="5" y="7"/>
                            <a:pt x="7" y="8"/>
                            <a:pt x="9" y="9"/>
                          </a:cubicBezTo>
                          <a:cubicBezTo>
                            <a:pt x="10" y="10"/>
                            <a:pt x="12" y="11"/>
                            <a:pt x="13" y="10"/>
                          </a:cubicBezTo>
                          <a:cubicBezTo>
                            <a:pt x="14" y="9"/>
                            <a:pt x="8" y="4"/>
                            <a:pt x="8" y="3"/>
                          </a:cubicBezTo>
                          <a:cubicBezTo>
                            <a:pt x="8" y="4"/>
                            <a:pt x="8" y="4"/>
                            <a:pt x="9" y="4"/>
                          </a:cubicBezTo>
                          <a:cubicBezTo>
                            <a:pt x="8" y="3"/>
                            <a:pt x="9" y="4"/>
                            <a:pt x="9" y="4"/>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32" name="Freeform 338">
                      <a:extLst>
                        <a:ext uri="{FF2B5EF4-FFF2-40B4-BE49-F238E27FC236}">
                          <a16:creationId xmlns:a16="http://schemas.microsoft.com/office/drawing/2014/main" id="{6A314B47-3D07-FF4C-5518-48A2FAE318E1}"/>
                        </a:ext>
                      </a:extLst>
                    </p:cNvPr>
                    <p:cNvSpPr>
                      <a:spLocks noEditPoints="1"/>
                    </p:cNvSpPr>
                    <p:nvPr>
                      <p:custDataLst>
                        <p:tags r:id="rId296"/>
                      </p:custDataLst>
                    </p:nvPr>
                  </p:nvSpPr>
                  <p:spPr bwMode="auto">
                    <a:xfrm>
                      <a:off x="8716963" y="4391026"/>
                      <a:ext cx="468313" cy="377825"/>
                    </a:xfrm>
                    <a:custGeom>
                      <a:avLst/>
                      <a:gdLst>
                        <a:gd name="T0" fmla="*/ 186 w 253"/>
                        <a:gd name="T1" fmla="*/ 199 h 204"/>
                        <a:gd name="T2" fmla="*/ 187 w 253"/>
                        <a:gd name="T3" fmla="*/ 169 h 204"/>
                        <a:gd name="T4" fmla="*/ 187 w 253"/>
                        <a:gd name="T5" fmla="*/ 152 h 204"/>
                        <a:gd name="T6" fmla="*/ 169 w 253"/>
                        <a:gd name="T7" fmla="*/ 143 h 204"/>
                        <a:gd name="T8" fmla="*/ 166 w 253"/>
                        <a:gd name="T9" fmla="*/ 145 h 204"/>
                        <a:gd name="T10" fmla="*/ 164 w 253"/>
                        <a:gd name="T11" fmla="*/ 134 h 204"/>
                        <a:gd name="T12" fmla="*/ 148 w 253"/>
                        <a:gd name="T13" fmla="*/ 118 h 204"/>
                        <a:gd name="T14" fmla="*/ 150 w 253"/>
                        <a:gd name="T15" fmla="*/ 103 h 204"/>
                        <a:gd name="T16" fmla="*/ 130 w 253"/>
                        <a:gd name="T17" fmla="*/ 101 h 204"/>
                        <a:gd name="T18" fmla="*/ 135 w 253"/>
                        <a:gd name="T19" fmla="*/ 91 h 204"/>
                        <a:gd name="T20" fmla="*/ 124 w 253"/>
                        <a:gd name="T21" fmla="*/ 85 h 204"/>
                        <a:gd name="T22" fmla="*/ 107 w 253"/>
                        <a:gd name="T23" fmla="*/ 70 h 204"/>
                        <a:gd name="T24" fmla="*/ 102 w 253"/>
                        <a:gd name="T25" fmla="*/ 72 h 204"/>
                        <a:gd name="T26" fmla="*/ 90 w 253"/>
                        <a:gd name="T27" fmla="*/ 60 h 204"/>
                        <a:gd name="T28" fmla="*/ 72 w 253"/>
                        <a:gd name="T29" fmla="*/ 42 h 204"/>
                        <a:gd name="T30" fmla="*/ 57 w 253"/>
                        <a:gd name="T31" fmla="*/ 33 h 204"/>
                        <a:gd name="T32" fmla="*/ 50 w 253"/>
                        <a:gd name="T33" fmla="*/ 19 h 204"/>
                        <a:gd name="T34" fmla="*/ 36 w 253"/>
                        <a:gd name="T35" fmla="*/ 13 h 204"/>
                        <a:gd name="T36" fmla="*/ 9 w 253"/>
                        <a:gd name="T37" fmla="*/ 6 h 204"/>
                        <a:gd name="T38" fmla="*/ 19 w 253"/>
                        <a:gd name="T39" fmla="*/ 29 h 204"/>
                        <a:gd name="T40" fmla="*/ 37 w 253"/>
                        <a:gd name="T41" fmla="*/ 44 h 204"/>
                        <a:gd name="T42" fmla="*/ 49 w 253"/>
                        <a:gd name="T43" fmla="*/ 64 h 204"/>
                        <a:gd name="T44" fmla="*/ 67 w 253"/>
                        <a:gd name="T45" fmla="*/ 81 h 204"/>
                        <a:gd name="T46" fmla="*/ 82 w 253"/>
                        <a:gd name="T47" fmla="*/ 104 h 204"/>
                        <a:gd name="T48" fmla="*/ 98 w 253"/>
                        <a:gd name="T49" fmla="*/ 129 h 204"/>
                        <a:gd name="T50" fmla="*/ 121 w 253"/>
                        <a:gd name="T51" fmla="*/ 163 h 204"/>
                        <a:gd name="T52" fmla="*/ 143 w 253"/>
                        <a:gd name="T53" fmla="*/ 182 h 204"/>
                        <a:gd name="T54" fmla="*/ 163 w 253"/>
                        <a:gd name="T55" fmla="*/ 203 h 204"/>
                        <a:gd name="T56" fmla="*/ 176 w 253"/>
                        <a:gd name="T57" fmla="*/ 200 h 204"/>
                        <a:gd name="T58" fmla="*/ 2 w 253"/>
                        <a:gd name="T59" fmla="*/ 6 h 204"/>
                        <a:gd name="T60" fmla="*/ 3 w 253"/>
                        <a:gd name="T61" fmla="*/ 4 h 204"/>
                        <a:gd name="T62" fmla="*/ 8 w 253"/>
                        <a:gd name="T63" fmla="*/ 3 h 204"/>
                        <a:gd name="T64" fmla="*/ 164 w 253"/>
                        <a:gd name="T65" fmla="*/ 111 h 204"/>
                        <a:gd name="T66" fmla="*/ 160 w 253"/>
                        <a:gd name="T67" fmla="*/ 114 h 204"/>
                        <a:gd name="T68" fmla="*/ 166 w 253"/>
                        <a:gd name="T69" fmla="*/ 103 h 204"/>
                        <a:gd name="T70" fmla="*/ 168 w 253"/>
                        <a:gd name="T71" fmla="*/ 106 h 204"/>
                        <a:gd name="T72" fmla="*/ 239 w 253"/>
                        <a:gd name="T73" fmla="*/ 130 h 204"/>
                        <a:gd name="T74" fmla="*/ 154 w 253"/>
                        <a:gd name="T75" fmla="*/ 84 h 204"/>
                        <a:gd name="T76" fmla="*/ 154 w 253"/>
                        <a:gd name="T77" fmla="*/ 84 h 204"/>
                        <a:gd name="T78" fmla="*/ 135 w 253"/>
                        <a:gd name="T79" fmla="*/ 85 h 204"/>
                        <a:gd name="T80" fmla="*/ 145 w 253"/>
                        <a:gd name="T81" fmla="*/ 91 h 204"/>
                        <a:gd name="T82" fmla="*/ 144 w 253"/>
                        <a:gd name="T83" fmla="*/ 87 h 204"/>
                        <a:gd name="T84" fmla="*/ 191 w 253"/>
                        <a:gd name="T85" fmla="*/ 136 h 204"/>
                        <a:gd name="T86" fmla="*/ 184 w 253"/>
                        <a:gd name="T87" fmla="*/ 133 h 204"/>
                        <a:gd name="T88" fmla="*/ 176 w 253"/>
                        <a:gd name="T89" fmla="*/ 138 h 204"/>
                        <a:gd name="T90" fmla="*/ 189 w 253"/>
                        <a:gd name="T91" fmla="*/ 148 h 204"/>
                        <a:gd name="T92" fmla="*/ 203 w 253"/>
                        <a:gd name="T93" fmla="*/ 146 h 204"/>
                        <a:gd name="T94" fmla="*/ 150 w 253"/>
                        <a:gd name="T95" fmla="*/ 89 h 204"/>
                        <a:gd name="T96" fmla="*/ 151 w 253"/>
                        <a:gd name="T97" fmla="*/ 87 h 204"/>
                        <a:gd name="T98" fmla="*/ 249 w 253"/>
                        <a:gd name="T99" fmla="*/ 124 h 204"/>
                        <a:gd name="T100" fmla="*/ 248 w 253"/>
                        <a:gd name="T101" fmla="*/ 121 h 204"/>
                        <a:gd name="T102" fmla="*/ 219 w 253"/>
                        <a:gd name="T103" fmla="*/ 155 h 204"/>
                        <a:gd name="T104" fmla="*/ 226 w 253"/>
                        <a:gd name="T105" fmla="*/ 150 h 204"/>
                        <a:gd name="T106" fmla="*/ 214 w 253"/>
                        <a:gd name="T107" fmla="*/ 151 h 204"/>
                        <a:gd name="T108" fmla="*/ 163 w 253"/>
                        <a:gd name="T109" fmla="*/ 86 h 204"/>
                        <a:gd name="T110" fmla="*/ 162 w 253"/>
                        <a:gd name="T111" fmla="*/ 84 h 204"/>
                        <a:gd name="T112" fmla="*/ 126 w 253"/>
                        <a:gd name="T113" fmla="*/ 83 h 204"/>
                        <a:gd name="T114" fmla="*/ 125 w 253"/>
                        <a:gd name="T115" fmla="*/ 79 h 204"/>
                        <a:gd name="T116" fmla="*/ 116 w 253"/>
                        <a:gd name="T117" fmla="*/ 71 h 204"/>
                        <a:gd name="T118" fmla="*/ 130 w 253"/>
                        <a:gd name="T119" fmla="*/ 85 h 204"/>
                        <a:gd name="T120" fmla="*/ 130 w 253"/>
                        <a:gd name="T121" fmla="*/ 8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3" h="204">
                          <a:moveTo>
                            <a:pt x="175" y="200"/>
                          </a:moveTo>
                          <a:cubicBezTo>
                            <a:pt x="177" y="200"/>
                            <a:pt x="177" y="194"/>
                            <a:pt x="179" y="196"/>
                          </a:cubicBezTo>
                          <a:cubicBezTo>
                            <a:pt x="180" y="197"/>
                            <a:pt x="181" y="199"/>
                            <a:pt x="182" y="201"/>
                          </a:cubicBezTo>
                          <a:cubicBezTo>
                            <a:pt x="183" y="203"/>
                            <a:pt x="185" y="201"/>
                            <a:pt x="186" y="199"/>
                          </a:cubicBezTo>
                          <a:cubicBezTo>
                            <a:pt x="186" y="197"/>
                            <a:pt x="186" y="195"/>
                            <a:pt x="186" y="192"/>
                          </a:cubicBezTo>
                          <a:cubicBezTo>
                            <a:pt x="186" y="189"/>
                            <a:pt x="187" y="186"/>
                            <a:pt x="187" y="183"/>
                          </a:cubicBezTo>
                          <a:cubicBezTo>
                            <a:pt x="187" y="180"/>
                            <a:pt x="186" y="178"/>
                            <a:pt x="185" y="176"/>
                          </a:cubicBezTo>
                          <a:cubicBezTo>
                            <a:pt x="185" y="173"/>
                            <a:pt x="187" y="171"/>
                            <a:pt x="187" y="169"/>
                          </a:cubicBezTo>
                          <a:cubicBezTo>
                            <a:pt x="188" y="167"/>
                            <a:pt x="185" y="166"/>
                            <a:pt x="185" y="164"/>
                          </a:cubicBezTo>
                          <a:cubicBezTo>
                            <a:pt x="186" y="163"/>
                            <a:pt x="187" y="163"/>
                            <a:pt x="187" y="162"/>
                          </a:cubicBezTo>
                          <a:cubicBezTo>
                            <a:pt x="188" y="161"/>
                            <a:pt x="189" y="160"/>
                            <a:pt x="190" y="158"/>
                          </a:cubicBezTo>
                          <a:cubicBezTo>
                            <a:pt x="191" y="156"/>
                            <a:pt x="189" y="154"/>
                            <a:pt x="187" y="152"/>
                          </a:cubicBezTo>
                          <a:cubicBezTo>
                            <a:pt x="186" y="151"/>
                            <a:pt x="185" y="151"/>
                            <a:pt x="185" y="150"/>
                          </a:cubicBezTo>
                          <a:cubicBezTo>
                            <a:pt x="184" y="148"/>
                            <a:pt x="183" y="147"/>
                            <a:pt x="182" y="146"/>
                          </a:cubicBezTo>
                          <a:cubicBezTo>
                            <a:pt x="181" y="144"/>
                            <a:pt x="178" y="143"/>
                            <a:pt x="176" y="143"/>
                          </a:cubicBezTo>
                          <a:cubicBezTo>
                            <a:pt x="173" y="143"/>
                            <a:pt x="171" y="141"/>
                            <a:pt x="169" y="143"/>
                          </a:cubicBezTo>
                          <a:cubicBezTo>
                            <a:pt x="168" y="145"/>
                            <a:pt x="167" y="148"/>
                            <a:pt x="166" y="150"/>
                          </a:cubicBezTo>
                          <a:cubicBezTo>
                            <a:pt x="165" y="151"/>
                            <a:pt x="164" y="150"/>
                            <a:pt x="164" y="150"/>
                          </a:cubicBezTo>
                          <a:cubicBezTo>
                            <a:pt x="164" y="149"/>
                            <a:pt x="165" y="148"/>
                            <a:pt x="165" y="147"/>
                          </a:cubicBezTo>
                          <a:cubicBezTo>
                            <a:pt x="166" y="146"/>
                            <a:pt x="167" y="146"/>
                            <a:pt x="166" y="145"/>
                          </a:cubicBezTo>
                          <a:cubicBezTo>
                            <a:pt x="165" y="144"/>
                            <a:pt x="164" y="143"/>
                            <a:pt x="165" y="142"/>
                          </a:cubicBezTo>
                          <a:cubicBezTo>
                            <a:pt x="167" y="142"/>
                            <a:pt x="171" y="141"/>
                            <a:pt x="168" y="139"/>
                          </a:cubicBezTo>
                          <a:cubicBezTo>
                            <a:pt x="167" y="138"/>
                            <a:pt x="165" y="138"/>
                            <a:pt x="164" y="137"/>
                          </a:cubicBezTo>
                          <a:cubicBezTo>
                            <a:pt x="163" y="136"/>
                            <a:pt x="164" y="135"/>
                            <a:pt x="164" y="134"/>
                          </a:cubicBezTo>
                          <a:cubicBezTo>
                            <a:pt x="164" y="132"/>
                            <a:pt x="164" y="131"/>
                            <a:pt x="164" y="129"/>
                          </a:cubicBezTo>
                          <a:cubicBezTo>
                            <a:pt x="163" y="127"/>
                            <a:pt x="163" y="124"/>
                            <a:pt x="162" y="123"/>
                          </a:cubicBezTo>
                          <a:cubicBezTo>
                            <a:pt x="160" y="121"/>
                            <a:pt x="157" y="121"/>
                            <a:pt x="155" y="120"/>
                          </a:cubicBezTo>
                          <a:cubicBezTo>
                            <a:pt x="153" y="120"/>
                            <a:pt x="150" y="120"/>
                            <a:pt x="148" y="118"/>
                          </a:cubicBezTo>
                          <a:cubicBezTo>
                            <a:pt x="147" y="118"/>
                            <a:pt x="146" y="117"/>
                            <a:pt x="145" y="116"/>
                          </a:cubicBezTo>
                          <a:cubicBezTo>
                            <a:pt x="145" y="115"/>
                            <a:pt x="145" y="113"/>
                            <a:pt x="145" y="112"/>
                          </a:cubicBezTo>
                          <a:cubicBezTo>
                            <a:pt x="145" y="110"/>
                            <a:pt x="144" y="108"/>
                            <a:pt x="145" y="106"/>
                          </a:cubicBezTo>
                          <a:cubicBezTo>
                            <a:pt x="146" y="104"/>
                            <a:pt x="148" y="104"/>
                            <a:pt x="150" y="103"/>
                          </a:cubicBezTo>
                          <a:cubicBezTo>
                            <a:pt x="151" y="101"/>
                            <a:pt x="151" y="100"/>
                            <a:pt x="149" y="99"/>
                          </a:cubicBezTo>
                          <a:cubicBezTo>
                            <a:pt x="147" y="98"/>
                            <a:pt x="146" y="95"/>
                            <a:pt x="143" y="95"/>
                          </a:cubicBezTo>
                          <a:cubicBezTo>
                            <a:pt x="140" y="95"/>
                            <a:pt x="140" y="97"/>
                            <a:pt x="138" y="99"/>
                          </a:cubicBezTo>
                          <a:cubicBezTo>
                            <a:pt x="136" y="101"/>
                            <a:pt x="132" y="101"/>
                            <a:pt x="130" y="101"/>
                          </a:cubicBezTo>
                          <a:cubicBezTo>
                            <a:pt x="128" y="100"/>
                            <a:pt x="128" y="98"/>
                            <a:pt x="130" y="98"/>
                          </a:cubicBezTo>
                          <a:cubicBezTo>
                            <a:pt x="133" y="98"/>
                            <a:pt x="135" y="98"/>
                            <a:pt x="137" y="95"/>
                          </a:cubicBezTo>
                          <a:cubicBezTo>
                            <a:pt x="137" y="94"/>
                            <a:pt x="138" y="93"/>
                            <a:pt x="137" y="92"/>
                          </a:cubicBezTo>
                          <a:cubicBezTo>
                            <a:pt x="137" y="91"/>
                            <a:pt x="135" y="91"/>
                            <a:pt x="135" y="91"/>
                          </a:cubicBezTo>
                          <a:cubicBezTo>
                            <a:pt x="134" y="91"/>
                            <a:pt x="133" y="90"/>
                            <a:pt x="132" y="89"/>
                          </a:cubicBezTo>
                          <a:cubicBezTo>
                            <a:pt x="130" y="89"/>
                            <a:pt x="129" y="89"/>
                            <a:pt x="127" y="89"/>
                          </a:cubicBezTo>
                          <a:cubicBezTo>
                            <a:pt x="126" y="88"/>
                            <a:pt x="125" y="88"/>
                            <a:pt x="124" y="87"/>
                          </a:cubicBezTo>
                          <a:cubicBezTo>
                            <a:pt x="124" y="87"/>
                            <a:pt x="124" y="85"/>
                            <a:pt x="124" y="85"/>
                          </a:cubicBezTo>
                          <a:cubicBezTo>
                            <a:pt x="123" y="82"/>
                            <a:pt x="122" y="79"/>
                            <a:pt x="120" y="77"/>
                          </a:cubicBezTo>
                          <a:cubicBezTo>
                            <a:pt x="119" y="77"/>
                            <a:pt x="118" y="77"/>
                            <a:pt x="117" y="76"/>
                          </a:cubicBezTo>
                          <a:cubicBezTo>
                            <a:pt x="115" y="75"/>
                            <a:pt x="114" y="75"/>
                            <a:pt x="113" y="75"/>
                          </a:cubicBezTo>
                          <a:cubicBezTo>
                            <a:pt x="110" y="75"/>
                            <a:pt x="108" y="73"/>
                            <a:pt x="107" y="70"/>
                          </a:cubicBezTo>
                          <a:cubicBezTo>
                            <a:pt x="107" y="68"/>
                            <a:pt x="106" y="67"/>
                            <a:pt x="104" y="66"/>
                          </a:cubicBezTo>
                          <a:cubicBezTo>
                            <a:pt x="102" y="65"/>
                            <a:pt x="100" y="65"/>
                            <a:pt x="101" y="67"/>
                          </a:cubicBezTo>
                          <a:cubicBezTo>
                            <a:pt x="102" y="68"/>
                            <a:pt x="103" y="69"/>
                            <a:pt x="103" y="71"/>
                          </a:cubicBezTo>
                          <a:cubicBezTo>
                            <a:pt x="103" y="72"/>
                            <a:pt x="103" y="72"/>
                            <a:pt x="102" y="72"/>
                          </a:cubicBezTo>
                          <a:cubicBezTo>
                            <a:pt x="101" y="73"/>
                            <a:pt x="100" y="71"/>
                            <a:pt x="99" y="70"/>
                          </a:cubicBezTo>
                          <a:cubicBezTo>
                            <a:pt x="99" y="69"/>
                            <a:pt x="98" y="68"/>
                            <a:pt x="97" y="67"/>
                          </a:cubicBezTo>
                          <a:cubicBezTo>
                            <a:pt x="96" y="66"/>
                            <a:pt x="95" y="66"/>
                            <a:pt x="95" y="65"/>
                          </a:cubicBezTo>
                          <a:cubicBezTo>
                            <a:pt x="93" y="63"/>
                            <a:pt x="93" y="61"/>
                            <a:pt x="90" y="60"/>
                          </a:cubicBezTo>
                          <a:cubicBezTo>
                            <a:pt x="88" y="60"/>
                            <a:pt x="86" y="59"/>
                            <a:pt x="85" y="57"/>
                          </a:cubicBezTo>
                          <a:cubicBezTo>
                            <a:pt x="84" y="55"/>
                            <a:pt x="85" y="53"/>
                            <a:pt x="83" y="51"/>
                          </a:cubicBezTo>
                          <a:cubicBezTo>
                            <a:pt x="81" y="50"/>
                            <a:pt x="79" y="49"/>
                            <a:pt x="78" y="48"/>
                          </a:cubicBezTo>
                          <a:cubicBezTo>
                            <a:pt x="76" y="46"/>
                            <a:pt x="75" y="43"/>
                            <a:pt x="72" y="42"/>
                          </a:cubicBezTo>
                          <a:cubicBezTo>
                            <a:pt x="70" y="41"/>
                            <a:pt x="67" y="41"/>
                            <a:pt x="66" y="39"/>
                          </a:cubicBezTo>
                          <a:cubicBezTo>
                            <a:pt x="65" y="38"/>
                            <a:pt x="65" y="37"/>
                            <a:pt x="64" y="36"/>
                          </a:cubicBezTo>
                          <a:cubicBezTo>
                            <a:pt x="63" y="35"/>
                            <a:pt x="62" y="35"/>
                            <a:pt x="61" y="35"/>
                          </a:cubicBezTo>
                          <a:cubicBezTo>
                            <a:pt x="59" y="36"/>
                            <a:pt x="58" y="35"/>
                            <a:pt x="57" y="33"/>
                          </a:cubicBezTo>
                          <a:cubicBezTo>
                            <a:pt x="57" y="31"/>
                            <a:pt x="57" y="29"/>
                            <a:pt x="55" y="27"/>
                          </a:cubicBezTo>
                          <a:cubicBezTo>
                            <a:pt x="55" y="27"/>
                            <a:pt x="54" y="26"/>
                            <a:pt x="53" y="25"/>
                          </a:cubicBezTo>
                          <a:cubicBezTo>
                            <a:pt x="53" y="24"/>
                            <a:pt x="53" y="23"/>
                            <a:pt x="53" y="22"/>
                          </a:cubicBezTo>
                          <a:cubicBezTo>
                            <a:pt x="52" y="20"/>
                            <a:pt x="51" y="20"/>
                            <a:pt x="50" y="19"/>
                          </a:cubicBezTo>
                          <a:cubicBezTo>
                            <a:pt x="49" y="18"/>
                            <a:pt x="49" y="17"/>
                            <a:pt x="48" y="16"/>
                          </a:cubicBezTo>
                          <a:cubicBezTo>
                            <a:pt x="47" y="15"/>
                            <a:pt x="46" y="14"/>
                            <a:pt x="45" y="14"/>
                          </a:cubicBezTo>
                          <a:cubicBezTo>
                            <a:pt x="43" y="14"/>
                            <a:pt x="42" y="15"/>
                            <a:pt x="41" y="16"/>
                          </a:cubicBezTo>
                          <a:cubicBezTo>
                            <a:pt x="39" y="17"/>
                            <a:pt x="38" y="14"/>
                            <a:pt x="36" y="13"/>
                          </a:cubicBezTo>
                          <a:cubicBezTo>
                            <a:pt x="34" y="13"/>
                            <a:pt x="33" y="13"/>
                            <a:pt x="32" y="13"/>
                          </a:cubicBezTo>
                          <a:cubicBezTo>
                            <a:pt x="31" y="14"/>
                            <a:pt x="30" y="14"/>
                            <a:pt x="28" y="14"/>
                          </a:cubicBezTo>
                          <a:cubicBezTo>
                            <a:pt x="26" y="15"/>
                            <a:pt x="23" y="16"/>
                            <a:pt x="21" y="14"/>
                          </a:cubicBezTo>
                          <a:cubicBezTo>
                            <a:pt x="18" y="10"/>
                            <a:pt x="14" y="5"/>
                            <a:pt x="9" y="6"/>
                          </a:cubicBezTo>
                          <a:cubicBezTo>
                            <a:pt x="4" y="8"/>
                            <a:pt x="7" y="15"/>
                            <a:pt x="8" y="17"/>
                          </a:cubicBezTo>
                          <a:cubicBezTo>
                            <a:pt x="9" y="19"/>
                            <a:pt x="10" y="20"/>
                            <a:pt x="11" y="21"/>
                          </a:cubicBezTo>
                          <a:cubicBezTo>
                            <a:pt x="12" y="22"/>
                            <a:pt x="12" y="23"/>
                            <a:pt x="13" y="24"/>
                          </a:cubicBezTo>
                          <a:cubicBezTo>
                            <a:pt x="14" y="27"/>
                            <a:pt x="17" y="28"/>
                            <a:pt x="19" y="29"/>
                          </a:cubicBezTo>
                          <a:cubicBezTo>
                            <a:pt x="21" y="31"/>
                            <a:pt x="23" y="33"/>
                            <a:pt x="25" y="35"/>
                          </a:cubicBezTo>
                          <a:cubicBezTo>
                            <a:pt x="26" y="37"/>
                            <a:pt x="28" y="39"/>
                            <a:pt x="30" y="41"/>
                          </a:cubicBezTo>
                          <a:cubicBezTo>
                            <a:pt x="31" y="41"/>
                            <a:pt x="32" y="42"/>
                            <a:pt x="33" y="42"/>
                          </a:cubicBezTo>
                          <a:cubicBezTo>
                            <a:pt x="34" y="43"/>
                            <a:pt x="36" y="44"/>
                            <a:pt x="37" y="44"/>
                          </a:cubicBezTo>
                          <a:cubicBezTo>
                            <a:pt x="39" y="46"/>
                            <a:pt x="41" y="48"/>
                            <a:pt x="43" y="51"/>
                          </a:cubicBezTo>
                          <a:cubicBezTo>
                            <a:pt x="45" y="52"/>
                            <a:pt x="47" y="54"/>
                            <a:pt x="48" y="57"/>
                          </a:cubicBezTo>
                          <a:cubicBezTo>
                            <a:pt x="49" y="58"/>
                            <a:pt x="49" y="59"/>
                            <a:pt x="49" y="60"/>
                          </a:cubicBezTo>
                          <a:cubicBezTo>
                            <a:pt x="49" y="61"/>
                            <a:pt x="49" y="63"/>
                            <a:pt x="49" y="64"/>
                          </a:cubicBezTo>
                          <a:cubicBezTo>
                            <a:pt x="50" y="66"/>
                            <a:pt x="54" y="65"/>
                            <a:pt x="55" y="66"/>
                          </a:cubicBezTo>
                          <a:cubicBezTo>
                            <a:pt x="58" y="67"/>
                            <a:pt x="60" y="69"/>
                            <a:pt x="62" y="70"/>
                          </a:cubicBezTo>
                          <a:cubicBezTo>
                            <a:pt x="64" y="71"/>
                            <a:pt x="66" y="72"/>
                            <a:pt x="67" y="74"/>
                          </a:cubicBezTo>
                          <a:cubicBezTo>
                            <a:pt x="68" y="76"/>
                            <a:pt x="66" y="78"/>
                            <a:pt x="67" y="81"/>
                          </a:cubicBezTo>
                          <a:cubicBezTo>
                            <a:pt x="69" y="83"/>
                            <a:pt x="70" y="84"/>
                            <a:pt x="71" y="87"/>
                          </a:cubicBezTo>
                          <a:cubicBezTo>
                            <a:pt x="71" y="90"/>
                            <a:pt x="70" y="92"/>
                            <a:pt x="72" y="95"/>
                          </a:cubicBezTo>
                          <a:cubicBezTo>
                            <a:pt x="73" y="97"/>
                            <a:pt x="75" y="98"/>
                            <a:pt x="76" y="99"/>
                          </a:cubicBezTo>
                          <a:cubicBezTo>
                            <a:pt x="79" y="100"/>
                            <a:pt x="80" y="102"/>
                            <a:pt x="82" y="104"/>
                          </a:cubicBezTo>
                          <a:cubicBezTo>
                            <a:pt x="84" y="106"/>
                            <a:pt x="85" y="108"/>
                            <a:pt x="87" y="111"/>
                          </a:cubicBezTo>
                          <a:cubicBezTo>
                            <a:pt x="88" y="113"/>
                            <a:pt x="91" y="114"/>
                            <a:pt x="92" y="116"/>
                          </a:cubicBezTo>
                          <a:cubicBezTo>
                            <a:pt x="94" y="118"/>
                            <a:pt x="94" y="120"/>
                            <a:pt x="94" y="122"/>
                          </a:cubicBezTo>
                          <a:cubicBezTo>
                            <a:pt x="94" y="125"/>
                            <a:pt x="97" y="127"/>
                            <a:pt x="98" y="129"/>
                          </a:cubicBezTo>
                          <a:cubicBezTo>
                            <a:pt x="99" y="131"/>
                            <a:pt x="101" y="134"/>
                            <a:pt x="102" y="136"/>
                          </a:cubicBezTo>
                          <a:cubicBezTo>
                            <a:pt x="103" y="139"/>
                            <a:pt x="103" y="142"/>
                            <a:pt x="104" y="144"/>
                          </a:cubicBezTo>
                          <a:cubicBezTo>
                            <a:pt x="107" y="149"/>
                            <a:pt x="110" y="154"/>
                            <a:pt x="114" y="157"/>
                          </a:cubicBezTo>
                          <a:cubicBezTo>
                            <a:pt x="116" y="159"/>
                            <a:pt x="118" y="161"/>
                            <a:pt x="121" y="163"/>
                          </a:cubicBezTo>
                          <a:cubicBezTo>
                            <a:pt x="123" y="165"/>
                            <a:pt x="125" y="165"/>
                            <a:pt x="126" y="168"/>
                          </a:cubicBezTo>
                          <a:cubicBezTo>
                            <a:pt x="126" y="171"/>
                            <a:pt x="126" y="172"/>
                            <a:pt x="128" y="174"/>
                          </a:cubicBezTo>
                          <a:cubicBezTo>
                            <a:pt x="131" y="176"/>
                            <a:pt x="133" y="177"/>
                            <a:pt x="136" y="179"/>
                          </a:cubicBezTo>
                          <a:cubicBezTo>
                            <a:pt x="138" y="180"/>
                            <a:pt x="141" y="181"/>
                            <a:pt x="143" y="182"/>
                          </a:cubicBezTo>
                          <a:cubicBezTo>
                            <a:pt x="145" y="183"/>
                            <a:pt x="146" y="186"/>
                            <a:pt x="148" y="188"/>
                          </a:cubicBezTo>
                          <a:cubicBezTo>
                            <a:pt x="150" y="189"/>
                            <a:pt x="152" y="191"/>
                            <a:pt x="154" y="193"/>
                          </a:cubicBezTo>
                          <a:cubicBezTo>
                            <a:pt x="157" y="195"/>
                            <a:pt x="159" y="196"/>
                            <a:pt x="161" y="198"/>
                          </a:cubicBezTo>
                          <a:cubicBezTo>
                            <a:pt x="162" y="200"/>
                            <a:pt x="162" y="201"/>
                            <a:pt x="163" y="203"/>
                          </a:cubicBezTo>
                          <a:cubicBezTo>
                            <a:pt x="164" y="204"/>
                            <a:pt x="165" y="204"/>
                            <a:pt x="165" y="202"/>
                          </a:cubicBezTo>
                          <a:cubicBezTo>
                            <a:pt x="165" y="200"/>
                            <a:pt x="163" y="194"/>
                            <a:pt x="166" y="197"/>
                          </a:cubicBezTo>
                          <a:cubicBezTo>
                            <a:pt x="168" y="198"/>
                            <a:pt x="169" y="198"/>
                            <a:pt x="171" y="199"/>
                          </a:cubicBezTo>
                          <a:cubicBezTo>
                            <a:pt x="172" y="200"/>
                            <a:pt x="174" y="200"/>
                            <a:pt x="176" y="200"/>
                          </a:cubicBezTo>
                          <a:cubicBezTo>
                            <a:pt x="175" y="200"/>
                            <a:pt x="175" y="200"/>
                            <a:pt x="175" y="200"/>
                          </a:cubicBezTo>
                          <a:cubicBezTo>
                            <a:pt x="177" y="200"/>
                            <a:pt x="175" y="200"/>
                            <a:pt x="175" y="200"/>
                          </a:cubicBezTo>
                          <a:close/>
                          <a:moveTo>
                            <a:pt x="3" y="4"/>
                          </a:moveTo>
                          <a:cubicBezTo>
                            <a:pt x="2" y="2"/>
                            <a:pt x="0" y="5"/>
                            <a:pt x="2" y="6"/>
                          </a:cubicBezTo>
                          <a:cubicBezTo>
                            <a:pt x="3" y="6"/>
                            <a:pt x="4" y="6"/>
                            <a:pt x="4" y="6"/>
                          </a:cubicBezTo>
                          <a:cubicBezTo>
                            <a:pt x="4" y="5"/>
                            <a:pt x="3" y="4"/>
                            <a:pt x="3" y="4"/>
                          </a:cubicBezTo>
                          <a:cubicBezTo>
                            <a:pt x="3" y="4"/>
                            <a:pt x="3" y="4"/>
                            <a:pt x="3" y="4"/>
                          </a:cubicBezTo>
                          <a:cubicBezTo>
                            <a:pt x="3" y="3"/>
                            <a:pt x="3" y="4"/>
                            <a:pt x="3" y="4"/>
                          </a:cubicBezTo>
                          <a:close/>
                          <a:moveTo>
                            <a:pt x="8" y="3"/>
                          </a:moveTo>
                          <a:cubicBezTo>
                            <a:pt x="9" y="2"/>
                            <a:pt x="7" y="1"/>
                            <a:pt x="6" y="0"/>
                          </a:cubicBezTo>
                          <a:cubicBezTo>
                            <a:pt x="5" y="0"/>
                            <a:pt x="4" y="1"/>
                            <a:pt x="5" y="2"/>
                          </a:cubicBezTo>
                          <a:cubicBezTo>
                            <a:pt x="5" y="2"/>
                            <a:pt x="8" y="5"/>
                            <a:pt x="8" y="3"/>
                          </a:cubicBezTo>
                          <a:cubicBezTo>
                            <a:pt x="8" y="3"/>
                            <a:pt x="8" y="3"/>
                            <a:pt x="8" y="3"/>
                          </a:cubicBezTo>
                          <a:cubicBezTo>
                            <a:pt x="8" y="2"/>
                            <a:pt x="8" y="3"/>
                            <a:pt x="8" y="3"/>
                          </a:cubicBezTo>
                          <a:close/>
                          <a:moveTo>
                            <a:pt x="160" y="114"/>
                          </a:moveTo>
                          <a:cubicBezTo>
                            <a:pt x="162" y="114"/>
                            <a:pt x="163" y="112"/>
                            <a:pt x="164" y="111"/>
                          </a:cubicBezTo>
                          <a:cubicBezTo>
                            <a:pt x="166" y="110"/>
                            <a:pt x="163" y="109"/>
                            <a:pt x="162" y="109"/>
                          </a:cubicBezTo>
                          <a:cubicBezTo>
                            <a:pt x="161" y="109"/>
                            <a:pt x="159" y="109"/>
                            <a:pt x="159" y="111"/>
                          </a:cubicBezTo>
                          <a:cubicBezTo>
                            <a:pt x="159" y="112"/>
                            <a:pt x="159" y="114"/>
                            <a:pt x="161" y="114"/>
                          </a:cubicBezTo>
                          <a:cubicBezTo>
                            <a:pt x="161" y="114"/>
                            <a:pt x="160" y="114"/>
                            <a:pt x="160" y="114"/>
                          </a:cubicBezTo>
                          <a:cubicBezTo>
                            <a:pt x="162" y="114"/>
                            <a:pt x="160" y="114"/>
                            <a:pt x="160" y="114"/>
                          </a:cubicBezTo>
                          <a:close/>
                          <a:moveTo>
                            <a:pt x="168" y="106"/>
                          </a:moveTo>
                          <a:cubicBezTo>
                            <a:pt x="168" y="106"/>
                            <a:pt x="167" y="105"/>
                            <a:pt x="167" y="105"/>
                          </a:cubicBezTo>
                          <a:cubicBezTo>
                            <a:pt x="166" y="105"/>
                            <a:pt x="166" y="104"/>
                            <a:pt x="166" y="103"/>
                          </a:cubicBezTo>
                          <a:cubicBezTo>
                            <a:pt x="165" y="103"/>
                            <a:pt x="164" y="101"/>
                            <a:pt x="163" y="102"/>
                          </a:cubicBezTo>
                          <a:cubicBezTo>
                            <a:pt x="163" y="104"/>
                            <a:pt x="162" y="105"/>
                            <a:pt x="164" y="106"/>
                          </a:cubicBezTo>
                          <a:cubicBezTo>
                            <a:pt x="165" y="106"/>
                            <a:pt x="166" y="106"/>
                            <a:pt x="167" y="107"/>
                          </a:cubicBezTo>
                          <a:cubicBezTo>
                            <a:pt x="167" y="107"/>
                            <a:pt x="168" y="106"/>
                            <a:pt x="168" y="106"/>
                          </a:cubicBezTo>
                          <a:cubicBezTo>
                            <a:pt x="168" y="106"/>
                            <a:pt x="168" y="106"/>
                            <a:pt x="168" y="106"/>
                          </a:cubicBezTo>
                          <a:cubicBezTo>
                            <a:pt x="168" y="105"/>
                            <a:pt x="168" y="106"/>
                            <a:pt x="168" y="106"/>
                          </a:cubicBezTo>
                          <a:close/>
                          <a:moveTo>
                            <a:pt x="236" y="130"/>
                          </a:moveTo>
                          <a:cubicBezTo>
                            <a:pt x="237" y="130"/>
                            <a:pt x="240" y="131"/>
                            <a:pt x="239" y="130"/>
                          </a:cubicBezTo>
                          <a:cubicBezTo>
                            <a:pt x="237" y="128"/>
                            <a:pt x="235" y="130"/>
                            <a:pt x="237" y="130"/>
                          </a:cubicBezTo>
                          <a:cubicBezTo>
                            <a:pt x="237" y="130"/>
                            <a:pt x="237" y="130"/>
                            <a:pt x="236" y="130"/>
                          </a:cubicBezTo>
                          <a:cubicBezTo>
                            <a:pt x="237" y="130"/>
                            <a:pt x="236" y="130"/>
                            <a:pt x="236" y="130"/>
                          </a:cubicBezTo>
                          <a:close/>
                          <a:moveTo>
                            <a:pt x="154" y="84"/>
                          </a:moveTo>
                          <a:cubicBezTo>
                            <a:pt x="154" y="85"/>
                            <a:pt x="153" y="85"/>
                            <a:pt x="154" y="86"/>
                          </a:cubicBezTo>
                          <a:cubicBezTo>
                            <a:pt x="155" y="86"/>
                            <a:pt x="156" y="87"/>
                            <a:pt x="157" y="86"/>
                          </a:cubicBezTo>
                          <a:cubicBezTo>
                            <a:pt x="157" y="84"/>
                            <a:pt x="155" y="83"/>
                            <a:pt x="154" y="84"/>
                          </a:cubicBezTo>
                          <a:cubicBezTo>
                            <a:pt x="154" y="84"/>
                            <a:pt x="154" y="84"/>
                            <a:pt x="154" y="84"/>
                          </a:cubicBezTo>
                          <a:cubicBezTo>
                            <a:pt x="154" y="84"/>
                            <a:pt x="154" y="84"/>
                            <a:pt x="154" y="84"/>
                          </a:cubicBezTo>
                          <a:close/>
                          <a:moveTo>
                            <a:pt x="136" y="85"/>
                          </a:moveTo>
                          <a:cubicBezTo>
                            <a:pt x="137" y="85"/>
                            <a:pt x="135" y="81"/>
                            <a:pt x="134" y="83"/>
                          </a:cubicBezTo>
                          <a:cubicBezTo>
                            <a:pt x="133" y="84"/>
                            <a:pt x="134" y="85"/>
                            <a:pt x="135" y="85"/>
                          </a:cubicBezTo>
                          <a:cubicBezTo>
                            <a:pt x="135" y="85"/>
                            <a:pt x="136" y="85"/>
                            <a:pt x="136" y="85"/>
                          </a:cubicBezTo>
                          <a:cubicBezTo>
                            <a:pt x="137" y="85"/>
                            <a:pt x="136" y="85"/>
                            <a:pt x="136" y="85"/>
                          </a:cubicBezTo>
                          <a:close/>
                          <a:moveTo>
                            <a:pt x="144" y="87"/>
                          </a:moveTo>
                          <a:cubicBezTo>
                            <a:pt x="144" y="88"/>
                            <a:pt x="144" y="90"/>
                            <a:pt x="145" y="91"/>
                          </a:cubicBezTo>
                          <a:cubicBezTo>
                            <a:pt x="146" y="92"/>
                            <a:pt x="146" y="90"/>
                            <a:pt x="146" y="90"/>
                          </a:cubicBezTo>
                          <a:cubicBezTo>
                            <a:pt x="146" y="89"/>
                            <a:pt x="144" y="86"/>
                            <a:pt x="144" y="88"/>
                          </a:cubicBezTo>
                          <a:cubicBezTo>
                            <a:pt x="144" y="88"/>
                            <a:pt x="144" y="87"/>
                            <a:pt x="144" y="87"/>
                          </a:cubicBezTo>
                          <a:cubicBezTo>
                            <a:pt x="144" y="88"/>
                            <a:pt x="144" y="87"/>
                            <a:pt x="144" y="87"/>
                          </a:cubicBezTo>
                          <a:close/>
                          <a:moveTo>
                            <a:pt x="203" y="147"/>
                          </a:moveTo>
                          <a:cubicBezTo>
                            <a:pt x="204" y="146"/>
                            <a:pt x="200" y="145"/>
                            <a:pt x="200" y="145"/>
                          </a:cubicBezTo>
                          <a:cubicBezTo>
                            <a:pt x="198" y="145"/>
                            <a:pt x="196" y="145"/>
                            <a:pt x="194" y="143"/>
                          </a:cubicBezTo>
                          <a:cubicBezTo>
                            <a:pt x="191" y="142"/>
                            <a:pt x="192" y="138"/>
                            <a:pt x="191" y="136"/>
                          </a:cubicBezTo>
                          <a:cubicBezTo>
                            <a:pt x="190" y="134"/>
                            <a:pt x="189" y="132"/>
                            <a:pt x="188" y="129"/>
                          </a:cubicBezTo>
                          <a:cubicBezTo>
                            <a:pt x="188" y="128"/>
                            <a:pt x="185" y="128"/>
                            <a:pt x="185" y="129"/>
                          </a:cubicBezTo>
                          <a:cubicBezTo>
                            <a:pt x="185" y="130"/>
                            <a:pt x="185" y="131"/>
                            <a:pt x="185" y="132"/>
                          </a:cubicBezTo>
                          <a:cubicBezTo>
                            <a:pt x="186" y="132"/>
                            <a:pt x="185" y="134"/>
                            <a:pt x="184" y="133"/>
                          </a:cubicBezTo>
                          <a:cubicBezTo>
                            <a:pt x="183" y="132"/>
                            <a:pt x="183" y="129"/>
                            <a:pt x="181" y="129"/>
                          </a:cubicBezTo>
                          <a:cubicBezTo>
                            <a:pt x="177" y="129"/>
                            <a:pt x="179" y="133"/>
                            <a:pt x="177" y="135"/>
                          </a:cubicBezTo>
                          <a:cubicBezTo>
                            <a:pt x="177" y="136"/>
                            <a:pt x="176" y="135"/>
                            <a:pt x="175" y="136"/>
                          </a:cubicBezTo>
                          <a:cubicBezTo>
                            <a:pt x="175" y="137"/>
                            <a:pt x="175" y="138"/>
                            <a:pt x="176" y="138"/>
                          </a:cubicBezTo>
                          <a:cubicBezTo>
                            <a:pt x="178" y="140"/>
                            <a:pt x="181" y="138"/>
                            <a:pt x="183" y="138"/>
                          </a:cubicBezTo>
                          <a:cubicBezTo>
                            <a:pt x="186" y="138"/>
                            <a:pt x="185" y="140"/>
                            <a:pt x="185" y="142"/>
                          </a:cubicBezTo>
                          <a:cubicBezTo>
                            <a:pt x="186" y="143"/>
                            <a:pt x="187" y="144"/>
                            <a:pt x="188" y="144"/>
                          </a:cubicBezTo>
                          <a:cubicBezTo>
                            <a:pt x="189" y="145"/>
                            <a:pt x="188" y="146"/>
                            <a:pt x="189" y="148"/>
                          </a:cubicBezTo>
                          <a:cubicBezTo>
                            <a:pt x="189" y="150"/>
                            <a:pt x="191" y="151"/>
                            <a:pt x="193" y="152"/>
                          </a:cubicBezTo>
                          <a:cubicBezTo>
                            <a:pt x="194" y="153"/>
                            <a:pt x="195" y="156"/>
                            <a:pt x="197" y="156"/>
                          </a:cubicBezTo>
                          <a:cubicBezTo>
                            <a:pt x="200" y="156"/>
                            <a:pt x="199" y="153"/>
                            <a:pt x="199" y="151"/>
                          </a:cubicBezTo>
                          <a:cubicBezTo>
                            <a:pt x="199" y="148"/>
                            <a:pt x="201" y="148"/>
                            <a:pt x="203" y="146"/>
                          </a:cubicBezTo>
                          <a:cubicBezTo>
                            <a:pt x="203" y="146"/>
                            <a:pt x="203" y="147"/>
                            <a:pt x="203" y="147"/>
                          </a:cubicBezTo>
                          <a:cubicBezTo>
                            <a:pt x="204" y="146"/>
                            <a:pt x="203" y="147"/>
                            <a:pt x="203" y="147"/>
                          </a:cubicBezTo>
                          <a:close/>
                          <a:moveTo>
                            <a:pt x="152" y="87"/>
                          </a:moveTo>
                          <a:cubicBezTo>
                            <a:pt x="151" y="88"/>
                            <a:pt x="150" y="88"/>
                            <a:pt x="150" y="89"/>
                          </a:cubicBezTo>
                          <a:cubicBezTo>
                            <a:pt x="150" y="90"/>
                            <a:pt x="151" y="91"/>
                            <a:pt x="152" y="91"/>
                          </a:cubicBezTo>
                          <a:cubicBezTo>
                            <a:pt x="153" y="90"/>
                            <a:pt x="153" y="89"/>
                            <a:pt x="153" y="89"/>
                          </a:cubicBezTo>
                          <a:cubicBezTo>
                            <a:pt x="153" y="88"/>
                            <a:pt x="153" y="88"/>
                            <a:pt x="153" y="87"/>
                          </a:cubicBezTo>
                          <a:cubicBezTo>
                            <a:pt x="152" y="87"/>
                            <a:pt x="152" y="87"/>
                            <a:pt x="151" y="87"/>
                          </a:cubicBezTo>
                          <a:cubicBezTo>
                            <a:pt x="151" y="87"/>
                            <a:pt x="152" y="87"/>
                            <a:pt x="152" y="87"/>
                          </a:cubicBezTo>
                          <a:cubicBezTo>
                            <a:pt x="151" y="88"/>
                            <a:pt x="152" y="87"/>
                            <a:pt x="152" y="87"/>
                          </a:cubicBezTo>
                          <a:close/>
                          <a:moveTo>
                            <a:pt x="248" y="121"/>
                          </a:moveTo>
                          <a:cubicBezTo>
                            <a:pt x="248" y="121"/>
                            <a:pt x="247" y="124"/>
                            <a:pt x="249" y="124"/>
                          </a:cubicBezTo>
                          <a:cubicBezTo>
                            <a:pt x="250" y="124"/>
                            <a:pt x="251" y="123"/>
                            <a:pt x="252" y="123"/>
                          </a:cubicBezTo>
                          <a:cubicBezTo>
                            <a:pt x="253" y="121"/>
                            <a:pt x="249" y="120"/>
                            <a:pt x="248" y="121"/>
                          </a:cubicBezTo>
                          <a:cubicBezTo>
                            <a:pt x="248" y="121"/>
                            <a:pt x="248" y="121"/>
                            <a:pt x="248" y="121"/>
                          </a:cubicBezTo>
                          <a:cubicBezTo>
                            <a:pt x="248" y="121"/>
                            <a:pt x="248" y="121"/>
                            <a:pt x="248" y="121"/>
                          </a:cubicBezTo>
                          <a:close/>
                          <a:moveTo>
                            <a:pt x="215" y="150"/>
                          </a:moveTo>
                          <a:cubicBezTo>
                            <a:pt x="214" y="151"/>
                            <a:pt x="215" y="152"/>
                            <a:pt x="215" y="152"/>
                          </a:cubicBezTo>
                          <a:cubicBezTo>
                            <a:pt x="216" y="153"/>
                            <a:pt x="216" y="154"/>
                            <a:pt x="216" y="155"/>
                          </a:cubicBezTo>
                          <a:cubicBezTo>
                            <a:pt x="217" y="157"/>
                            <a:pt x="218" y="156"/>
                            <a:pt x="219" y="155"/>
                          </a:cubicBezTo>
                          <a:cubicBezTo>
                            <a:pt x="220" y="154"/>
                            <a:pt x="221" y="154"/>
                            <a:pt x="221" y="154"/>
                          </a:cubicBezTo>
                          <a:cubicBezTo>
                            <a:pt x="222" y="154"/>
                            <a:pt x="222" y="156"/>
                            <a:pt x="223" y="156"/>
                          </a:cubicBezTo>
                          <a:cubicBezTo>
                            <a:pt x="225" y="157"/>
                            <a:pt x="225" y="155"/>
                            <a:pt x="226" y="154"/>
                          </a:cubicBezTo>
                          <a:cubicBezTo>
                            <a:pt x="227" y="152"/>
                            <a:pt x="228" y="151"/>
                            <a:pt x="226" y="150"/>
                          </a:cubicBezTo>
                          <a:cubicBezTo>
                            <a:pt x="224" y="149"/>
                            <a:pt x="224" y="146"/>
                            <a:pt x="222" y="146"/>
                          </a:cubicBezTo>
                          <a:cubicBezTo>
                            <a:pt x="221" y="146"/>
                            <a:pt x="218" y="146"/>
                            <a:pt x="217" y="147"/>
                          </a:cubicBezTo>
                          <a:cubicBezTo>
                            <a:pt x="216" y="148"/>
                            <a:pt x="217" y="149"/>
                            <a:pt x="216" y="149"/>
                          </a:cubicBezTo>
                          <a:cubicBezTo>
                            <a:pt x="215" y="150"/>
                            <a:pt x="215" y="150"/>
                            <a:pt x="214" y="151"/>
                          </a:cubicBezTo>
                          <a:cubicBezTo>
                            <a:pt x="214" y="151"/>
                            <a:pt x="215" y="150"/>
                            <a:pt x="215" y="150"/>
                          </a:cubicBezTo>
                          <a:cubicBezTo>
                            <a:pt x="214" y="151"/>
                            <a:pt x="215" y="150"/>
                            <a:pt x="215" y="150"/>
                          </a:cubicBezTo>
                          <a:close/>
                          <a:moveTo>
                            <a:pt x="161" y="84"/>
                          </a:moveTo>
                          <a:cubicBezTo>
                            <a:pt x="162" y="85"/>
                            <a:pt x="163" y="85"/>
                            <a:pt x="163" y="86"/>
                          </a:cubicBezTo>
                          <a:cubicBezTo>
                            <a:pt x="163" y="86"/>
                            <a:pt x="163" y="88"/>
                            <a:pt x="164" y="88"/>
                          </a:cubicBezTo>
                          <a:cubicBezTo>
                            <a:pt x="165" y="89"/>
                            <a:pt x="165" y="86"/>
                            <a:pt x="165" y="85"/>
                          </a:cubicBezTo>
                          <a:cubicBezTo>
                            <a:pt x="165" y="84"/>
                            <a:pt x="165" y="83"/>
                            <a:pt x="163" y="83"/>
                          </a:cubicBezTo>
                          <a:cubicBezTo>
                            <a:pt x="162" y="83"/>
                            <a:pt x="161" y="83"/>
                            <a:pt x="162" y="84"/>
                          </a:cubicBezTo>
                          <a:cubicBezTo>
                            <a:pt x="162" y="84"/>
                            <a:pt x="161" y="84"/>
                            <a:pt x="161" y="84"/>
                          </a:cubicBezTo>
                          <a:cubicBezTo>
                            <a:pt x="162" y="85"/>
                            <a:pt x="161" y="84"/>
                            <a:pt x="161" y="84"/>
                          </a:cubicBezTo>
                          <a:close/>
                          <a:moveTo>
                            <a:pt x="125" y="79"/>
                          </a:moveTo>
                          <a:cubicBezTo>
                            <a:pt x="125" y="81"/>
                            <a:pt x="126" y="82"/>
                            <a:pt x="126" y="83"/>
                          </a:cubicBezTo>
                          <a:cubicBezTo>
                            <a:pt x="126" y="84"/>
                            <a:pt x="127" y="84"/>
                            <a:pt x="128" y="83"/>
                          </a:cubicBezTo>
                          <a:cubicBezTo>
                            <a:pt x="128" y="82"/>
                            <a:pt x="127" y="80"/>
                            <a:pt x="127" y="79"/>
                          </a:cubicBezTo>
                          <a:cubicBezTo>
                            <a:pt x="126" y="79"/>
                            <a:pt x="125" y="79"/>
                            <a:pt x="125" y="80"/>
                          </a:cubicBezTo>
                          <a:cubicBezTo>
                            <a:pt x="125" y="80"/>
                            <a:pt x="125" y="80"/>
                            <a:pt x="125" y="79"/>
                          </a:cubicBezTo>
                          <a:cubicBezTo>
                            <a:pt x="125" y="80"/>
                            <a:pt x="125" y="79"/>
                            <a:pt x="125" y="79"/>
                          </a:cubicBezTo>
                          <a:close/>
                          <a:moveTo>
                            <a:pt x="111" y="68"/>
                          </a:moveTo>
                          <a:cubicBezTo>
                            <a:pt x="111" y="69"/>
                            <a:pt x="110" y="71"/>
                            <a:pt x="112" y="72"/>
                          </a:cubicBezTo>
                          <a:cubicBezTo>
                            <a:pt x="114" y="73"/>
                            <a:pt x="114" y="72"/>
                            <a:pt x="116" y="71"/>
                          </a:cubicBezTo>
                          <a:cubicBezTo>
                            <a:pt x="119" y="69"/>
                            <a:pt x="113" y="65"/>
                            <a:pt x="111" y="68"/>
                          </a:cubicBezTo>
                          <a:cubicBezTo>
                            <a:pt x="111" y="68"/>
                            <a:pt x="111" y="68"/>
                            <a:pt x="111" y="68"/>
                          </a:cubicBezTo>
                          <a:cubicBezTo>
                            <a:pt x="111" y="69"/>
                            <a:pt x="111" y="68"/>
                            <a:pt x="111" y="68"/>
                          </a:cubicBezTo>
                          <a:close/>
                          <a:moveTo>
                            <a:pt x="130" y="85"/>
                          </a:moveTo>
                          <a:cubicBezTo>
                            <a:pt x="129" y="86"/>
                            <a:pt x="129" y="87"/>
                            <a:pt x="131" y="88"/>
                          </a:cubicBezTo>
                          <a:cubicBezTo>
                            <a:pt x="131" y="88"/>
                            <a:pt x="134" y="89"/>
                            <a:pt x="135" y="88"/>
                          </a:cubicBezTo>
                          <a:cubicBezTo>
                            <a:pt x="136" y="87"/>
                            <a:pt x="131" y="84"/>
                            <a:pt x="129" y="85"/>
                          </a:cubicBezTo>
                          <a:cubicBezTo>
                            <a:pt x="130" y="85"/>
                            <a:pt x="130" y="85"/>
                            <a:pt x="130" y="85"/>
                          </a:cubicBezTo>
                          <a:cubicBezTo>
                            <a:pt x="129" y="86"/>
                            <a:pt x="130" y="85"/>
                            <a:pt x="130" y="85"/>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grpSp>
          </p:grpSp>
        </p:grpSp>
      </p:grpSp>
      <p:sp>
        <p:nvSpPr>
          <p:cNvPr id="133" name="Freeform 340">
            <a:extLst>
              <a:ext uri="{FF2B5EF4-FFF2-40B4-BE49-F238E27FC236}">
                <a16:creationId xmlns:a16="http://schemas.microsoft.com/office/drawing/2014/main" id="{E7505F98-C560-BA23-D6C7-D7135487FE1C}"/>
              </a:ext>
            </a:extLst>
          </p:cNvPr>
          <p:cNvSpPr>
            <a:spLocks noEditPoints="1"/>
          </p:cNvSpPr>
          <p:nvPr>
            <p:custDataLst>
              <p:tags r:id="rId76"/>
            </p:custDataLst>
          </p:nvPr>
        </p:nvSpPr>
        <p:spPr bwMode="auto">
          <a:xfrm>
            <a:off x="6248133" y="3174669"/>
            <a:ext cx="177193" cy="384418"/>
          </a:xfrm>
          <a:custGeom>
            <a:avLst/>
            <a:gdLst>
              <a:gd name="T0" fmla="*/ 54 w 152"/>
              <a:gd name="T1" fmla="*/ 225 h 329"/>
              <a:gd name="T2" fmla="*/ 62 w 152"/>
              <a:gd name="T3" fmla="*/ 219 h 329"/>
              <a:gd name="T4" fmla="*/ 77 w 152"/>
              <a:gd name="T5" fmla="*/ 212 h 329"/>
              <a:gd name="T6" fmla="*/ 80 w 152"/>
              <a:gd name="T7" fmla="*/ 198 h 329"/>
              <a:gd name="T8" fmla="*/ 94 w 152"/>
              <a:gd name="T9" fmla="*/ 216 h 329"/>
              <a:gd name="T10" fmla="*/ 98 w 152"/>
              <a:gd name="T11" fmla="*/ 245 h 329"/>
              <a:gd name="T12" fmla="*/ 105 w 152"/>
              <a:gd name="T13" fmla="*/ 261 h 329"/>
              <a:gd name="T14" fmla="*/ 110 w 152"/>
              <a:gd name="T15" fmla="*/ 288 h 329"/>
              <a:gd name="T16" fmla="*/ 113 w 152"/>
              <a:gd name="T17" fmla="*/ 297 h 329"/>
              <a:gd name="T18" fmla="*/ 109 w 152"/>
              <a:gd name="T19" fmla="*/ 321 h 329"/>
              <a:gd name="T20" fmla="*/ 121 w 152"/>
              <a:gd name="T21" fmla="*/ 304 h 329"/>
              <a:gd name="T22" fmla="*/ 118 w 152"/>
              <a:gd name="T23" fmla="*/ 275 h 329"/>
              <a:gd name="T24" fmla="*/ 109 w 152"/>
              <a:gd name="T25" fmla="*/ 252 h 329"/>
              <a:gd name="T26" fmla="*/ 109 w 152"/>
              <a:gd name="T27" fmla="*/ 222 h 329"/>
              <a:gd name="T28" fmla="*/ 103 w 152"/>
              <a:gd name="T29" fmla="*/ 204 h 329"/>
              <a:gd name="T30" fmla="*/ 91 w 152"/>
              <a:gd name="T31" fmla="*/ 184 h 329"/>
              <a:gd name="T32" fmla="*/ 95 w 152"/>
              <a:gd name="T33" fmla="*/ 170 h 329"/>
              <a:gd name="T34" fmla="*/ 106 w 152"/>
              <a:gd name="T35" fmla="*/ 157 h 329"/>
              <a:gd name="T36" fmla="*/ 125 w 152"/>
              <a:gd name="T37" fmla="*/ 147 h 329"/>
              <a:gd name="T38" fmla="*/ 138 w 152"/>
              <a:gd name="T39" fmla="*/ 139 h 329"/>
              <a:gd name="T40" fmla="*/ 143 w 152"/>
              <a:gd name="T41" fmla="*/ 126 h 329"/>
              <a:gd name="T42" fmla="*/ 122 w 152"/>
              <a:gd name="T43" fmla="*/ 116 h 329"/>
              <a:gd name="T44" fmla="*/ 117 w 152"/>
              <a:gd name="T45" fmla="*/ 96 h 329"/>
              <a:gd name="T46" fmla="*/ 111 w 152"/>
              <a:gd name="T47" fmla="*/ 80 h 329"/>
              <a:gd name="T48" fmla="*/ 93 w 152"/>
              <a:gd name="T49" fmla="*/ 77 h 329"/>
              <a:gd name="T50" fmla="*/ 96 w 152"/>
              <a:gd name="T51" fmla="*/ 59 h 329"/>
              <a:gd name="T52" fmla="*/ 110 w 152"/>
              <a:gd name="T53" fmla="*/ 47 h 329"/>
              <a:gd name="T54" fmla="*/ 110 w 152"/>
              <a:gd name="T55" fmla="*/ 24 h 329"/>
              <a:gd name="T56" fmla="*/ 101 w 152"/>
              <a:gd name="T57" fmla="*/ 7 h 329"/>
              <a:gd name="T58" fmla="*/ 89 w 152"/>
              <a:gd name="T59" fmla="*/ 9 h 329"/>
              <a:gd name="T60" fmla="*/ 80 w 152"/>
              <a:gd name="T61" fmla="*/ 25 h 329"/>
              <a:gd name="T62" fmla="*/ 53 w 152"/>
              <a:gd name="T63" fmla="*/ 35 h 329"/>
              <a:gd name="T64" fmla="*/ 44 w 152"/>
              <a:gd name="T65" fmla="*/ 63 h 329"/>
              <a:gd name="T66" fmla="*/ 24 w 152"/>
              <a:gd name="T67" fmla="*/ 82 h 329"/>
              <a:gd name="T68" fmla="*/ 21 w 152"/>
              <a:gd name="T69" fmla="*/ 100 h 329"/>
              <a:gd name="T70" fmla="*/ 9 w 152"/>
              <a:gd name="T71" fmla="*/ 116 h 329"/>
              <a:gd name="T72" fmla="*/ 0 w 152"/>
              <a:gd name="T73" fmla="*/ 133 h 329"/>
              <a:gd name="T74" fmla="*/ 9 w 152"/>
              <a:gd name="T75" fmla="*/ 143 h 329"/>
              <a:gd name="T76" fmla="*/ 14 w 152"/>
              <a:gd name="T77" fmla="*/ 153 h 329"/>
              <a:gd name="T78" fmla="*/ 26 w 152"/>
              <a:gd name="T79" fmla="*/ 154 h 329"/>
              <a:gd name="T80" fmla="*/ 31 w 152"/>
              <a:gd name="T81" fmla="*/ 170 h 329"/>
              <a:gd name="T82" fmla="*/ 38 w 152"/>
              <a:gd name="T83" fmla="*/ 211 h 329"/>
              <a:gd name="T84" fmla="*/ 40 w 152"/>
              <a:gd name="T85" fmla="*/ 220 h 329"/>
              <a:gd name="T86" fmla="*/ 46 w 152"/>
              <a:gd name="T87" fmla="*/ 224 h 329"/>
              <a:gd name="T88" fmla="*/ 50 w 152"/>
              <a:gd name="T89" fmla="*/ 224 h 329"/>
              <a:gd name="T90" fmla="*/ 108 w 152"/>
              <a:gd name="T91" fmla="*/ 300 h 329"/>
              <a:gd name="T92" fmla="*/ 103 w 152"/>
              <a:gd name="T93" fmla="*/ 271 h 329"/>
              <a:gd name="T94" fmla="*/ 102 w 152"/>
              <a:gd name="T95" fmla="*/ 272 h 329"/>
              <a:gd name="T96" fmla="*/ 105 w 152"/>
              <a:gd name="T97" fmla="*/ 326 h 329"/>
              <a:gd name="T98" fmla="*/ 102 w 152"/>
              <a:gd name="T99" fmla="*/ 328 h 329"/>
              <a:gd name="T100" fmla="*/ 102 w 152"/>
              <a:gd name="T101" fmla="*/ 313 h 329"/>
              <a:gd name="T102" fmla="*/ 105 w 152"/>
              <a:gd name="T103" fmla="*/ 281 h 329"/>
              <a:gd name="T104" fmla="*/ 104 w 152"/>
              <a:gd name="T105" fmla="*/ 282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2" h="329">
                <a:moveTo>
                  <a:pt x="50" y="224"/>
                </a:moveTo>
                <a:cubicBezTo>
                  <a:pt x="50" y="226"/>
                  <a:pt x="52" y="226"/>
                  <a:pt x="52" y="224"/>
                </a:cubicBezTo>
                <a:cubicBezTo>
                  <a:pt x="53" y="223"/>
                  <a:pt x="53" y="222"/>
                  <a:pt x="54" y="222"/>
                </a:cubicBezTo>
                <a:cubicBezTo>
                  <a:pt x="54" y="222"/>
                  <a:pt x="54" y="224"/>
                  <a:pt x="54" y="225"/>
                </a:cubicBezTo>
                <a:cubicBezTo>
                  <a:pt x="53" y="227"/>
                  <a:pt x="54" y="228"/>
                  <a:pt x="56" y="227"/>
                </a:cubicBezTo>
                <a:cubicBezTo>
                  <a:pt x="58" y="226"/>
                  <a:pt x="59" y="225"/>
                  <a:pt x="59" y="223"/>
                </a:cubicBezTo>
                <a:cubicBezTo>
                  <a:pt x="60" y="222"/>
                  <a:pt x="60" y="220"/>
                  <a:pt x="61" y="219"/>
                </a:cubicBezTo>
                <a:cubicBezTo>
                  <a:pt x="61" y="218"/>
                  <a:pt x="62" y="218"/>
                  <a:pt x="62" y="219"/>
                </a:cubicBezTo>
                <a:cubicBezTo>
                  <a:pt x="63" y="219"/>
                  <a:pt x="64" y="218"/>
                  <a:pt x="65" y="218"/>
                </a:cubicBezTo>
                <a:cubicBezTo>
                  <a:pt x="66" y="217"/>
                  <a:pt x="67" y="217"/>
                  <a:pt x="68" y="217"/>
                </a:cubicBezTo>
                <a:cubicBezTo>
                  <a:pt x="69" y="217"/>
                  <a:pt x="70" y="216"/>
                  <a:pt x="71" y="215"/>
                </a:cubicBezTo>
                <a:cubicBezTo>
                  <a:pt x="73" y="213"/>
                  <a:pt x="75" y="213"/>
                  <a:pt x="77" y="212"/>
                </a:cubicBezTo>
                <a:cubicBezTo>
                  <a:pt x="79" y="212"/>
                  <a:pt x="81" y="211"/>
                  <a:pt x="80" y="209"/>
                </a:cubicBezTo>
                <a:cubicBezTo>
                  <a:pt x="80" y="208"/>
                  <a:pt x="80" y="207"/>
                  <a:pt x="80" y="205"/>
                </a:cubicBezTo>
                <a:cubicBezTo>
                  <a:pt x="80" y="204"/>
                  <a:pt x="80" y="202"/>
                  <a:pt x="80" y="201"/>
                </a:cubicBezTo>
                <a:cubicBezTo>
                  <a:pt x="80" y="200"/>
                  <a:pt x="80" y="199"/>
                  <a:pt x="80" y="198"/>
                </a:cubicBezTo>
                <a:cubicBezTo>
                  <a:pt x="80" y="198"/>
                  <a:pt x="81" y="199"/>
                  <a:pt x="81" y="199"/>
                </a:cubicBezTo>
                <a:cubicBezTo>
                  <a:pt x="83" y="200"/>
                  <a:pt x="86" y="201"/>
                  <a:pt x="86" y="203"/>
                </a:cubicBezTo>
                <a:cubicBezTo>
                  <a:pt x="88" y="207"/>
                  <a:pt x="85" y="214"/>
                  <a:pt x="91" y="214"/>
                </a:cubicBezTo>
                <a:cubicBezTo>
                  <a:pt x="93" y="214"/>
                  <a:pt x="95" y="214"/>
                  <a:pt x="94" y="216"/>
                </a:cubicBezTo>
                <a:cubicBezTo>
                  <a:pt x="92" y="218"/>
                  <a:pt x="92" y="220"/>
                  <a:pt x="92" y="223"/>
                </a:cubicBezTo>
                <a:cubicBezTo>
                  <a:pt x="93" y="225"/>
                  <a:pt x="94" y="227"/>
                  <a:pt x="95" y="230"/>
                </a:cubicBezTo>
                <a:cubicBezTo>
                  <a:pt x="96" y="233"/>
                  <a:pt x="95" y="236"/>
                  <a:pt x="95" y="239"/>
                </a:cubicBezTo>
                <a:cubicBezTo>
                  <a:pt x="95" y="242"/>
                  <a:pt x="96" y="243"/>
                  <a:pt x="98" y="245"/>
                </a:cubicBezTo>
                <a:cubicBezTo>
                  <a:pt x="100" y="247"/>
                  <a:pt x="100" y="249"/>
                  <a:pt x="100" y="251"/>
                </a:cubicBezTo>
                <a:cubicBezTo>
                  <a:pt x="100" y="254"/>
                  <a:pt x="100" y="257"/>
                  <a:pt x="101" y="260"/>
                </a:cubicBezTo>
                <a:cubicBezTo>
                  <a:pt x="101" y="260"/>
                  <a:pt x="102" y="261"/>
                  <a:pt x="103" y="261"/>
                </a:cubicBezTo>
                <a:cubicBezTo>
                  <a:pt x="104" y="260"/>
                  <a:pt x="104" y="259"/>
                  <a:pt x="105" y="261"/>
                </a:cubicBezTo>
                <a:cubicBezTo>
                  <a:pt x="106" y="264"/>
                  <a:pt x="107" y="266"/>
                  <a:pt x="108" y="269"/>
                </a:cubicBezTo>
                <a:cubicBezTo>
                  <a:pt x="109" y="272"/>
                  <a:pt x="110" y="274"/>
                  <a:pt x="111" y="277"/>
                </a:cubicBezTo>
                <a:cubicBezTo>
                  <a:pt x="112" y="280"/>
                  <a:pt x="111" y="281"/>
                  <a:pt x="110" y="283"/>
                </a:cubicBezTo>
                <a:cubicBezTo>
                  <a:pt x="109" y="285"/>
                  <a:pt x="108" y="287"/>
                  <a:pt x="110" y="288"/>
                </a:cubicBezTo>
                <a:cubicBezTo>
                  <a:pt x="111" y="288"/>
                  <a:pt x="112" y="289"/>
                  <a:pt x="112" y="289"/>
                </a:cubicBezTo>
                <a:cubicBezTo>
                  <a:pt x="113" y="290"/>
                  <a:pt x="111" y="292"/>
                  <a:pt x="111" y="292"/>
                </a:cubicBezTo>
                <a:cubicBezTo>
                  <a:pt x="111" y="293"/>
                  <a:pt x="109" y="298"/>
                  <a:pt x="111" y="297"/>
                </a:cubicBezTo>
                <a:cubicBezTo>
                  <a:pt x="112" y="297"/>
                  <a:pt x="113" y="296"/>
                  <a:pt x="113" y="297"/>
                </a:cubicBezTo>
                <a:cubicBezTo>
                  <a:pt x="114" y="298"/>
                  <a:pt x="114" y="300"/>
                  <a:pt x="113" y="301"/>
                </a:cubicBezTo>
                <a:cubicBezTo>
                  <a:pt x="112" y="303"/>
                  <a:pt x="112" y="306"/>
                  <a:pt x="112" y="308"/>
                </a:cubicBezTo>
                <a:cubicBezTo>
                  <a:pt x="112" y="311"/>
                  <a:pt x="110" y="311"/>
                  <a:pt x="109" y="314"/>
                </a:cubicBezTo>
                <a:cubicBezTo>
                  <a:pt x="108" y="316"/>
                  <a:pt x="108" y="319"/>
                  <a:pt x="109" y="321"/>
                </a:cubicBezTo>
                <a:cubicBezTo>
                  <a:pt x="109" y="322"/>
                  <a:pt x="109" y="323"/>
                  <a:pt x="109" y="324"/>
                </a:cubicBezTo>
                <a:cubicBezTo>
                  <a:pt x="111" y="322"/>
                  <a:pt x="112" y="320"/>
                  <a:pt x="112" y="317"/>
                </a:cubicBezTo>
                <a:cubicBezTo>
                  <a:pt x="112" y="315"/>
                  <a:pt x="114" y="312"/>
                  <a:pt x="116" y="310"/>
                </a:cubicBezTo>
                <a:cubicBezTo>
                  <a:pt x="118" y="308"/>
                  <a:pt x="119" y="306"/>
                  <a:pt x="121" y="304"/>
                </a:cubicBezTo>
                <a:cubicBezTo>
                  <a:pt x="123" y="302"/>
                  <a:pt x="125" y="300"/>
                  <a:pt x="126" y="297"/>
                </a:cubicBezTo>
                <a:cubicBezTo>
                  <a:pt x="126" y="294"/>
                  <a:pt x="125" y="292"/>
                  <a:pt x="125" y="289"/>
                </a:cubicBezTo>
                <a:cubicBezTo>
                  <a:pt x="124" y="286"/>
                  <a:pt x="123" y="284"/>
                  <a:pt x="121" y="282"/>
                </a:cubicBezTo>
                <a:cubicBezTo>
                  <a:pt x="120" y="280"/>
                  <a:pt x="118" y="278"/>
                  <a:pt x="118" y="275"/>
                </a:cubicBezTo>
                <a:cubicBezTo>
                  <a:pt x="118" y="272"/>
                  <a:pt x="119" y="269"/>
                  <a:pt x="119" y="266"/>
                </a:cubicBezTo>
                <a:cubicBezTo>
                  <a:pt x="119" y="264"/>
                  <a:pt x="119" y="263"/>
                  <a:pt x="118" y="262"/>
                </a:cubicBezTo>
                <a:cubicBezTo>
                  <a:pt x="117" y="261"/>
                  <a:pt x="116" y="260"/>
                  <a:pt x="115" y="259"/>
                </a:cubicBezTo>
                <a:cubicBezTo>
                  <a:pt x="113" y="257"/>
                  <a:pt x="111" y="254"/>
                  <a:pt x="109" y="252"/>
                </a:cubicBezTo>
                <a:cubicBezTo>
                  <a:pt x="106" y="248"/>
                  <a:pt x="101" y="243"/>
                  <a:pt x="102" y="238"/>
                </a:cubicBezTo>
                <a:cubicBezTo>
                  <a:pt x="103" y="236"/>
                  <a:pt x="105" y="236"/>
                  <a:pt x="107" y="235"/>
                </a:cubicBezTo>
                <a:cubicBezTo>
                  <a:pt x="109" y="234"/>
                  <a:pt x="109" y="232"/>
                  <a:pt x="109" y="230"/>
                </a:cubicBezTo>
                <a:cubicBezTo>
                  <a:pt x="109" y="227"/>
                  <a:pt x="108" y="224"/>
                  <a:pt x="109" y="222"/>
                </a:cubicBezTo>
                <a:cubicBezTo>
                  <a:pt x="111" y="221"/>
                  <a:pt x="113" y="221"/>
                  <a:pt x="114" y="218"/>
                </a:cubicBezTo>
                <a:cubicBezTo>
                  <a:pt x="114" y="216"/>
                  <a:pt x="111" y="217"/>
                  <a:pt x="111" y="216"/>
                </a:cubicBezTo>
                <a:cubicBezTo>
                  <a:pt x="109" y="214"/>
                  <a:pt x="110" y="212"/>
                  <a:pt x="109" y="210"/>
                </a:cubicBezTo>
                <a:cubicBezTo>
                  <a:pt x="108" y="207"/>
                  <a:pt x="105" y="206"/>
                  <a:pt x="103" y="204"/>
                </a:cubicBezTo>
                <a:cubicBezTo>
                  <a:pt x="101" y="202"/>
                  <a:pt x="100" y="199"/>
                  <a:pt x="98" y="197"/>
                </a:cubicBezTo>
                <a:cubicBezTo>
                  <a:pt x="97" y="195"/>
                  <a:pt x="95" y="193"/>
                  <a:pt x="94" y="190"/>
                </a:cubicBezTo>
                <a:cubicBezTo>
                  <a:pt x="94" y="189"/>
                  <a:pt x="94" y="188"/>
                  <a:pt x="94" y="187"/>
                </a:cubicBezTo>
                <a:cubicBezTo>
                  <a:pt x="93" y="185"/>
                  <a:pt x="92" y="185"/>
                  <a:pt x="91" y="184"/>
                </a:cubicBezTo>
                <a:cubicBezTo>
                  <a:pt x="90" y="183"/>
                  <a:pt x="87" y="180"/>
                  <a:pt x="89" y="178"/>
                </a:cubicBezTo>
                <a:cubicBezTo>
                  <a:pt x="90" y="177"/>
                  <a:pt x="92" y="178"/>
                  <a:pt x="94" y="177"/>
                </a:cubicBezTo>
                <a:cubicBezTo>
                  <a:pt x="95" y="176"/>
                  <a:pt x="95" y="175"/>
                  <a:pt x="95" y="174"/>
                </a:cubicBezTo>
                <a:cubicBezTo>
                  <a:pt x="95" y="173"/>
                  <a:pt x="95" y="171"/>
                  <a:pt x="95" y="170"/>
                </a:cubicBezTo>
                <a:cubicBezTo>
                  <a:pt x="95" y="169"/>
                  <a:pt x="96" y="167"/>
                  <a:pt x="96" y="166"/>
                </a:cubicBezTo>
                <a:cubicBezTo>
                  <a:pt x="97" y="165"/>
                  <a:pt x="97" y="164"/>
                  <a:pt x="97" y="162"/>
                </a:cubicBezTo>
                <a:cubicBezTo>
                  <a:pt x="97" y="160"/>
                  <a:pt x="98" y="158"/>
                  <a:pt x="100" y="156"/>
                </a:cubicBezTo>
                <a:cubicBezTo>
                  <a:pt x="102" y="154"/>
                  <a:pt x="104" y="156"/>
                  <a:pt x="106" y="157"/>
                </a:cubicBezTo>
                <a:cubicBezTo>
                  <a:pt x="110" y="159"/>
                  <a:pt x="114" y="158"/>
                  <a:pt x="116" y="154"/>
                </a:cubicBezTo>
                <a:cubicBezTo>
                  <a:pt x="117" y="153"/>
                  <a:pt x="117" y="151"/>
                  <a:pt x="118" y="150"/>
                </a:cubicBezTo>
                <a:cubicBezTo>
                  <a:pt x="120" y="148"/>
                  <a:pt x="122" y="150"/>
                  <a:pt x="124" y="149"/>
                </a:cubicBezTo>
                <a:cubicBezTo>
                  <a:pt x="124" y="148"/>
                  <a:pt x="124" y="148"/>
                  <a:pt x="125" y="147"/>
                </a:cubicBezTo>
                <a:cubicBezTo>
                  <a:pt x="125" y="146"/>
                  <a:pt x="126" y="146"/>
                  <a:pt x="127" y="146"/>
                </a:cubicBezTo>
                <a:cubicBezTo>
                  <a:pt x="128" y="145"/>
                  <a:pt x="130" y="144"/>
                  <a:pt x="131" y="144"/>
                </a:cubicBezTo>
                <a:cubicBezTo>
                  <a:pt x="133" y="144"/>
                  <a:pt x="134" y="146"/>
                  <a:pt x="135" y="144"/>
                </a:cubicBezTo>
                <a:cubicBezTo>
                  <a:pt x="136" y="142"/>
                  <a:pt x="137" y="141"/>
                  <a:pt x="138" y="139"/>
                </a:cubicBezTo>
                <a:cubicBezTo>
                  <a:pt x="139" y="138"/>
                  <a:pt x="142" y="138"/>
                  <a:pt x="142" y="137"/>
                </a:cubicBezTo>
                <a:cubicBezTo>
                  <a:pt x="143" y="135"/>
                  <a:pt x="143" y="133"/>
                  <a:pt x="143" y="131"/>
                </a:cubicBezTo>
                <a:cubicBezTo>
                  <a:pt x="144" y="128"/>
                  <a:pt x="149" y="126"/>
                  <a:pt x="152" y="125"/>
                </a:cubicBezTo>
                <a:cubicBezTo>
                  <a:pt x="151" y="121"/>
                  <a:pt x="145" y="124"/>
                  <a:pt x="143" y="126"/>
                </a:cubicBezTo>
                <a:cubicBezTo>
                  <a:pt x="141" y="126"/>
                  <a:pt x="139" y="129"/>
                  <a:pt x="137" y="128"/>
                </a:cubicBezTo>
                <a:cubicBezTo>
                  <a:pt x="134" y="127"/>
                  <a:pt x="133" y="124"/>
                  <a:pt x="132" y="121"/>
                </a:cubicBezTo>
                <a:cubicBezTo>
                  <a:pt x="132" y="120"/>
                  <a:pt x="133" y="117"/>
                  <a:pt x="131" y="116"/>
                </a:cubicBezTo>
                <a:cubicBezTo>
                  <a:pt x="128" y="116"/>
                  <a:pt x="125" y="116"/>
                  <a:pt x="122" y="116"/>
                </a:cubicBezTo>
                <a:cubicBezTo>
                  <a:pt x="117" y="115"/>
                  <a:pt x="120" y="110"/>
                  <a:pt x="121" y="106"/>
                </a:cubicBezTo>
                <a:cubicBezTo>
                  <a:pt x="121" y="105"/>
                  <a:pt x="122" y="104"/>
                  <a:pt x="122" y="103"/>
                </a:cubicBezTo>
                <a:cubicBezTo>
                  <a:pt x="123" y="102"/>
                  <a:pt x="124" y="101"/>
                  <a:pt x="124" y="100"/>
                </a:cubicBezTo>
                <a:cubicBezTo>
                  <a:pt x="122" y="98"/>
                  <a:pt x="119" y="98"/>
                  <a:pt x="117" y="96"/>
                </a:cubicBezTo>
                <a:cubicBezTo>
                  <a:pt x="114" y="95"/>
                  <a:pt x="114" y="92"/>
                  <a:pt x="113" y="90"/>
                </a:cubicBezTo>
                <a:cubicBezTo>
                  <a:pt x="112" y="87"/>
                  <a:pt x="111" y="85"/>
                  <a:pt x="112" y="82"/>
                </a:cubicBezTo>
                <a:cubicBezTo>
                  <a:pt x="112" y="81"/>
                  <a:pt x="113" y="80"/>
                  <a:pt x="113" y="80"/>
                </a:cubicBezTo>
                <a:cubicBezTo>
                  <a:pt x="113" y="79"/>
                  <a:pt x="111" y="80"/>
                  <a:pt x="111" y="80"/>
                </a:cubicBezTo>
                <a:cubicBezTo>
                  <a:pt x="110" y="80"/>
                  <a:pt x="109" y="81"/>
                  <a:pt x="108" y="81"/>
                </a:cubicBezTo>
                <a:cubicBezTo>
                  <a:pt x="107" y="81"/>
                  <a:pt x="105" y="80"/>
                  <a:pt x="104" y="80"/>
                </a:cubicBezTo>
                <a:cubicBezTo>
                  <a:pt x="101" y="80"/>
                  <a:pt x="94" y="88"/>
                  <a:pt x="92" y="82"/>
                </a:cubicBezTo>
                <a:cubicBezTo>
                  <a:pt x="90" y="80"/>
                  <a:pt x="92" y="79"/>
                  <a:pt x="93" y="77"/>
                </a:cubicBezTo>
                <a:cubicBezTo>
                  <a:pt x="94" y="76"/>
                  <a:pt x="93" y="75"/>
                  <a:pt x="92" y="74"/>
                </a:cubicBezTo>
                <a:cubicBezTo>
                  <a:pt x="91" y="73"/>
                  <a:pt x="91" y="72"/>
                  <a:pt x="91" y="71"/>
                </a:cubicBezTo>
                <a:cubicBezTo>
                  <a:pt x="91" y="68"/>
                  <a:pt x="93" y="67"/>
                  <a:pt x="95" y="65"/>
                </a:cubicBezTo>
                <a:cubicBezTo>
                  <a:pt x="96" y="64"/>
                  <a:pt x="95" y="61"/>
                  <a:pt x="96" y="59"/>
                </a:cubicBezTo>
                <a:cubicBezTo>
                  <a:pt x="97" y="57"/>
                  <a:pt x="100" y="57"/>
                  <a:pt x="100" y="55"/>
                </a:cubicBezTo>
                <a:cubicBezTo>
                  <a:pt x="101" y="54"/>
                  <a:pt x="101" y="53"/>
                  <a:pt x="102" y="52"/>
                </a:cubicBezTo>
                <a:cubicBezTo>
                  <a:pt x="103" y="52"/>
                  <a:pt x="104" y="52"/>
                  <a:pt x="105" y="52"/>
                </a:cubicBezTo>
                <a:cubicBezTo>
                  <a:pt x="107" y="51"/>
                  <a:pt x="109" y="49"/>
                  <a:pt x="110" y="47"/>
                </a:cubicBezTo>
                <a:cubicBezTo>
                  <a:pt x="110" y="46"/>
                  <a:pt x="110" y="45"/>
                  <a:pt x="109" y="44"/>
                </a:cubicBezTo>
                <a:cubicBezTo>
                  <a:pt x="109" y="43"/>
                  <a:pt x="108" y="42"/>
                  <a:pt x="108" y="40"/>
                </a:cubicBezTo>
                <a:cubicBezTo>
                  <a:pt x="109" y="38"/>
                  <a:pt x="111" y="36"/>
                  <a:pt x="111" y="34"/>
                </a:cubicBezTo>
                <a:cubicBezTo>
                  <a:pt x="112" y="31"/>
                  <a:pt x="111" y="27"/>
                  <a:pt x="110" y="24"/>
                </a:cubicBezTo>
                <a:cubicBezTo>
                  <a:pt x="110" y="22"/>
                  <a:pt x="111" y="20"/>
                  <a:pt x="111" y="18"/>
                </a:cubicBezTo>
                <a:cubicBezTo>
                  <a:pt x="110" y="15"/>
                  <a:pt x="107" y="16"/>
                  <a:pt x="105" y="15"/>
                </a:cubicBezTo>
                <a:cubicBezTo>
                  <a:pt x="103" y="15"/>
                  <a:pt x="101" y="13"/>
                  <a:pt x="101" y="11"/>
                </a:cubicBezTo>
                <a:cubicBezTo>
                  <a:pt x="101" y="9"/>
                  <a:pt x="101" y="8"/>
                  <a:pt x="101" y="7"/>
                </a:cubicBezTo>
                <a:cubicBezTo>
                  <a:pt x="100" y="6"/>
                  <a:pt x="99" y="5"/>
                  <a:pt x="98" y="4"/>
                </a:cubicBezTo>
                <a:cubicBezTo>
                  <a:pt x="97" y="3"/>
                  <a:pt x="94" y="0"/>
                  <a:pt x="93" y="1"/>
                </a:cubicBezTo>
                <a:cubicBezTo>
                  <a:pt x="91" y="1"/>
                  <a:pt x="89" y="4"/>
                  <a:pt x="89" y="5"/>
                </a:cubicBezTo>
                <a:cubicBezTo>
                  <a:pt x="89" y="7"/>
                  <a:pt x="89" y="8"/>
                  <a:pt x="89" y="9"/>
                </a:cubicBezTo>
                <a:cubicBezTo>
                  <a:pt x="88" y="10"/>
                  <a:pt x="87" y="11"/>
                  <a:pt x="86" y="12"/>
                </a:cubicBezTo>
                <a:cubicBezTo>
                  <a:pt x="84" y="13"/>
                  <a:pt x="82" y="15"/>
                  <a:pt x="83" y="18"/>
                </a:cubicBezTo>
                <a:cubicBezTo>
                  <a:pt x="84" y="20"/>
                  <a:pt x="86" y="23"/>
                  <a:pt x="86" y="25"/>
                </a:cubicBezTo>
                <a:cubicBezTo>
                  <a:pt x="85" y="28"/>
                  <a:pt x="82" y="26"/>
                  <a:pt x="80" y="25"/>
                </a:cubicBezTo>
                <a:cubicBezTo>
                  <a:pt x="78" y="23"/>
                  <a:pt x="76" y="22"/>
                  <a:pt x="73" y="23"/>
                </a:cubicBezTo>
                <a:cubicBezTo>
                  <a:pt x="71" y="23"/>
                  <a:pt x="68" y="25"/>
                  <a:pt x="66" y="26"/>
                </a:cubicBezTo>
                <a:cubicBezTo>
                  <a:pt x="64" y="28"/>
                  <a:pt x="62" y="29"/>
                  <a:pt x="60" y="31"/>
                </a:cubicBezTo>
                <a:cubicBezTo>
                  <a:pt x="57" y="32"/>
                  <a:pt x="54" y="33"/>
                  <a:pt x="53" y="35"/>
                </a:cubicBezTo>
                <a:cubicBezTo>
                  <a:pt x="51" y="37"/>
                  <a:pt x="52" y="39"/>
                  <a:pt x="52" y="41"/>
                </a:cubicBezTo>
                <a:cubicBezTo>
                  <a:pt x="52" y="44"/>
                  <a:pt x="52" y="46"/>
                  <a:pt x="50" y="49"/>
                </a:cubicBezTo>
                <a:cubicBezTo>
                  <a:pt x="49" y="51"/>
                  <a:pt x="47" y="53"/>
                  <a:pt x="45" y="55"/>
                </a:cubicBezTo>
                <a:cubicBezTo>
                  <a:pt x="43" y="57"/>
                  <a:pt x="45" y="60"/>
                  <a:pt x="44" y="63"/>
                </a:cubicBezTo>
                <a:cubicBezTo>
                  <a:pt x="44" y="69"/>
                  <a:pt x="39" y="73"/>
                  <a:pt x="37" y="79"/>
                </a:cubicBezTo>
                <a:cubicBezTo>
                  <a:pt x="37" y="81"/>
                  <a:pt x="36" y="84"/>
                  <a:pt x="34" y="85"/>
                </a:cubicBezTo>
                <a:cubicBezTo>
                  <a:pt x="32" y="86"/>
                  <a:pt x="29" y="84"/>
                  <a:pt x="27" y="83"/>
                </a:cubicBezTo>
                <a:cubicBezTo>
                  <a:pt x="26" y="83"/>
                  <a:pt x="25" y="83"/>
                  <a:pt x="24" y="82"/>
                </a:cubicBezTo>
                <a:cubicBezTo>
                  <a:pt x="23" y="82"/>
                  <a:pt x="22" y="82"/>
                  <a:pt x="22" y="82"/>
                </a:cubicBezTo>
                <a:cubicBezTo>
                  <a:pt x="21" y="84"/>
                  <a:pt x="22" y="87"/>
                  <a:pt x="22" y="88"/>
                </a:cubicBezTo>
                <a:cubicBezTo>
                  <a:pt x="22" y="91"/>
                  <a:pt x="22" y="94"/>
                  <a:pt x="22" y="97"/>
                </a:cubicBezTo>
                <a:cubicBezTo>
                  <a:pt x="22" y="98"/>
                  <a:pt x="21" y="99"/>
                  <a:pt x="21" y="100"/>
                </a:cubicBezTo>
                <a:cubicBezTo>
                  <a:pt x="20" y="101"/>
                  <a:pt x="18" y="100"/>
                  <a:pt x="18" y="101"/>
                </a:cubicBezTo>
                <a:cubicBezTo>
                  <a:pt x="15" y="106"/>
                  <a:pt x="20" y="111"/>
                  <a:pt x="17" y="116"/>
                </a:cubicBezTo>
                <a:cubicBezTo>
                  <a:pt x="15" y="118"/>
                  <a:pt x="13" y="117"/>
                  <a:pt x="11" y="116"/>
                </a:cubicBezTo>
                <a:cubicBezTo>
                  <a:pt x="11" y="116"/>
                  <a:pt x="9" y="115"/>
                  <a:pt x="9" y="116"/>
                </a:cubicBezTo>
                <a:cubicBezTo>
                  <a:pt x="8" y="117"/>
                  <a:pt x="9" y="119"/>
                  <a:pt x="9" y="119"/>
                </a:cubicBezTo>
                <a:cubicBezTo>
                  <a:pt x="9" y="123"/>
                  <a:pt x="11" y="131"/>
                  <a:pt x="5" y="130"/>
                </a:cubicBezTo>
                <a:cubicBezTo>
                  <a:pt x="4" y="129"/>
                  <a:pt x="3" y="129"/>
                  <a:pt x="2" y="130"/>
                </a:cubicBezTo>
                <a:cubicBezTo>
                  <a:pt x="2" y="131"/>
                  <a:pt x="1" y="132"/>
                  <a:pt x="0" y="133"/>
                </a:cubicBezTo>
                <a:cubicBezTo>
                  <a:pt x="0" y="134"/>
                  <a:pt x="1" y="136"/>
                  <a:pt x="2" y="136"/>
                </a:cubicBezTo>
                <a:cubicBezTo>
                  <a:pt x="2" y="137"/>
                  <a:pt x="3" y="138"/>
                  <a:pt x="4" y="139"/>
                </a:cubicBezTo>
                <a:cubicBezTo>
                  <a:pt x="4" y="140"/>
                  <a:pt x="5" y="141"/>
                  <a:pt x="6" y="142"/>
                </a:cubicBezTo>
                <a:cubicBezTo>
                  <a:pt x="7" y="143"/>
                  <a:pt x="8" y="143"/>
                  <a:pt x="9" y="143"/>
                </a:cubicBezTo>
                <a:cubicBezTo>
                  <a:pt x="10" y="144"/>
                  <a:pt x="10" y="147"/>
                  <a:pt x="12" y="146"/>
                </a:cubicBezTo>
                <a:cubicBezTo>
                  <a:pt x="13" y="146"/>
                  <a:pt x="14" y="145"/>
                  <a:pt x="15" y="146"/>
                </a:cubicBezTo>
                <a:cubicBezTo>
                  <a:pt x="16" y="147"/>
                  <a:pt x="16" y="148"/>
                  <a:pt x="15" y="149"/>
                </a:cubicBezTo>
                <a:cubicBezTo>
                  <a:pt x="15" y="150"/>
                  <a:pt x="14" y="151"/>
                  <a:pt x="14" y="153"/>
                </a:cubicBezTo>
                <a:cubicBezTo>
                  <a:pt x="15" y="155"/>
                  <a:pt x="17" y="154"/>
                  <a:pt x="18" y="152"/>
                </a:cubicBezTo>
                <a:cubicBezTo>
                  <a:pt x="19" y="152"/>
                  <a:pt x="19" y="151"/>
                  <a:pt x="20" y="152"/>
                </a:cubicBezTo>
                <a:cubicBezTo>
                  <a:pt x="21" y="152"/>
                  <a:pt x="23" y="152"/>
                  <a:pt x="24" y="153"/>
                </a:cubicBezTo>
                <a:cubicBezTo>
                  <a:pt x="25" y="153"/>
                  <a:pt x="26" y="153"/>
                  <a:pt x="26" y="154"/>
                </a:cubicBezTo>
                <a:cubicBezTo>
                  <a:pt x="27" y="155"/>
                  <a:pt x="26" y="156"/>
                  <a:pt x="26" y="157"/>
                </a:cubicBezTo>
                <a:cubicBezTo>
                  <a:pt x="26" y="158"/>
                  <a:pt x="27" y="159"/>
                  <a:pt x="28" y="160"/>
                </a:cubicBezTo>
                <a:cubicBezTo>
                  <a:pt x="29" y="161"/>
                  <a:pt x="30" y="162"/>
                  <a:pt x="30" y="163"/>
                </a:cubicBezTo>
                <a:cubicBezTo>
                  <a:pt x="32" y="165"/>
                  <a:pt x="32" y="168"/>
                  <a:pt x="31" y="170"/>
                </a:cubicBezTo>
                <a:cubicBezTo>
                  <a:pt x="31" y="173"/>
                  <a:pt x="33" y="174"/>
                  <a:pt x="35" y="176"/>
                </a:cubicBezTo>
                <a:cubicBezTo>
                  <a:pt x="36" y="178"/>
                  <a:pt x="37" y="181"/>
                  <a:pt x="38" y="184"/>
                </a:cubicBezTo>
                <a:cubicBezTo>
                  <a:pt x="39" y="186"/>
                  <a:pt x="40" y="189"/>
                  <a:pt x="40" y="192"/>
                </a:cubicBezTo>
                <a:cubicBezTo>
                  <a:pt x="40" y="199"/>
                  <a:pt x="39" y="205"/>
                  <a:pt x="38" y="211"/>
                </a:cubicBezTo>
                <a:cubicBezTo>
                  <a:pt x="37" y="214"/>
                  <a:pt x="37" y="217"/>
                  <a:pt x="36" y="220"/>
                </a:cubicBezTo>
                <a:cubicBezTo>
                  <a:pt x="36" y="220"/>
                  <a:pt x="36" y="223"/>
                  <a:pt x="36" y="223"/>
                </a:cubicBezTo>
                <a:cubicBezTo>
                  <a:pt x="37" y="223"/>
                  <a:pt x="38" y="222"/>
                  <a:pt x="38" y="222"/>
                </a:cubicBezTo>
                <a:cubicBezTo>
                  <a:pt x="39" y="221"/>
                  <a:pt x="40" y="221"/>
                  <a:pt x="40" y="220"/>
                </a:cubicBezTo>
                <a:cubicBezTo>
                  <a:pt x="40" y="219"/>
                  <a:pt x="41" y="218"/>
                  <a:pt x="42" y="217"/>
                </a:cubicBezTo>
                <a:cubicBezTo>
                  <a:pt x="44" y="215"/>
                  <a:pt x="43" y="221"/>
                  <a:pt x="43" y="222"/>
                </a:cubicBezTo>
                <a:cubicBezTo>
                  <a:pt x="43" y="223"/>
                  <a:pt x="43" y="224"/>
                  <a:pt x="44" y="224"/>
                </a:cubicBezTo>
                <a:cubicBezTo>
                  <a:pt x="45" y="224"/>
                  <a:pt x="46" y="224"/>
                  <a:pt x="46" y="224"/>
                </a:cubicBezTo>
                <a:cubicBezTo>
                  <a:pt x="47" y="223"/>
                  <a:pt x="47" y="222"/>
                  <a:pt x="48" y="222"/>
                </a:cubicBezTo>
                <a:cubicBezTo>
                  <a:pt x="50" y="221"/>
                  <a:pt x="50" y="222"/>
                  <a:pt x="50" y="223"/>
                </a:cubicBezTo>
                <a:cubicBezTo>
                  <a:pt x="50" y="223"/>
                  <a:pt x="50" y="224"/>
                  <a:pt x="50" y="224"/>
                </a:cubicBezTo>
                <a:cubicBezTo>
                  <a:pt x="50" y="224"/>
                  <a:pt x="50" y="224"/>
                  <a:pt x="50" y="224"/>
                </a:cubicBezTo>
                <a:cubicBezTo>
                  <a:pt x="50" y="225"/>
                  <a:pt x="50" y="224"/>
                  <a:pt x="50" y="224"/>
                </a:cubicBezTo>
                <a:close/>
                <a:moveTo>
                  <a:pt x="106" y="297"/>
                </a:moveTo>
                <a:cubicBezTo>
                  <a:pt x="106" y="298"/>
                  <a:pt x="106" y="299"/>
                  <a:pt x="106" y="300"/>
                </a:cubicBezTo>
                <a:cubicBezTo>
                  <a:pt x="106" y="301"/>
                  <a:pt x="108" y="301"/>
                  <a:pt x="108" y="300"/>
                </a:cubicBezTo>
                <a:cubicBezTo>
                  <a:pt x="109" y="299"/>
                  <a:pt x="107" y="296"/>
                  <a:pt x="106" y="298"/>
                </a:cubicBezTo>
                <a:cubicBezTo>
                  <a:pt x="106" y="298"/>
                  <a:pt x="106" y="297"/>
                  <a:pt x="106" y="297"/>
                </a:cubicBezTo>
                <a:cubicBezTo>
                  <a:pt x="106" y="299"/>
                  <a:pt x="106" y="297"/>
                  <a:pt x="106" y="297"/>
                </a:cubicBezTo>
                <a:close/>
                <a:moveTo>
                  <a:pt x="103" y="271"/>
                </a:moveTo>
                <a:cubicBezTo>
                  <a:pt x="102" y="272"/>
                  <a:pt x="100" y="276"/>
                  <a:pt x="102" y="276"/>
                </a:cubicBezTo>
                <a:cubicBezTo>
                  <a:pt x="104" y="276"/>
                  <a:pt x="105" y="276"/>
                  <a:pt x="105" y="274"/>
                </a:cubicBezTo>
                <a:cubicBezTo>
                  <a:pt x="105" y="273"/>
                  <a:pt x="104" y="272"/>
                  <a:pt x="104" y="271"/>
                </a:cubicBezTo>
                <a:cubicBezTo>
                  <a:pt x="103" y="270"/>
                  <a:pt x="102" y="272"/>
                  <a:pt x="102" y="272"/>
                </a:cubicBezTo>
                <a:cubicBezTo>
                  <a:pt x="102" y="272"/>
                  <a:pt x="103" y="271"/>
                  <a:pt x="103" y="271"/>
                </a:cubicBezTo>
                <a:cubicBezTo>
                  <a:pt x="102" y="272"/>
                  <a:pt x="103" y="271"/>
                  <a:pt x="103" y="271"/>
                </a:cubicBezTo>
                <a:close/>
                <a:moveTo>
                  <a:pt x="102" y="328"/>
                </a:moveTo>
                <a:cubicBezTo>
                  <a:pt x="103" y="329"/>
                  <a:pt x="105" y="327"/>
                  <a:pt x="105" y="326"/>
                </a:cubicBezTo>
                <a:cubicBezTo>
                  <a:pt x="105" y="325"/>
                  <a:pt x="105" y="323"/>
                  <a:pt x="103" y="324"/>
                </a:cubicBezTo>
                <a:cubicBezTo>
                  <a:pt x="102" y="324"/>
                  <a:pt x="103" y="326"/>
                  <a:pt x="103" y="326"/>
                </a:cubicBezTo>
                <a:cubicBezTo>
                  <a:pt x="103" y="327"/>
                  <a:pt x="101" y="328"/>
                  <a:pt x="102" y="329"/>
                </a:cubicBezTo>
                <a:cubicBezTo>
                  <a:pt x="102" y="328"/>
                  <a:pt x="102" y="328"/>
                  <a:pt x="102" y="328"/>
                </a:cubicBezTo>
                <a:cubicBezTo>
                  <a:pt x="103" y="329"/>
                  <a:pt x="102" y="328"/>
                  <a:pt x="102" y="328"/>
                </a:cubicBezTo>
                <a:close/>
                <a:moveTo>
                  <a:pt x="104" y="312"/>
                </a:moveTo>
                <a:cubicBezTo>
                  <a:pt x="104" y="311"/>
                  <a:pt x="104" y="310"/>
                  <a:pt x="103" y="310"/>
                </a:cubicBezTo>
                <a:cubicBezTo>
                  <a:pt x="101" y="310"/>
                  <a:pt x="102" y="312"/>
                  <a:pt x="102" y="313"/>
                </a:cubicBezTo>
                <a:cubicBezTo>
                  <a:pt x="104" y="315"/>
                  <a:pt x="104" y="313"/>
                  <a:pt x="104" y="312"/>
                </a:cubicBezTo>
                <a:cubicBezTo>
                  <a:pt x="104" y="312"/>
                  <a:pt x="104" y="312"/>
                  <a:pt x="104" y="312"/>
                </a:cubicBezTo>
                <a:cubicBezTo>
                  <a:pt x="104" y="311"/>
                  <a:pt x="104" y="312"/>
                  <a:pt x="104" y="312"/>
                </a:cubicBezTo>
                <a:close/>
                <a:moveTo>
                  <a:pt x="105" y="281"/>
                </a:moveTo>
                <a:cubicBezTo>
                  <a:pt x="104" y="283"/>
                  <a:pt x="103" y="285"/>
                  <a:pt x="103" y="287"/>
                </a:cubicBezTo>
                <a:cubicBezTo>
                  <a:pt x="103" y="289"/>
                  <a:pt x="105" y="286"/>
                  <a:pt x="105" y="285"/>
                </a:cubicBezTo>
                <a:cubicBezTo>
                  <a:pt x="106" y="284"/>
                  <a:pt x="107" y="283"/>
                  <a:pt x="106" y="282"/>
                </a:cubicBezTo>
                <a:cubicBezTo>
                  <a:pt x="105" y="281"/>
                  <a:pt x="105" y="280"/>
                  <a:pt x="104" y="282"/>
                </a:cubicBezTo>
                <a:cubicBezTo>
                  <a:pt x="104" y="282"/>
                  <a:pt x="105" y="281"/>
                  <a:pt x="105" y="281"/>
                </a:cubicBezTo>
                <a:cubicBezTo>
                  <a:pt x="104" y="282"/>
                  <a:pt x="105" y="281"/>
                  <a:pt x="105" y="281"/>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34" name="Freeform 341">
            <a:extLst>
              <a:ext uri="{FF2B5EF4-FFF2-40B4-BE49-F238E27FC236}">
                <a16:creationId xmlns:a16="http://schemas.microsoft.com/office/drawing/2014/main" id="{B1216591-4847-4FFD-8531-73363B69071A}"/>
              </a:ext>
            </a:extLst>
          </p:cNvPr>
          <p:cNvSpPr/>
          <p:nvPr>
            <p:custDataLst>
              <p:tags r:id="rId77"/>
            </p:custDataLst>
          </p:nvPr>
        </p:nvSpPr>
        <p:spPr bwMode="auto">
          <a:xfrm>
            <a:off x="8068112" y="4696323"/>
            <a:ext cx="4004" cy="6006"/>
          </a:xfrm>
          <a:custGeom>
            <a:avLst/>
            <a:gdLst>
              <a:gd name="T0" fmla="*/ 1 w 3"/>
              <a:gd name="T1" fmla="*/ 0 h 5"/>
              <a:gd name="T2" fmla="*/ 1 w 3"/>
              <a:gd name="T3" fmla="*/ 2 h 5"/>
              <a:gd name="T4" fmla="*/ 0 w 3"/>
              <a:gd name="T5" fmla="*/ 3 h 5"/>
              <a:gd name="T6" fmla="*/ 1 w 3"/>
              <a:gd name="T7" fmla="*/ 3 h 5"/>
              <a:gd name="T8" fmla="*/ 2 w 3"/>
              <a:gd name="T9" fmla="*/ 1 h 5"/>
              <a:gd name="T10" fmla="*/ 1 w 3"/>
              <a:gd name="T11" fmla="*/ 1 h 5"/>
              <a:gd name="T12" fmla="*/ 1 w 3"/>
              <a:gd name="T13" fmla="*/ 0 h 5"/>
              <a:gd name="T14" fmla="*/ 1 w 3"/>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1" y="0"/>
                </a:moveTo>
                <a:cubicBezTo>
                  <a:pt x="1" y="1"/>
                  <a:pt x="1" y="1"/>
                  <a:pt x="1" y="2"/>
                </a:cubicBezTo>
                <a:cubicBezTo>
                  <a:pt x="0" y="2"/>
                  <a:pt x="0" y="3"/>
                  <a:pt x="0" y="3"/>
                </a:cubicBezTo>
                <a:cubicBezTo>
                  <a:pt x="1" y="5"/>
                  <a:pt x="1" y="4"/>
                  <a:pt x="1" y="3"/>
                </a:cubicBezTo>
                <a:cubicBezTo>
                  <a:pt x="2" y="2"/>
                  <a:pt x="3" y="2"/>
                  <a:pt x="2" y="1"/>
                </a:cubicBezTo>
                <a:cubicBezTo>
                  <a:pt x="2" y="0"/>
                  <a:pt x="1" y="0"/>
                  <a:pt x="1" y="1"/>
                </a:cubicBezTo>
                <a:cubicBezTo>
                  <a:pt x="1" y="1"/>
                  <a:pt x="1" y="0"/>
                  <a:pt x="1" y="0"/>
                </a:cubicBezTo>
                <a:cubicBezTo>
                  <a:pt x="1" y="1"/>
                  <a:pt x="1" y="0"/>
                  <a:pt x="1" y="0"/>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35" name="Freeform 345">
            <a:extLst>
              <a:ext uri="{FF2B5EF4-FFF2-40B4-BE49-F238E27FC236}">
                <a16:creationId xmlns:a16="http://schemas.microsoft.com/office/drawing/2014/main" id="{3C3D3B94-1259-A9EC-99C0-3A29FFB64BA2}"/>
              </a:ext>
            </a:extLst>
          </p:cNvPr>
          <p:cNvSpPr>
            <a:spLocks noEditPoints="1"/>
          </p:cNvSpPr>
          <p:nvPr>
            <p:custDataLst>
              <p:tags r:id="rId78"/>
            </p:custDataLst>
          </p:nvPr>
        </p:nvSpPr>
        <p:spPr bwMode="auto">
          <a:xfrm>
            <a:off x="7937970" y="4079652"/>
            <a:ext cx="79086" cy="64070"/>
          </a:xfrm>
          <a:custGeom>
            <a:avLst/>
            <a:gdLst>
              <a:gd name="T0" fmla="*/ 47 w 68"/>
              <a:gd name="T1" fmla="*/ 14 h 55"/>
              <a:gd name="T2" fmla="*/ 52 w 68"/>
              <a:gd name="T3" fmla="*/ 11 h 55"/>
              <a:gd name="T4" fmla="*/ 49 w 68"/>
              <a:gd name="T5" fmla="*/ 12 h 55"/>
              <a:gd name="T6" fmla="*/ 6 w 68"/>
              <a:gd name="T7" fmla="*/ 10 h 55"/>
              <a:gd name="T8" fmla="*/ 7 w 68"/>
              <a:gd name="T9" fmla="*/ 12 h 55"/>
              <a:gd name="T10" fmla="*/ 6 w 68"/>
              <a:gd name="T11" fmla="*/ 11 h 55"/>
              <a:gd name="T12" fmla="*/ 6 w 68"/>
              <a:gd name="T13" fmla="*/ 10 h 55"/>
              <a:gd name="T14" fmla="*/ 0 w 68"/>
              <a:gd name="T15" fmla="*/ 18 h 55"/>
              <a:gd name="T16" fmla="*/ 2 w 68"/>
              <a:gd name="T17" fmla="*/ 18 h 55"/>
              <a:gd name="T18" fmla="*/ 3 w 68"/>
              <a:gd name="T19" fmla="*/ 17 h 55"/>
              <a:gd name="T20" fmla="*/ 3 w 68"/>
              <a:gd name="T21" fmla="*/ 16 h 55"/>
              <a:gd name="T22" fmla="*/ 43 w 68"/>
              <a:gd name="T23" fmla="*/ 2 h 55"/>
              <a:gd name="T24" fmla="*/ 31 w 68"/>
              <a:gd name="T25" fmla="*/ 6 h 55"/>
              <a:gd name="T26" fmla="*/ 23 w 68"/>
              <a:gd name="T27" fmla="*/ 10 h 55"/>
              <a:gd name="T28" fmla="*/ 27 w 68"/>
              <a:gd name="T29" fmla="*/ 15 h 55"/>
              <a:gd name="T30" fmla="*/ 36 w 68"/>
              <a:gd name="T31" fmla="*/ 13 h 55"/>
              <a:gd name="T32" fmla="*/ 41 w 68"/>
              <a:gd name="T33" fmla="*/ 8 h 55"/>
              <a:gd name="T34" fmla="*/ 47 w 68"/>
              <a:gd name="T35" fmla="*/ 1 h 55"/>
              <a:gd name="T36" fmla="*/ 47 w 68"/>
              <a:gd name="T37" fmla="*/ 1 h 55"/>
              <a:gd name="T38" fmla="*/ 38 w 68"/>
              <a:gd name="T39" fmla="*/ 22 h 55"/>
              <a:gd name="T40" fmla="*/ 41 w 68"/>
              <a:gd name="T41" fmla="*/ 20 h 55"/>
              <a:gd name="T42" fmla="*/ 39 w 68"/>
              <a:gd name="T43" fmla="*/ 20 h 55"/>
              <a:gd name="T44" fmla="*/ 23 w 68"/>
              <a:gd name="T45" fmla="*/ 26 h 55"/>
              <a:gd name="T46" fmla="*/ 17 w 68"/>
              <a:gd name="T47" fmla="*/ 21 h 55"/>
              <a:gd name="T48" fmla="*/ 5 w 68"/>
              <a:gd name="T49" fmla="*/ 27 h 55"/>
              <a:gd name="T50" fmla="*/ 6 w 68"/>
              <a:gd name="T51" fmla="*/ 35 h 55"/>
              <a:gd name="T52" fmla="*/ 15 w 68"/>
              <a:gd name="T53" fmla="*/ 35 h 55"/>
              <a:gd name="T54" fmla="*/ 25 w 68"/>
              <a:gd name="T55" fmla="*/ 33 h 55"/>
              <a:gd name="T56" fmla="*/ 22 w 68"/>
              <a:gd name="T57" fmla="*/ 26 h 55"/>
              <a:gd name="T58" fmla="*/ 23 w 68"/>
              <a:gd name="T59" fmla="*/ 26 h 55"/>
              <a:gd name="T60" fmla="*/ 36 w 68"/>
              <a:gd name="T61" fmla="*/ 34 h 55"/>
              <a:gd name="T62" fmla="*/ 35 w 68"/>
              <a:gd name="T63" fmla="*/ 32 h 55"/>
              <a:gd name="T64" fmla="*/ 36 w 68"/>
              <a:gd name="T65" fmla="*/ 31 h 55"/>
              <a:gd name="T66" fmla="*/ 28 w 68"/>
              <a:gd name="T67" fmla="*/ 25 h 55"/>
              <a:gd name="T68" fmla="*/ 29 w 68"/>
              <a:gd name="T69" fmla="*/ 27 h 55"/>
              <a:gd name="T70" fmla="*/ 29 w 68"/>
              <a:gd name="T71" fmla="*/ 28 h 55"/>
              <a:gd name="T72" fmla="*/ 15 w 68"/>
              <a:gd name="T73" fmla="*/ 51 h 55"/>
              <a:gd name="T74" fmla="*/ 18 w 68"/>
              <a:gd name="T75" fmla="*/ 52 h 55"/>
              <a:gd name="T76" fmla="*/ 23 w 68"/>
              <a:gd name="T77" fmla="*/ 50 h 55"/>
              <a:gd name="T78" fmla="*/ 19 w 68"/>
              <a:gd name="T79" fmla="*/ 50 h 55"/>
              <a:gd name="T80" fmla="*/ 47 w 68"/>
              <a:gd name="T81" fmla="*/ 42 h 55"/>
              <a:gd name="T82" fmla="*/ 48 w 68"/>
              <a:gd name="T83" fmla="*/ 45 h 55"/>
              <a:gd name="T84" fmla="*/ 47 w 68"/>
              <a:gd name="T85" fmla="*/ 42 h 55"/>
              <a:gd name="T86" fmla="*/ 65 w 68"/>
              <a:gd name="T87" fmla="*/ 18 h 55"/>
              <a:gd name="T88" fmla="*/ 67 w 68"/>
              <a:gd name="T89" fmla="*/ 20 h 55"/>
              <a:gd name="T90" fmla="*/ 65 w 68"/>
              <a:gd name="T91" fmla="*/ 1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 h="55">
                <a:moveTo>
                  <a:pt x="49" y="12"/>
                </a:moveTo>
                <a:cubicBezTo>
                  <a:pt x="49" y="12"/>
                  <a:pt x="46" y="13"/>
                  <a:pt x="47" y="14"/>
                </a:cubicBezTo>
                <a:cubicBezTo>
                  <a:pt x="48" y="15"/>
                  <a:pt x="50" y="14"/>
                  <a:pt x="51" y="14"/>
                </a:cubicBezTo>
                <a:cubicBezTo>
                  <a:pt x="52" y="13"/>
                  <a:pt x="53" y="12"/>
                  <a:pt x="52" y="11"/>
                </a:cubicBezTo>
                <a:cubicBezTo>
                  <a:pt x="51" y="10"/>
                  <a:pt x="49" y="11"/>
                  <a:pt x="49" y="12"/>
                </a:cubicBezTo>
                <a:cubicBezTo>
                  <a:pt x="49" y="12"/>
                  <a:pt x="49" y="12"/>
                  <a:pt x="49" y="12"/>
                </a:cubicBezTo>
                <a:cubicBezTo>
                  <a:pt x="49" y="12"/>
                  <a:pt x="49" y="12"/>
                  <a:pt x="49" y="12"/>
                </a:cubicBezTo>
                <a:close/>
                <a:moveTo>
                  <a:pt x="6" y="10"/>
                </a:moveTo>
                <a:cubicBezTo>
                  <a:pt x="6" y="11"/>
                  <a:pt x="4" y="12"/>
                  <a:pt x="5" y="13"/>
                </a:cubicBezTo>
                <a:cubicBezTo>
                  <a:pt x="5" y="14"/>
                  <a:pt x="7" y="12"/>
                  <a:pt x="7" y="12"/>
                </a:cubicBezTo>
                <a:cubicBezTo>
                  <a:pt x="8" y="11"/>
                  <a:pt x="9" y="10"/>
                  <a:pt x="8" y="9"/>
                </a:cubicBezTo>
                <a:cubicBezTo>
                  <a:pt x="8" y="9"/>
                  <a:pt x="6" y="10"/>
                  <a:pt x="6" y="11"/>
                </a:cubicBezTo>
                <a:cubicBezTo>
                  <a:pt x="6" y="11"/>
                  <a:pt x="6" y="11"/>
                  <a:pt x="6" y="10"/>
                </a:cubicBezTo>
                <a:cubicBezTo>
                  <a:pt x="6" y="11"/>
                  <a:pt x="6" y="10"/>
                  <a:pt x="6" y="10"/>
                </a:cubicBezTo>
                <a:close/>
                <a:moveTo>
                  <a:pt x="3" y="16"/>
                </a:moveTo>
                <a:cubicBezTo>
                  <a:pt x="2" y="17"/>
                  <a:pt x="1" y="17"/>
                  <a:pt x="0" y="18"/>
                </a:cubicBezTo>
                <a:cubicBezTo>
                  <a:pt x="0" y="18"/>
                  <a:pt x="1" y="20"/>
                  <a:pt x="1" y="20"/>
                </a:cubicBezTo>
                <a:cubicBezTo>
                  <a:pt x="2" y="19"/>
                  <a:pt x="2" y="19"/>
                  <a:pt x="2" y="18"/>
                </a:cubicBezTo>
                <a:cubicBezTo>
                  <a:pt x="3" y="18"/>
                  <a:pt x="3" y="17"/>
                  <a:pt x="4" y="17"/>
                </a:cubicBezTo>
                <a:cubicBezTo>
                  <a:pt x="4" y="16"/>
                  <a:pt x="3" y="16"/>
                  <a:pt x="3" y="17"/>
                </a:cubicBezTo>
                <a:cubicBezTo>
                  <a:pt x="3" y="16"/>
                  <a:pt x="3" y="16"/>
                  <a:pt x="3" y="16"/>
                </a:cubicBezTo>
                <a:cubicBezTo>
                  <a:pt x="2" y="17"/>
                  <a:pt x="3" y="16"/>
                  <a:pt x="3" y="16"/>
                </a:cubicBezTo>
                <a:close/>
                <a:moveTo>
                  <a:pt x="47" y="1"/>
                </a:moveTo>
                <a:cubicBezTo>
                  <a:pt x="47" y="0"/>
                  <a:pt x="44" y="2"/>
                  <a:pt x="43" y="2"/>
                </a:cubicBezTo>
                <a:cubicBezTo>
                  <a:pt x="41" y="3"/>
                  <a:pt x="38" y="5"/>
                  <a:pt x="36" y="5"/>
                </a:cubicBezTo>
                <a:cubicBezTo>
                  <a:pt x="34" y="6"/>
                  <a:pt x="33" y="6"/>
                  <a:pt x="31" y="6"/>
                </a:cubicBezTo>
                <a:cubicBezTo>
                  <a:pt x="30" y="7"/>
                  <a:pt x="29" y="8"/>
                  <a:pt x="27" y="9"/>
                </a:cubicBezTo>
                <a:cubicBezTo>
                  <a:pt x="26" y="9"/>
                  <a:pt x="24" y="9"/>
                  <a:pt x="23" y="10"/>
                </a:cubicBezTo>
                <a:cubicBezTo>
                  <a:pt x="22" y="11"/>
                  <a:pt x="24" y="12"/>
                  <a:pt x="25" y="13"/>
                </a:cubicBezTo>
                <a:cubicBezTo>
                  <a:pt x="25" y="14"/>
                  <a:pt x="26" y="15"/>
                  <a:pt x="27" y="15"/>
                </a:cubicBezTo>
                <a:cubicBezTo>
                  <a:pt x="29" y="16"/>
                  <a:pt x="30" y="15"/>
                  <a:pt x="32" y="14"/>
                </a:cubicBezTo>
                <a:cubicBezTo>
                  <a:pt x="33" y="14"/>
                  <a:pt x="35" y="13"/>
                  <a:pt x="36" y="13"/>
                </a:cubicBezTo>
                <a:cubicBezTo>
                  <a:pt x="37" y="12"/>
                  <a:pt x="39" y="13"/>
                  <a:pt x="39" y="11"/>
                </a:cubicBezTo>
                <a:cubicBezTo>
                  <a:pt x="40" y="10"/>
                  <a:pt x="40" y="9"/>
                  <a:pt x="41" y="8"/>
                </a:cubicBezTo>
                <a:cubicBezTo>
                  <a:pt x="42" y="8"/>
                  <a:pt x="43" y="7"/>
                  <a:pt x="45" y="6"/>
                </a:cubicBezTo>
                <a:cubicBezTo>
                  <a:pt x="47" y="5"/>
                  <a:pt x="48" y="3"/>
                  <a:pt x="47" y="1"/>
                </a:cubicBezTo>
                <a:cubicBezTo>
                  <a:pt x="47" y="0"/>
                  <a:pt x="47" y="1"/>
                  <a:pt x="47" y="1"/>
                </a:cubicBezTo>
                <a:cubicBezTo>
                  <a:pt x="47" y="0"/>
                  <a:pt x="47" y="1"/>
                  <a:pt x="47" y="1"/>
                </a:cubicBezTo>
                <a:close/>
                <a:moveTo>
                  <a:pt x="39" y="20"/>
                </a:moveTo>
                <a:cubicBezTo>
                  <a:pt x="39" y="20"/>
                  <a:pt x="37" y="21"/>
                  <a:pt x="38" y="22"/>
                </a:cubicBezTo>
                <a:cubicBezTo>
                  <a:pt x="38" y="23"/>
                  <a:pt x="39" y="23"/>
                  <a:pt x="39" y="22"/>
                </a:cubicBezTo>
                <a:cubicBezTo>
                  <a:pt x="40" y="21"/>
                  <a:pt x="41" y="21"/>
                  <a:pt x="41" y="20"/>
                </a:cubicBezTo>
                <a:cubicBezTo>
                  <a:pt x="40" y="19"/>
                  <a:pt x="39" y="19"/>
                  <a:pt x="39" y="20"/>
                </a:cubicBezTo>
                <a:cubicBezTo>
                  <a:pt x="39" y="20"/>
                  <a:pt x="39" y="20"/>
                  <a:pt x="39" y="20"/>
                </a:cubicBezTo>
                <a:cubicBezTo>
                  <a:pt x="39" y="20"/>
                  <a:pt x="39" y="20"/>
                  <a:pt x="39" y="20"/>
                </a:cubicBezTo>
                <a:close/>
                <a:moveTo>
                  <a:pt x="23" y="26"/>
                </a:moveTo>
                <a:cubicBezTo>
                  <a:pt x="22" y="25"/>
                  <a:pt x="20" y="25"/>
                  <a:pt x="19" y="24"/>
                </a:cubicBezTo>
                <a:cubicBezTo>
                  <a:pt x="19" y="23"/>
                  <a:pt x="18" y="22"/>
                  <a:pt x="17" y="21"/>
                </a:cubicBezTo>
                <a:cubicBezTo>
                  <a:pt x="15" y="20"/>
                  <a:pt x="10" y="23"/>
                  <a:pt x="9" y="24"/>
                </a:cubicBezTo>
                <a:cubicBezTo>
                  <a:pt x="7" y="25"/>
                  <a:pt x="6" y="26"/>
                  <a:pt x="5" y="27"/>
                </a:cubicBezTo>
                <a:cubicBezTo>
                  <a:pt x="4" y="28"/>
                  <a:pt x="3" y="29"/>
                  <a:pt x="3" y="30"/>
                </a:cubicBezTo>
                <a:cubicBezTo>
                  <a:pt x="2" y="33"/>
                  <a:pt x="3" y="34"/>
                  <a:pt x="6" y="35"/>
                </a:cubicBezTo>
                <a:cubicBezTo>
                  <a:pt x="7" y="35"/>
                  <a:pt x="8" y="36"/>
                  <a:pt x="10" y="36"/>
                </a:cubicBezTo>
                <a:cubicBezTo>
                  <a:pt x="12" y="37"/>
                  <a:pt x="13" y="36"/>
                  <a:pt x="15" y="35"/>
                </a:cubicBezTo>
                <a:cubicBezTo>
                  <a:pt x="17" y="34"/>
                  <a:pt x="19" y="34"/>
                  <a:pt x="22" y="34"/>
                </a:cubicBezTo>
                <a:cubicBezTo>
                  <a:pt x="23" y="34"/>
                  <a:pt x="26" y="34"/>
                  <a:pt x="25" y="33"/>
                </a:cubicBezTo>
                <a:cubicBezTo>
                  <a:pt x="25" y="31"/>
                  <a:pt x="24" y="31"/>
                  <a:pt x="24" y="29"/>
                </a:cubicBezTo>
                <a:cubicBezTo>
                  <a:pt x="23" y="28"/>
                  <a:pt x="23" y="27"/>
                  <a:pt x="22" y="26"/>
                </a:cubicBezTo>
                <a:cubicBezTo>
                  <a:pt x="22" y="26"/>
                  <a:pt x="22" y="26"/>
                  <a:pt x="23" y="26"/>
                </a:cubicBezTo>
                <a:cubicBezTo>
                  <a:pt x="22" y="25"/>
                  <a:pt x="23" y="26"/>
                  <a:pt x="23" y="26"/>
                </a:cubicBezTo>
                <a:close/>
                <a:moveTo>
                  <a:pt x="36" y="31"/>
                </a:moveTo>
                <a:cubicBezTo>
                  <a:pt x="35" y="33"/>
                  <a:pt x="35" y="33"/>
                  <a:pt x="36" y="34"/>
                </a:cubicBezTo>
                <a:cubicBezTo>
                  <a:pt x="36" y="35"/>
                  <a:pt x="37" y="35"/>
                  <a:pt x="38" y="34"/>
                </a:cubicBezTo>
                <a:cubicBezTo>
                  <a:pt x="39" y="33"/>
                  <a:pt x="37" y="30"/>
                  <a:pt x="35" y="32"/>
                </a:cubicBezTo>
                <a:cubicBezTo>
                  <a:pt x="35" y="32"/>
                  <a:pt x="36" y="32"/>
                  <a:pt x="36" y="31"/>
                </a:cubicBezTo>
                <a:cubicBezTo>
                  <a:pt x="35" y="32"/>
                  <a:pt x="36" y="31"/>
                  <a:pt x="36" y="31"/>
                </a:cubicBezTo>
                <a:close/>
                <a:moveTo>
                  <a:pt x="29" y="28"/>
                </a:moveTo>
                <a:cubicBezTo>
                  <a:pt x="30" y="27"/>
                  <a:pt x="29" y="24"/>
                  <a:pt x="28" y="25"/>
                </a:cubicBezTo>
                <a:cubicBezTo>
                  <a:pt x="27" y="26"/>
                  <a:pt x="27" y="27"/>
                  <a:pt x="27" y="28"/>
                </a:cubicBezTo>
                <a:cubicBezTo>
                  <a:pt x="28" y="29"/>
                  <a:pt x="29" y="28"/>
                  <a:pt x="29" y="27"/>
                </a:cubicBezTo>
                <a:cubicBezTo>
                  <a:pt x="29" y="27"/>
                  <a:pt x="29" y="28"/>
                  <a:pt x="29" y="28"/>
                </a:cubicBezTo>
                <a:cubicBezTo>
                  <a:pt x="30" y="27"/>
                  <a:pt x="29" y="28"/>
                  <a:pt x="29" y="28"/>
                </a:cubicBezTo>
                <a:close/>
                <a:moveTo>
                  <a:pt x="19" y="50"/>
                </a:moveTo>
                <a:cubicBezTo>
                  <a:pt x="18" y="51"/>
                  <a:pt x="16" y="50"/>
                  <a:pt x="15" y="51"/>
                </a:cubicBezTo>
                <a:cubicBezTo>
                  <a:pt x="15" y="52"/>
                  <a:pt x="14" y="53"/>
                  <a:pt x="15" y="54"/>
                </a:cubicBezTo>
                <a:cubicBezTo>
                  <a:pt x="15" y="55"/>
                  <a:pt x="18" y="53"/>
                  <a:pt x="18" y="52"/>
                </a:cubicBezTo>
                <a:cubicBezTo>
                  <a:pt x="19" y="52"/>
                  <a:pt x="20" y="51"/>
                  <a:pt x="21" y="51"/>
                </a:cubicBezTo>
                <a:cubicBezTo>
                  <a:pt x="22" y="51"/>
                  <a:pt x="24" y="51"/>
                  <a:pt x="23" y="50"/>
                </a:cubicBezTo>
                <a:cubicBezTo>
                  <a:pt x="22" y="48"/>
                  <a:pt x="19" y="49"/>
                  <a:pt x="18" y="50"/>
                </a:cubicBezTo>
                <a:cubicBezTo>
                  <a:pt x="18" y="50"/>
                  <a:pt x="18" y="50"/>
                  <a:pt x="19" y="50"/>
                </a:cubicBezTo>
                <a:cubicBezTo>
                  <a:pt x="18" y="51"/>
                  <a:pt x="19" y="50"/>
                  <a:pt x="19" y="50"/>
                </a:cubicBezTo>
                <a:close/>
                <a:moveTo>
                  <a:pt x="47" y="42"/>
                </a:moveTo>
                <a:cubicBezTo>
                  <a:pt x="47" y="42"/>
                  <a:pt x="46" y="43"/>
                  <a:pt x="46" y="44"/>
                </a:cubicBezTo>
                <a:cubicBezTo>
                  <a:pt x="46" y="44"/>
                  <a:pt x="47" y="45"/>
                  <a:pt x="48" y="45"/>
                </a:cubicBezTo>
                <a:cubicBezTo>
                  <a:pt x="52" y="44"/>
                  <a:pt x="48" y="39"/>
                  <a:pt x="47" y="42"/>
                </a:cubicBezTo>
                <a:cubicBezTo>
                  <a:pt x="47" y="42"/>
                  <a:pt x="47" y="42"/>
                  <a:pt x="47" y="42"/>
                </a:cubicBezTo>
                <a:cubicBezTo>
                  <a:pt x="47" y="42"/>
                  <a:pt x="47" y="42"/>
                  <a:pt x="47" y="42"/>
                </a:cubicBezTo>
                <a:close/>
                <a:moveTo>
                  <a:pt x="65" y="18"/>
                </a:moveTo>
                <a:cubicBezTo>
                  <a:pt x="64" y="18"/>
                  <a:pt x="65" y="20"/>
                  <a:pt x="65" y="21"/>
                </a:cubicBezTo>
                <a:cubicBezTo>
                  <a:pt x="66" y="21"/>
                  <a:pt x="67" y="21"/>
                  <a:pt x="67" y="20"/>
                </a:cubicBezTo>
                <a:cubicBezTo>
                  <a:pt x="68" y="19"/>
                  <a:pt x="65" y="16"/>
                  <a:pt x="65" y="18"/>
                </a:cubicBezTo>
                <a:cubicBezTo>
                  <a:pt x="65" y="18"/>
                  <a:pt x="65" y="18"/>
                  <a:pt x="65" y="18"/>
                </a:cubicBezTo>
                <a:cubicBezTo>
                  <a:pt x="64" y="19"/>
                  <a:pt x="65" y="18"/>
                  <a:pt x="65" y="18"/>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36" name="Freeform 349">
            <a:extLst>
              <a:ext uri="{FF2B5EF4-FFF2-40B4-BE49-F238E27FC236}">
                <a16:creationId xmlns:a16="http://schemas.microsoft.com/office/drawing/2014/main" id="{45669E48-497C-39EA-2FDB-2A3477658B2A}"/>
              </a:ext>
            </a:extLst>
          </p:cNvPr>
          <p:cNvSpPr/>
          <p:nvPr>
            <p:custDataLst>
              <p:tags r:id="rId79"/>
            </p:custDataLst>
          </p:nvPr>
        </p:nvSpPr>
        <p:spPr bwMode="auto">
          <a:xfrm>
            <a:off x="8055098" y="4685311"/>
            <a:ext cx="14015" cy="3004"/>
          </a:xfrm>
          <a:custGeom>
            <a:avLst/>
            <a:gdLst>
              <a:gd name="T0" fmla="*/ 8 w 12"/>
              <a:gd name="T1" fmla="*/ 0 h 3"/>
              <a:gd name="T2" fmla="*/ 4 w 12"/>
              <a:gd name="T3" fmla="*/ 1 h 3"/>
              <a:gd name="T4" fmla="*/ 1 w 12"/>
              <a:gd name="T5" fmla="*/ 2 h 3"/>
              <a:gd name="T6" fmla="*/ 6 w 12"/>
              <a:gd name="T7" fmla="*/ 3 h 3"/>
              <a:gd name="T8" fmla="*/ 8 w 12"/>
              <a:gd name="T9" fmla="*/ 1 h 3"/>
              <a:gd name="T10" fmla="*/ 11 w 12"/>
              <a:gd name="T11" fmla="*/ 1 h 3"/>
              <a:gd name="T12" fmla="*/ 10 w 12"/>
              <a:gd name="T13" fmla="*/ 1 h 3"/>
              <a:gd name="T14" fmla="*/ 8 w 12"/>
              <a:gd name="T15" fmla="*/ 0 h 3"/>
              <a:gd name="T16" fmla="*/ 8 w 12"/>
              <a:gd name="T17" fmla="*/ 0 h 3"/>
              <a:gd name="T18" fmla="*/ 8 w 12"/>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3">
                <a:moveTo>
                  <a:pt x="8" y="0"/>
                </a:moveTo>
                <a:cubicBezTo>
                  <a:pt x="7" y="0"/>
                  <a:pt x="6" y="1"/>
                  <a:pt x="4" y="1"/>
                </a:cubicBezTo>
                <a:cubicBezTo>
                  <a:pt x="3" y="1"/>
                  <a:pt x="2" y="1"/>
                  <a:pt x="1" y="2"/>
                </a:cubicBezTo>
                <a:cubicBezTo>
                  <a:pt x="0" y="3"/>
                  <a:pt x="5" y="3"/>
                  <a:pt x="6" y="3"/>
                </a:cubicBezTo>
                <a:cubicBezTo>
                  <a:pt x="7" y="3"/>
                  <a:pt x="7" y="1"/>
                  <a:pt x="8" y="1"/>
                </a:cubicBezTo>
                <a:cubicBezTo>
                  <a:pt x="9" y="1"/>
                  <a:pt x="10" y="2"/>
                  <a:pt x="11" y="1"/>
                </a:cubicBezTo>
                <a:cubicBezTo>
                  <a:pt x="12" y="1"/>
                  <a:pt x="10" y="1"/>
                  <a:pt x="10" y="1"/>
                </a:cubicBezTo>
                <a:cubicBezTo>
                  <a:pt x="9" y="0"/>
                  <a:pt x="8" y="0"/>
                  <a:pt x="8" y="0"/>
                </a:cubicBezTo>
                <a:cubicBezTo>
                  <a:pt x="8" y="0"/>
                  <a:pt x="8" y="0"/>
                  <a:pt x="8" y="0"/>
                </a:cubicBezTo>
                <a:cubicBezTo>
                  <a:pt x="7" y="0"/>
                  <a:pt x="8" y="0"/>
                  <a:pt x="8" y="0"/>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37" name="Freeform 350">
            <a:extLst>
              <a:ext uri="{FF2B5EF4-FFF2-40B4-BE49-F238E27FC236}">
                <a16:creationId xmlns:a16="http://schemas.microsoft.com/office/drawing/2014/main" id="{EEEA589A-61A8-8A4B-BFC6-69080491429C}"/>
              </a:ext>
            </a:extLst>
          </p:cNvPr>
          <p:cNvSpPr/>
          <p:nvPr>
            <p:custDataLst>
              <p:tags r:id="rId80"/>
            </p:custDataLst>
          </p:nvPr>
        </p:nvSpPr>
        <p:spPr bwMode="auto">
          <a:xfrm>
            <a:off x="8061104" y="4689315"/>
            <a:ext cx="6006" cy="7008"/>
          </a:xfrm>
          <a:custGeom>
            <a:avLst/>
            <a:gdLst>
              <a:gd name="T0" fmla="*/ 1 w 5"/>
              <a:gd name="T1" fmla="*/ 1 h 6"/>
              <a:gd name="T2" fmla="*/ 0 w 5"/>
              <a:gd name="T3" fmla="*/ 5 h 6"/>
              <a:gd name="T4" fmla="*/ 3 w 5"/>
              <a:gd name="T5" fmla="*/ 5 h 6"/>
              <a:gd name="T6" fmla="*/ 4 w 5"/>
              <a:gd name="T7" fmla="*/ 2 h 6"/>
              <a:gd name="T8" fmla="*/ 1 w 5"/>
              <a:gd name="T9" fmla="*/ 1 h 6"/>
              <a:gd name="T10" fmla="*/ 1 w 5"/>
              <a:gd name="T11" fmla="*/ 1 h 6"/>
              <a:gd name="T12" fmla="*/ 1 w 5"/>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1" y="1"/>
                </a:moveTo>
                <a:cubicBezTo>
                  <a:pt x="0" y="2"/>
                  <a:pt x="0" y="3"/>
                  <a:pt x="0" y="5"/>
                </a:cubicBezTo>
                <a:cubicBezTo>
                  <a:pt x="1" y="6"/>
                  <a:pt x="2" y="5"/>
                  <a:pt x="3" y="5"/>
                </a:cubicBezTo>
                <a:cubicBezTo>
                  <a:pt x="4" y="4"/>
                  <a:pt x="5" y="3"/>
                  <a:pt x="4" y="2"/>
                </a:cubicBezTo>
                <a:cubicBezTo>
                  <a:pt x="4" y="0"/>
                  <a:pt x="2" y="0"/>
                  <a:pt x="1" y="1"/>
                </a:cubicBezTo>
                <a:cubicBezTo>
                  <a:pt x="1" y="1"/>
                  <a:pt x="1" y="1"/>
                  <a:pt x="1" y="1"/>
                </a:cubicBezTo>
                <a:cubicBezTo>
                  <a:pt x="1" y="1"/>
                  <a:pt x="1" y="1"/>
                  <a:pt x="1" y="1"/>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38" name="Freeform 359">
            <a:extLst>
              <a:ext uri="{FF2B5EF4-FFF2-40B4-BE49-F238E27FC236}">
                <a16:creationId xmlns:a16="http://schemas.microsoft.com/office/drawing/2014/main" id="{147F394E-74CA-24AF-A592-519C9A41C5F8}"/>
              </a:ext>
            </a:extLst>
          </p:cNvPr>
          <p:cNvSpPr/>
          <p:nvPr>
            <p:custDataLst>
              <p:tags r:id="rId81"/>
            </p:custDataLst>
          </p:nvPr>
        </p:nvSpPr>
        <p:spPr bwMode="auto">
          <a:xfrm>
            <a:off x="7141104" y="2553994"/>
            <a:ext cx="8009" cy="6006"/>
          </a:xfrm>
          <a:custGeom>
            <a:avLst/>
            <a:gdLst>
              <a:gd name="T0" fmla="*/ 3 w 7"/>
              <a:gd name="T1" fmla="*/ 5 h 5"/>
              <a:gd name="T2" fmla="*/ 7 w 7"/>
              <a:gd name="T3" fmla="*/ 3 h 5"/>
              <a:gd name="T4" fmla="*/ 4 w 7"/>
              <a:gd name="T5" fmla="*/ 1 h 5"/>
              <a:gd name="T6" fmla="*/ 3 w 7"/>
              <a:gd name="T7" fmla="*/ 2 h 5"/>
              <a:gd name="T8" fmla="*/ 1 w 7"/>
              <a:gd name="T9" fmla="*/ 3 h 5"/>
              <a:gd name="T10" fmla="*/ 3 w 7"/>
              <a:gd name="T11" fmla="*/ 5 h 5"/>
              <a:gd name="T12" fmla="*/ 3 w 7"/>
              <a:gd name="T13" fmla="*/ 5 h 5"/>
              <a:gd name="T14" fmla="*/ 3 w 7"/>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3" y="5"/>
                </a:moveTo>
                <a:cubicBezTo>
                  <a:pt x="4" y="5"/>
                  <a:pt x="6" y="5"/>
                  <a:pt x="7" y="3"/>
                </a:cubicBezTo>
                <a:cubicBezTo>
                  <a:pt x="7" y="2"/>
                  <a:pt x="6" y="0"/>
                  <a:pt x="4" y="1"/>
                </a:cubicBezTo>
                <a:cubicBezTo>
                  <a:pt x="4" y="1"/>
                  <a:pt x="3" y="2"/>
                  <a:pt x="3" y="2"/>
                </a:cubicBezTo>
                <a:cubicBezTo>
                  <a:pt x="2" y="3"/>
                  <a:pt x="1" y="3"/>
                  <a:pt x="1" y="3"/>
                </a:cubicBezTo>
                <a:cubicBezTo>
                  <a:pt x="0" y="5"/>
                  <a:pt x="3" y="5"/>
                  <a:pt x="3" y="5"/>
                </a:cubicBezTo>
                <a:cubicBezTo>
                  <a:pt x="3" y="5"/>
                  <a:pt x="3" y="5"/>
                  <a:pt x="3" y="5"/>
                </a:cubicBezTo>
                <a:cubicBezTo>
                  <a:pt x="3" y="5"/>
                  <a:pt x="3" y="5"/>
                  <a:pt x="3" y="5"/>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39" name="Freeform 368">
            <a:extLst>
              <a:ext uri="{FF2B5EF4-FFF2-40B4-BE49-F238E27FC236}">
                <a16:creationId xmlns:a16="http://schemas.microsoft.com/office/drawing/2014/main" id="{CBE2FAAF-A894-C136-ACA9-AD7C7C100DBA}"/>
              </a:ext>
            </a:extLst>
          </p:cNvPr>
          <p:cNvSpPr/>
          <p:nvPr>
            <p:custDataLst>
              <p:tags r:id="rId82"/>
            </p:custDataLst>
          </p:nvPr>
        </p:nvSpPr>
        <p:spPr bwMode="auto">
          <a:xfrm>
            <a:off x="7729744" y="4608226"/>
            <a:ext cx="152165" cy="149162"/>
          </a:xfrm>
          <a:custGeom>
            <a:avLst/>
            <a:gdLst>
              <a:gd name="T0" fmla="*/ 123 w 130"/>
              <a:gd name="T1" fmla="*/ 16 h 128"/>
              <a:gd name="T2" fmla="*/ 123 w 130"/>
              <a:gd name="T3" fmla="*/ 9 h 128"/>
              <a:gd name="T4" fmla="*/ 114 w 130"/>
              <a:gd name="T5" fmla="*/ 14 h 128"/>
              <a:gd name="T6" fmla="*/ 109 w 130"/>
              <a:gd name="T7" fmla="*/ 15 h 128"/>
              <a:gd name="T8" fmla="*/ 104 w 130"/>
              <a:gd name="T9" fmla="*/ 6 h 128"/>
              <a:gd name="T10" fmla="*/ 108 w 130"/>
              <a:gd name="T11" fmla="*/ 1 h 128"/>
              <a:gd name="T12" fmla="*/ 99 w 130"/>
              <a:gd name="T13" fmla="*/ 2 h 128"/>
              <a:gd name="T14" fmla="*/ 93 w 130"/>
              <a:gd name="T15" fmla="*/ 7 h 128"/>
              <a:gd name="T16" fmla="*/ 92 w 130"/>
              <a:gd name="T17" fmla="*/ 17 h 128"/>
              <a:gd name="T18" fmla="*/ 81 w 130"/>
              <a:gd name="T19" fmla="*/ 25 h 128"/>
              <a:gd name="T20" fmla="*/ 79 w 130"/>
              <a:gd name="T21" fmla="*/ 32 h 128"/>
              <a:gd name="T22" fmla="*/ 73 w 130"/>
              <a:gd name="T23" fmla="*/ 45 h 128"/>
              <a:gd name="T24" fmla="*/ 52 w 130"/>
              <a:gd name="T25" fmla="*/ 61 h 128"/>
              <a:gd name="T26" fmla="*/ 38 w 130"/>
              <a:gd name="T27" fmla="*/ 71 h 128"/>
              <a:gd name="T28" fmla="*/ 26 w 130"/>
              <a:gd name="T29" fmla="*/ 76 h 128"/>
              <a:gd name="T30" fmla="*/ 21 w 130"/>
              <a:gd name="T31" fmla="*/ 84 h 128"/>
              <a:gd name="T32" fmla="*/ 12 w 130"/>
              <a:gd name="T33" fmla="*/ 90 h 128"/>
              <a:gd name="T34" fmla="*/ 8 w 130"/>
              <a:gd name="T35" fmla="*/ 95 h 128"/>
              <a:gd name="T36" fmla="*/ 8 w 130"/>
              <a:gd name="T37" fmla="*/ 102 h 128"/>
              <a:gd name="T38" fmla="*/ 2 w 130"/>
              <a:gd name="T39" fmla="*/ 104 h 128"/>
              <a:gd name="T40" fmla="*/ 0 w 130"/>
              <a:gd name="T41" fmla="*/ 111 h 128"/>
              <a:gd name="T42" fmla="*/ 3 w 130"/>
              <a:gd name="T43" fmla="*/ 114 h 128"/>
              <a:gd name="T44" fmla="*/ 5 w 130"/>
              <a:gd name="T45" fmla="*/ 119 h 128"/>
              <a:gd name="T46" fmla="*/ 20 w 130"/>
              <a:gd name="T47" fmla="*/ 122 h 128"/>
              <a:gd name="T48" fmla="*/ 30 w 130"/>
              <a:gd name="T49" fmla="*/ 126 h 128"/>
              <a:gd name="T50" fmla="*/ 41 w 130"/>
              <a:gd name="T51" fmla="*/ 128 h 128"/>
              <a:gd name="T52" fmla="*/ 61 w 130"/>
              <a:gd name="T53" fmla="*/ 116 h 128"/>
              <a:gd name="T54" fmla="*/ 69 w 130"/>
              <a:gd name="T55" fmla="*/ 111 h 128"/>
              <a:gd name="T56" fmla="*/ 67 w 130"/>
              <a:gd name="T57" fmla="*/ 108 h 128"/>
              <a:gd name="T58" fmla="*/ 78 w 130"/>
              <a:gd name="T59" fmla="*/ 89 h 128"/>
              <a:gd name="T60" fmla="*/ 81 w 130"/>
              <a:gd name="T61" fmla="*/ 77 h 128"/>
              <a:gd name="T62" fmla="*/ 91 w 130"/>
              <a:gd name="T63" fmla="*/ 72 h 128"/>
              <a:gd name="T64" fmla="*/ 102 w 130"/>
              <a:gd name="T65" fmla="*/ 68 h 128"/>
              <a:gd name="T66" fmla="*/ 108 w 130"/>
              <a:gd name="T67" fmla="*/ 69 h 128"/>
              <a:gd name="T68" fmla="*/ 102 w 130"/>
              <a:gd name="T69" fmla="*/ 63 h 128"/>
              <a:gd name="T70" fmla="*/ 104 w 130"/>
              <a:gd name="T71" fmla="*/ 58 h 128"/>
              <a:gd name="T72" fmla="*/ 116 w 130"/>
              <a:gd name="T73" fmla="*/ 45 h 128"/>
              <a:gd name="T74" fmla="*/ 123 w 130"/>
              <a:gd name="T75" fmla="*/ 31 h 128"/>
              <a:gd name="T76" fmla="*/ 129 w 130"/>
              <a:gd name="T77" fmla="*/ 23 h 128"/>
              <a:gd name="T78" fmla="*/ 127 w 130"/>
              <a:gd name="T79" fmla="*/ 17 h 128"/>
              <a:gd name="T80" fmla="*/ 127 w 130"/>
              <a:gd name="T8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28">
                <a:moveTo>
                  <a:pt x="127" y="17"/>
                </a:moveTo>
                <a:cubicBezTo>
                  <a:pt x="127" y="16"/>
                  <a:pt x="124" y="16"/>
                  <a:pt x="123" y="16"/>
                </a:cubicBezTo>
                <a:cubicBezTo>
                  <a:pt x="120" y="15"/>
                  <a:pt x="122" y="13"/>
                  <a:pt x="123" y="11"/>
                </a:cubicBezTo>
                <a:cubicBezTo>
                  <a:pt x="125" y="10"/>
                  <a:pt x="125" y="8"/>
                  <a:pt x="123" y="9"/>
                </a:cubicBezTo>
                <a:cubicBezTo>
                  <a:pt x="121" y="10"/>
                  <a:pt x="119" y="11"/>
                  <a:pt x="117" y="12"/>
                </a:cubicBezTo>
                <a:cubicBezTo>
                  <a:pt x="116" y="12"/>
                  <a:pt x="115" y="13"/>
                  <a:pt x="114" y="14"/>
                </a:cubicBezTo>
                <a:cubicBezTo>
                  <a:pt x="114" y="14"/>
                  <a:pt x="113" y="15"/>
                  <a:pt x="113" y="16"/>
                </a:cubicBezTo>
                <a:cubicBezTo>
                  <a:pt x="112" y="18"/>
                  <a:pt x="109" y="17"/>
                  <a:pt x="109" y="15"/>
                </a:cubicBezTo>
                <a:cubicBezTo>
                  <a:pt x="109" y="12"/>
                  <a:pt x="110" y="10"/>
                  <a:pt x="110" y="8"/>
                </a:cubicBezTo>
                <a:cubicBezTo>
                  <a:pt x="109" y="5"/>
                  <a:pt x="106" y="6"/>
                  <a:pt x="104" y="6"/>
                </a:cubicBezTo>
                <a:cubicBezTo>
                  <a:pt x="102" y="5"/>
                  <a:pt x="104" y="2"/>
                  <a:pt x="105" y="2"/>
                </a:cubicBezTo>
                <a:cubicBezTo>
                  <a:pt x="105" y="2"/>
                  <a:pt x="110" y="2"/>
                  <a:pt x="108" y="1"/>
                </a:cubicBezTo>
                <a:cubicBezTo>
                  <a:pt x="106" y="0"/>
                  <a:pt x="103" y="0"/>
                  <a:pt x="101" y="0"/>
                </a:cubicBezTo>
                <a:cubicBezTo>
                  <a:pt x="100" y="1"/>
                  <a:pt x="99" y="1"/>
                  <a:pt x="99" y="2"/>
                </a:cubicBezTo>
                <a:cubicBezTo>
                  <a:pt x="98" y="3"/>
                  <a:pt x="96" y="4"/>
                  <a:pt x="95" y="5"/>
                </a:cubicBezTo>
                <a:cubicBezTo>
                  <a:pt x="94" y="5"/>
                  <a:pt x="93" y="6"/>
                  <a:pt x="93" y="7"/>
                </a:cubicBezTo>
                <a:cubicBezTo>
                  <a:pt x="92" y="8"/>
                  <a:pt x="93" y="9"/>
                  <a:pt x="93" y="10"/>
                </a:cubicBezTo>
                <a:cubicBezTo>
                  <a:pt x="93" y="12"/>
                  <a:pt x="93" y="15"/>
                  <a:pt x="92" y="17"/>
                </a:cubicBezTo>
                <a:cubicBezTo>
                  <a:pt x="91" y="20"/>
                  <a:pt x="90" y="21"/>
                  <a:pt x="87" y="22"/>
                </a:cubicBezTo>
                <a:cubicBezTo>
                  <a:pt x="86" y="23"/>
                  <a:pt x="82" y="24"/>
                  <a:pt x="81" y="25"/>
                </a:cubicBezTo>
                <a:cubicBezTo>
                  <a:pt x="80" y="26"/>
                  <a:pt x="81" y="27"/>
                  <a:pt x="80" y="28"/>
                </a:cubicBezTo>
                <a:cubicBezTo>
                  <a:pt x="80" y="30"/>
                  <a:pt x="79" y="31"/>
                  <a:pt x="79" y="32"/>
                </a:cubicBezTo>
                <a:cubicBezTo>
                  <a:pt x="78" y="35"/>
                  <a:pt x="77" y="38"/>
                  <a:pt x="77" y="41"/>
                </a:cubicBezTo>
                <a:cubicBezTo>
                  <a:pt x="77" y="43"/>
                  <a:pt x="76" y="44"/>
                  <a:pt x="73" y="45"/>
                </a:cubicBezTo>
                <a:cubicBezTo>
                  <a:pt x="71" y="46"/>
                  <a:pt x="69" y="48"/>
                  <a:pt x="66" y="50"/>
                </a:cubicBezTo>
                <a:cubicBezTo>
                  <a:pt x="62" y="54"/>
                  <a:pt x="57" y="58"/>
                  <a:pt x="52" y="61"/>
                </a:cubicBezTo>
                <a:cubicBezTo>
                  <a:pt x="50" y="63"/>
                  <a:pt x="47" y="64"/>
                  <a:pt x="45" y="65"/>
                </a:cubicBezTo>
                <a:cubicBezTo>
                  <a:pt x="43" y="67"/>
                  <a:pt x="41" y="69"/>
                  <a:pt x="38" y="71"/>
                </a:cubicBezTo>
                <a:cubicBezTo>
                  <a:pt x="36" y="73"/>
                  <a:pt x="34" y="72"/>
                  <a:pt x="32" y="72"/>
                </a:cubicBezTo>
                <a:cubicBezTo>
                  <a:pt x="29" y="73"/>
                  <a:pt x="28" y="75"/>
                  <a:pt x="26" y="76"/>
                </a:cubicBezTo>
                <a:cubicBezTo>
                  <a:pt x="25" y="78"/>
                  <a:pt x="23" y="79"/>
                  <a:pt x="21" y="81"/>
                </a:cubicBezTo>
                <a:cubicBezTo>
                  <a:pt x="20" y="82"/>
                  <a:pt x="21" y="83"/>
                  <a:pt x="21" y="84"/>
                </a:cubicBezTo>
                <a:cubicBezTo>
                  <a:pt x="20" y="85"/>
                  <a:pt x="20" y="86"/>
                  <a:pt x="19" y="87"/>
                </a:cubicBezTo>
                <a:cubicBezTo>
                  <a:pt x="17" y="88"/>
                  <a:pt x="14" y="88"/>
                  <a:pt x="12" y="90"/>
                </a:cubicBezTo>
                <a:cubicBezTo>
                  <a:pt x="12" y="91"/>
                  <a:pt x="12" y="91"/>
                  <a:pt x="11" y="92"/>
                </a:cubicBezTo>
                <a:cubicBezTo>
                  <a:pt x="10" y="93"/>
                  <a:pt x="9" y="94"/>
                  <a:pt x="8" y="95"/>
                </a:cubicBezTo>
                <a:cubicBezTo>
                  <a:pt x="8" y="96"/>
                  <a:pt x="8" y="98"/>
                  <a:pt x="8" y="99"/>
                </a:cubicBezTo>
                <a:cubicBezTo>
                  <a:pt x="8" y="100"/>
                  <a:pt x="8" y="102"/>
                  <a:pt x="8" y="102"/>
                </a:cubicBezTo>
                <a:cubicBezTo>
                  <a:pt x="7" y="103"/>
                  <a:pt x="4" y="101"/>
                  <a:pt x="3" y="100"/>
                </a:cubicBezTo>
                <a:cubicBezTo>
                  <a:pt x="2" y="100"/>
                  <a:pt x="0" y="103"/>
                  <a:pt x="2" y="104"/>
                </a:cubicBezTo>
                <a:cubicBezTo>
                  <a:pt x="3" y="105"/>
                  <a:pt x="5" y="106"/>
                  <a:pt x="5" y="108"/>
                </a:cubicBezTo>
                <a:cubicBezTo>
                  <a:pt x="5" y="109"/>
                  <a:pt x="1" y="110"/>
                  <a:pt x="0" y="111"/>
                </a:cubicBezTo>
                <a:cubicBezTo>
                  <a:pt x="0" y="112"/>
                  <a:pt x="0" y="113"/>
                  <a:pt x="1" y="113"/>
                </a:cubicBezTo>
                <a:cubicBezTo>
                  <a:pt x="1" y="114"/>
                  <a:pt x="2" y="114"/>
                  <a:pt x="3" y="114"/>
                </a:cubicBezTo>
                <a:cubicBezTo>
                  <a:pt x="4" y="115"/>
                  <a:pt x="0" y="116"/>
                  <a:pt x="0" y="117"/>
                </a:cubicBezTo>
                <a:cubicBezTo>
                  <a:pt x="0" y="119"/>
                  <a:pt x="4" y="119"/>
                  <a:pt x="5" y="119"/>
                </a:cubicBezTo>
                <a:cubicBezTo>
                  <a:pt x="8" y="119"/>
                  <a:pt x="11" y="118"/>
                  <a:pt x="14" y="118"/>
                </a:cubicBezTo>
                <a:cubicBezTo>
                  <a:pt x="17" y="118"/>
                  <a:pt x="18" y="120"/>
                  <a:pt x="20" y="122"/>
                </a:cubicBezTo>
                <a:cubicBezTo>
                  <a:pt x="23" y="123"/>
                  <a:pt x="26" y="122"/>
                  <a:pt x="28" y="124"/>
                </a:cubicBezTo>
                <a:cubicBezTo>
                  <a:pt x="29" y="125"/>
                  <a:pt x="29" y="126"/>
                  <a:pt x="30" y="126"/>
                </a:cubicBezTo>
                <a:cubicBezTo>
                  <a:pt x="31" y="127"/>
                  <a:pt x="32" y="128"/>
                  <a:pt x="33" y="128"/>
                </a:cubicBezTo>
                <a:cubicBezTo>
                  <a:pt x="36" y="128"/>
                  <a:pt x="39" y="128"/>
                  <a:pt x="41" y="128"/>
                </a:cubicBezTo>
                <a:cubicBezTo>
                  <a:pt x="44" y="128"/>
                  <a:pt x="47" y="127"/>
                  <a:pt x="50" y="126"/>
                </a:cubicBezTo>
                <a:cubicBezTo>
                  <a:pt x="55" y="124"/>
                  <a:pt x="57" y="120"/>
                  <a:pt x="61" y="116"/>
                </a:cubicBezTo>
                <a:cubicBezTo>
                  <a:pt x="62" y="115"/>
                  <a:pt x="65" y="113"/>
                  <a:pt x="67" y="113"/>
                </a:cubicBezTo>
                <a:cubicBezTo>
                  <a:pt x="68" y="113"/>
                  <a:pt x="71" y="112"/>
                  <a:pt x="69" y="111"/>
                </a:cubicBezTo>
                <a:cubicBezTo>
                  <a:pt x="68" y="111"/>
                  <a:pt x="67" y="111"/>
                  <a:pt x="67" y="111"/>
                </a:cubicBezTo>
                <a:cubicBezTo>
                  <a:pt x="66" y="110"/>
                  <a:pt x="67" y="108"/>
                  <a:pt x="67" y="108"/>
                </a:cubicBezTo>
                <a:cubicBezTo>
                  <a:pt x="67" y="105"/>
                  <a:pt x="69" y="103"/>
                  <a:pt x="70" y="101"/>
                </a:cubicBezTo>
                <a:cubicBezTo>
                  <a:pt x="74" y="97"/>
                  <a:pt x="77" y="94"/>
                  <a:pt x="78" y="89"/>
                </a:cubicBezTo>
                <a:cubicBezTo>
                  <a:pt x="78" y="86"/>
                  <a:pt x="78" y="83"/>
                  <a:pt x="79" y="81"/>
                </a:cubicBezTo>
                <a:cubicBezTo>
                  <a:pt x="79" y="80"/>
                  <a:pt x="80" y="78"/>
                  <a:pt x="81" y="77"/>
                </a:cubicBezTo>
                <a:cubicBezTo>
                  <a:pt x="82" y="76"/>
                  <a:pt x="84" y="76"/>
                  <a:pt x="85" y="75"/>
                </a:cubicBezTo>
                <a:cubicBezTo>
                  <a:pt x="87" y="75"/>
                  <a:pt x="89" y="73"/>
                  <a:pt x="91" y="72"/>
                </a:cubicBezTo>
                <a:cubicBezTo>
                  <a:pt x="93" y="71"/>
                  <a:pt x="94" y="69"/>
                  <a:pt x="96" y="68"/>
                </a:cubicBezTo>
                <a:cubicBezTo>
                  <a:pt x="98" y="67"/>
                  <a:pt x="100" y="66"/>
                  <a:pt x="102" y="68"/>
                </a:cubicBezTo>
                <a:cubicBezTo>
                  <a:pt x="103" y="68"/>
                  <a:pt x="103" y="69"/>
                  <a:pt x="104" y="69"/>
                </a:cubicBezTo>
                <a:cubicBezTo>
                  <a:pt x="105" y="70"/>
                  <a:pt x="107" y="70"/>
                  <a:pt x="108" y="69"/>
                </a:cubicBezTo>
                <a:cubicBezTo>
                  <a:pt x="110" y="68"/>
                  <a:pt x="109" y="65"/>
                  <a:pt x="107" y="65"/>
                </a:cubicBezTo>
                <a:cubicBezTo>
                  <a:pt x="106" y="63"/>
                  <a:pt x="103" y="66"/>
                  <a:pt x="102" y="63"/>
                </a:cubicBezTo>
                <a:cubicBezTo>
                  <a:pt x="102" y="62"/>
                  <a:pt x="102" y="61"/>
                  <a:pt x="102" y="61"/>
                </a:cubicBezTo>
                <a:cubicBezTo>
                  <a:pt x="102" y="59"/>
                  <a:pt x="103" y="59"/>
                  <a:pt x="104" y="58"/>
                </a:cubicBezTo>
                <a:cubicBezTo>
                  <a:pt x="105" y="55"/>
                  <a:pt x="107" y="53"/>
                  <a:pt x="110" y="51"/>
                </a:cubicBezTo>
                <a:cubicBezTo>
                  <a:pt x="112" y="50"/>
                  <a:pt x="114" y="47"/>
                  <a:pt x="116" y="45"/>
                </a:cubicBezTo>
                <a:cubicBezTo>
                  <a:pt x="117" y="43"/>
                  <a:pt x="120" y="41"/>
                  <a:pt x="121" y="38"/>
                </a:cubicBezTo>
                <a:cubicBezTo>
                  <a:pt x="122" y="36"/>
                  <a:pt x="122" y="33"/>
                  <a:pt x="123" y="31"/>
                </a:cubicBezTo>
                <a:cubicBezTo>
                  <a:pt x="124" y="29"/>
                  <a:pt x="126" y="28"/>
                  <a:pt x="128" y="27"/>
                </a:cubicBezTo>
                <a:cubicBezTo>
                  <a:pt x="130" y="26"/>
                  <a:pt x="130" y="25"/>
                  <a:pt x="129" y="23"/>
                </a:cubicBezTo>
                <a:cubicBezTo>
                  <a:pt x="128" y="22"/>
                  <a:pt x="127" y="21"/>
                  <a:pt x="127" y="19"/>
                </a:cubicBezTo>
                <a:cubicBezTo>
                  <a:pt x="127" y="19"/>
                  <a:pt x="127" y="17"/>
                  <a:pt x="127" y="17"/>
                </a:cubicBezTo>
                <a:cubicBezTo>
                  <a:pt x="127" y="17"/>
                  <a:pt x="127" y="17"/>
                  <a:pt x="127" y="17"/>
                </a:cubicBezTo>
                <a:cubicBezTo>
                  <a:pt x="127" y="16"/>
                  <a:pt x="127" y="17"/>
                  <a:pt x="127" y="17"/>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41" name="Freeform 375">
            <a:extLst>
              <a:ext uri="{FF2B5EF4-FFF2-40B4-BE49-F238E27FC236}">
                <a16:creationId xmlns:a16="http://schemas.microsoft.com/office/drawing/2014/main" id="{E1A3A5A7-E0BA-2D5F-9E06-B9DE24ACEDD7}"/>
              </a:ext>
            </a:extLst>
          </p:cNvPr>
          <p:cNvSpPr/>
          <p:nvPr>
            <p:custDataLst>
              <p:tags r:id="rId83"/>
            </p:custDataLst>
          </p:nvPr>
        </p:nvSpPr>
        <p:spPr bwMode="auto">
          <a:xfrm>
            <a:off x="7746762" y="4758390"/>
            <a:ext cx="13015" cy="14015"/>
          </a:xfrm>
          <a:custGeom>
            <a:avLst/>
            <a:gdLst>
              <a:gd name="T0" fmla="*/ 10 w 11"/>
              <a:gd name="T1" fmla="*/ 6 h 12"/>
              <a:gd name="T2" fmla="*/ 7 w 11"/>
              <a:gd name="T3" fmla="*/ 4 h 12"/>
              <a:gd name="T4" fmla="*/ 8 w 11"/>
              <a:gd name="T5" fmla="*/ 2 h 12"/>
              <a:gd name="T6" fmla="*/ 4 w 11"/>
              <a:gd name="T7" fmla="*/ 1 h 12"/>
              <a:gd name="T8" fmla="*/ 3 w 11"/>
              <a:gd name="T9" fmla="*/ 6 h 12"/>
              <a:gd name="T10" fmla="*/ 1 w 11"/>
              <a:gd name="T11" fmla="*/ 9 h 12"/>
              <a:gd name="T12" fmla="*/ 0 w 11"/>
              <a:gd name="T13" fmla="*/ 11 h 12"/>
              <a:gd name="T14" fmla="*/ 4 w 11"/>
              <a:gd name="T15" fmla="*/ 10 h 12"/>
              <a:gd name="T16" fmla="*/ 10 w 11"/>
              <a:gd name="T17" fmla="*/ 9 h 12"/>
              <a:gd name="T18" fmla="*/ 9 w 11"/>
              <a:gd name="T19" fmla="*/ 6 h 12"/>
              <a:gd name="T20" fmla="*/ 10 w 11"/>
              <a:gd name="T21" fmla="*/ 6 h 12"/>
              <a:gd name="T22" fmla="*/ 10 w 11"/>
              <a:gd name="T2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2">
                <a:moveTo>
                  <a:pt x="10" y="6"/>
                </a:moveTo>
                <a:cubicBezTo>
                  <a:pt x="9" y="6"/>
                  <a:pt x="7" y="5"/>
                  <a:pt x="7" y="4"/>
                </a:cubicBezTo>
                <a:cubicBezTo>
                  <a:pt x="7" y="3"/>
                  <a:pt x="10" y="3"/>
                  <a:pt x="8" y="2"/>
                </a:cubicBezTo>
                <a:cubicBezTo>
                  <a:pt x="7" y="1"/>
                  <a:pt x="5" y="0"/>
                  <a:pt x="4" y="1"/>
                </a:cubicBezTo>
                <a:cubicBezTo>
                  <a:pt x="3" y="2"/>
                  <a:pt x="4" y="5"/>
                  <a:pt x="3" y="6"/>
                </a:cubicBezTo>
                <a:cubicBezTo>
                  <a:pt x="2" y="7"/>
                  <a:pt x="1" y="8"/>
                  <a:pt x="1" y="9"/>
                </a:cubicBezTo>
                <a:cubicBezTo>
                  <a:pt x="0" y="9"/>
                  <a:pt x="0" y="11"/>
                  <a:pt x="0" y="11"/>
                </a:cubicBezTo>
                <a:cubicBezTo>
                  <a:pt x="1" y="12"/>
                  <a:pt x="4" y="10"/>
                  <a:pt x="4" y="10"/>
                </a:cubicBezTo>
                <a:cubicBezTo>
                  <a:pt x="6" y="9"/>
                  <a:pt x="8" y="10"/>
                  <a:pt x="10" y="9"/>
                </a:cubicBezTo>
                <a:cubicBezTo>
                  <a:pt x="11" y="8"/>
                  <a:pt x="11" y="6"/>
                  <a:pt x="9" y="6"/>
                </a:cubicBezTo>
                <a:cubicBezTo>
                  <a:pt x="9" y="6"/>
                  <a:pt x="9" y="6"/>
                  <a:pt x="10" y="6"/>
                </a:cubicBezTo>
                <a:cubicBezTo>
                  <a:pt x="8" y="6"/>
                  <a:pt x="10" y="6"/>
                  <a:pt x="10" y="6"/>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42" name="Freeform 380">
            <a:extLst>
              <a:ext uri="{FF2B5EF4-FFF2-40B4-BE49-F238E27FC236}">
                <a16:creationId xmlns:a16="http://schemas.microsoft.com/office/drawing/2014/main" id="{E9F2AACD-3B3D-2BE7-A57C-2AC290494821}"/>
              </a:ext>
            </a:extLst>
          </p:cNvPr>
          <p:cNvSpPr/>
          <p:nvPr>
            <p:custDataLst>
              <p:tags r:id="rId84"/>
            </p:custDataLst>
          </p:nvPr>
        </p:nvSpPr>
        <p:spPr bwMode="auto">
          <a:xfrm>
            <a:off x="7967002" y="4832470"/>
            <a:ext cx="6006" cy="6006"/>
          </a:xfrm>
          <a:custGeom>
            <a:avLst/>
            <a:gdLst>
              <a:gd name="T0" fmla="*/ 1 w 5"/>
              <a:gd name="T1" fmla="*/ 2 h 5"/>
              <a:gd name="T2" fmla="*/ 1 w 5"/>
              <a:gd name="T3" fmla="*/ 5 h 5"/>
              <a:gd name="T4" fmla="*/ 4 w 5"/>
              <a:gd name="T5" fmla="*/ 4 h 5"/>
              <a:gd name="T6" fmla="*/ 4 w 5"/>
              <a:gd name="T7" fmla="*/ 1 h 5"/>
              <a:gd name="T8" fmla="*/ 1 w 5"/>
              <a:gd name="T9" fmla="*/ 3 h 5"/>
              <a:gd name="T10" fmla="*/ 1 w 5"/>
              <a:gd name="T11" fmla="*/ 2 h 5"/>
              <a:gd name="T12" fmla="*/ 1 w 5"/>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1" y="2"/>
                </a:moveTo>
                <a:cubicBezTo>
                  <a:pt x="1" y="2"/>
                  <a:pt x="0" y="4"/>
                  <a:pt x="1" y="5"/>
                </a:cubicBezTo>
                <a:cubicBezTo>
                  <a:pt x="1" y="5"/>
                  <a:pt x="3" y="4"/>
                  <a:pt x="4" y="4"/>
                </a:cubicBezTo>
                <a:cubicBezTo>
                  <a:pt x="5" y="3"/>
                  <a:pt x="5" y="2"/>
                  <a:pt x="4" y="1"/>
                </a:cubicBezTo>
                <a:cubicBezTo>
                  <a:pt x="2" y="0"/>
                  <a:pt x="1" y="2"/>
                  <a:pt x="1" y="3"/>
                </a:cubicBezTo>
                <a:cubicBezTo>
                  <a:pt x="1" y="2"/>
                  <a:pt x="1" y="2"/>
                  <a:pt x="1" y="2"/>
                </a:cubicBezTo>
                <a:cubicBezTo>
                  <a:pt x="1" y="2"/>
                  <a:pt x="1" y="2"/>
                  <a:pt x="1" y="2"/>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43" name="Freeform 389">
            <a:extLst>
              <a:ext uri="{FF2B5EF4-FFF2-40B4-BE49-F238E27FC236}">
                <a16:creationId xmlns:a16="http://schemas.microsoft.com/office/drawing/2014/main" id="{80A79890-3E14-526E-1F68-53C8EC1E0B29}"/>
              </a:ext>
            </a:extLst>
          </p:cNvPr>
          <p:cNvSpPr/>
          <p:nvPr>
            <p:custDataLst>
              <p:tags r:id="rId85"/>
            </p:custDataLst>
          </p:nvPr>
        </p:nvSpPr>
        <p:spPr bwMode="auto">
          <a:xfrm>
            <a:off x="7848873" y="4466072"/>
            <a:ext cx="118128" cy="168183"/>
          </a:xfrm>
          <a:custGeom>
            <a:avLst/>
            <a:gdLst>
              <a:gd name="T0" fmla="*/ 95 w 101"/>
              <a:gd name="T1" fmla="*/ 64 h 144"/>
              <a:gd name="T2" fmla="*/ 86 w 101"/>
              <a:gd name="T3" fmla="*/ 67 h 144"/>
              <a:gd name="T4" fmla="*/ 71 w 101"/>
              <a:gd name="T5" fmla="*/ 71 h 144"/>
              <a:gd name="T6" fmla="*/ 55 w 101"/>
              <a:gd name="T7" fmla="*/ 56 h 144"/>
              <a:gd name="T8" fmla="*/ 52 w 101"/>
              <a:gd name="T9" fmla="*/ 45 h 144"/>
              <a:gd name="T10" fmla="*/ 47 w 101"/>
              <a:gd name="T11" fmla="*/ 43 h 144"/>
              <a:gd name="T12" fmla="*/ 49 w 101"/>
              <a:gd name="T13" fmla="*/ 50 h 144"/>
              <a:gd name="T14" fmla="*/ 42 w 101"/>
              <a:gd name="T15" fmla="*/ 50 h 144"/>
              <a:gd name="T16" fmla="*/ 36 w 101"/>
              <a:gd name="T17" fmla="*/ 45 h 144"/>
              <a:gd name="T18" fmla="*/ 36 w 101"/>
              <a:gd name="T19" fmla="*/ 38 h 144"/>
              <a:gd name="T20" fmla="*/ 30 w 101"/>
              <a:gd name="T21" fmla="*/ 29 h 144"/>
              <a:gd name="T22" fmla="*/ 28 w 101"/>
              <a:gd name="T23" fmla="*/ 21 h 144"/>
              <a:gd name="T24" fmla="*/ 23 w 101"/>
              <a:gd name="T25" fmla="*/ 17 h 144"/>
              <a:gd name="T26" fmla="*/ 16 w 101"/>
              <a:gd name="T27" fmla="*/ 13 h 144"/>
              <a:gd name="T28" fmla="*/ 11 w 101"/>
              <a:gd name="T29" fmla="*/ 12 h 144"/>
              <a:gd name="T30" fmla="*/ 6 w 101"/>
              <a:gd name="T31" fmla="*/ 6 h 144"/>
              <a:gd name="T32" fmla="*/ 6 w 101"/>
              <a:gd name="T33" fmla="*/ 2 h 144"/>
              <a:gd name="T34" fmla="*/ 0 w 101"/>
              <a:gd name="T35" fmla="*/ 2 h 144"/>
              <a:gd name="T36" fmla="*/ 6 w 101"/>
              <a:gd name="T37" fmla="*/ 11 h 144"/>
              <a:gd name="T38" fmla="*/ 9 w 101"/>
              <a:gd name="T39" fmla="*/ 17 h 144"/>
              <a:gd name="T40" fmla="*/ 14 w 101"/>
              <a:gd name="T41" fmla="*/ 21 h 144"/>
              <a:gd name="T42" fmla="*/ 15 w 101"/>
              <a:gd name="T43" fmla="*/ 22 h 144"/>
              <a:gd name="T44" fmla="*/ 20 w 101"/>
              <a:gd name="T45" fmla="*/ 31 h 144"/>
              <a:gd name="T46" fmla="*/ 25 w 101"/>
              <a:gd name="T47" fmla="*/ 38 h 144"/>
              <a:gd name="T48" fmla="*/ 29 w 101"/>
              <a:gd name="T49" fmla="*/ 38 h 144"/>
              <a:gd name="T50" fmla="*/ 29 w 101"/>
              <a:gd name="T51" fmla="*/ 43 h 144"/>
              <a:gd name="T52" fmla="*/ 29 w 101"/>
              <a:gd name="T53" fmla="*/ 48 h 144"/>
              <a:gd name="T54" fmla="*/ 35 w 101"/>
              <a:gd name="T55" fmla="*/ 51 h 144"/>
              <a:gd name="T56" fmla="*/ 34 w 101"/>
              <a:gd name="T57" fmla="*/ 57 h 144"/>
              <a:gd name="T58" fmla="*/ 37 w 101"/>
              <a:gd name="T59" fmla="*/ 63 h 144"/>
              <a:gd name="T60" fmla="*/ 36 w 101"/>
              <a:gd name="T61" fmla="*/ 79 h 144"/>
              <a:gd name="T62" fmla="*/ 27 w 101"/>
              <a:gd name="T63" fmla="*/ 91 h 144"/>
              <a:gd name="T64" fmla="*/ 20 w 101"/>
              <a:gd name="T65" fmla="*/ 95 h 144"/>
              <a:gd name="T66" fmla="*/ 25 w 101"/>
              <a:gd name="T67" fmla="*/ 103 h 144"/>
              <a:gd name="T68" fmla="*/ 42 w 101"/>
              <a:gd name="T69" fmla="*/ 113 h 144"/>
              <a:gd name="T70" fmla="*/ 41 w 101"/>
              <a:gd name="T71" fmla="*/ 127 h 144"/>
              <a:gd name="T72" fmla="*/ 35 w 101"/>
              <a:gd name="T73" fmla="*/ 138 h 144"/>
              <a:gd name="T74" fmla="*/ 41 w 101"/>
              <a:gd name="T75" fmla="*/ 140 h 144"/>
              <a:gd name="T76" fmla="*/ 46 w 101"/>
              <a:gd name="T77" fmla="*/ 143 h 144"/>
              <a:gd name="T78" fmla="*/ 53 w 101"/>
              <a:gd name="T79" fmla="*/ 138 h 144"/>
              <a:gd name="T80" fmla="*/ 62 w 101"/>
              <a:gd name="T81" fmla="*/ 127 h 144"/>
              <a:gd name="T82" fmla="*/ 69 w 101"/>
              <a:gd name="T83" fmla="*/ 118 h 144"/>
              <a:gd name="T84" fmla="*/ 75 w 101"/>
              <a:gd name="T85" fmla="*/ 105 h 144"/>
              <a:gd name="T86" fmla="*/ 76 w 101"/>
              <a:gd name="T87" fmla="*/ 95 h 144"/>
              <a:gd name="T88" fmla="*/ 86 w 101"/>
              <a:gd name="T89" fmla="*/ 93 h 144"/>
              <a:gd name="T90" fmla="*/ 92 w 101"/>
              <a:gd name="T91" fmla="*/ 93 h 144"/>
              <a:gd name="T92" fmla="*/ 95 w 101"/>
              <a:gd name="T93" fmla="*/ 85 h 144"/>
              <a:gd name="T94" fmla="*/ 97 w 101"/>
              <a:gd name="T95" fmla="*/ 65 h 144"/>
              <a:gd name="T96" fmla="*/ 97 w 101"/>
              <a:gd name="T97" fmla="*/ 6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0" h="144">
                <a:moveTo>
                  <a:pt x="97" y="65"/>
                </a:moveTo>
                <a:cubicBezTo>
                  <a:pt x="96" y="65"/>
                  <a:pt x="96" y="64"/>
                  <a:pt x="95" y="64"/>
                </a:cubicBezTo>
                <a:cubicBezTo>
                  <a:pt x="94" y="63"/>
                  <a:pt x="93" y="63"/>
                  <a:pt x="92" y="63"/>
                </a:cubicBezTo>
                <a:cubicBezTo>
                  <a:pt x="89" y="64"/>
                  <a:pt x="88" y="66"/>
                  <a:pt x="86" y="67"/>
                </a:cubicBezTo>
                <a:cubicBezTo>
                  <a:pt x="84" y="69"/>
                  <a:pt x="81" y="70"/>
                  <a:pt x="79" y="71"/>
                </a:cubicBezTo>
                <a:cubicBezTo>
                  <a:pt x="76" y="72"/>
                  <a:pt x="74" y="72"/>
                  <a:pt x="71" y="71"/>
                </a:cubicBezTo>
                <a:cubicBezTo>
                  <a:pt x="66" y="69"/>
                  <a:pt x="60" y="68"/>
                  <a:pt x="57" y="63"/>
                </a:cubicBezTo>
                <a:cubicBezTo>
                  <a:pt x="56" y="61"/>
                  <a:pt x="55" y="59"/>
                  <a:pt x="55" y="56"/>
                </a:cubicBezTo>
                <a:cubicBezTo>
                  <a:pt x="54" y="53"/>
                  <a:pt x="55" y="51"/>
                  <a:pt x="53" y="48"/>
                </a:cubicBezTo>
                <a:cubicBezTo>
                  <a:pt x="52" y="47"/>
                  <a:pt x="52" y="47"/>
                  <a:pt x="52" y="45"/>
                </a:cubicBezTo>
                <a:cubicBezTo>
                  <a:pt x="52" y="44"/>
                  <a:pt x="51" y="44"/>
                  <a:pt x="50" y="43"/>
                </a:cubicBezTo>
                <a:cubicBezTo>
                  <a:pt x="49" y="43"/>
                  <a:pt x="47" y="41"/>
                  <a:pt x="47" y="43"/>
                </a:cubicBezTo>
                <a:cubicBezTo>
                  <a:pt x="47" y="44"/>
                  <a:pt x="48" y="45"/>
                  <a:pt x="48" y="46"/>
                </a:cubicBezTo>
                <a:cubicBezTo>
                  <a:pt x="49" y="47"/>
                  <a:pt x="49" y="48"/>
                  <a:pt x="49" y="50"/>
                </a:cubicBezTo>
                <a:cubicBezTo>
                  <a:pt x="49" y="51"/>
                  <a:pt x="50" y="54"/>
                  <a:pt x="48" y="54"/>
                </a:cubicBezTo>
                <a:cubicBezTo>
                  <a:pt x="45" y="54"/>
                  <a:pt x="44" y="51"/>
                  <a:pt x="42" y="50"/>
                </a:cubicBezTo>
                <a:cubicBezTo>
                  <a:pt x="41" y="50"/>
                  <a:pt x="37" y="49"/>
                  <a:pt x="37" y="48"/>
                </a:cubicBezTo>
                <a:cubicBezTo>
                  <a:pt x="36" y="47"/>
                  <a:pt x="37" y="46"/>
                  <a:pt x="36" y="45"/>
                </a:cubicBezTo>
                <a:cubicBezTo>
                  <a:pt x="36" y="44"/>
                  <a:pt x="34" y="43"/>
                  <a:pt x="35" y="41"/>
                </a:cubicBezTo>
                <a:cubicBezTo>
                  <a:pt x="35" y="40"/>
                  <a:pt x="36" y="40"/>
                  <a:pt x="36" y="38"/>
                </a:cubicBezTo>
                <a:cubicBezTo>
                  <a:pt x="35" y="37"/>
                  <a:pt x="34" y="36"/>
                  <a:pt x="33" y="35"/>
                </a:cubicBezTo>
                <a:cubicBezTo>
                  <a:pt x="31" y="34"/>
                  <a:pt x="31" y="32"/>
                  <a:pt x="30" y="29"/>
                </a:cubicBezTo>
                <a:cubicBezTo>
                  <a:pt x="29" y="28"/>
                  <a:pt x="28" y="27"/>
                  <a:pt x="28" y="26"/>
                </a:cubicBezTo>
                <a:cubicBezTo>
                  <a:pt x="28" y="24"/>
                  <a:pt x="28" y="23"/>
                  <a:pt x="28" y="21"/>
                </a:cubicBezTo>
                <a:cubicBezTo>
                  <a:pt x="28" y="21"/>
                  <a:pt x="28" y="17"/>
                  <a:pt x="27" y="18"/>
                </a:cubicBezTo>
                <a:cubicBezTo>
                  <a:pt x="26" y="19"/>
                  <a:pt x="24" y="20"/>
                  <a:pt x="23" y="17"/>
                </a:cubicBezTo>
                <a:cubicBezTo>
                  <a:pt x="22" y="16"/>
                  <a:pt x="22" y="13"/>
                  <a:pt x="20" y="13"/>
                </a:cubicBezTo>
                <a:cubicBezTo>
                  <a:pt x="19" y="13"/>
                  <a:pt x="18" y="13"/>
                  <a:pt x="16" y="13"/>
                </a:cubicBezTo>
                <a:cubicBezTo>
                  <a:pt x="15" y="13"/>
                  <a:pt x="14" y="12"/>
                  <a:pt x="14" y="11"/>
                </a:cubicBezTo>
                <a:cubicBezTo>
                  <a:pt x="12" y="9"/>
                  <a:pt x="12" y="10"/>
                  <a:pt x="11" y="12"/>
                </a:cubicBezTo>
                <a:cubicBezTo>
                  <a:pt x="11" y="13"/>
                  <a:pt x="8" y="11"/>
                  <a:pt x="7" y="10"/>
                </a:cubicBezTo>
                <a:cubicBezTo>
                  <a:pt x="7" y="9"/>
                  <a:pt x="7" y="8"/>
                  <a:pt x="6" y="6"/>
                </a:cubicBezTo>
                <a:cubicBezTo>
                  <a:pt x="5" y="5"/>
                  <a:pt x="5" y="4"/>
                  <a:pt x="6" y="3"/>
                </a:cubicBezTo>
                <a:cubicBezTo>
                  <a:pt x="6" y="3"/>
                  <a:pt x="7" y="2"/>
                  <a:pt x="6" y="2"/>
                </a:cubicBezTo>
                <a:cubicBezTo>
                  <a:pt x="6" y="1"/>
                  <a:pt x="5" y="1"/>
                  <a:pt x="4" y="1"/>
                </a:cubicBezTo>
                <a:cubicBezTo>
                  <a:pt x="3" y="1"/>
                  <a:pt x="0" y="0"/>
                  <a:pt x="0" y="2"/>
                </a:cubicBezTo>
                <a:cubicBezTo>
                  <a:pt x="1" y="5"/>
                  <a:pt x="3" y="6"/>
                  <a:pt x="4" y="8"/>
                </a:cubicBezTo>
                <a:cubicBezTo>
                  <a:pt x="5" y="8"/>
                  <a:pt x="5" y="10"/>
                  <a:pt x="6" y="11"/>
                </a:cubicBezTo>
                <a:cubicBezTo>
                  <a:pt x="6" y="12"/>
                  <a:pt x="7" y="12"/>
                  <a:pt x="8" y="13"/>
                </a:cubicBezTo>
                <a:cubicBezTo>
                  <a:pt x="9" y="14"/>
                  <a:pt x="9" y="16"/>
                  <a:pt x="9" y="17"/>
                </a:cubicBezTo>
                <a:cubicBezTo>
                  <a:pt x="9" y="18"/>
                  <a:pt x="10" y="19"/>
                  <a:pt x="10" y="21"/>
                </a:cubicBezTo>
                <a:cubicBezTo>
                  <a:pt x="11" y="22"/>
                  <a:pt x="13" y="23"/>
                  <a:pt x="14" y="21"/>
                </a:cubicBezTo>
                <a:cubicBezTo>
                  <a:pt x="14" y="19"/>
                  <a:pt x="16" y="19"/>
                  <a:pt x="17" y="21"/>
                </a:cubicBezTo>
                <a:cubicBezTo>
                  <a:pt x="17" y="22"/>
                  <a:pt x="16" y="21"/>
                  <a:pt x="15" y="22"/>
                </a:cubicBezTo>
                <a:cubicBezTo>
                  <a:pt x="15" y="22"/>
                  <a:pt x="15" y="24"/>
                  <a:pt x="16" y="25"/>
                </a:cubicBezTo>
                <a:cubicBezTo>
                  <a:pt x="16" y="28"/>
                  <a:pt x="18" y="29"/>
                  <a:pt x="20" y="31"/>
                </a:cubicBezTo>
                <a:cubicBezTo>
                  <a:pt x="21" y="33"/>
                  <a:pt x="20" y="36"/>
                  <a:pt x="22" y="37"/>
                </a:cubicBezTo>
                <a:cubicBezTo>
                  <a:pt x="23" y="38"/>
                  <a:pt x="24" y="38"/>
                  <a:pt x="25" y="38"/>
                </a:cubicBezTo>
                <a:cubicBezTo>
                  <a:pt x="26" y="37"/>
                  <a:pt x="25" y="35"/>
                  <a:pt x="26" y="35"/>
                </a:cubicBezTo>
                <a:cubicBezTo>
                  <a:pt x="28" y="34"/>
                  <a:pt x="30" y="37"/>
                  <a:pt x="29" y="38"/>
                </a:cubicBezTo>
                <a:cubicBezTo>
                  <a:pt x="29" y="39"/>
                  <a:pt x="28" y="40"/>
                  <a:pt x="28" y="41"/>
                </a:cubicBezTo>
                <a:cubicBezTo>
                  <a:pt x="28" y="41"/>
                  <a:pt x="29" y="42"/>
                  <a:pt x="29" y="43"/>
                </a:cubicBezTo>
                <a:cubicBezTo>
                  <a:pt x="29" y="44"/>
                  <a:pt x="26" y="42"/>
                  <a:pt x="26" y="43"/>
                </a:cubicBezTo>
                <a:cubicBezTo>
                  <a:pt x="26" y="45"/>
                  <a:pt x="29" y="47"/>
                  <a:pt x="29" y="48"/>
                </a:cubicBezTo>
                <a:cubicBezTo>
                  <a:pt x="30" y="50"/>
                  <a:pt x="31" y="53"/>
                  <a:pt x="33" y="53"/>
                </a:cubicBezTo>
                <a:cubicBezTo>
                  <a:pt x="34" y="52"/>
                  <a:pt x="34" y="49"/>
                  <a:pt x="35" y="51"/>
                </a:cubicBezTo>
                <a:cubicBezTo>
                  <a:pt x="37" y="51"/>
                  <a:pt x="39" y="53"/>
                  <a:pt x="37" y="55"/>
                </a:cubicBezTo>
                <a:cubicBezTo>
                  <a:pt x="37" y="56"/>
                  <a:pt x="33" y="55"/>
                  <a:pt x="34" y="57"/>
                </a:cubicBezTo>
                <a:cubicBezTo>
                  <a:pt x="34" y="58"/>
                  <a:pt x="34" y="59"/>
                  <a:pt x="35" y="60"/>
                </a:cubicBezTo>
                <a:cubicBezTo>
                  <a:pt x="36" y="61"/>
                  <a:pt x="36" y="62"/>
                  <a:pt x="37" y="63"/>
                </a:cubicBezTo>
                <a:cubicBezTo>
                  <a:pt x="38" y="65"/>
                  <a:pt x="39" y="69"/>
                  <a:pt x="38" y="71"/>
                </a:cubicBezTo>
                <a:cubicBezTo>
                  <a:pt x="37" y="74"/>
                  <a:pt x="36" y="76"/>
                  <a:pt x="36" y="79"/>
                </a:cubicBezTo>
                <a:cubicBezTo>
                  <a:pt x="35" y="82"/>
                  <a:pt x="35" y="84"/>
                  <a:pt x="33" y="87"/>
                </a:cubicBezTo>
                <a:cubicBezTo>
                  <a:pt x="32" y="89"/>
                  <a:pt x="29" y="90"/>
                  <a:pt x="27" y="91"/>
                </a:cubicBezTo>
                <a:cubicBezTo>
                  <a:pt x="26" y="92"/>
                  <a:pt x="25" y="93"/>
                  <a:pt x="24" y="94"/>
                </a:cubicBezTo>
                <a:cubicBezTo>
                  <a:pt x="23" y="94"/>
                  <a:pt x="21" y="95"/>
                  <a:pt x="20" y="95"/>
                </a:cubicBezTo>
                <a:cubicBezTo>
                  <a:pt x="19" y="97"/>
                  <a:pt x="20" y="100"/>
                  <a:pt x="21" y="101"/>
                </a:cubicBezTo>
                <a:cubicBezTo>
                  <a:pt x="22" y="102"/>
                  <a:pt x="23" y="102"/>
                  <a:pt x="25" y="103"/>
                </a:cubicBezTo>
                <a:cubicBezTo>
                  <a:pt x="26" y="103"/>
                  <a:pt x="27" y="104"/>
                  <a:pt x="28" y="105"/>
                </a:cubicBezTo>
                <a:cubicBezTo>
                  <a:pt x="33" y="109"/>
                  <a:pt x="39" y="109"/>
                  <a:pt x="42" y="113"/>
                </a:cubicBezTo>
                <a:cubicBezTo>
                  <a:pt x="44" y="115"/>
                  <a:pt x="44" y="118"/>
                  <a:pt x="44" y="120"/>
                </a:cubicBezTo>
                <a:cubicBezTo>
                  <a:pt x="44" y="123"/>
                  <a:pt x="43" y="125"/>
                  <a:pt x="41" y="127"/>
                </a:cubicBezTo>
                <a:cubicBezTo>
                  <a:pt x="40" y="129"/>
                  <a:pt x="39" y="132"/>
                  <a:pt x="37" y="134"/>
                </a:cubicBezTo>
                <a:cubicBezTo>
                  <a:pt x="36" y="135"/>
                  <a:pt x="33" y="137"/>
                  <a:pt x="35" y="138"/>
                </a:cubicBezTo>
                <a:cubicBezTo>
                  <a:pt x="36" y="139"/>
                  <a:pt x="37" y="139"/>
                  <a:pt x="38" y="139"/>
                </a:cubicBezTo>
                <a:cubicBezTo>
                  <a:pt x="39" y="139"/>
                  <a:pt x="40" y="140"/>
                  <a:pt x="41" y="140"/>
                </a:cubicBezTo>
                <a:cubicBezTo>
                  <a:pt x="42" y="140"/>
                  <a:pt x="43" y="139"/>
                  <a:pt x="43" y="141"/>
                </a:cubicBezTo>
                <a:cubicBezTo>
                  <a:pt x="43" y="143"/>
                  <a:pt x="45" y="144"/>
                  <a:pt x="46" y="143"/>
                </a:cubicBezTo>
                <a:cubicBezTo>
                  <a:pt x="47" y="142"/>
                  <a:pt x="48" y="141"/>
                  <a:pt x="49" y="140"/>
                </a:cubicBezTo>
                <a:cubicBezTo>
                  <a:pt x="50" y="139"/>
                  <a:pt x="52" y="138"/>
                  <a:pt x="53" y="138"/>
                </a:cubicBezTo>
                <a:cubicBezTo>
                  <a:pt x="56" y="137"/>
                  <a:pt x="57" y="136"/>
                  <a:pt x="58" y="134"/>
                </a:cubicBezTo>
                <a:cubicBezTo>
                  <a:pt x="59" y="131"/>
                  <a:pt x="60" y="129"/>
                  <a:pt x="62" y="127"/>
                </a:cubicBezTo>
                <a:cubicBezTo>
                  <a:pt x="64" y="126"/>
                  <a:pt x="66" y="125"/>
                  <a:pt x="67" y="123"/>
                </a:cubicBezTo>
                <a:cubicBezTo>
                  <a:pt x="68" y="122"/>
                  <a:pt x="68" y="119"/>
                  <a:pt x="69" y="118"/>
                </a:cubicBezTo>
                <a:cubicBezTo>
                  <a:pt x="71" y="116"/>
                  <a:pt x="72" y="114"/>
                  <a:pt x="73" y="111"/>
                </a:cubicBezTo>
                <a:cubicBezTo>
                  <a:pt x="74" y="110"/>
                  <a:pt x="76" y="107"/>
                  <a:pt x="75" y="105"/>
                </a:cubicBezTo>
                <a:cubicBezTo>
                  <a:pt x="75" y="103"/>
                  <a:pt x="73" y="102"/>
                  <a:pt x="73" y="100"/>
                </a:cubicBezTo>
                <a:cubicBezTo>
                  <a:pt x="73" y="98"/>
                  <a:pt x="75" y="96"/>
                  <a:pt x="76" y="95"/>
                </a:cubicBezTo>
                <a:cubicBezTo>
                  <a:pt x="78" y="93"/>
                  <a:pt x="80" y="93"/>
                  <a:pt x="83" y="93"/>
                </a:cubicBezTo>
                <a:cubicBezTo>
                  <a:pt x="84" y="93"/>
                  <a:pt x="85" y="93"/>
                  <a:pt x="86" y="93"/>
                </a:cubicBezTo>
                <a:cubicBezTo>
                  <a:pt x="87" y="93"/>
                  <a:pt x="88" y="94"/>
                  <a:pt x="88" y="95"/>
                </a:cubicBezTo>
                <a:cubicBezTo>
                  <a:pt x="90" y="95"/>
                  <a:pt x="91" y="94"/>
                  <a:pt x="92" y="93"/>
                </a:cubicBezTo>
                <a:cubicBezTo>
                  <a:pt x="93" y="92"/>
                  <a:pt x="91" y="92"/>
                  <a:pt x="90" y="91"/>
                </a:cubicBezTo>
                <a:cubicBezTo>
                  <a:pt x="88" y="90"/>
                  <a:pt x="94" y="86"/>
                  <a:pt x="95" y="85"/>
                </a:cubicBezTo>
                <a:cubicBezTo>
                  <a:pt x="98" y="82"/>
                  <a:pt x="95" y="76"/>
                  <a:pt x="96" y="72"/>
                </a:cubicBezTo>
                <a:cubicBezTo>
                  <a:pt x="97" y="70"/>
                  <a:pt x="101" y="66"/>
                  <a:pt x="97" y="65"/>
                </a:cubicBezTo>
                <a:cubicBezTo>
                  <a:pt x="97" y="65"/>
                  <a:pt x="97" y="65"/>
                  <a:pt x="97" y="65"/>
                </a:cubicBezTo>
                <a:cubicBezTo>
                  <a:pt x="96" y="65"/>
                  <a:pt x="97" y="65"/>
                  <a:pt x="97" y="65"/>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44" name="Freeform 395">
            <a:extLst>
              <a:ext uri="{FF2B5EF4-FFF2-40B4-BE49-F238E27FC236}">
                <a16:creationId xmlns:a16="http://schemas.microsoft.com/office/drawing/2014/main" id="{B53E4D7A-8F15-DB7B-877F-CFD38B013EB2}"/>
              </a:ext>
            </a:extLst>
          </p:cNvPr>
          <p:cNvSpPr/>
          <p:nvPr>
            <p:custDataLst>
              <p:tags r:id="rId86"/>
            </p:custDataLst>
          </p:nvPr>
        </p:nvSpPr>
        <p:spPr bwMode="auto">
          <a:xfrm>
            <a:off x="4631376" y="2469903"/>
            <a:ext cx="7008" cy="4004"/>
          </a:xfrm>
          <a:custGeom>
            <a:avLst/>
            <a:gdLst>
              <a:gd name="T0" fmla="*/ 4 w 6"/>
              <a:gd name="T1" fmla="*/ 1 h 4"/>
              <a:gd name="T2" fmla="*/ 1 w 6"/>
              <a:gd name="T3" fmla="*/ 2 h 4"/>
              <a:gd name="T4" fmla="*/ 3 w 6"/>
              <a:gd name="T5" fmla="*/ 4 h 4"/>
              <a:gd name="T6" fmla="*/ 6 w 6"/>
              <a:gd name="T7" fmla="*/ 1 h 4"/>
              <a:gd name="T8" fmla="*/ 3 w 6"/>
              <a:gd name="T9" fmla="*/ 2 h 4"/>
              <a:gd name="T10" fmla="*/ 4 w 6"/>
              <a:gd name="T11" fmla="*/ 1 h 4"/>
              <a:gd name="T12" fmla="*/ 4 w 6"/>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1"/>
                </a:moveTo>
                <a:cubicBezTo>
                  <a:pt x="3" y="2"/>
                  <a:pt x="2" y="1"/>
                  <a:pt x="1" y="2"/>
                </a:cubicBezTo>
                <a:cubicBezTo>
                  <a:pt x="0" y="4"/>
                  <a:pt x="2" y="4"/>
                  <a:pt x="3" y="4"/>
                </a:cubicBezTo>
                <a:cubicBezTo>
                  <a:pt x="4" y="3"/>
                  <a:pt x="6" y="2"/>
                  <a:pt x="6" y="1"/>
                </a:cubicBezTo>
                <a:cubicBezTo>
                  <a:pt x="5" y="0"/>
                  <a:pt x="4" y="1"/>
                  <a:pt x="3" y="2"/>
                </a:cubicBezTo>
                <a:cubicBezTo>
                  <a:pt x="4" y="1"/>
                  <a:pt x="4" y="1"/>
                  <a:pt x="4" y="1"/>
                </a:cubicBezTo>
                <a:cubicBezTo>
                  <a:pt x="4" y="1"/>
                  <a:pt x="4" y="1"/>
                  <a:pt x="4" y="1"/>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45" name="Freeform 397">
            <a:extLst>
              <a:ext uri="{FF2B5EF4-FFF2-40B4-BE49-F238E27FC236}">
                <a16:creationId xmlns:a16="http://schemas.microsoft.com/office/drawing/2014/main" id="{D62FB76A-2828-E562-9DE8-9462576CC9C9}"/>
              </a:ext>
            </a:extLst>
          </p:cNvPr>
          <p:cNvSpPr/>
          <p:nvPr>
            <p:custDataLst>
              <p:tags r:id="rId87"/>
            </p:custDataLst>
          </p:nvPr>
        </p:nvSpPr>
        <p:spPr bwMode="auto">
          <a:xfrm>
            <a:off x="5142932" y="3395909"/>
            <a:ext cx="129141" cy="112122"/>
          </a:xfrm>
          <a:custGeom>
            <a:avLst/>
            <a:gdLst>
              <a:gd name="T0" fmla="*/ 105 w 111"/>
              <a:gd name="T1" fmla="*/ 87 h 96"/>
              <a:gd name="T2" fmla="*/ 100 w 111"/>
              <a:gd name="T3" fmla="*/ 82 h 96"/>
              <a:gd name="T4" fmla="*/ 97 w 111"/>
              <a:gd name="T5" fmla="*/ 76 h 96"/>
              <a:gd name="T6" fmla="*/ 91 w 111"/>
              <a:gd name="T7" fmla="*/ 72 h 96"/>
              <a:gd name="T8" fmla="*/ 84 w 111"/>
              <a:gd name="T9" fmla="*/ 66 h 96"/>
              <a:gd name="T10" fmla="*/ 80 w 111"/>
              <a:gd name="T11" fmla="*/ 60 h 96"/>
              <a:gd name="T12" fmla="*/ 74 w 111"/>
              <a:gd name="T13" fmla="*/ 55 h 96"/>
              <a:gd name="T14" fmla="*/ 67 w 111"/>
              <a:gd name="T15" fmla="*/ 52 h 96"/>
              <a:gd name="T16" fmla="*/ 63 w 111"/>
              <a:gd name="T17" fmla="*/ 52 h 96"/>
              <a:gd name="T18" fmla="*/ 61 w 111"/>
              <a:gd name="T19" fmla="*/ 50 h 96"/>
              <a:gd name="T20" fmla="*/ 57 w 111"/>
              <a:gd name="T21" fmla="*/ 44 h 96"/>
              <a:gd name="T22" fmla="*/ 55 w 111"/>
              <a:gd name="T23" fmla="*/ 44 h 96"/>
              <a:gd name="T24" fmla="*/ 56 w 111"/>
              <a:gd name="T25" fmla="*/ 47 h 96"/>
              <a:gd name="T26" fmla="*/ 55 w 111"/>
              <a:gd name="T27" fmla="*/ 49 h 96"/>
              <a:gd name="T28" fmla="*/ 53 w 111"/>
              <a:gd name="T29" fmla="*/ 48 h 96"/>
              <a:gd name="T30" fmla="*/ 50 w 111"/>
              <a:gd name="T31" fmla="*/ 42 h 96"/>
              <a:gd name="T32" fmla="*/ 48 w 111"/>
              <a:gd name="T33" fmla="*/ 40 h 96"/>
              <a:gd name="T34" fmla="*/ 47 w 111"/>
              <a:gd name="T35" fmla="*/ 35 h 96"/>
              <a:gd name="T36" fmla="*/ 45 w 111"/>
              <a:gd name="T37" fmla="*/ 32 h 96"/>
              <a:gd name="T38" fmla="*/ 44 w 111"/>
              <a:gd name="T39" fmla="*/ 27 h 96"/>
              <a:gd name="T40" fmla="*/ 43 w 111"/>
              <a:gd name="T41" fmla="*/ 19 h 96"/>
              <a:gd name="T42" fmla="*/ 41 w 111"/>
              <a:gd name="T43" fmla="*/ 10 h 96"/>
              <a:gd name="T44" fmla="*/ 35 w 111"/>
              <a:gd name="T45" fmla="*/ 0 h 96"/>
              <a:gd name="T46" fmla="*/ 30 w 111"/>
              <a:gd name="T47" fmla="*/ 7 h 96"/>
              <a:gd name="T48" fmla="*/ 23 w 111"/>
              <a:gd name="T49" fmla="*/ 10 h 96"/>
              <a:gd name="T50" fmla="*/ 18 w 111"/>
              <a:gd name="T51" fmla="*/ 15 h 96"/>
              <a:gd name="T52" fmla="*/ 11 w 111"/>
              <a:gd name="T53" fmla="*/ 17 h 96"/>
              <a:gd name="T54" fmla="*/ 7 w 111"/>
              <a:gd name="T55" fmla="*/ 29 h 96"/>
              <a:gd name="T56" fmla="*/ 4 w 111"/>
              <a:gd name="T57" fmla="*/ 37 h 96"/>
              <a:gd name="T58" fmla="*/ 1 w 111"/>
              <a:gd name="T59" fmla="*/ 46 h 96"/>
              <a:gd name="T60" fmla="*/ 0 w 111"/>
              <a:gd name="T61" fmla="*/ 55 h 96"/>
              <a:gd name="T62" fmla="*/ 1 w 111"/>
              <a:gd name="T63" fmla="*/ 63 h 96"/>
              <a:gd name="T64" fmla="*/ 5 w 111"/>
              <a:gd name="T65" fmla="*/ 63 h 96"/>
              <a:gd name="T66" fmla="*/ 9 w 111"/>
              <a:gd name="T67" fmla="*/ 63 h 96"/>
              <a:gd name="T68" fmla="*/ 12 w 111"/>
              <a:gd name="T69" fmla="*/ 61 h 96"/>
              <a:gd name="T70" fmla="*/ 16 w 111"/>
              <a:gd name="T71" fmla="*/ 62 h 96"/>
              <a:gd name="T72" fmla="*/ 19 w 111"/>
              <a:gd name="T73" fmla="*/ 59 h 96"/>
              <a:gd name="T74" fmla="*/ 25 w 111"/>
              <a:gd name="T75" fmla="*/ 54 h 96"/>
              <a:gd name="T76" fmla="*/ 30 w 111"/>
              <a:gd name="T77" fmla="*/ 58 h 96"/>
              <a:gd name="T78" fmla="*/ 36 w 111"/>
              <a:gd name="T79" fmla="*/ 59 h 96"/>
              <a:gd name="T80" fmla="*/ 42 w 111"/>
              <a:gd name="T81" fmla="*/ 57 h 96"/>
              <a:gd name="T82" fmla="*/ 46 w 111"/>
              <a:gd name="T83" fmla="*/ 59 h 96"/>
              <a:gd name="T84" fmla="*/ 50 w 111"/>
              <a:gd name="T85" fmla="*/ 59 h 96"/>
              <a:gd name="T86" fmla="*/ 55 w 111"/>
              <a:gd name="T87" fmla="*/ 59 h 96"/>
              <a:gd name="T88" fmla="*/ 60 w 111"/>
              <a:gd name="T89" fmla="*/ 59 h 96"/>
              <a:gd name="T90" fmla="*/ 65 w 111"/>
              <a:gd name="T91" fmla="*/ 60 h 96"/>
              <a:gd name="T92" fmla="*/ 70 w 111"/>
              <a:gd name="T93" fmla="*/ 63 h 96"/>
              <a:gd name="T94" fmla="*/ 75 w 111"/>
              <a:gd name="T95" fmla="*/ 66 h 96"/>
              <a:gd name="T96" fmla="*/ 83 w 111"/>
              <a:gd name="T97" fmla="*/ 75 h 96"/>
              <a:gd name="T98" fmla="*/ 92 w 111"/>
              <a:gd name="T99" fmla="*/ 86 h 96"/>
              <a:gd name="T100" fmla="*/ 101 w 111"/>
              <a:gd name="T101" fmla="*/ 95 h 96"/>
              <a:gd name="T102" fmla="*/ 106 w 111"/>
              <a:gd name="T103" fmla="*/ 94 h 96"/>
              <a:gd name="T104" fmla="*/ 111 w 111"/>
              <a:gd name="T105" fmla="*/ 89 h 96"/>
              <a:gd name="T106" fmla="*/ 105 w 111"/>
              <a:gd name="T107" fmla="*/ 86 h 96"/>
              <a:gd name="T108" fmla="*/ 105 w 111"/>
              <a:gd name="T109" fmla="*/ 87 h 96"/>
              <a:gd name="T110" fmla="*/ 105 w 111"/>
              <a:gd name="T111" fmla="*/ 8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0" h="96">
                <a:moveTo>
                  <a:pt x="105" y="87"/>
                </a:moveTo>
                <a:cubicBezTo>
                  <a:pt x="104" y="84"/>
                  <a:pt x="102" y="84"/>
                  <a:pt x="100" y="82"/>
                </a:cubicBezTo>
                <a:cubicBezTo>
                  <a:pt x="98" y="81"/>
                  <a:pt x="98" y="78"/>
                  <a:pt x="97" y="76"/>
                </a:cubicBezTo>
                <a:cubicBezTo>
                  <a:pt x="95" y="74"/>
                  <a:pt x="93" y="73"/>
                  <a:pt x="91" y="72"/>
                </a:cubicBezTo>
                <a:cubicBezTo>
                  <a:pt x="88" y="70"/>
                  <a:pt x="86" y="68"/>
                  <a:pt x="84" y="66"/>
                </a:cubicBezTo>
                <a:cubicBezTo>
                  <a:pt x="83" y="64"/>
                  <a:pt x="82" y="62"/>
                  <a:pt x="80" y="60"/>
                </a:cubicBezTo>
                <a:cubicBezTo>
                  <a:pt x="79" y="58"/>
                  <a:pt x="76" y="56"/>
                  <a:pt x="74" y="55"/>
                </a:cubicBezTo>
                <a:cubicBezTo>
                  <a:pt x="71" y="54"/>
                  <a:pt x="69" y="52"/>
                  <a:pt x="67" y="52"/>
                </a:cubicBezTo>
                <a:cubicBezTo>
                  <a:pt x="65" y="52"/>
                  <a:pt x="64" y="52"/>
                  <a:pt x="63" y="52"/>
                </a:cubicBezTo>
                <a:cubicBezTo>
                  <a:pt x="62" y="52"/>
                  <a:pt x="61" y="50"/>
                  <a:pt x="61" y="50"/>
                </a:cubicBezTo>
                <a:cubicBezTo>
                  <a:pt x="60" y="48"/>
                  <a:pt x="59" y="45"/>
                  <a:pt x="57" y="44"/>
                </a:cubicBezTo>
                <a:cubicBezTo>
                  <a:pt x="56" y="43"/>
                  <a:pt x="55" y="43"/>
                  <a:pt x="55" y="44"/>
                </a:cubicBezTo>
                <a:cubicBezTo>
                  <a:pt x="54" y="45"/>
                  <a:pt x="55" y="46"/>
                  <a:pt x="56" y="47"/>
                </a:cubicBezTo>
                <a:cubicBezTo>
                  <a:pt x="56" y="48"/>
                  <a:pt x="55" y="49"/>
                  <a:pt x="55" y="49"/>
                </a:cubicBezTo>
                <a:cubicBezTo>
                  <a:pt x="54" y="49"/>
                  <a:pt x="53" y="48"/>
                  <a:pt x="53" y="48"/>
                </a:cubicBezTo>
                <a:cubicBezTo>
                  <a:pt x="52" y="45"/>
                  <a:pt x="52" y="44"/>
                  <a:pt x="50" y="42"/>
                </a:cubicBezTo>
                <a:cubicBezTo>
                  <a:pt x="49" y="41"/>
                  <a:pt x="48" y="41"/>
                  <a:pt x="48" y="40"/>
                </a:cubicBezTo>
                <a:cubicBezTo>
                  <a:pt x="48" y="38"/>
                  <a:pt x="48" y="37"/>
                  <a:pt x="47" y="35"/>
                </a:cubicBezTo>
                <a:cubicBezTo>
                  <a:pt x="47" y="34"/>
                  <a:pt x="46" y="33"/>
                  <a:pt x="45" y="32"/>
                </a:cubicBezTo>
                <a:cubicBezTo>
                  <a:pt x="44" y="31"/>
                  <a:pt x="44" y="29"/>
                  <a:pt x="44" y="27"/>
                </a:cubicBezTo>
                <a:cubicBezTo>
                  <a:pt x="44" y="25"/>
                  <a:pt x="44" y="22"/>
                  <a:pt x="43" y="19"/>
                </a:cubicBezTo>
                <a:cubicBezTo>
                  <a:pt x="42" y="16"/>
                  <a:pt x="42" y="13"/>
                  <a:pt x="41" y="10"/>
                </a:cubicBezTo>
                <a:cubicBezTo>
                  <a:pt x="39" y="7"/>
                  <a:pt x="37" y="4"/>
                  <a:pt x="35" y="0"/>
                </a:cubicBezTo>
                <a:cubicBezTo>
                  <a:pt x="34" y="3"/>
                  <a:pt x="32" y="6"/>
                  <a:pt x="30" y="7"/>
                </a:cubicBezTo>
                <a:cubicBezTo>
                  <a:pt x="28" y="8"/>
                  <a:pt x="25" y="8"/>
                  <a:pt x="23" y="10"/>
                </a:cubicBezTo>
                <a:cubicBezTo>
                  <a:pt x="21" y="12"/>
                  <a:pt x="20" y="14"/>
                  <a:pt x="18" y="15"/>
                </a:cubicBezTo>
                <a:cubicBezTo>
                  <a:pt x="15" y="17"/>
                  <a:pt x="13" y="17"/>
                  <a:pt x="11" y="17"/>
                </a:cubicBezTo>
                <a:cubicBezTo>
                  <a:pt x="6" y="17"/>
                  <a:pt x="7" y="26"/>
                  <a:pt x="7" y="29"/>
                </a:cubicBezTo>
                <a:cubicBezTo>
                  <a:pt x="6" y="32"/>
                  <a:pt x="5" y="34"/>
                  <a:pt x="4" y="37"/>
                </a:cubicBezTo>
                <a:cubicBezTo>
                  <a:pt x="3" y="40"/>
                  <a:pt x="2" y="43"/>
                  <a:pt x="1" y="46"/>
                </a:cubicBezTo>
                <a:cubicBezTo>
                  <a:pt x="0" y="49"/>
                  <a:pt x="0" y="52"/>
                  <a:pt x="0" y="55"/>
                </a:cubicBezTo>
                <a:cubicBezTo>
                  <a:pt x="0" y="56"/>
                  <a:pt x="1" y="63"/>
                  <a:pt x="1" y="63"/>
                </a:cubicBezTo>
                <a:cubicBezTo>
                  <a:pt x="3" y="64"/>
                  <a:pt x="4" y="63"/>
                  <a:pt x="5" y="63"/>
                </a:cubicBezTo>
                <a:cubicBezTo>
                  <a:pt x="7" y="64"/>
                  <a:pt x="8" y="64"/>
                  <a:pt x="9" y="63"/>
                </a:cubicBezTo>
                <a:cubicBezTo>
                  <a:pt x="10" y="63"/>
                  <a:pt x="11" y="62"/>
                  <a:pt x="12" y="61"/>
                </a:cubicBezTo>
                <a:cubicBezTo>
                  <a:pt x="13" y="60"/>
                  <a:pt x="15" y="61"/>
                  <a:pt x="16" y="62"/>
                </a:cubicBezTo>
                <a:cubicBezTo>
                  <a:pt x="18" y="63"/>
                  <a:pt x="19" y="60"/>
                  <a:pt x="19" y="59"/>
                </a:cubicBezTo>
                <a:cubicBezTo>
                  <a:pt x="20" y="56"/>
                  <a:pt x="22" y="54"/>
                  <a:pt x="25" y="54"/>
                </a:cubicBezTo>
                <a:cubicBezTo>
                  <a:pt x="27" y="54"/>
                  <a:pt x="28" y="56"/>
                  <a:pt x="30" y="58"/>
                </a:cubicBezTo>
                <a:cubicBezTo>
                  <a:pt x="31" y="60"/>
                  <a:pt x="33" y="60"/>
                  <a:pt x="36" y="59"/>
                </a:cubicBezTo>
                <a:cubicBezTo>
                  <a:pt x="38" y="59"/>
                  <a:pt x="40" y="58"/>
                  <a:pt x="42" y="57"/>
                </a:cubicBezTo>
                <a:cubicBezTo>
                  <a:pt x="44" y="57"/>
                  <a:pt x="45" y="57"/>
                  <a:pt x="46" y="59"/>
                </a:cubicBezTo>
                <a:cubicBezTo>
                  <a:pt x="47" y="60"/>
                  <a:pt x="49" y="59"/>
                  <a:pt x="50" y="59"/>
                </a:cubicBezTo>
                <a:cubicBezTo>
                  <a:pt x="52" y="58"/>
                  <a:pt x="53" y="58"/>
                  <a:pt x="55" y="59"/>
                </a:cubicBezTo>
                <a:cubicBezTo>
                  <a:pt x="57" y="60"/>
                  <a:pt x="58" y="59"/>
                  <a:pt x="60" y="59"/>
                </a:cubicBezTo>
                <a:cubicBezTo>
                  <a:pt x="62" y="59"/>
                  <a:pt x="64" y="59"/>
                  <a:pt x="65" y="60"/>
                </a:cubicBezTo>
                <a:cubicBezTo>
                  <a:pt x="67" y="61"/>
                  <a:pt x="68" y="62"/>
                  <a:pt x="70" y="63"/>
                </a:cubicBezTo>
                <a:cubicBezTo>
                  <a:pt x="71" y="64"/>
                  <a:pt x="73" y="65"/>
                  <a:pt x="75" y="66"/>
                </a:cubicBezTo>
                <a:cubicBezTo>
                  <a:pt x="78" y="69"/>
                  <a:pt x="81" y="72"/>
                  <a:pt x="83" y="75"/>
                </a:cubicBezTo>
                <a:cubicBezTo>
                  <a:pt x="86" y="79"/>
                  <a:pt x="89" y="82"/>
                  <a:pt x="92" y="86"/>
                </a:cubicBezTo>
                <a:cubicBezTo>
                  <a:pt x="95" y="89"/>
                  <a:pt x="98" y="92"/>
                  <a:pt x="101" y="95"/>
                </a:cubicBezTo>
                <a:cubicBezTo>
                  <a:pt x="103" y="96"/>
                  <a:pt x="104" y="96"/>
                  <a:pt x="106" y="94"/>
                </a:cubicBezTo>
                <a:cubicBezTo>
                  <a:pt x="108" y="93"/>
                  <a:pt x="109" y="91"/>
                  <a:pt x="111" y="89"/>
                </a:cubicBezTo>
                <a:cubicBezTo>
                  <a:pt x="109" y="88"/>
                  <a:pt x="106" y="89"/>
                  <a:pt x="105" y="86"/>
                </a:cubicBezTo>
                <a:cubicBezTo>
                  <a:pt x="105" y="86"/>
                  <a:pt x="105" y="86"/>
                  <a:pt x="105" y="87"/>
                </a:cubicBezTo>
                <a:cubicBezTo>
                  <a:pt x="104" y="85"/>
                  <a:pt x="105" y="87"/>
                  <a:pt x="105" y="87"/>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146" name="Freeform 400">
            <a:extLst>
              <a:ext uri="{FF2B5EF4-FFF2-40B4-BE49-F238E27FC236}">
                <a16:creationId xmlns:a16="http://schemas.microsoft.com/office/drawing/2014/main" id="{A23941C6-5310-6658-9452-366241BE6A77}"/>
              </a:ext>
            </a:extLst>
          </p:cNvPr>
          <p:cNvSpPr/>
          <p:nvPr>
            <p:custDataLst>
              <p:tags r:id="rId88"/>
            </p:custDataLst>
          </p:nvPr>
        </p:nvSpPr>
        <p:spPr bwMode="auto">
          <a:xfrm>
            <a:off x="5209003" y="3438956"/>
            <a:ext cx="11013" cy="4004"/>
          </a:xfrm>
          <a:custGeom>
            <a:avLst/>
            <a:gdLst>
              <a:gd name="T0" fmla="*/ 7 w 9"/>
              <a:gd name="T1" fmla="*/ 4 h 4"/>
              <a:gd name="T2" fmla="*/ 7 w 9"/>
              <a:gd name="T3" fmla="*/ 2 h 4"/>
              <a:gd name="T4" fmla="*/ 4 w 9"/>
              <a:gd name="T5" fmla="*/ 1 h 4"/>
              <a:gd name="T6" fmla="*/ 1 w 9"/>
              <a:gd name="T7" fmla="*/ 1 h 4"/>
              <a:gd name="T8" fmla="*/ 3 w 9"/>
              <a:gd name="T9" fmla="*/ 4 h 4"/>
              <a:gd name="T10" fmla="*/ 8 w 9"/>
              <a:gd name="T11" fmla="*/ 4 h 4"/>
              <a:gd name="T12" fmla="*/ 7 w 9"/>
              <a:gd name="T13" fmla="*/ 4 h 4"/>
              <a:gd name="T14" fmla="*/ 7 w 9"/>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7" y="4"/>
                </a:moveTo>
                <a:cubicBezTo>
                  <a:pt x="9" y="3"/>
                  <a:pt x="8" y="2"/>
                  <a:pt x="7" y="2"/>
                </a:cubicBezTo>
                <a:cubicBezTo>
                  <a:pt x="6" y="2"/>
                  <a:pt x="5" y="2"/>
                  <a:pt x="4" y="1"/>
                </a:cubicBezTo>
                <a:cubicBezTo>
                  <a:pt x="3" y="1"/>
                  <a:pt x="2" y="0"/>
                  <a:pt x="1" y="1"/>
                </a:cubicBezTo>
                <a:cubicBezTo>
                  <a:pt x="0" y="2"/>
                  <a:pt x="2" y="4"/>
                  <a:pt x="3" y="4"/>
                </a:cubicBezTo>
                <a:cubicBezTo>
                  <a:pt x="4" y="4"/>
                  <a:pt x="6" y="4"/>
                  <a:pt x="8" y="4"/>
                </a:cubicBezTo>
                <a:cubicBezTo>
                  <a:pt x="7" y="4"/>
                  <a:pt x="7" y="4"/>
                  <a:pt x="7" y="4"/>
                </a:cubicBezTo>
                <a:cubicBezTo>
                  <a:pt x="9" y="3"/>
                  <a:pt x="7" y="4"/>
                  <a:pt x="7" y="4"/>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147" name="Freeform 402">
            <a:extLst>
              <a:ext uri="{FF2B5EF4-FFF2-40B4-BE49-F238E27FC236}">
                <a16:creationId xmlns:a16="http://schemas.microsoft.com/office/drawing/2014/main" id="{8ED7BFB9-53CC-D366-8141-20672FF834DA}"/>
              </a:ext>
            </a:extLst>
          </p:cNvPr>
          <p:cNvSpPr/>
          <p:nvPr>
            <p:custDataLst>
              <p:tags r:id="rId89"/>
            </p:custDataLst>
          </p:nvPr>
        </p:nvSpPr>
        <p:spPr bwMode="auto">
          <a:xfrm>
            <a:off x="4752508" y="2682134"/>
            <a:ext cx="112122" cy="43047"/>
          </a:xfrm>
          <a:custGeom>
            <a:avLst/>
            <a:gdLst>
              <a:gd name="T0" fmla="*/ 92 w 96"/>
              <a:gd name="T1" fmla="*/ 14 h 37"/>
              <a:gd name="T2" fmla="*/ 96 w 96"/>
              <a:gd name="T3" fmla="*/ 10 h 37"/>
              <a:gd name="T4" fmla="*/ 88 w 96"/>
              <a:gd name="T5" fmla="*/ 7 h 37"/>
              <a:gd name="T6" fmla="*/ 81 w 96"/>
              <a:gd name="T7" fmla="*/ 4 h 37"/>
              <a:gd name="T8" fmla="*/ 73 w 96"/>
              <a:gd name="T9" fmla="*/ 5 h 37"/>
              <a:gd name="T10" fmla="*/ 64 w 96"/>
              <a:gd name="T11" fmla="*/ 5 h 37"/>
              <a:gd name="T12" fmla="*/ 56 w 96"/>
              <a:gd name="T13" fmla="*/ 6 h 37"/>
              <a:gd name="T14" fmla="*/ 48 w 96"/>
              <a:gd name="T15" fmla="*/ 5 h 37"/>
              <a:gd name="T16" fmla="*/ 43 w 96"/>
              <a:gd name="T17" fmla="*/ 1 h 37"/>
              <a:gd name="T18" fmla="*/ 35 w 96"/>
              <a:gd name="T19" fmla="*/ 3 h 37"/>
              <a:gd name="T20" fmla="*/ 32 w 96"/>
              <a:gd name="T21" fmla="*/ 1 h 37"/>
              <a:gd name="T22" fmla="*/ 30 w 96"/>
              <a:gd name="T23" fmla="*/ 1 h 37"/>
              <a:gd name="T24" fmla="*/ 23 w 96"/>
              <a:gd name="T25" fmla="*/ 6 h 37"/>
              <a:gd name="T26" fmla="*/ 18 w 96"/>
              <a:gd name="T27" fmla="*/ 12 h 37"/>
              <a:gd name="T28" fmla="*/ 11 w 96"/>
              <a:gd name="T29" fmla="*/ 16 h 37"/>
              <a:gd name="T30" fmla="*/ 4 w 96"/>
              <a:gd name="T31" fmla="*/ 17 h 37"/>
              <a:gd name="T32" fmla="*/ 0 w 96"/>
              <a:gd name="T33" fmla="*/ 23 h 37"/>
              <a:gd name="T34" fmla="*/ 4 w 96"/>
              <a:gd name="T35" fmla="*/ 29 h 37"/>
              <a:gd name="T36" fmla="*/ 11 w 96"/>
              <a:gd name="T37" fmla="*/ 34 h 37"/>
              <a:gd name="T38" fmla="*/ 15 w 96"/>
              <a:gd name="T39" fmla="*/ 37 h 37"/>
              <a:gd name="T40" fmla="*/ 22 w 96"/>
              <a:gd name="T41" fmla="*/ 37 h 37"/>
              <a:gd name="T42" fmla="*/ 28 w 96"/>
              <a:gd name="T43" fmla="*/ 36 h 37"/>
              <a:gd name="T44" fmla="*/ 30 w 96"/>
              <a:gd name="T45" fmla="*/ 36 h 37"/>
              <a:gd name="T46" fmla="*/ 31 w 96"/>
              <a:gd name="T47" fmla="*/ 33 h 37"/>
              <a:gd name="T48" fmla="*/ 36 w 96"/>
              <a:gd name="T49" fmla="*/ 30 h 37"/>
              <a:gd name="T50" fmla="*/ 42 w 96"/>
              <a:gd name="T51" fmla="*/ 27 h 37"/>
              <a:gd name="T52" fmla="*/ 50 w 96"/>
              <a:gd name="T53" fmla="*/ 28 h 37"/>
              <a:gd name="T54" fmla="*/ 56 w 96"/>
              <a:gd name="T55" fmla="*/ 26 h 37"/>
              <a:gd name="T56" fmla="*/ 65 w 96"/>
              <a:gd name="T57" fmla="*/ 20 h 37"/>
              <a:gd name="T58" fmla="*/ 72 w 96"/>
              <a:gd name="T59" fmla="*/ 20 h 37"/>
              <a:gd name="T60" fmla="*/ 79 w 96"/>
              <a:gd name="T61" fmla="*/ 20 h 37"/>
              <a:gd name="T62" fmla="*/ 83 w 96"/>
              <a:gd name="T63" fmla="*/ 23 h 37"/>
              <a:gd name="T64" fmla="*/ 89 w 96"/>
              <a:gd name="T65" fmla="*/ 23 h 37"/>
              <a:gd name="T66" fmla="*/ 89 w 96"/>
              <a:gd name="T67" fmla="*/ 21 h 37"/>
              <a:gd name="T68" fmla="*/ 90 w 96"/>
              <a:gd name="T69" fmla="*/ 18 h 37"/>
              <a:gd name="T70" fmla="*/ 93 w 96"/>
              <a:gd name="T71" fmla="*/ 14 h 37"/>
              <a:gd name="T72" fmla="*/ 92 w 96"/>
              <a:gd name="T73" fmla="*/ 14 h 37"/>
              <a:gd name="T74" fmla="*/ 92 w 96"/>
              <a:gd name="T75" fmla="*/ 1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37">
                <a:moveTo>
                  <a:pt x="92" y="14"/>
                </a:moveTo>
                <a:cubicBezTo>
                  <a:pt x="93" y="13"/>
                  <a:pt x="94" y="11"/>
                  <a:pt x="96" y="10"/>
                </a:cubicBezTo>
                <a:cubicBezTo>
                  <a:pt x="93" y="9"/>
                  <a:pt x="91" y="9"/>
                  <a:pt x="88" y="7"/>
                </a:cubicBezTo>
                <a:cubicBezTo>
                  <a:pt x="86" y="6"/>
                  <a:pt x="84" y="4"/>
                  <a:pt x="81" y="4"/>
                </a:cubicBezTo>
                <a:cubicBezTo>
                  <a:pt x="78" y="3"/>
                  <a:pt x="76" y="4"/>
                  <a:pt x="73" y="5"/>
                </a:cubicBezTo>
                <a:cubicBezTo>
                  <a:pt x="70" y="6"/>
                  <a:pt x="67" y="6"/>
                  <a:pt x="64" y="5"/>
                </a:cubicBezTo>
                <a:cubicBezTo>
                  <a:pt x="61" y="5"/>
                  <a:pt x="59" y="5"/>
                  <a:pt x="56" y="6"/>
                </a:cubicBezTo>
                <a:cubicBezTo>
                  <a:pt x="53" y="7"/>
                  <a:pt x="51" y="7"/>
                  <a:pt x="48" y="5"/>
                </a:cubicBezTo>
                <a:cubicBezTo>
                  <a:pt x="46" y="3"/>
                  <a:pt x="45" y="0"/>
                  <a:pt x="43" y="1"/>
                </a:cubicBezTo>
                <a:cubicBezTo>
                  <a:pt x="40" y="1"/>
                  <a:pt x="38" y="3"/>
                  <a:pt x="35" y="3"/>
                </a:cubicBezTo>
                <a:cubicBezTo>
                  <a:pt x="34" y="3"/>
                  <a:pt x="33" y="2"/>
                  <a:pt x="32" y="1"/>
                </a:cubicBezTo>
                <a:cubicBezTo>
                  <a:pt x="31" y="0"/>
                  <a:pt x="31" y="1"/>
                  <a:pt x="30" y="1"/>
                </a:cubicBezTo>
                <a:cubicBezTo>
                  <a:pt x="27" y="3"/>
                  <a:pt x="25" y="4"/>
                  <a:pt x="23" y="6"/>
                </a:cubicBezTo>
                <a:cubicBezTo>
                  <a:pt x="22" y="8"/>
                  <a:pt x="20" y="10"/>
                  <a:pt x="18" y="12"/>
                </a:cubicBezTo>
                <a:cubicBezTo>
                  <a:pt x="16" y="13"/>
                  <a:pt x="13" y="15"/>
                  <a:pt x="11" y="16"/>
                </a:cubicBezTo>
                <a:cubicBezTo>
                  <a:pt x="8" y="16"/>
                  <a:pt x="6" y="15"/>
                  <a:pt x="4" y="17"/>
                </a:cubicBezTo>
                <a:cubicBezTo>
                  <a:pt x="2" y="18"/>
                  <a:pt x="1" y="21"/>
                  <a:pt x="0" y="23"/>
                </a:cubicBezTo>
                <a:cubicBezTo>
                  <a:pt x="0" y="25"/>
                  <a:pt x="2" y="27"/>
                  <a:pt x="4" y="29"/>
                </a:cubicBezTo>
                <a:cubicBezTo>
                  <a:pt x="6" y="32"/>
                  <a:pt x="8" y="33"/>
                  <a:pt x="11" y="34"/>
                </a:cubicBezTo>
                <a:cubicBezTo>
                  <a:pt x="12" y="35"/>
                  <a:pt x="13" y="37"/>
                  <a:pt x="15" y="37"/>
                </a:cubicBezTo>
                <a:cubicBezTo>
                  <a:pt x="17" y="37"/>
                  <a:pt x="20" y="37"/>
                  <a:pt x="22" y="37"/>
                </a:cubicBezTo>
                <a:cubicBezTo>
                  <a:pt x="24" y="37"/>
                  <a:pt x="26" y="37"/>
                  <a:pt x="28" y="36"/>
                </a:cubicBezTo>
                <a:cubicBezTo>
                  <a:pt x="29" y="36"/>
                  <a:pt x="30" y="36"/>
                  <a:pt x="30" y="36"/>
                </a:cubicBezTo>
                <a:cubicBezTo>
                  <a:pt x="31" y="35"/>
                  <a:pt x="31" y="34"/>
                  <a:pt x="31" y="33"/>
                </a:cubicBezTo>
                <a:cubicBezTo>
                  <a:pt x="32" y="31"/>
                  <a:pt x="34" y="30"/>
                  <a:pt x="36" y="30"/>
                </a:cubicBezTo>
                <a:cubicBezTo>
                  <a:pt x="38" y="29"/>
                  <a:pt x="40" y="28"/>
                  <a:pt x="42" y="27"/>
                </a:cubicBezTo>
                <a:cubicBezTo>
                  <a:pt x="45" y="27"/>
                  <a:pt x="47" y="27"/>
                  <a:pt x="50" y="28"/>
                </a:cubicBezTo>
                <a:cubicBezTo>
                  <a:pt x="52" y="28"/>
                  <a:pt x="54" y="28"/>
                  <a:pt x="56" y="26"/>
                </a:cubicBezTo>
                <a:cubicBezTo>
                  <a:pt x="59" y="24"/>
                  <a:pt x="61" y="20"/>
                  <a:pt x="65" y="20"/>
                </a:cubicBezTo>
                <a:cubicBezTo>
                  <a:pt x="67" y="19"/>
                  <a:pt x="70" y="20"/>
                  <a:pt x="72" y="20"/>
                </a:cubicBezTo>
                <a:cubicBezTo>
                  <a:pt x="74" y="19"/>
                  <a:pt x="77" y="19"/>
                  <a:pt x="79" y="20"/>
                </a:cubicBezTo>
                <a:cubicBezTo>
                  <a:pt x="80" y="21"/>
                  <a:pt x="81" y="23"/>
                  <a:pt x="83" y="23"/>
                </a:cubicBezTo>
                <a:cubicBezTo>
                  <a:pt x="85" y="24"/>
                  <a:pt x="87" y="24"/>
                  <a:pt x="89" y="23"/>
                </a:cubicBezTo>
                <a:cubicBezTo>
                  <a:pt x="89" y="23"/>
                  <a:pt x="89" y="22"/>
                  <a:pt x="89" y="21"/>
                </a:cubicBezTo>
                <a:cubicBezTo>
                  <a:pt x="89" y="20"/>
                  <a:pt x="90" y="19"/>
                  <a:pt x="90" y="18"/>
                </a:cubicBezTo>
                <a:cubicBezTo>
                  <a:pt x="91" y="17"/>
                  <a:pt x="92" y="15"/>
                  <a:pt x="93" y="14"/>
                </a:cubicBezTo>
                <a:cubicBezTo>
                  <a:pt x="93" y="14"/>
                  <a:pt x="92" y="14"/>
                  <a:pt x="92" y="14"/>
                </a:cubicBezTo>
                <a:cubicBezTo>
                  <a:pt x="93" y="13"/>
                  <a:pt x="92" y="14"/>
                  <a:pt x="92" y="14"/>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48" name="Freeform 404">
            <a:extLst>
              <a:ext uri="{FF2B5EF4-FFF2-40B4-BE49-F238E27FC236}">
                <a16:creationId xmlns:a16="http://schemas.microsoft.com/office/drawing/2014/main" id="{E1071E28-1059-DC29-E900-90F9E51CA614}"/>
              </a:ext>
            </a:extLst>
          </p:cNvPr>
          <p:cNvSpPr/>
          <p:nvPr>
            <p:custDataLst>
              <p:tags r:id="rId90"/>
            </p:custDataLst>
          </p:nvPr>
        </p:nvSpPr>
        <p:spPr bwMode="auto">
          <a:xfrm>
            <a:off x="4739494" y="2707160"/>
            <a:ext cx="128139" cy="69075"/>
          </a:xfrm>
          <a:custGeom>
            <a:avLst/>
            <a:gdLst>
              <a:gd name="T0" fmla="*/ 109 w 110"/>
              <a:gd name="T1" fmla="*/ 12 h 59"/>
              <a:gd name="T2" fmla="*/ 105 w 110"/>
              <a:gd name="T3" fmla="*/ 9 h 59"/>
              <a:gd name="T4" fmla="*/ 101 w 110"/>
              <a:gd name="T5" fmla="*/ 4 h 59"/>
              <a:gd name="T6" fmla="*/ 90 w 110"/>
              <a:gd name="T7" fmla="*/ 3 h 59"/>
              <a:gd name="T8" fmla="*/ 78 w 110"/>
              <a:gd name="T9" fmla="*/ 1 h 59"/>
              <a:gd name="T10" fmla="*/ 73 w 110"/>
              <a:gd name="T11" fmla="*/ 2 h 59"/>
              <a:gd name="T12" fmla="*/ 69 w 110"/>
              <a:gd name="T13" fmla="*/ 6 h 59"/>
              <a:gd name="T14" fmla="*/ 65 w 110"/>
              <a:gd name="T15" fmla="*/ 9 h 59"/>
              <a:gd name="T16" fmla="*/ 58 w 110"/>
              <a:gd name="T17" fmla="*/ 8 h 59"/>
              <a:gd name="T18" fmla="*/ 46 w 110"/>
              <a:gd name="T19" fmla="*/ 12 h 59"/>
              <a:gd name="T20" fmla="*/ 43 w 110"/>
              <a:gd name="T21" fmla="*/ 15 h 59"/>
              <a:gd name="T22" fmla="*/ 40 w 110"/>
              <a:gd name="T23" fmla="*/ 17 h 59"/>
              <a:gd name="T24" fmla="*/ 28 w 110"/>
              <a:gd name="T25" fmla="*/ 18 h 59"/>
              <a:gd name="T26" fmla="*/ 21 w 110"/>
              <a:gd name="T27" fmla="*/ 16 h 59"/>
              <a:gd name="T28" fmla="*/ 16 w 110"/>
              <a:gd name="T29" fmla="*/ 12 h 59"/>
              <a:gd name="T30" fmla="*/ 14 w 110"/>
              <a:gd name="T31" fmla="*/ 19 h 59"/>
              <a:gd name="T32" fmla="*/ 9 w 110"/>
              <a:gd name="T33" fmla="*/ 19 h 59"/>
              <a:gd name="T34" fmla="*/ 6 w 110"/>
              <a:gd name="T35" fmla="*/ 19 h 59"/>
              <a:gd name="T36" fmla="*/ 6 w 110"/>
              <a:gd name="T37" fmla="*/ 24 h 59"/>
              <a:gd name="T38" fmla="*/ 3 w 110"/>
              <a:gd name="T39" fmla="*/ 27 h 59"/>
              <a:gd name="T40" fmla="*/ 4 w 110"/>
              <a:gd name="T41" fmla="*/ 32 h 59"/>
              <a:gd name="T42" fmla="*/ 0 w 110"/>
              <a:gd name="T43" fmla="*/ 35 h 59"/>
              <a:gd name="T44" fmla="*/ 12 w 110"/>
              <a:gd name="T45" fmla="*/ 48 h 59"/>
              <a:gd name="T46" fmla="*/ 27 w 110"/>
              <a:gd name="T47" fmla="*/ 57 h 59"/>
              <a:gd name="T48" fmla="*/ 44 w 110"/>
              <a:gd name="T49" fmla="*/ 55 h 59"/>
              <a:gd name="T50" fmla="*/ 62 w 110"/>
              <a:gd name="T51" fmla="*/ 50 h 59"/>
              <a:gd name="T52" fmla="*/ 66 w 110"/>
              <a:gd name="T53" fmla="*/ 50 h 59"/>
              <a:gd name="T54" fmla="*/ 69 w 110"/>
              <a:gd name="T55" fmla="*/ 51 h 59"/>
              <a:gd name="T56" fmla="*/ 70 w 110"/>
              <a:gd name="T57" fmla="*/ 51 h 59"/>
              <a:gd name="T58" fmla="*/ 72 w 110"/>
              <a:gd name="T59" fmla="*/ 50 h 59"/>
              <a:gd name="T60" fmla="*/ 76 w 110"/>
              <a:gd name="T61" fmla="*/ 49 h 59"/>
              <a:gd name="T62" fmla="*/ 79 w 110"/>
              <a:gd name="T63" fmla="*/ 48 h 59"/>
              <a:gd name="T64" fmla="*/ 82 w 110"/>
              <a:gd name="T65" fmla="*/ 47 h 59"/>
              <a:gd name="T66" fmla="*/ 86 w 110"/>
              <a:gd name="T67" fmla="*/ 40 h 59"/>
              <a:gd name="T68" fmla="*/ 96 w 110"/>
              <a:gd name="T69" fmla="*/ 24 h 59"/>
              <a:gd name="T70" fmla="*/ 107 w 110"/>
              <a:gd name="T71" fmla="*/ 15 h 59"/>
              <a:gd name="T72" fmla="*/ 109 w 110"/>
              <a:gd name="T73" fmla="*/ 12 h 59"/>
              <a:gd name="T74" fmla="*/ 109 w 110"/>
              <a:gd name="T75" fmla="*/ 1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59">
                <a:moveTo>
                  <a:pt x="109" y="12"/>
                </a:moveTo>
                <a:cubicBezTo>
                  <a:pt x="108" y="11"/>
                  <a:pt x="107" y="10"/>
                  <a:pt x="105" y="9"/>
                </a:cubicBezTo>
                <a:cubicBezTo>
                  <a:pt x="104" y="8"/>
                  <a:pt x="102" y="6"/>
                  <a:pt x="101" y="4"/>
                </a:cubicBezTo>
                <a:cubicBezTo>
                  <a:pt x="97" y="6"/>
                  <a:pt x="93" y="5"/>
                  <a:pt x="90" y="3"/>
                </a:cubicBezTo>
                <a:cubicBezTo>
                  <a:pt x="87" y="0"/>
                  <a:pt x="82" y="1"/>
                  <a:pt x="78" y="1"/>
                </a:cubicBezTo>
                <a:cubicBezTo>
                  <a:pt x="77" y="1"/>
                  <a:pt x="75" y="1"/>
                  <a:pt x="73" y="2"/>
                </a:cubicBezTo>
                <a:cubicBezTo>
                  <a:pt x="72" y="3"/>
                  <a:pt x="71" y="5"/>
                  <a:pt x="69" y="6"/>
                </a:cubicBezTo>
                <a:cubicBezTo>
                  <a:pt x="68" y="7"/>
                  <a:pt x="66" y="8"/>
                  <a:pt x="65" y="9"/>
                </a:cubicBezTo>
                <a:cubicBezTo>
                  <a:pt x="62" y="9"/>
                  <a:pt x="60" y="9"/>
                  <a:pt x="58" y="8"/>
                </a:cubicBezTo>
                <a:cubicBezTo>
                  <a:pt x="54" y="8"/>
                  <a:pt x="49" y="9"/>
                  <a:pt x="46" y="12"/>
                </a:cubicBezTo>
                <a:cubicBezTo>
                  <a:pt x="44" y="13"/>
                  <a:pt x="44" y="14"/>
                  <a:pt x="43" y="15"/>
                </a:cubicBezTo>
                <a:cubicBezTo>
                  <a:pt x="43" y="17"/>
                  <a:pt x="41" y="17"/>
                  <a:pt x="40" y="17"/>
                </a:cubicBezTo>
                <a:cubicBezTo>
                  <a:pt x="36" y="18"/>
                  <a:pt x="32" y="19"/>
                  <a:pt x="28" y="18"/>
                </a:cubicBezTo>
                <a:cubicBezTo>
                  <a:pt x="25" y="18"/>
                  <a:pt x="23" y="18"/>
                  <a:pt x="21" y="16"/>
                </a:cubicBezTo>
                <a:cubicBezTo>
                  <a:pt x="20" y="15"/>
                  <a:pt x="18" y="14"/>
                  <a:pt x="16" y="12"/>
                </a:cubicBezTo>
                <a:cubicBezTo>
                  <a:pt x="16" y="15"/>
                  <a:pt x="16" y="18"/>
                  <a:pt x="14" y="19"/>
                </a:cubicBezTo>
                <a:cubicBezTo>
                  <a:pt x="12" y="20"/>
                  <a:pt x="11" y="19"/>
                  <a:pt x="9" y="19"/>
                </a:cubicBezTo>
                <a:cubicBezTo>
                  <a:pt x="8" y="19"/>
                  <a:pt x="6" y="17"/>
                  <a:pt x="6" y="19"/>
                </a:cubicBezTo>
                <a:cubicBezTo>
                  <a:pt x="6" y="21"/>
                  <a:pt x="7" y="22"/>
                  <a:pt x="6" y="24"/>
                </a:cubicBezTo>
                <a:cubicBezTo>
                  <a:pt x="6" y="25"/>
                  <a:pt x="4" y="26"/>
                  <a:pt x="3" y="27"/>
                </a:cubicBezTo>
                <a:cubicBezTo>
                  <a:pt x="2" y="29"/>
                  <a:pt x="4" y="31"/>
                  <a:pt x="4" y="32"/>
                </a:cubicBezTo>
                <a:cubicBezTo>
                  <a:pt x="3" y="34"/>
                  <a:pt x="2" y="35"/>
                  <a:pt x="0" y="35"/>
                </a:cubicBezTo>
                <a:cubicBezTo>
                  <a:pt x="4" y="40"/>
                  <a:pt x="7" y="44"/>
                  <a:pt x="12" y="48"/>
                </a:cubicBezTo>
                <a:cubicBezTo>
                  <a:pt x="16" y="52"/>
                  <a:pt x="21" y="56"/>
                  <a:pt x="27" y="57"/>
                </a:cubicBezTo>
                <a:cubicBezTo>
                  <a:pt x="33" y="59"/>
                  <a:pt x="39" y="57"/>
                  <a:pt x="44" y="55"/>
                </a:cubicBezTo>
                <a:cubicBezTo>
                  <a:pt x="50" y="54"/>
                  <a:pt x="56" y="51"/>
                  <a:pt x="62" y="50"/>
                </a:cubicBezTo>
                <a:cubicBezTo>
                  <a:pt x="63" y="50"/>
                  <a:pt x="65" y="50"/>
                  <a:pt x="66" y="50"/>
                </a:cubicBezTo>
                <a:cubicBezTo>
                  <a:pt x="67" y="50"/>
                  <a:pt x="68" y="51"/>
                  <a:pt x="69" y="51"/>
                </a:cubicBezTo>
                <a:cubicBezTo>
                  <a:pt x="69" y="51"/>
                  <a:pt x="70" y="51"/>
                  <a:pt x="70" y="51"/>
                </a:cubicBezTo>
                <a:cubicBezTo>
                  <a:pt x="71" y="50"/>
                  <a:pt x="72" y="50"/>
                  <a:pt x="72" y="50"/>
                </a:cubicBezTo>
                <a:cubicBezTo>
                  <a:pt x="74" y="51"/>
                  <a:pt x="75" y="50"/>
                  <a:pt x="76" y="49"/>
                </a:cubicBezTo>
                <a:cubicBezTo>
                  <a:pt x="77" y="49"/>
                  <a:pt x="77" y="48"/>
                  <a:pt x="79" y="48"/>
                </a:cubicBezTo>
                <a:cubicBezTo>
                  <a:pt x="80" y="47"/>
                  <a:pt x="81" y="47"/>
                  <a:pt x="82" y="47"/>
                </a:cubicBezTo>
                <a:cubicBezTo>
                  <a:pt x="84" y="45"/>
                  <a:pt x="85" y="42"/>
                  <a:pt x="86" y="40"/>
                </a:cubicBezTo>
                <a:cubicBezTo>
                  <a:pt x="89" y="35"/>
                  <a:pt x="92" y="29"/>
                  <a:pt x="96" y="24"/>
                </a:cubicBezTo>
                <a:cubicBezTo>
                  <a:pt x="99" y="21"/>
                  <a:pt x="103" y="17"/>
                  <a:pt x="107" y="15"/>
                </a:cubicBezTo>
                <a:cubicBezTo>
                  <a:pt x="108" y="14"/>
                  <a:pt x="110" y="12"/>
                  <a:pt x="109" y="12"/>
                </a:cubicBezTo>
                <a:cubicBezTo>
                  <a:pt x="108" y="11"/>
                  <a:pt x="109" y="12"/>
                  <a:pt x="109" y="12"/>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49" name="Freeform 409">
            <a:extLst>
              <a:ext uri="{FF2B5EF4-FFF2-40B4-BE49-F238E27FC236}">
                <a16:creationId xmlns:a16="http://schemas.microsoft.com/office/drawing/2014/main" id="{B33BF80B-D0D6-7D69-5A0B-40E3EE967D42}"/>
              </a:ext>
            </a:extLst>
          </p:cNvPr>
          <p:cNvSpPr/>
          <p:nvPr>
            <p:custDataLst>
              <p:tags r:id="rId91"/>
            </p:custDataLst>
          </p:nvPr>
        </p:nvSpPr>
        <p:spPr bwMode="auto">
          <a:xfrm>
            <a:off x="4808568" y="2527965"/>
            <a:ext cx="59064" cy="25027"/>
          </a:xfrm>
          <a:custGeom>
            <a:avLst/>
            <a:gdLst>
              <a:gd name="T0" fmla="*/ 16 w 51"/>
              <a:gd name="T1" fmla="*/ 5 h 21"/>
              <a:gd name="T2" fmla="*/ 17 w 51"/>
              <a:gd name="T3" fmla="*/ 3 h 21"/>
              <a:gd name="T4" fmla="*/ 19 w 51"/>
              <a:gd name="T5" fmla="*/ 1 h 21"/>
              <a:gd name="T6" fmla="*/ 16 w 51"/>
              <a:gd name="T7" fmla="*/ 2 h 21"/>
              <a:gd name="T8" fmla="*/ 11 w 51"/>
              <a:gd name="T9" fmla="*/ 6 h 21"/>
              <a:gd name="T10" fmla="*/ 4 w 51"/>
              <a:gd name="T11" fmla="*/ 8 h 21"/>
              <a:gd name="T12" fmla="*/ 3 w 51"/>
              <a:gd name="T13" fmla="*/ 13 h 21"/>
              <a:gd name="T14" fmla="*/ 9 w 51"/>
              <a:gd name="T15" fmla="*/ 14 h 21"/>
              <a:gd name="T16" fmla="*/ 6 w 51"/>
              <a:gd name="T17" fmla="*/ 17 h 21"/>
              <a:gd name="T18" fmla="*/ 3 w 51"/>
              <a:gd name="T19" fmla="*/ 17 h 21"/>
              <a:gd name="T20" fmla="*/ 0 w 51"/>
              <a:gd name="T21" fmla="*/ 18 h 21"/>
              <a:gd name="T22" fmla="*/ 25 w 51"/>
              <a:gd name="T23" fmla="*/ 20 h 21"/>
              <a:gd name="T24" fmla="*/ 38 w 51"/>
              <a:gd name="T25" fmla="*/ 20 h 21"/>
              <a:gd name="T26" fmla="*/ 45 w 51"/>
              <a:gd name="T27" fmla="*/ 20 h 21"/>
              <a:gd name="T28" fmla="*/ 49 w 51"/>
              <a:gd name="T29" fmla="*/ 20 h 21"/>
              <a:gd name="T30" fmla="*/ 50 w 51"/>
              <a:gd name="T31" fmla="*/ 17 h 21"/>
              <a:gd name="T32" fmla="*/ 51 w 51"/>
              <a:gd name="T33" fmla="*/ 12 h 21"/>
              <a:gd name="T34" fmla="*/ 47 w 51"/>
              <a:gd name="T35" fmla="*/ 6 h 21"/>
              <a:gd name="T36" fmla="*/ 36 w 51"/>
              <a:gd name="T37" fmla="*/ 5 h 21"/>
              <a:gd name="T38" fmla="*/ 26 w 51"/>
              <a:gd name="T39" fmla="*/ 1 h 21"/>
              <a:gd name="T40" fmla="*/ 21 w 51"/>
              <a:gd name="T41" fmla="*/ 7 h 21"/>
              <a:gd name="T42" fmla="*/ 16 w 51"/>
              <a:gd name="T43" fmla="*/ 5 h 21"/>
              <a:gd name="T44" fmla="*/ 16 w 51"/>
              <a:gd name="T45" fmla="*/ 5 h 21"/>
              <a:gd name="T46" fmla="*/ 16 w 51"/>
              <a:gd name="T47"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21">
                <a:moveTo>
                  <a:pt x="16" y="5"/>
                </a:moveTo>
                <a:cubicBezTo>
                  <a:pt x="16" y="4"/>
                  <a:pt x="16" y="4"/>
                  <a:pt x="17" y="3"/>
                </a:cubicBezTo>
                <a:cubicBezTo>
                  <a:pt x="18" y="3"/>
                  <a:pt x="20" y="2"/>
                  <a:pt x="19" y="1"/>
                </a:cubicBezTo>
                <a:cubicBezTo>
                  <a:pt x="19" y="0"/>
                  <a:pt x="17" y="2"/>
                  <a:pt x="16" y="2"/>
                </a:cubicBezTo>
                <a:cubicBezTo>
                  <a:pt x="14" y="3"/>
                  <a:pt x="13" y="4"/>
                  <a:pt x="11" y="6"/>
                </a:cubicBezTo>
                <a:cubicBezTo>
                  <a:pt x="9" y="8"/>
                  <a:pt x="6" y="7"/>
                  <a:pt x="4" y="8"/>
                </a:cubicBezTo>
                <a:cubicBezTo>
                  <a:pt x="1" y="9"/>
                  <a:pt x="2" y="11"/>
                  <a:pt x="3" y="13"/>
                </a:cubicBezTo>
                <a:cubicBezTo>
                  <a:pt x="5" y="15"/>
                  <a:pt x="7" y="12"/>
                  <a:pt x="9" y="14"/>
                </a:cubicBezTo>
                <a:cubicBezTo>
                  <a:pt x="12" y="15"/>
                  <a:pt x="7" y="17"/>
                  <a:pt x="6" y="17"/>
                </a:cubicBezTo>
                <a:cubicBezTo>
                  <a:pt x="5" y="18"/>
                  <a:pt x="4" y="18"/>
                  <a:pt x="3" y="17"/>
                </a:cubicBezTo>
                <a:cubicBezTo>
                  <a:pt x="2" y="17"/>
                  <a:pt x="1" y="16"/>
                  <a:pt x="0" y="18"/>
                </a:cubicBezTo>
                <a:cubicBezTo>
                  <a:pt x="8" y="19"/>
                  <a:pt x="17" y="20"/>
                  <a:pt x="25" y="20"/>
                </a:cubicBezTo>
                <a:cubicBezTo>
                  <a:pt x="29" y="20"/>
                  <a:pt x="34" y="20"/>
                  <a:pt x="38" y="20"/>
                </a:cubicBezTo>
                <a:cubicBezTo>
                  <a:pt x="40" y="20"/>
                  <a:pt x="42" y="20"/>
                  <a:pt x="45" y="20"/>
                </a:cubicBezTo>
                <a:cubicBezTo>
                  <a:pt x="46" y="20"/>
                  <a:pt x="48" y="21"/>
                  <a:pt x="49" y="20"/>
                </a:cubicBezTo>
                <a:cubicBezTo>
                  <a:pt x="51" y="20"/>
                  <a:pt x="50" y="17"/>
                  <a:pt x="50" y="17"/>
                </a:cubicBezTo>
                <a:cubicBezTo>
                  <a:pt x="50" y="15"/>
                  <a:pt x="51" y="13"/>
                  <a:pt x="51" y="12"/>
                </a:cubicBezTo>
                <a:cubicBezTo>
                  <a:pt x="51" y="9"/>
                  <a:pt x="50" y="6"/>
                  <a:pt x="47" y="6"/>
                </a:cubicBezTo>
                <a:cubicBezTo>
                  <a:pt x="43" y="5"/>
                  <a:pt x="40" y="7"/>
                  <a:pt x="36" y="5"/>
                </a:cubicBezTo>
                <a:cubicBezTo>
                  <a:pt x="33" y="4"/>
                  <a:pt x="30" y="1"/>
                  <a:pt x="26" y="1"/>
                </a:cubicBezTo>
                <a:cubicBezTo>
                  <a:pt x="26" y="3"/>
                  <a:pt x="24" y="7"/>
                  <a:pt x="21" y="7"/>
                </a:cubicBezTo>
                <a:cubicBezTo>
                  <a:pt x="20" y="8"/>
                  <a:pt x="16" y="7"/>
                  <a:pt x="16" y="5"/>
                </a:cubicBezTo>
                <a:cubicBezTo>
                  <a:pt x="16" y="5"/>
                  <a:pt x="16" y="5"/>
                  <a:pt x="16" y="5"/>
                </a:cubicBezTo>
                <a:cubicBezTo>
                  <a:pt x="16" y="5"/>
                  <a:pt x="16" y="5"/>
                  <a:pt x="16" y="5"/>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nvGrpSpPr>
          <p:cNvPr id="150" name="Group 149">
            <a:extLst>
              <a:ext uri="{FF2B5EF4-FFF2-40B4-BE49-F238E27FC236}">
                <a16:creationId xmlns:a16="http://schemas.microsoft.com/office/drawing/2014/main" id="{B9311446-A05E-1936-C7C9-2C2D67E57428}"/>
              </a:ext>
            </a:extLst>
          </p:cNvPr>
          <p:cNvGrpSpPr/>
          <p:nvPr>
            <p:custDataLst>
              <p:tags r:id="rId92"/>
            </p:custDataLst>
          </p:nvPr>
        </p:nvGrpSpPr>
        <p:grpSpPr>
          <a:xfrm>
            <a:off x="4532268" y="2539979"/>
            <a:ext cx="180195" cy="197215"/>
            <a:chOff x="5908675" y="2652714"/>
            <a:chExt cx="285750" cy="312738"/>
          </a:xfrm>
        </p:grpSpPr>
        <p:sp>
          <p:nvSpPr>
            <p:cNvPr id="151" name="Freeform 211">
              <a:extLst>
                <a:ext uri="{FF2B5EF4-FFF2-40B4-BE49-F238E27FC236}">
                  <a16:creationId xmlns:a16="http://schemas.microsoft.com/office/drawing/2014/main" id="{C4278BF3-C0D6-18A5-F929-4746B7F04B9D}"/>
                </a:ext>
              </a:extLst>
            </p:cNvPr>
            <p:cNvSpPr/>
            <p:nvPr>
              <p:custDataLst>
                <p:tags r:id="rId282"/>
              </p:custDataLst>
            </p:nvPr>
          </p:nvSpPr>
          <p:spPr bwMode="auto">
            <a:xfrm>
              <a:off x="5908675" y="2652714"/>
              <a:ext cx="285750" cy="312738"/>
            </a:xfrm>
            <a:custGeom>
              <a:avLst/>
              <a:gdLst>
                <a:gd name="T0" fmla="*/ 31 w 154"/>
                <a:gd name="T1" fmla="*/ 152 h 169"/>
                <a:gd name="T2" fmla="*/ 34 w 154"/>
                <a:gd name="T3" fmla="*/ 163 h 169"/>
                <a:gd name="T4" fmla="*/ 51 w 154"/>
                <a:gd name="T5" fmla="*/ 160 h 169"/>
                <a:gd name="T6" fmla="*/ 71 w 154"/>
                <a:gd name="T7" fmla="*/ 164 h 169"/>
                <a:gd name="T8" fmla="*/ 79 w 154"/>
                <a:gd name="T9" fmla="*/ 163 h 169"/>
                <a:gd name="T10" fmla="*/ 99 w 154"/>
                <a:gd name="T11" fmla="*/ 163 h 169"/>
                <a:gd name="T12" fmla="*/ 118 w 154"/>
                <a:gd name="T13" fmla="*/ 162 h 169"/>
                <a:gd name="T14" fmla="*/ 122 w 154"/>
                <a:gd name="T15" fmla="*/ 149 h 169"/>
                <a:gd name="T16" fmla="*/ 134 w 154"/>
                <a:gd name="T17" fmla="*/ 140 h 169"/>
                <a:gd name="T18" fmla="*/ 113 w 154"/>
                <a:gd name="T19" fmla="*/ 121 h 169"/>
                <a:gd name="T20" fmla="*/ 108 w 154"/>
                <a:gd name="T21" fmla="*/ 109 h 169"/>
                <a:gd name="T22" fmla="*/ 115 w 154"/>
                <a:gd name="T23" fmla="*/ 100 h 169"/>
                <a:gd name="T24" fmla="*/ 136 w 154"/>
                <a:gd name="T25" fmla="*/ 92 h 169"/>
                <a:gd name="T26" fmla="*/ 148 w 154"/>
                <a:gd name="T27" fmla="*/ 87 h 169"/>
                <a:gd name="T28" fmla="*/ 152 w 154"/>
                <a:gd name="T29" fmla="*/ 79 h 169"/>
                <a:gd name="T30" fmla="*/ 148 w 154"/>
                <a:gd name="T31" fmla="*/ 68 h 169"/>
                <a:gd name="T32" fmla="*/ 147 w 154"/>
                <a:gd name="T33" fmla="*/ 57 h 169"/>
                <a:gd name="T34" fmla="*/ 141 w 154"/>
                <a:gd name="T35" fmla="*/ 46 h 169"/>
                <a:gd name="T36" fmla="*/ 143 w 154"/>
                <a:gd name="T37" fmla="*/ 30 h 169"/>
                <a:gd name="T38" fmla="*/ 137 w 154"/>
                <a:gd name="T39" fmla="*/ 24 h 169"/>
                <a:gd name="T40" fmla="*/ 131 w 154"/>
                <a:gd name="T41" fmla="*/ 17 h 169"/>
                <a:gd name="T42" fmla="*/ 117 w 154"/>
                <a:gd name="T43" fmla="*/ 11 h 169"/>
                <a:gd name="T44" fmla="*/ 106 w 154"/>
                <a:gd name="T45" fmla="*/ 17 h 169"/>
                <a:gd name="T46" fmla="*/ 90 w 154"/>
                <a:gd name="T47" fmla="*/ 21 h 169"/>
                <a:gd name="T48" fmla="*/ 86 w 154"/>
                <a:gd name="T49" fmla="*/ 12 h 169"/>
                <a:gd name="T50" fmla="*/ 74 w 154"/>
                <a:gd name="T51" fmla="*/ 12 h 169"/>
                <a:gd name="T52" fmla="*/ 68 w 154"/>
                <a:gd name="T53" fmla="*/ 8 h 169"/>
                <a:gd name="T54" fmla="*/ 67 w 154"/>
                <a:gd name="T55" fmla="*/ 3 h 169"/>
                <a:gd name="T56" fmla="*/ 48 w 154"/>
                <a:gd name="T57" fmla="*/ 0 h 169"/>
                <a:gd name="T58" fmla="*/ 50 w 154"/>
                <a:gd name="T59" fmla="*/ 10 h 169"/>
                <a:gd name="T60" fmla="*/ 52 w 154"/>
                <a:gd name="T61" fmla="*/ 14 h 169"/>
                <a:gd name="T62" fmla="*/ 60 w 154"/>
                <a:gd name="T63" fmla="*/ 24 h 169"/>
                <a:gd name="T64" fmla="*/ 61 w 154"/>
                <a:gd name="T65" fmla="*/ 27 h 169"/>
                <a:gd name="T66" fmla="*/ 46 w 154"/>
                <a:gd name="T67" fmla="*/ 23 h 169"/>
                <a:gd name="T68" fmla="*/ 46 w 154"/>
                <a:gd name="T69" fmla="*/ 33 h 169"/>
                <a:gd name="T70" fmla="*/ 42 w 154"/>
                <a:gd name="T71" fmla="*/ 31 h 169"/>
                <a:gd name="T72" fmla="*/ 35 w 154"/>
                <a:gd name="T73" fmla="*/ 28 h 169"/>
                <a:gd name="T74" fmla="*/ 26 w 154"/>
                <a:gd name="T75" fmla="*/ 28 h 169"/>
                <a:gd name="T76" fmla="*/ 24 w 154"/>
                <a:gd name="T77" fmla="*/ 37 h 169"/>
                <a:gd name="T78" fmla="*/ 19 w 154"/>
                <a:gd name="T79" fmla="*/ 51 h 169"/>
                <a:gd name="T80" fmla="*/ 15 w 154"/>
                <a:gd name="T81" fmla="*/ 67 h 169"/>
                <a:gd name="T82" fmla="*/ 6 w 154"/>
                <a:gd name="T83" fmla="*/ 75 h 169"/>
                <a:gd name="T84" fmla="*/ 8 w 154"/>
                <a:gd name="T85" fmla="*/ 98 h 169"/>
                <a:gd name="T86" fmla="*/ 6 w 154"/>
                <a:gd name="T87" fmla="*/ 110 h 169"/>
                <a:gd name="T88" fmla="*/ 14 w 154"/>
                <a:gd name="T89" fmla="*/ 126 h 169"/>
                <a:gd name="T90" fmla="*/ 28 w 154"/>
                <a:gd name="T91" fmla="*/ 129 h 169"/>
                <a:gd name="T92" fmla="*/ 38 w 154"/>
                <a:gd name="T93" fmla="*/ 140 h 169"/>
                <a:gd name="T94" fmla="*/ 33 w 154"/>
                <a:gd name="T95" fmla="*/ 14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169">
                  <a:moveTo>
                    <a:pt x="33" y="145"/>
                  </a:moveTo>
                  <a:cubicBezTo>
                    <a:pt x="32" y="146"/>
                    <a:pt x="31" y="147"/>
                    <a:pt x="31" y="148"/>
                  </a:cubicBezTo>
                  <a:cubicBezTo>
                    <a:pt x="30" y="149"/>
                    <a:pt x="31" y="151"/>
                    <a:pt x="31" y="152"/>
                  </a:cubicBezTo>
                  <a:cubicBezTo>
                    <a:pt x="30" y="155"/>
                    <a:pt x="29" y="158"/>
                    <a:pt x="30" y="161"/>
                  </a:cubicBezTo>
                  <a:cubicBezTo>
                    <a:pt x="30" y="161"/>
                    <a:pt x="31" y="163"/>
                    <a:pt x="31" y="163"/>
                  </a:cubicBezTo>
                  <a:cubicBezTo>
                    <a:pt x="32" y="163"/>
                    <a:pt x="33" y="163"/>
                    <a:pt x="34" y="163"/>
                  </a:cubicBezTo>
                  <a:cubicBezTo>
                    <a:pt x="37" y="163"/>
                    <a:pt x="40" y="162"/>
                    <a:pt x="42" y="161"/>
                  </a:cubicBezTo>
                  <a:cubicBezTo>
                    <a:pt x="44" y="160"/>
                    <a:pt x="46" y="158"/>
                    <a:pt x="48" y="159"/>
                  </a:cubicBezTo>
                  <a:cubicBezTo>
                    <a:pt x="49" y="159"/>
                    <a:pt x="50" y="160"/>
                    <a:pt x="51" y="160"/>
                  </a:cubicBezTo>
                  <a:cubicBezTo>
                    <a:pt x="52" y="161"/>
                    <a:pt x="54" y="161"/>
                    <a:pt x="55" y="161"/>
                  </a:cubicBezTo>
                  <a:cubicBezTo>
                    <a:pt x="58" y="162"/>
                    <a:pt x="60" y="163"/>
                    <a:pt x="63" y="163"/>
                  </a:cubicBezTo>
                  <a:cubicBezTo>
                    <a:pt x="65" y="164"/>
                    <a:pt x="68" y="164"/>
                    <a:pt x="71" y="164"/>
                  </a:cubicBezTo>
                  <a:cubicBezTo>
                    <a:pt x="72" y="165"/>
                    <a:pt x="73" y="166"/>
                    <a:pt x="73" y="166"/>
                  </a:cubicBezTo>
                  <a:cubicBezTo>
                    <a:pt x="74" y="167"/>
                    <a:pt x="75" y="169"/>
                    <a:pt x="75" y="168"/>
                  </a:cubicBezTo>
                  <a:cubicBezTo>
                    <a:pt x="77" y="167"/>
                    <a:pt x="78" y="165"/>
                    <a:pt x="79" y="163"/>
                  </a:cubicBezTo>
                  <a:cubicBezTo>
                    <a:pt x="81" y="161"/>
                    <a:pt x="83" y="162"/>
                    <a:pt x="86" y="163"/>
                  </a:cubicBezTo>
                  <a:cubicBezTo>
                    <a:pt x="88" y="165"/>
                    <a:pt x="89" y="167"/>
                    <a:pt x="92" y="165"/>
                  </a:cubicBezTo>
                  <a:cubicBezTo>
                    <a:pt x="94" y="164"/>
                    <a:pt x="96" y="163"/>
                    <a:pt x="99" y="163"/>
                  </a:cubicBezTo>
                  <a:cubicBezTo>
                    <a:pt x="102" y="162"/>
                    <a:pt x="104" y="162"/>
                    <a:pt x="107" y="161"/>
                  </a:cubicBezTo>
                  <a:cubicBezTo>
                    <a:pt x="110" y="160"/>
                    <a:pt x="112" y="160"/>
                    <a:pt x="114" y="161"/>
                  </a:cubicBezTo>
                  <a:cubicBezTo>
                    <a:pt x="115" y="162"/>
                    <a:pt x="117" y="162"/>
                    <a:pt x="118" y="162"/>
                  </a:cubicBezTo>
                  <a:cubicBezTo>
                    <a:pt x="120" y="162"/>
                    <a:pt x="119" y="161"/>
                    <a:pt x="119" y="160"/>
                  </a:cubicBezTo>
                  <a:cubicBezTo>
                    <a:pt x="118" y="158"/>
                    <a:pt x="116" y="155"/>
                    <a:pt x="117" y="153"/>
                  </a:cubicBezTo>
                  <a:cubicBezTo>
                    <a:pt x="117" y="150"/>
                    <a:pt x="120" y="150"/>
                    <a:pt x="122" y="149"/>
                  </a:cubicBezTo>
                  <a:cubicBezTo>
                    <a:pt x="124" y="149"/>
                    <a:pt x="125" y="148"/>
                    <a:pt x="126" y="145"/>
                  </a:cubicBezTo>
                  <a:cubicBezTo>
                    <a:pt x="127" y="142"/>
                    <a:pt x="130" y="143"/>
                    <a:pt x="132" y="142"/>
                  </a:cubicBezTo>
                  <a:cubicBezTo>
                    <a:pt x="133" y="142"/>
                    <a:pt x="133" y="141"/>
                    <a:pt x="134" y="140"/>
                  </a:cubicBezTo>
                  <a:cubicBezTo>
                    <a:pt x="134" y="139"/>
                    <a:pt x="135" y="139"/>
                    <a:pt x="133" y="138"/>
                  </a:cubicBezTo>
                  <a:cubicBezTo>
                    <a:pt x="131" y="135"/>
                    <a:pt x="129" y="134"/>
                    <a:pt x="126" y="132"/>
                  </a:cubicBezTo>
                  <a:cubicBezTo>
                    <a:pt x="122" y="129"/>
                    <a:pt x="117" y="126"/>
                    <a:pt x="113" y="121"/>
                  </a:cubicBezTo>
                  <a:cubicBezTo>
                    <a:pt x="111" y="120"/>
                    <a:pt x="110" y="117"/>
                    <a:pt x="111" y="115"/>
                  </a:cubicBezTo>
                  <a:cubicBezTo>
                    <a:pt x="111" y="114"/>
                    <a:pt x="111" y="113"/>
                    <a:pt x="110" y="112"/>
                  </a:cubicBezTo>
                  <a:cubicBezTo>
                    <a:pt x="110" y="111"/>
                    <a:pt x="109" y="110"/>
                    <a:pt x="108" y="109"/>
                  </a:cubicBezTo>
                  <a:cubicBezTo>
                    <a:pt x="107" y="108"/>
                    <a:pt x="107" y="105"/>
                    <a:pt x="108" y="104"/>
                  </a:cubicBezTo>
                  <a:cubicBezTo>
                    <a:pt x="109" y="104"/>
                    <a:pt x="110" y="103"/>
                    <a:pt x="111" y="102"/>
                  </a:cubicBezTo>
                  <a:cubicBezTo>
                    <a:pt x="112" y="101"/>
                    <a:pt x="114" y="101"/>
                    <a:pt x="115" y="100"/>
                  </a:cubicBezTo>
                  <a:cubicBezTo>
                    <a:pt x="117" y="100"/>
                    <a:pt x="120" y="100"/>
                    <a:pt x="122" y="99"/>
                  </a:cubicBezTo>
                  <a:cubicBezTo>
                    <a:pt x="125" y="98"/>
                    <a:pt x="127" y="97"/>
                    <a:pt x="129" y="95"/>
                  </a:cubicBezTo>
                  <a:cubicBezTo>
                    <a:pt x="131" y="94"/>
                    <a:pt x="134" y="93"/>
                    <a:pt x="136" y="92"/>
                  </a:cubicBezTo>
                  <a:cubicBezTo>
                    <a:pt x="139" y="92"/>
                    <a:pt x="142" y="91"/>
                    <a:pt x="143" y="89"/>
                  </a:cubicBezTo>
                  <a:cubicBezTo>
                    <a:pt x="144" y="88"/>
                    <a:pt x="144" y="87"/>
                    <a:pt x="145" y="87"/>
                  </a:cubicBezTo>
                  <a:cubicBezTo>
                    <a:pt x="146" y="86"/>
                    <a:pt x="147" y="87"/>
                    <a:pt x="148" y="87"/>
                  </a:cubicBezTo>
                  <a:cubicBezTo>
                    <a:pt x="149" y="87"/>
                    <a:pt x="150" y="88"/>
                    <a:pt x="151" y="88"/>
                  </a:cubicBezTo>
                  <a:cubicBezTo>
                    <a:pt x="152" y="89"/>
                    <a:pt x="152" y="88"/>
                    <a:pt x="153" y="87"/>
                  </a:cubicBezTo>
                  <a:cubicBezTo>
                    <a:pt x="153" y="84"/>
                    <a:pt x="154" y="82"/>
                    <a:pt x="152" y="79"/>
                  </a:cubicBezTo>
                  <a:cubicBezTo>
                    <a:pt x="152" y="78"/>
                    <a:pt x="151" y="77"/>
                    <a:pt x="150" y="76"/>
                  </a:cubicBezTo>
                  <a:cubicBezTo>
                    <a:pt x="149" y="75"/>
                    <a:pt x="149" y="74"/>
                    <a:pt x="148" y="72"/>
                  </a:cubicBezTo>
                  <a:cubicBezTo>
                    <a:pt x="148" y="71"/>
                    <a:pt x="148" y="69"/>
                    <a:pt x="148" y="68"/>
                  </a:cubicBezTo>
                  <a:cubicBezTo>
                    <a:pt x="148" y="67"/>
                    <a:pt x="149" y="66"/>
                    <a:pt x="149" y="64"/>
                  </a:cubicBezTo>
                  <a:cubicBezTo>
                    <a:pt x="149" y="63"/>
                    <a:pt x="149" y="62"/>
                    <a:pt x="148" y="61"/>
                  </a:cubicBezTo>
                  <a:cubicBezTo>
                    <a:pt x="148" y="59"/>
                    <a:pt x="147" y="59"/>
                    <a:pt x="147" y="57"/>
                  </a:cubicBezTo>
                  <a:cubicBezTo>
                    <a:pt x="146" y="56"/>
                    <a:pt x="147" y="54"/>
                    <a:pt x="147" y="53"/>
                  </a:cubicBezTo>
                  <a:cubicBezTo>
                    <a:pt x="147" y="52"/>
                    <a:pt x="146" y="51"/>
                    <a:pt x="146" y="51"/>
                  </a:cubicBezTo>
                  <a:cubicBezTo>
                    <a:pt x="144" y="49"/>
                    <a:pt x="142" y="48"/>
                    <a:pt x="141" y="46"/>
                  </a:cubicBezTo>
                  <a:cubicBezTo>
                    <a:pt x="139" y="44"/>
                    <a:pt x="140" y="43"/>
                    <a:pt x="142" y="41"/>
                  </a:cubicBezTo>
                  <a:cubicBezTo>
                    <a:pt x="144" y="39"/>
                    <a:pt x="144" y="37"/>
                    <a:pt x="144" y="34"/>
                  </a:cubicBezTo>
                  <a:cubicBezTo>
                    <a:pt x="143" y="33"/>
                    <a:pt x="143" y="31"/>
                    <a:pt x="143" y="30"/>
                  </a:cubicBezTo>
                  <a:cubicBezTo>
                    <a:pt x="142" y="29"/>
                    <a:pt x="143" y="27"/>
                    <a:pt x="142" y="27"/>
                  </a:cubicBezTo>
                  <a:cubicBezTo>
                    <a:pt x="141" y="26"/>
                    <a:pt x="140" y="26"/>
                    <a:pt x="139" y="26"/>
                  </a:cubicBezTo>
                  <a:cubicBezTo>
                    <a:pt x="138" y="25"/>
                    <a:pt x="137" y="25"/>
                    <a:pt x="137" y="24"/>
                  </a:cubicBezTo>
                  <a:cubicBezTo>
                    <a:pt x="137" y="22"/>
                    <a:pt x="141" y="23"/>
                    <a:pt x="141" y="22"/>
                  </a:cubicBezTo>
                  <a:cubicBezTo>
                    <a:pt x="141" y="20"/>
                    <a:pt x="138" y="19"/>
                    <a:pt x="137" y="19"/>
                  </a:cubicBezTo>
                  <a:cubicBezTo>
                    <a:pt x="135" y="18"/>
                    <a:pt x="134" y="17"/>
                    <a:pt x="131" y="17"/>
                  </a:cubicBezTo>
                  <a:cubicBezTo>
                    <a:pt x="129" y="17"/>
                    <a:pt x="127" y="17"/>
                    <a:pt x="125" y="15"/>
                  </a:cubicBezTo>
                  <a:cubicBezTo>
                    <a:pt x="124" y="14"/>
                    <a:pt x="123" y="11"/>
                    <a:pt x="122" y="11"/>
                  </a:cubicBezTo>
                  <a:cubicBezTo>
                    <a:pt x="121" y="10"/>
                    <a:pt x="118" y="11"/>
                    <a:pt x="117" y="11"/>
                  </a:cubicBezTo>
                  <a:cubicBezTo>
                    <a:pt x="115" y="12"/>
                    <a:pt x="112" y="12"/>
                    <a:pt x="110" y="12"/>
                  </a:cubicBezTo>
                  <a:cubicBezTo>
                    <a:pt x="109" y="12"/>
                    <a:pt x="108" y="13"/>
                    <a:pt x="107" y="14"/>
                  </a:cubicBezTo>
                  <a:cubicBezTo>
                    <a:pt x="107" y="15"/>
                    <a:pt x="107" y="16"/>
                    <a:pt x="106" y="17"/>
                  </a:cubicBezTo>
                  <a:cubicBezTo>
                    <a:pt x="104" y="17"/>
                    <a:pt x="103" y="17"/>
                    <a:pt x="102" y="17"/>
                  </a:cubicBezTo>
                  <a:cubicBezTo>
                    <a:pt x="100" y="17"/>
                    <a:pt x="99" y="18"/>
                    <a:pt x="98" y="18"/>
                  </a:cubicBezTo>
                  <a:cubicBezTo>
                    <a:pt x="95" y="19"/>
                    <a:pt x="93" y="21"/>
                    <a:pt x="90" y="21"/>
                  </a:cubicBezTo>
                  <a:cubicBezTo>
                    <a:pt x="88" y="21"/>
                    <a:pt x="85" y="22"/>
                    <a:pt x="84" y="20"/>
                  </a:cubicBezTo>
                  <a:cubicBezTo>
                    <a:pt x="84" y="18"/>
                    <a:pt x="86" y="16"/>
                    <a:pt x="87" y="14"/>
                  </a:cubicBezTo>
                  <a:cubicBezTo>
                    <a:pt x="88" y="13"/>
                    <a:pt x="89" y="11"/>
                    <a:pt x="86" y="12"/>
                  </a:cubicBezTo>
                  <a:cubicBezTo>
                    <a:pt x="84" y="12"/>
                    <a:pt x="83" y="13"/>
                    <a:pt x="81" y="12"/>
                  </a:cubicBezTo>
                  <a:cubicBezTo>
                    <a:pt x="80" y="11"/>
                    <a:pt x="79" y="11"/>
                    <a:pt x="77" y="11"/>
                  </a:cubicBezTo>
                  <a:cubicBezTo>
                    <a:pt x="76" y="10"/>
                    <a:pt x="76" y="11"/>
                    <a:pt x="74" y="12"/>
                  </a:cubicBezTo>
                  <a:cubicBezTo>
                    <a:pt x="74" y="12"/>
                    <a:pt x="73" y="11"/>
                    <a:pt x="73" y="10"/>
                  </a:cubicBezTo>
                  <a:cubicBezTo>
                    <a:pt x="72" y="9"/>
                    <a:pt x="71" y="9"/>
                    <a:pt x="70" y="9"/>
                  </a:cubicBezTo>
                  <a:cubicBezTo>
                    <a:pt x="69" y="10"/>
                    <a:pt x="68" y="9"/>
                    <a:pt x="68" y="8"/>
                  </a:cubicBezTo>
                  <a:cubicBezTo>
                    <a:pt x="68" y="7"/>
                    <a:pt x="69" y="7"/>
                    <a:pt x="70" y="6"/>
                  </a:cubicBezTo>
                  <a:cubicBezTo>
                    <a:pt x="71" y="5"/>
                    <a:pt x="71" y="4"/>
                    <a:pt x="70" y="3"/>
                  </a:cubicBezTo>
                  <a:cubicBezTo>
                    <a:pt x="69" y="2"/>
                    <a:pt x="68" y="3"/>
                    <a:pt x="67" y="3"/>
                  </a:cubicBezTo>
                  <a:cubicBezTo>
                    <a:pt x="64" y="3"/>
                    <a:pt x="62" y="2"/>
                    <a:pt x="59" y="1"/>
                  </a:cubicBezTo>
                  <a:cubicBezTo>
                    <a:pt x="56" y="0"/>
                    <a:pt x="53" y="0"/>
                    <a:pt x="50" y="0"/>
                  </a:cubicBezTo>
                  <a:cubicBezTo>
                    <a:pt x="49" y="0"/>
                    <a:pt x="48" y="0"/>
                    <a:pt x="48" y="0"/>
                  </a:cubicBezTo>
                  <a:cubicBezTo>
                    <a:pt x="48" y="1"/>
                    <a:pt x="49" y="2"/>
                    <a:pt x="50" y="3"/>
                  </a:cubicBezTo>
                  <a:cubicBezTo>
                    <a:pt x="51" y="4"/>
                    <a:pt x="51" y="5"/>
                    <a:pt x="52" y="6"/>
                  </a:cubicBezTo>
                  <a:cubicBezTo>
                    <a:pt x="54" y="7"/>
                    <a:pt x="51" y="9"/>
                    <a:pt x="50" y="10"/>
                  </a:cubicBezTo>
                  <a:cubicBezTo>
                    <a:pt x="49" y="10"/>
                    <a:pt x="48" y="10"/>
                    <a:pt x="48" y="11"/>
                  </a:cubicBezTo>
                  <a:cubicBezTo>
                    <a:pt x="47" y="12"/>
                    <a:pt x="47" y="13"/>
                    <a:pt x="48" y="14"/>
                  </a:cubicBezTo>
                  <a:cubicBezTo>
                    <a:pt x="49" y="14"/>
                    <a:pt x="53" y="12"/>
                    <a:pt x="52" y="14"/>
                  </a:cubicBezTo>
                  <a:cubicBezTo>
                    <a:pt x="51" y="16"/>
                    <a:pt x="50" y="19"/>
                    <a:pt x="53" y="20"/>
                  </a:cubicBezTo>
                  <a:cubicBezTo>
                    <a:pt x="54" y="20"/>
                    <a:pt x="55" y="20"/>
                    <a:pt x="56" y="21"/>
                  </a:cubicBezTo>
                  <a:cubicBezTo>
                    <a:pt x="57" y="22"/>
                    <a:pt x="59" y="23"/>
                    <a:pt x="60" y="24"/>
                  </a:cubicBezTo>
                  <a:cubicBezTo>
                    <a:pt x="62" y="25"/>
                    <a:pt x="64" y="27"/>
                    <a:pt x="65" y="29"/>
                  </a:cubicBezTo>
                  <a:cubicBezTo>
                    <a:pt x="65" y="30"/>
                    <a:pt x="64" y="29"/>
                    <a:pt x="64" y="29"/>
                  </a:cubicBezTo>
                  <a:cubicBezTo>
                    <a:pt x="63" y="28"/>
                    <a:pt x="62" y="28"/>
                    <a:pt x="61" y="27"/>
                  </a:cubicBezTo>
                  <a:cubicBezTo>
                    <a:pt x="59" y="25"/>
                    <a:pt x="57" y="24"/>
                    <a:pt x="54" y="24"/>
                  </a:cubicBezTo>
                  <a:cubicBezTo>
                    <a:pt x="53" y="24"/>
                    <a:pt x="52" y="24"/>
                    <a:pt x="50" y="24"/>
                  </a:cubicBezTo>
                  <a:cubicBezTo>
                    <a:pt x="49" y="24"/>
                    <a:pt x="47" y="23"/>
                    <a:pt x="46" y="23"/>
                  </a:cubicBezTo>
                  <a:cubicBezTo>
                    <a:pt x="44" y="24"/>
                    <a:pt x="45" y="26"/>
                    <a:pt x="46" y="27"/>
                  </a:cubicBezTo>
                  <a:cubicBezTo>
                    <a:pt x="46" y="28"/>
                    <a:pt x="46" y="30"/>
                    <a:pt x="46" y="31"/>
                  </a:cubicBezTo>
                  <a:cubicBezTo>
                    <a:pt x="47" y="32"/>
                    <a:pt x="47" y="32"/>
                    <a:pt x="46" y="33"/>
                  </a:cubicBezTo>
                  <a:cubicBezTo>
                    <a:pt x="45" y="35"/>
                    <a:pt x="43" y="35"/>
                    <a:pt x="44" y="33"/>
                  </a:cubicBezTo>
                  <a:cubicBezTo>
                    <a:pt x="44" y="33"/>
                    <a:pt x="44" y="32"/>
                    <a:pt x="44" y="31"/>
                  </a:cubicBezTo>
                  <a:cubicBezTo>
                    <a:pt x="43" y="30"/>
                    <a:pt x="42" y="30"/>
                    <a:pt x="42" y="31"/>
                  </a:cubicBezTo>
                  <a:cubicBezTo>
                    <a:pt x="41" y="32"/>
                    <a:pt x="40" y="34"/>
                    <a:pt x="38" y="33"/>
                  </a:cubicBezTo>
                  <a:cubicBezTo>
                    <a:pt x="37" y="32"/>
                    <a:pt x="38" y="31"/>
                    <a:pt x="37" y="30"/>
                  </a:cubicBezTo>
                  <a:cubicBezTo>
                    <a:pt x="37" y="29"/>
                    <a:pt x="36" y="28"/>
                    <a:pt x="35" y="28"/>
                  </a:cubicBezTo>
                  <a:cubicBezTo>
                    <a:pt x="34" y="27"/>
                    <a:pt x="33" y="28"/>
                    <a:pt x="32" y="27"/>
                  </a:cubicBezTo>
                  <a:cubicBezTo>
                    <a:pt x="31" y="27"/>
                    <a:pt x="31" y="26"/>
                    <a:pt x="29" y="26"/>
                  </a:cubicBezTo>
                  <a:cubicBezTo>
                    <a:pt x="28" y="26"/>
                    <a:pt x="27" y="27"/>
                    <a:pt x="26" y="28"/>
                  </a:cubicBezTo>
                  <a:cubicBezTo>
                    <a:pt x="26" y="29"/>
                    <a:pt x="25" y="29"/>
                    <a:pt x="23" y="29"/>
                  </a:cubicBezTo>
                  <a:cubicBezTo>
                    <a:pt x="22" y="29"/>
                    <a:pt x="20" y="32"/>
                    <a:pt x="21" y="33"/>
                  </a:cubicBezTo>
                  <a:cubicBezTo>
                    <a:pt x="22" y="34"/>
                    <a:pt x="25" y="35"/>
                    <a:pt x="24" y="37"/>
                  </a:cubicBezTo>
                  <a:cubicBezTo>
                    <a:pt x="23" y="37"/>
                    <a:pt x="24" y="39"/>
                    <a:pt x="24" y="40"/>
                  </a:cubicBezTo>
                  <a:cubicBezTo>
                    <a:pt x="24" y="42"/>
                    <a:pt x="24" y="43"/>
                    <a:pt x="23" y="44"/>
                  </a:cubicBezTo>
                  <a:cubicBezTo>
                    <a:pt x="22" y="47"/>
                    <a:pt x="21" y="50"/>
                    <a:pt x="19" y="51"/>
                  </a:cubicBezTo>
                  <a:cubicBezTo>
                    <a:pt x="16" y="53"/>
                    <a:pt x="17" y="54"/>
                    <a:pt x="19" y="56"/>
                  </a:cubicBezTo>
                  <a:cubicBezTo>
                    <a:pt x="21" y="58"/>
                    <a:pt x="21" y="61"/>
                    <a:pt x="19" y="63"/>
                  </a:cubicBezTo>
                  <a:cubicBezTo>
                    <a:pt x="17" y="64"/>
                    <a:pt x="16" y="65"/>
                    <a:pt x="15" y="67"/>
                  </a:cubicBezTo>
                  <a:cubicBezTo>
                    <a:pt x="14" y="69"/>
                    <a:pt x="13" y="70"/>
                    <a:pt x="11" y="70"/>
                  </a:cubicBezTo>
                  <a:cubicBezTo>
                    <a:pt x="9" y="70"/>
                    <a:pt x="3" y="68"/>
                    <a:pt x="4" y="72"/>
                  </a:cubicBezTo>
                  <a:cubicBezTo>
                    <a:pt x="4" y="73"/>
                    <a:pt x="5" y="74"/>
                    <a:pt x="6" y="75"/>
                  </a:cubicBezTo>
                  <a:cubicBezTo>
                    <a:pt x="6" y="76"/>
                    <a:pt x="6" y="78"/>
                    <a:pt x="6" y="79"/>
                  </a:cubicBezTo>
                  <a:cubicBezTo>
                    <a:pt x="6" y="82"/>
                    <a:pt x="4" y="85"/>
                    <a:pt x="3" y="87"/>
                  </a:cubicBezTo>
                  <a:cubicBezTo>
                    <a:pt x="0" y="92"/>
                    <a:pt x="7" y="94"/>
                    <a:pt x="8" y="98"/>
                  </a:cubicBezTo>
                  <a:cubicBezTo>
                    <a:pt x="9" y="101"/>
                    <a:pt x="10" y="105"/>
                    <a:pt x="6" y="107"/>
                  </a:cubicBezTo>
                  <a:cubicBezTo>
                    <a:pt x="5" y="108"/>
                    <a:pt x="5" y="108"/>
                    <a:pt x="5" y="109"/>
                  </a:cubicBezTo>
                  <a:cubicBezTo>
                    <a:pt x="5" y="109"/>
                    <a:pt x="6" y="110"/>
                    <a:pt x="6" y="110"/>
                  </a:cubicBezTo>
                  <a:cubicBezTo>
                    <a:pt x="8" y="111"/>
                    <a:pt x="9" y="112"/>
                    <a:pt x="10" y="113"/>
                  </a:cubicBezTo>
                  <a:cubicBezTo>
                    <a:pt x="12" y="115"/>
                    <a:pt x="11" y="120"/>
                    <a:pt x="10" y="123"/>
                  </a:cubicBezTo>
                  <a:cubicBezTo>
                    <a:pt x="12" y="123"/>
                    <a:pt x="13" y="125"/>
                    <a:pt x="14" y="126"/>
                  </a:cubicBezTo>
                  <a:cubicBezTo>
                    <a:pt x="16" y="127"/>
                    <a:pt x="17" y="129"/>
                    <a:pt x="18" y="129"/>
                  </a:cubicBezTo>
                  <a:cubicBezTo>
                    <a:pt x="19" y="130"/>
                    <a:pt x="21" y="129"/>
                    <a:pt x="23" y="129"/>
                  </a:cubicBezTo>
                  <a:cubicBezTo>
                    <a:pt x="24" y="129"/>
                    <a:pt x="26" y="129"/>
                    <a:pt x="28" y="129"/>
                  </a:cubicBezTo>
                  <a:cubicBezTo>
                    <a:pt x="29" y="130"/>
                    <a:pt x="30" y="131"/>
                    <a:pt x="32" y="132"/>
                  </a:cubicBezTo>
                  <a:cubicBezTo>
                    <a:pt x="34" y="132"/>
                    <a:pt x="35" y="132"/>
                    <a:pt x="37" y="133"/>
                  </a:cubicBezTo>
                  <a:cubicBezTo>
                    <a:pt x="41" y="133"/>
                    <a:pt x="39" y="138"/>
                    <a:pt x="38" y="140"/>
                  </a:cubicBezTo>
                  <a:cubicBezTo>
                    <a:pt x="36" y="142"/>
                    <a:pt x="34" y="144"/>
                    <a:pt x="32" y="146"/>
                  </a:cubicBezTo>
                  <a:cubicBezTo>
                    <a:pt x="32" y="145"/>
                    <a:pt x="33" y="145"/>
                    <a:pt x="33" y="145"/>
                  </a:cubicBezTo>
                  <a:cubicBezTo>
                    <a:pt x="32" y="146"/>
                    <a:pt x="33" y="145"/>
                    <a:pt x="33" y="145"/>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52" name="Freeform 410">
              <a:extLst>
                <a:ext uri="{FF2B5EF4-FFF2-40B4-BE49-F238E27FC236}">
                  <a16:creationId xmlns:a16="http://schemas.microsoft.com/office/drawing/2014/main" id="{D7774ABA-BF64-A3E3-9AF9-01422DD1AB7A}"/>
                </a:ext>
              </a:extLst>
            </p:cNvPr>
            <p:cNvSpPr/>
            <p:nvPr>
              <p:custDataLst>
                <p:tags r:id="rId283"/>
              </p:custDataLst>
            </p:nvPr>
          </p:nvSpPr>
          <p:spPr bwMode="auto">
            <a:xfrm>
              <a:off x="6138863" y="2657476"/>
              <a:ext cx="19050" cy="20638"/>
            </a:xfrm>
            <a:custGeom>
              <a:avLst/>
              <a:gdLst>
                <a:gd name="T0" fmla="*/ 7 w 10"/>
                <a:gd name="T1" fmla="*/ 3 h 11"/>
                <a:gd name="T2" fmla="*/ 3 w 10"/>
                <a:gd name="T3" fmla="*/ 1 h 11"/>
                <a:gd name="T4" fmla="*/ 2 w 10"/>
                <a:gd name="T5" fmla="*/ 2 h 11"/>
                <a:gd name="T6" fmla="*/ 0 w 10"/>
                <a:gd name="T7" fmla="*/ 4 h 11"/>
                <a:gd name="T8" fmla="*/ 6 w 10"/>
                <a:gd name="T9" fmla="*/ 9 h 11"/>
                <a:gd name="T10" fmla="*/ 9 w 10"/>
                <a:gd name="T11" fmla="*/ 9 h 11"/>
                <a:gd name="T12" fmla="*/ 8 w 10"/>
                <a:gd name="T13" fmla="*/ 6 h 11"/>
                <a:gd name="T14" fmla="*/ 9 w 10"/>
                <a:gd name="T15" fmla="*/ 4 h 11"/>
                <a:gd name="T16" fmla="*/ 6 w 10"/>
                <a:gd name="T17" fmla="*/ 3 h 11"/>
                <a:gd name="T18" fmla="*/ 7 w 10"/>
                <a:gd name="T19" fmla="*/ 3 h 11"/>
                <a:gd name="T20" fmla="*/ 7 w 10"/>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1">
                  <a:moveTo>
                    <a:pt x="7" y="3"/>
                  </a:moveTo>
                  <a:cubicBezTo>
                    <a:pt x="5" y="2"/>
                    <a:pt x="5" y="0"/>
                    <a:pt x="3" y="1"/>
                  </a:cubicBezTo>
                  <a:cubicBezTo>
                    <a:pt x="3" y="1"/>
                    <a:pt x="2" y="1"/>
                    <a:pt x="2" y="2"/>
                  </a:cubicBezTo>
                  <a:cubicBezTo>
                    <a:pt x="1" y="3"/>
                    <a:pt x="0" y="3"/>
                    <a:pt x="0" y="4"/>
                  </a:cubicBezTo>
                  <a:cubicBezTo>
                    <a:pt x="0" y="7"/>
                    <a:pt x="3" y="11"/>
                    <a:pt x="6" y="9"/>
                  </a:cubicBezTo>
                  <a:cubicBezTo>
                    <a:pt x="7" y="8"/>
                    <a:pt x="8" y="10"/>
                    <a:pt x="9" y="9"/>
                  </a:cubicBezTo>
                  <a:cubicBezTo>
                    <a:pt x="10" y="7"/>
                    <a:pt x="9" y="7"/>
                    <a:pt x="8" y="6"/>
                  </a:cubicBezTo>
                  <a:cubicBezTo>
                    <a:pt x="7" y="6"/>
                    <a:pt x="10" y="4"/>
                    <a:pt x="9" y="4"/>
                  </a:cubicBezTo>
                  <a:cubicBezTo>
                    <a:pt x="8" y="3"/>
                    <a:pt x="7" y="3"/>
                    <a:pt x="6" y="3"/>
                  </a:cubicBezTo>
                  <a:cubicBezTo>
                    <a:pt x="6" y="3"/>
                    <a:pt x="6" y="3"/>
                    <a:pt x="7" y="3"/>
                  </a:cubicBezTo>
                  <a:cubicBezTo>
                    <a:pt x="6" y="2"/>
                    <a:pt x="7" y="3"/>
                    <a:pt x="7" y="3"/>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grpSp>
        <p:nvGrpSpPr>
          <p:cNvPr id="153" name="Group 152">
            <a:extLst>
              <a:ext uri="{FF2B5EF4-FFF2-40B4-BE49-F238E27FC236}">
                <a16:creationId xmlns:a16="http://schemas.microsoft.com/office/drawing/2014/main" id="{F9FC8185-DAE0-793F-ADE7-8C5A42A74FEA}"/>
              </a:ext>
            </a:extLst>
          </p:cNvPr>
          <p:cNvGrpSpPr/>
          <p:nvPr>
            <p:custDataLst>
              <p:tags r:id="rId93"/>
            </p:custDataLst>
          </p:nvPr>
        </p:nvGrpSpPr>
        <p:grpSpPr>
          <a:xfrm>
            <a:off x="4637383" y="2102503"/>
            <a:ext cx="257280" cy="423461"/>
            <a:chOff x="6075363" y="1958976"/>
            <a:chExt cx="407988" cy="671513"/>
          </a:xfrm>
        </p:grpSpPr>
        <p:sp>
          <p:nvSpPr>
            <p:cNvPr id="154" name="Freeform 408">
              <a:extLst>
                <a:ext uri="{FF2B5EF4-FFF2-40B4-BE49-F238E27FC236}">
                  <a16:creationId xmlns:a16="http://schemas.microsoft.com/office/drawing/2014/main" id="{D7C21997-0369-1513-168C-6F25DC5DAB72}"/>
                </a:ext>
              </a:extLst>
            </p:cNvPr>
            <p:cNvSpPr/>
            <p:nvPr>
              <p:custDataLst>
                <p:tags r:id="rId276"/>
              </p:custDataLst>
            </p:nvPr>
          </p:nvSpPr>
          <p:spPr bwMode="auto">
            <a:xfrm>
              <a:off x="6240463" y="2541589"/>
              <a:ext cx="26987" cy="44450"/>
            </a:xfrm>
            <a:custGeom>
              <a:avLst/>
              <a:gdLst>
                <a:gd name="T0" fmla="*/ 2 w 14"/>
                <a:gd name="T1" fmla="*/ 24 h 24"/>
                <a:gd name="T2" fmla="*/ 4 w 14"/>
                <a:gd name="T3" fmla="*/ 18 h 24"/>
                <a:gd name="T4" fmla="*/ 6 w 14"/>
                <a:gd name="T5" fmla="*/ 15 h 24"/>
                <a:gd name="T6" fmla="*/ 8 w 14"/>
                <a:gd name="T7" fmla="*/ 12 h 24"/>
                <a:gd name="T8" fmla="*/ 11 w 14"/>
                <a:gd name="T9" fmla="*/ 6 h 24"/>
                <a:gd name="T10" fmla="*/ 11 w 14"/>
                <a:gd name="T11" fmla="*/ 1 h 24"/>
                <a:gd name="T12" fmla="*/ 7 w 14"/>
                <a:gd name="T13" fmla="*/ 8 h 24"/>
                <a:gd name="T14" fmla="*/ 3 w 14"/>
                <a:gd name="T15" fmla="*/ 14 h 24"/>
                <a:gd name="T16" fmla="*/ 1 w 14"/>
                <a:gd name="T17" fmla="*/ 21 h 24"/>
                <a:gd name="T18" fmla="*/ 1 w 14"/>
                <a:gd name="T19" fmla="*/ 24 h 24"/>
                <a:gd name="T20" fmla="*/ 2 w 14"/>
                <a:gd name="T21" fmla="*/ 23 h 24"/>
                <a:gd name="T22" fmla="*/ 2 w 14"/>
                <a:gd name="T23" fmla="*/ 24 h 24"/>
                <a:gd name="T24" fmla="*/ 2 w 14"/>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4">
                  <a:moveTo>
                    <a:pt x="2" y="24"/>
                  </a:moveTo>
                  <a:cubicBezTo>
                    <a:pt x="4" y="23"/>
                    <a:pt x="4" y="20"/>
                    <a:pt x="4" y="18"/>
                  </a:cubicBezTo>
                  <a:cubicBezTo>
                    <a:pt x="5" y="17"/>
                    <a:pt x="5" y="16"/>
                    <a:pt x="6" y="15"/>
                  </a:cubicBezTo>
                  <a:cubicBezTo>
                    <a:pt x="6" y="14"/>
                    <a:pt x="7" y="13"/>
                    <a:pt x="8" y="12"/>
                  </a:cubicBezTo>
                  <a:cubicBezTo>
                    <a:pt x="10" y="10"/>
                    <a:pt x="9" y="8"/>
                    <a:pt x="11" y="6"/>
                  </a:cubicBezTo>
                  <a:cubicBezTo>
                    <a:pt x="11" y="5"/>
                    <a:pt x="14" y="0"/>
                    <a:pt x="11" y="1"/>
                  </a:cubicBezTo>
                  <a:cubicBezTo>
                    <a:pt x="9" y="2"/>
                    <a:pt x="8" y="6"/>
                    <a:pt x="7" y="8"/>
                  </a:cubicBezTo>
                  <a:cubicBezTo>
                    <a:pt x="6" y="10"/>
                    <a:pt x="5" y="12"/>
                    <a:pt x="3" y="14"/>
                  </a:cubicBezTo>
                  <a:cubicBezTo>
                    <a:pt x="1" y="16"/>
                    <a:pt x="1" y="18"/>
                    <a:pt x="1" y="21"/>
                  </a:cubicBezTo>
                  <a:cubicBezTo>
                    <a:pt x="1" y="22"/>
                    <a:pt x="0" y="23"/>
                    <a:pt x="1" y="24"/>
                  </a:cubicBezTo>
                  <a:cubicBezTo>
                    <a:pt x="1" y="24"/>
                    <a:pt x="2" y="23"/>
                    <a:pt x="2" y="23"/>
                  </a:cubicBezTo>
                  <a:cubicBezTo>
                    <a:pt x="2" y="24"/>
                    <a:pt x="2" y="24"/>
                    <a:pt x="2" y="24"/>
                  </a:cubicBezTo>
                  <a:cubicBezTo>
                    <a:pt x="4" y="23"/>
                    <a:pt x="2" y="24"/>
                    <a:pt x="2" y="24"/>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nvGrpSpPr>
            <p:cNvPr id="155" name="Group 154">
              <a:extLst>
                <a:ext uri="{FF2B5EF4-FFF2-40B4-BE49-F238E27FC236}">
                  <a16:creationId xmlns:a16="http://schemas.microsoft.com/office/drawing/2014/main" id="{1DB37EE1-53C9-315E-77FE-AF8EC8F64728}"/>
                </a:ext>
              </a:extLst>
            </p:cNvPr>
            <p:cNvGrpSpPr/>
            <p:nvPr>
              <p:custDataLst>
                <p:tags r:id="rId277"/>
              </p:custDataLst>
            </p:nvPr>
          </p:nvGrpSpPr>
          <p:grpSpPr>
            <a:xfrm>
              <a:off x="6075363" y="1958976"/>
              <a:ext cx="407988" cy="671513"/>
              <a:chOff x="6075363" y="1958976"/>
              <a:chExt cx="407988" cy="671513"/>
            </a:xfrm>
          </p:grpSpPr>
          <p:sp>
            <p:nvSpPr>
              <p:cNvPr id="156" name="Freeform 403">
                <a:extLst>
                  <a:ext uri="{FF2B5EF4-FFF2-40B4-BE49-F238E27FC236}">
                    <a16:creationId xmlns:a16="http://schemas.microsoft.com/office/drawing/2014/main" id="{19FC5D85-91CD-3E4A-FFE1-8551E6BD2468}"/>
                  </a:ext>
                </a:extLst>
              </p:cNvPr>
              <p:cNvSpPr/>
              <p:nvPr>
                <p:custDataLst>
                  <p:tags r:id="rId278"/>
                </p:custDataLst>
              </p:nvPr>
            </p:nvSpPr>
            <p:spPr bwMode="auto">
              <a:xfrm>
                <a:off x="6294438" y="2513014"/>
                <a:ext cx="31750" cy="46038"/>
              </a:xfrm>
              <a:custGeom>
                <a:avLst/>
                <a:gdLst>
                  <a:gd name="T0" fmla="*/ 15 w 17"/>
                  <a:gd name="T1" fmla="*/ 5 h 25"/>
                  <a:gd name="T2" fmla="*/ 17 w 17"/>
                  <a:gd name="T3" fmla="*/ 4 h 25"/>
                  <a:gd name="T4" fmla="*/ 16 w 17"/>
                  <a:gd name="T5" fmla="*/ 1 h 25"/>
                  <a:gd name="T6" fmla="*/ 12 w 17"/>
                  <a:gd name="T7" fmla="*/ 1 h 25"/>
                  <a:gd name="T8" fmla="*/ 8 w 17"/>
                  <a:gd name="T9" fmla="*/ 3 h 25"/>
                  <a:gd name="T10" fmla="*/ 4 w 17"/>
                  <a:gd name="T11" fmla="*/ 6 h 25"/>
                  <a:gd name="T12" fmla="*/ 1 w 17"/>
                  <a:gd name="T13" fmla="*/ 10 h 25"/>
                  <a:gd name="T14" fmla="*/ 0 w 17"/>
                  <a:gd name="T15" fmla="*/ 14 h 25"/>
                  <a:gd name="T16" fmla="*/ 1 w 17"/>
                  <a:gd name="T17" fmla="*/ 19 h 25"/>
                  <a:gd name="T18" fmla="*/ 1 w 17"/>
                  <a:gd name="T19" fmla="*/ 24 h 25"/>
                  <a:gd name="T20" fmla="*/ 2 w 17"/>
                  <a:gd name="T21" fmla="*/ 24 h 25"/>
                  <a:gd name="T22" fmla="*/ 5 w 17"/>
                  <a:gd name="T23" fmla="*/ 20 h 25"/>
                  <a:gd name="T24" fmla="*/ 9 w 17"/>
                  <a:gd name="T25" fmla="*/ 17 h 25"/>
                  <a:gd name="T26" fmla="*/ 12 w 17"/>
                  <a:gd name="T27" fmla="*/ 14 h 25"/>
                  <a:gd name="T28" fmla="*/ 12 w 17"/>
                  <a:gd name="T29" fmla="*/ 11 h 25"/>
                  <a:gd name="T30" fmla="*/ 16 w 17"/>
                  <a:gd name="T31" fmla="*/ 5 h 25"/>
                  <a:gd name="T32" fmla="*/ 15 w 17"/>
                  <a:gd name="T33" fmla="*/ 5 h 25"/>
                  <a:gd name="T34" fmla="*/ 15 w 17"/>
                  <a:gd name="T35"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25">
                    <a:moveTo>
                      <a:pt x="15" y="5"/>
                    </a:moveTo>
                    <a:cubicBezTo>
                      <a:pt x="16" y="5"/>
                      <a:pt x="17" y="5"/>
                      <a:pt x="17" y="4"/>
                    </a:cubicBezTo>
                    <a:cubicBezTo>
                      <a:pt x="17" y="3"/>
                      <a:pt x="17" y="1"/>
                      <a:pt x="16" y="1"/>
                    </a:cubicBezTo>
                    <a:cubicBezTo>
                      <a:pt x="15" y="0"/>
                      <a:pt x="13" y="1"/>
                      <a:pt x="12" y="1"/>
                    </a:cubicBezTo>
                    <a:cubicBezTo>
                      <a:pt x="11" y="2"/>
                      <a:pt x="9" y="2"/>
                      <a:pt x="8" y="3"/>
                    </a:cubicBezTo>
                    <a:cubicBezTo>
                      <a:pt x="6" y="4"/>
                      <a:pt x="5" y="5"/>
                      <a:pt x="4" y="6"/>
                    </a:cubicBezTo>
                    <a:cubicBezTo>
                      <a:pt x="3" y="7"/>
                      <a:pt x="2" y="8"/>
                      <a:pt x="1" y="10"/>
                    </a:cubicBezTo>
                    <a:cubicBezTo>
                      <a:pt x="0" y="11"/>
                      <a:pt x="0" y="13"/>
                      <a:pt x="0" y="14"/>
                    </a:cubicBezTo>
                    <a:cubicBezTo>
                      <a:pt x="0" y="16"/>
                      <a:pt x="0" y="17"/>
                      <a:pt x="1" y="19"/>
                    </a:cubicBezTo>
                    <a:cubicBezTo>
                      <a:pt x="1" y="21"/>
                      <a:pt x="1" y="22"/>
                      <a:pt x="1" y="24"/>
                    </a:cubicBezTo>
                    <a:cubicBezTo>
                      <a:pt x="0" y="25"/>
                      <a:pt x="1" y="25"/>
                      <a:pt x="2" y="24"/>
                    </a:cubicBezTo>
                    <a:cubicBezTo>
                      <a:pt x="3" y="23"/>
                      <a:pt x="4" y="21"/>
                      <a:pt x="5" y="20"/>
                    </a:cubicBezTo>
                    <a:cubicBezTo>
                      <a:pt x="6" y="19"/>
                      <a:pt x="7" y="18"/>
                      <a:pt x="9" y="17"/>
                    </a:cubicBezTo>
                    <a:cubicBezTo>
                      <a:pt x="10" y="16"/>
                      <a:pt x="11" y="15"/>
                      <a:pt x="12" y="14"/>
                    </a:cubicBezTo>
                    <a:cubicBezTo>
                      <a:pt x="14" y="13"/>
                      <a:pt x="13" y="12"/>
                      <a:pt x="12" y="11"/>
                    </a:cubicBezTo>
                    <a:cubicBezTo>
                      <a:pt x="9" y="8"/>
                      <a:pt x="13" y="6"/>
                      <a:pt x="16" y="5"/>
                    </a:cubicBezTo>
                    <a:cubicBezTo>
                      <a:pt x="16" y="5"/>
                      <a:pt x="15" y="5"/>
                      <a:pt x="15" y="5"/>
                    </a:cubicBezTo>
                    <a:cubicBezTo>
                      <a:pt x="16" y="5"/>
                      <a:pt x="15" y="5"/>
                      <a:pt x="15" y="5"/>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nvGrpSpPr>
              <p:cNvPr id="157" name="Group 156">
                <a:extLst>
                  <a:ext uri="{FF2B5EF4-FFF2-40B4-BE49-F238E27FC236}">
                    <a16:creationId xmlns:a16="http://schemas.microsoft.com/office/drawing/2014/main" id="{FAB704E9-115D-C1D0-F393-FA5766394795}"/>
                  </a:ext>
                </a:extLst>
              </p:cNvPr>
              <p:cNvGrpSpPr/>
              <p:nvPr>
                <p:custDataLst>
                  <p:tags r:id="rId279"/>
                </p:custDataLst>
              </p:nvPr>
            </p:nvGrpSpPr>
            <p:grpSpPr>
              <a:xfrm>
                <a:off x="6075363" y="1958976"/>
                <a:ext cx="407988" cy="671513"/>
                <a:chOff x="6075363" y="1958976"/>
                <a:chExt cx="407988" cy="671513"/>
              </a:xfrm>
            </p:grpSpPr>
            <p:sp>
              <p:nvSpPr>
                <p:cNvPr id="158" name="Freeform 219">
                  <a:extLst>
                    <a:ext uri="{FF2B5EF4-FFF2-40B4-BE49-F238E27FC236}">
                      <a16:creationId xmlns:a16="http://schemas.microsoft.com/office/drawing/2014/main" id="{2A4694F0-3AAB-CE64-16B7-7DCC58BE7274}"/>
                    </a:ext>
                  </a:extLst>
                </p:cNvPr>
                <p:cNvSpPr/>
                <p:nvPr>
                  <p:custDataLst>
                    <p:tags r:id="rId280"/>
                  </p:custDataLst>
                </p:nvPr>
              </p:nvSpPr>
              <p:spPr bwMode="auto">
                <a:xfrm>
                  <a:off x="6075363" y="1958976"/>
                  <a:ext cx="407988" cy="671513"/>
                </a:xfrm>
                <a:custGeom>
                  <a:avLst/>
                  <a:gdLst>
                    <a:gd name="T0" fmla="*/ 2 w 220"/>
                    <a:gd name="T1" fmla="*/ 286 h 362"/>
                    <a:gd name="T2" fmla="*/ 12 w 220"/>
                    <a:gd name="T3" fmla="*/ 290 h 362"/>
                    <a:gd name="T4" fmla="*/ 12 w 220"/>
                    <a:gd name="T5" fmla="*/ 304 h 362"/>
                    <a:gd name="T6" fmla="*/ 17 w 220"/>
                    <a:gd name="T7" fmla="*/ 319 h 362"/>
                    <a:gd name="T8" fmla="*/ 30 w 220"/>
                    <a:gd name="T9" fmla="*/ 333 h 362"/>
                    <a:gd name="T10" fmla="*/ 27 w 220"/>
                    <a:gd name="T11" fmla="*/ 347 h 362"/>
                    <a:gd name="T12" fmla="*/ 33 w 220"/>
                    <a:gd name="T13" fmla="*/ 362 h 362"/>
                    <a:gd name="T14" fmla="*/ 54 w 220"/>
                    <a:gd name="T15" fmla="*/ 355 h 362"/>
                    <a:gd name="T16" fmla="*/ 76 w 220"/>
                    <a:gd name="T17" fmla="*/ 343 h 362"/>
                    <a:gd name="T18" fmla="*/ 85 w 220"/>
                    <a:gd name="T19" fmla="*/ 336 h 362"/>
                    <a:gd name="T20" fmla="*/ 91 w 220"/>
                    <a:gd name="T21" fmla="*/ 315 h 362"/>
                    <a:gd name="T22" fmla="*/ 92 w 220"/>
                    <a:gd name="T23" fmla="*/ 300 h 362"/>
                    <a:gd name="T24" fmla="*/ 92 w 220"/>
                    <a:gd name="T25" fmla="*/ 288 h 362"/>
                    <a:gd name="T26" fmla="*/ 89 w 220"/>
                    <a:gd name="T27" fmla="*/ 283 h 362"/>
                    <a:gd name="T28" fmla="*/ 104 w 220"/>
                    <a:gd name="T29" fmla="*/ 280 h 362"/>
                    <a:gd name="T30" fmla="*/ 114 w 220"/>
                    <a:gd name="T31" fmla="*/ 273 h 362"/>
                    <a:gd name="T32" fmla="*/ 119 w 220"/>
                    <a:gd name="T33" fmla="*/ 264 h 362"/>
                    <a:gd name="T34" fmla="*/ 132 w 220"/>
                    <a:gd name="T35" fmla="*/ 246 h 362"/>
                    <a:gd name="T36" fmla="*/ 124 w 220"/>
                    <a:gd name="T37" fmla="*/ 238 h 362"/>
                    <a:gd name="T38" fmla="*/ 104 w 220"/>
                    <a:gd name="T39" fmla="*/ 229 h 362"/>
                    <a:gd name="T40" fmla="*/ 103 w 220"/>
                    <a:gd name="T41" fmla="*/ 204 h 362"/>
                    <a:gd name="T42" fmla="*/ 108 w 220"/>
                    <a:gd name="T43" fmla="*/ 196 h 362"/>
                    <a:gd name="T44" fmla="*/ 113 w 220"/>
                    <a:gd name="T45" fmla="*/ 184 h 362"/>
                    <a:gd name="T46" fmla="*/ 114 w 220"/>
                    <a:gd name="T47" fmla="*/ 170 h 362"/>
                    <a:gd name="T48" fmla="*/ 125 w 220"/>
                    <a:gd name="T49" fmla="*/ 168 h 362"/>
                    <a:gd name="T50" fmla="*/ 143 w 220"/>
                    <a:gd name="T51" fmla="*/ 157 h 362"/>
                    <a:gd name="T52" fmla="*/ 160 w 220"/>
                    <a:gd name="T53" fmla="*/ 149 h 362"/>
                    <a:gd name="T54" fmla="*/ 175 w 220"/>
                    <a:gd name="T55" fmla="*/ 133 h 362"/>
                    <a:gd name="T56" fmla="*/ 169 w 220"/>
                    <a:gd name="T57" fmla="*/ 120 h 362"/>
                    <a:gd name="T58" fmla="*/ 177 w 220"/>
                    <a:gd name="T59" fmla="*/ 104 h 362"/>
                    <a:gd name="T60" fmla="*/ 188 w 220"/>
                    <a:gd name="T61" fmla="*/ 95 h 362"/>
                    <a:gd name="T62" fmla="*/ 198 w 220"/>
                    <a:gd name="T63" fmla="*/ 91 h 362"/>
                    <a:gd name="T64" fmla="*/ 210 w 220"/>
                    <a:gd name="T65" fmla="*/ 92 h 362"/>
                    <a:gd name="T66" fmla="*/ 216 w 220"/>
                    <a:gd name="T67" fmla="*/ 71 h 362"/>
                    <a:gd name="T68" fmla="*/ 213 w 220"/>
                    <a:gd name="T69" fmla="*/ 48 h 362"/>
                    <a:gd name="T70" fmla="*/ 207 w 220"/>
                    <a:gd name="T71" fmla="*/ 28 h 362"/>
                    <a:gd name="T72" fmla="*/ 164 w 220"/>
                    <a:gd name="T73" fmla="*/ 1 h 362"/>
                    <a:gd name="T74" fmla="*/ 152 w 220"/>
                    <a:gd name="T75" fmla="*/ 14 h 362"/>
                    <a:gd name="T76" fmla="*/ 128 w 220"/>
                    <a:gd name="T77" fmla="*/ 17 h 362"/>
                    <a:gd name="T78" fmla="*/ 102 w 220"/>
                    <a:gd name="T79" fmla="*/ 31 h 362"/>
                    <a:gd name="T80" fmla="*/ 91 w 220"/>
                    <a:gd name="T81" fmla="*/ 53 h 362"/>
                    <a:gd name="T82" fmla="*/ 73 w 220"/>
                    <a:gd name="T83" fmla="*/ 79 h 362"/>
                    <a:gd name="T84" fmla="*/ 52 w 220"/>
                    <a:gd name="T85" fmla="*/ 117 h 362"/>
                    <a:gd name="T86" fmla="*/ 48 w 220"/>
                    <a:gd name="T87" fmla="*/ 142 h 362"/>
                    <a:gd name="T88" fmla="*/ 17 w 220"/>
                    <a:gd name="T89" fmla="*/ 158 h 362"/>
                    <a:gd name="T90" fmla="*/ 21 w 220"/>
                    <a:gd name="T91" fmla="*/ 190 h 362"/>
                    <a:gd name="T92" fmla="*/ 30 w 220"/>
                    <a:gd name="T93" fmla="*/ 216 h 362"/>
                    <a:gd name="T94" fmla="*/ 25 w 220"/>
                    <a:gd name="T95" fmla="*/ 233 h 362"/>
                    <a:gd name="T96" fmla="*/ 11 w 220"/>
                    <a:gd name="T97" fmla="*/ 257 h 362"/>
                    <a:gd name="T98" fmla="*/ 9 w 220"/>
                    <a:gd name="T99" fmla="*/ 274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 h="362">
                      <a:moveTo>
                        <a:pt x="9" y="274"/>
                      </a:moveTo>
                      <a:cubicBezTo>
                        <a:pt x="6" y="275"/>
                        <a:pt x="4" y="272"/>
                        <a:pt x="1" y="273"/>
                      </a:cubicBezTo>
                      <a:cubicBezTo>
                        <a:pt x="0" y="273"/>
                        <a:pt x="1" y="278"/>
                        <a:pt x="1" y="279"/>
                      </a:cubicBezTo>
                      <a:cubicBezTo>
                        <a:pt x="2" y="282"/>
                        <a:pt x="2" y="284"/>
                        <a:pt x="2" y="286"/>
                      </a:cubicBezTo>
                      <a:cubicBezTo>
                        <a:pt x="2" y="289"/>
                        <a:pt x="4" y="290"/>
                        <a:pt x="6" y="289"/>
                      </a:cubicBezTo>
                      <a:cubicBezTo>
                        <a:pt x="7" y="289"/>
                        <a:pt x="9" y="285"/>
                        <a:pt x="9" y="288"/>
                      </a:cubicBezTo>
                      <a:cubicBezTo>
                        <a:pt x="9" y="288"/>
                        <a:pt x="8" y="293"/>
                        <a:pt x="10" y="292"/>
                      </a:cubicBezTo>
                      <a:cubicBezTo>
                        <a:pt x="10" y="291"/>
                        <a:pt x="11" y="290"/>
                        <a:pt x="12" y="290"/>
                      </a:cubicBezTo>
                      <a:cubicBezTo>
                        <a:pt x="13" y="291"/>
                        <a:pt x="13" y="292"/>
                        <a:pt x="13" y="293"/>
                      </a:cubicBezTo>
                      <a:cubicBezTo>
                        <a:pt x="12" y="295"/>
                        <a:pt x="10" y="297"/>
                        <a:pt x="10" y="299"/>
                      </a:cubicBezTo>
                      <a:cubicBezTo>
                        <a:pt x="10" y="300"/>
                        <a:pt x="10" y="301"/>
                        <a:pt x="11" y="301"/>
                      </a:cubicBezTo>
                      <a:cubicBezTo>
                        <a:pt x="12" y="302"/>
                        <a:pt x="12" y="303"/>
                        <a:pt x="12" y="304"/>
                      </a:cubicBezTo>
                      <a:cubicBezTo>
                        <a:pt x="11" y="305"/>
                        <a:pt x="12" y="306"/>
                        <a:pt x="13" y="307"/>
                      </a:cubicBezTo>
                      <a:cubicBezTo>
                        <a:pt x="14" y="308"/>
                        <a:pt x="14" y="310"/>
                        <a:pt x="14" y="311"/>
                      </a:cubicBezTo>
                      <a:cubicBezTo>
                        <a:pt x="14" y="313"/>
                        <a:pt x="14" y="314"/>
                        <a:pt x="15" y="315"/>
                      </a:cubicBezTo>
                      <a:cubicBezTo>
                        <a:pt x="16" y="316"/>
                        <a:pt x="16" y="317"/>
                        <a:pt x="17" y="319"/>
                      </a:cubicBezTo>
                      <a:cubicBezTo>
                        <a:pt x="17" y="319"/>
                        <a:pt x="17" y="321"/>
                        <a:pt x="18" y="321"/>
                      </a:cubicBezTo>
                      <a:cubicBezTo>
                        <a:pt x="19" y="323"/>
                        <a:pt x="20" y="323"/>
                        <a:pt x="21" y="324"/>
                      </a:cubicBezTo>
                      <a:cubicBezTo>
                        <a:pt x="23" y="325"/>
                        <a:pt x="23" y="328"/>
                        <a:pt x="25" y="329"/>
                      </a:cubicBezTo>
                      <a:cubicBezTo>
                        <a:pt x="27" y="330"/>
                        <a:pt x="29" y="330"/>
                        <a:pt x="30" y="333"/>
                      </a:cubicBezTo>
                      <a:cubicBezTo>
                        <a:pt x="30" y="335"/>
                        <a:pt x="29" y="336"/>
                        <a:pt x="27" y="335"/>
                      </a:cubicBezTo>
                      <a:cubicBezTo>
                        <a:pt x="24" y="335"/>
                        <a:pt x="27" y="338"/>
                        <a:pt x="27" y="339"/>
                      </a:cubicBezTo>
                      <a:cubicBezTo>
                        <a:pt x="26" y="341"/>
                        <a:pt x="24" y="339"/>
                        <a:pt x="24" y="342"/>
                      </a:cubicBezTo>
                      <a:cubicBezTo>
                        <a:pt x="24" y="344"/>
                        <a:pt x="25" y="346"/>
                        <a:pt x="27" y="347"/>
                      </a:cubicBezTo>
                      <a:cubicBezTo>
                        <a:pt x="28" y="348"/>
                        <a:pt x="30" y="349"/>
                        <a:pt x="31" y="351"/>
                      </a:cubicBezTo>
                      <a:cubicBezTo>
                        <a:pt x="32" y="352"/>
                        <a:pt x="32" y="354"/>
                        <a:pt x="32" y="355"/>
                      </a:cubicBezTo>
                      <a:cubicBezTo>
                        <a:pt x="32" y="356"/>
                        <a:pt x="31" y="357"/>
                        <a:pt x="31" y="358"/>
                      </a:cubicBezTo>
                      <a:cubicBezTo>
                        <a:pt x="29" y="360"/>
                        <a:pt x="31" y="362"/>
                        <a:pt x="33" y="362"/>
                      </a:cubicBezTo>
                      <a:cubicBezTo>
                        <a:pt x="34" y="362"/>
                        <a:pt x="35" y="361"/>
                        <a:pt x="36" y="361"/>
                      </a:cubicBezTo>
                      <a:cubicBezTo>
                        <a:pt x="38" y="361"/>
                        <a:pt x="40" y="361"/>
                        <a:pt x="41" y="361"/>
                      </a:cubicBezTo>
                      <a:cubicBezTo>
                        <a:pt x="44" y="361"/>
                        <a:pt x="47" y="360"/>
                        <a:pt x="50" y="360"/>
                      </a:cubicBezTo>
                      <a:cubicBezTo>
                        <a:pt x="53" y="360"/>
                        <a:pt x="54" y="358"/>
                        <a:pt x="54" y="355"/>
                      </a:cubicBezTo>
                      <a:cubicBezTo>
                        <a:pt x="53" y="352"/>
                        <a:pt x="52" y="350"/>
                        <a:pt x="54" y="348"/>
                      </a:cubicBezTo>
                      <a:cubicBezTo>
                        <a:pt x="56" y="346"/>
                        <a:pt x="59" y="345"/>
                        <a:pt x="62" y="345"/>
                      </a:cubicBezTo>
                      <a:cubicBezTo>
                        <a:pt x="64" y="344"/>
                        <a:pt x="67" y="343"/>
                        <a:pt x="69" y="343"/>
                      </a:cubicBezTo>
                      <a:cubicBezTo>
                        <a:pt x="72" y="342"/>
                        <a:pt x="75" y="340"/>
                        <a:pt x="76" y="343"/>
                      </a:cubicBezTo>
                      <a:cubicBezTo>
                        <a:pt x="77" y="344"/>
                        <a:pt x="78" y="344"/>
                        <a:pt x="79" y="344"/>
                      </a:cubicBezTo>
                      <a:cubicBezTo>
                        <a:pt x="80" y="344"/>
                        <a:pt x="81" y="343"/>
                        <a:pt x="81" y="342"/>
                      </a:cubicBezTo>
                      <a:cubicBezTo>
                        <a:pt x="82" y="341"/>
                        <a:pt x="82" y="340"/>
                        <a:pt x="83" y="339"/>
                      </a:cubicBezTo>
                      <a:cubicBezTo>
                        <a:pt x="84" y="338"/>
                        <a:pt x="85" y="337"/>
                        <a:pt x="85" y="336"/>
                      </a:cubicBezTo>
                      <a:cubicBezTo>
                        <a:pt x="87" y="334"/>
                        <a:pt x="89" y="331"/>
                        <a:pt x="89" y="328"/>
                      </a:cubicBezTo>
                      <a:cubicBezTo>
                        <a:pt x="90" y="326"/>
                        <a:pt x="89" y="323"/>
                        <a:pt x="91" y="321"/>
                      </a:cubicBezTo>
                      <a:cubicBezTo>
                        <a:pt x="92" y="320"/>
                        <a:pt x="91" y="319"/>
                        <a:pt x="91" y="318"/>
                      </a:cubicBezTo>
                      <a:cubicBezTo>
                        <a:pt x="91" y="317"/>
                        <a:pt x="91" y="316"/>
                        <a:pt x="91" y="315"/>
                      </a:cubicBezTo>
                      <a:cubicBezTo>
                        <a:pt x="92" y="313"/>
                        <a:pt x="95" y="311"/>
                        <a:pt x="93" y="309"/>
                      </a:cubicBezTo>
                      <a:cubicBezTo>
                        <a:pt x="93" y="309"/>
                        <a:pt x="91" y="308"/>
                        <a:pt x="92" y="307"/>
                      </a:cubicBezTo>
                      <a:cubicBezTo>
                        <a:pt x="92" y="306"/>
                        <a:pt x="93" y="306"/>
                        <a:pt x="94" y="305"/>
                      </a:cubicBezTo>
                      <a:cubicBezTo>
                        <a:pt x="95" y="303"/>
                        <a:pt x="90" y="301"/>
                        <a:pt x="92" y="300"/>
                      </a:cubicBezTo>
                      <a:cubicBezTo>
                        <a:pt x="92" y="299"/>
                        <a:pt x="93" y="300"/>
                        <a:pt x="94" y="299"/>
                      </a:cubicBezTo>
                      <a:cubicBezTo>
                        <a:pt x="95" y="298"/>
                        <a:pt x="94" y="297"/>
                        <a:pt x="95" y="296"/>
                      </a:cubicBezTo>
                      <a:cubicBezTo>
                        <a:pt x="95" y="293"/>
                        <a:pt x="98" y="293"/>
                        <a:pt x="96" y="290"/>
                      </a:cubicBezTo>
                      <a:cubicBezTo>
                        <a:pt x="95" y="289"/>
                        <a:pt x="93" y="289"/>
                        <a:pt x="92" y="288"/>
                      </a:cubicBezTo>
                      <a:cubicBezTo>
                        <a:pt x="91" y="288"/>
                        <a:pt x="89" y="286"/>
                        <a:pt x="91" y="286"/>
                      </a:cubicBezTo>
                      <a:cubicBezTo>
                        <a:pt x="93" y="286"/>
                        <a:pt x="95" y="288"/>
                        <a:pt x="96" y="287"/>
                      </a:cubicBezTo>
                      <a:cubicBezTo>
                        <a:pt x="99" y="285"/>
                        <a:pt x="95" y="284"/>
                        <a:pt x="94" y="284"/>
                      </a:cubicBezTo>
                      <a:cubicBezTo>
                        <a:pt x="92" y="284"/>
                        <a:pt x="90" y="284"/>
                        <a:pt x="89" y="283"/>
                      </a:cubicBezTo>
                      <a:cubicBezTo>
                        <a:pt x="88" y="282"/>
                        <a:pt x="91" y="282"/>
                        <a:pt x="92" y="282"/>
                      </a:cubicBezTo>
                      <a:cubicBezTo>
                        <a:pt x="93" y="282"/>
                        <a:pt x="94" y="282"/>
                        <a:pt x="96" y="282"/>
                      </a:cubicBezTo>
                      <a:cubicBezTo>
                        <a:pt x="97" y="282"/>
                        <a:pt x="98" y="282"/>
                        <a:pt x="99" y="281"/>
                      </a:cubicBezTo>
                      <a:cubicBezTo>
                        <a:pt x="100" y="281"/>
                        <a:pt x="102" y="281"/>
                        <a:pt x="104" y="280"/>
                      </a:cubicBezTo>
                      <a:cubicBezTo>
                        <a:pt x="106" y="280"/>
                        <a:pt x="107" y="278"/>
                        <a:pt x="109" y="276"/>
                      </a:cubicBezTo>
                      <a:cubicBezTo>
                        <a:pt x="109" y="275"/>
                        <a:pt x="111" y="275"/>
                        <a:pt x="111" y="274"/>
                      </a:cubicBezTo>
                      <a:cubicBezTo>
                        <a:pt x="112" y="273"/>
                        <a:pt x="112" y="272"/>
                        <a:pt x="112" y="271"/>
                      </a:cubicBezTo>
                      <a:cubicBezTo>
                        <a:pt x="113" y="269"/>
                        <a:pt x="114" y="272"/>
                        <a:pt x="114" y="273"/>
                      </a:cubicBezTo>
                      <a:cubicBezTo>
                        <a:pt x="114" y="274"/>
                        <a:pt x="114" y="277"/>
                        <a:pt x="115" y="275"/>
                      </a:cubicBezTo>
                      <a:cubicBezTo>
                        <a:pt x="117" y="273"/>
                        <a:pt x="119" y="272"/>
                        <a:pt x="121" y="270"/>
                      </a:cubicBezTo>
                      <a:cubicBezTo>
                        <a:pt x="123" y="269"/>
                        <a:pt x="126" y="267"/>
                        <a:pt x="123" y="266"/>
                      </a:cubicBezTo>
                      <a:cubicBezTo>
                        <a:pt x="122" y="266"/>
                        <a:pt x="119" y="265"/>
                        <a:pt x="119" y="264"/>
                      </a:cubicBezTo>
                      <a:cubicBezTo>
                        <a:pt x="119" y="261"/>
                        <a:pt x="123" y="261"/>
                        <a:pt x="124" y="260"/>
                      </a:cubicBezTo>
                      <a:cubicBezTo>
                        <a:pt x="127" y="259"/>
                        <a:pt x="129" y="257"/>
                        <a:pt x="131" y="256"/>
                      </a:cubicBezTo>
                      <a:cubicBezTo>
                        <a:pt x="134" y="255"/>
                        <a:pt x="134" y="253"/>
                        <a:pt x="133" y="250"/>
                      </a:cubicBezTo>
                      <a:cubicBezTo>
                        <a:pt x="133" y="249"/>
                        <a:pt x="132" y="248"/>
                        <a:pt x="132" y="246"/>
                      </a:cubicBezTo>
                      <a:cubicBezTo>
                        <a:pt x="132" y="245"/>
                        <a:pt x="132" y="245"/>
                        <a:pt x="131" y="244"/>
                      </a:cubicBezTo>
                      <a:cubicBezTo>
                        <a:pt x="130" y="244"/>
                        <a:pt x="128" y="245"/>
                        <a:pt x="127" y="244"/>
                      </a:cubicBezTo>
                      <a:cubicBezTo>
                        <a:pt x="126" y="243"/>
                        <a:pt x="126" y="242"/>
                        <a:pt x="126" y="241"/>
                      </a:cubicBezTo>
                      <a:cubicBezTo>
                        <a:pt x="126" y="240"/>
                        <a:pt x="125" y="239"/>
                        <a:pt x="124" y="238"/>
                      </a:cubicBezTo>
                      <a:cubicBezTo>
                        <a:pt x="121" y="237"/>
                        <a:pt x="120" y="234"/>
                        <a:pt x="118" y="233"/>
                      </a:cubicBezTo>
                      <a:cubicBezTo>
                        <a:pt x="116" y="232"/>
                        <a:pt x="114" y="235"/>
                        <a:pt x="112" y="235"/>
                      </a:cubicBezTo>
                      <a:cubicBezTo>
                        <a:pt x="110" y="235"/>
                        <a:pt x="109" y="232"/>
                        <a:pt x="107" y="231"/>
                      </a:cubicBezTo>
                      <a:cubicBezTo>
                        <a:pt x="105" y="231"/>
                        <a:pt x="101" y="231"/>
                        <a:pt x="104" y="229"/>
                      </a:cubicBezTo>
                      <a:cubicBezTo>
                        <a:pt x="107" y="227"/>
                        <a:pt x="103" y="226"/>
                        <a:pt x="102" y="224"/>
                      </a:cubicBezTo>
                      <a:cubicBezTo>
                        <a:pt x="101" y="221"/>
                        <a:pt x="102" y="219"/>
                        <a:pt x="102" y="216"/>
                      </a:cubicBezTo>
                      <a:cubicBezTo>
                        <a:pt x="103" y="213"/>
                        <a:pt x="101" y="210"/>
                        <a:pt x="101" y="208"/>
                      </a:cubicBezTo>
                      <a:cubicBezTo>
                        <a:pt x="101" y="207"/>
                        <a:pt x="101" y="203"/>
                        <a:pt x="103" y="204"/>
                      </a:cubicBezTo>
                      <a:cubicBezTo>
                        <a:pt x="104" y="205"/>
                        <a:pt x="104" y="206"/>
                        <a:pt x="106" y="206"/>
                      </a:cubicBezTo>
                      <a:cubicBezTo>
                        <a:pt x="107" y="206"/>
                        <a:pt x="108" y="206"/>
                        <a:pt x="107" y="205"/>
                      </a:cubicBezTo>
                      <a:cubicBezTo>
                        <a:pt x="107" y="203"/>
                        <a:pt x="105" y="201"/>
                        <a:pt x="106" y="199"/>
                      </a:cubicBezTo>
                      <a:cubicBezTo>
                        <a:pt x="107" y="198"/>
                        <a:pt x="107" y="197"/>
                        <a:pt x="108" y="196"/>
                      </a:cubicBezTo>
                      <a:cubicBezTo>
                        <a:pt x="108" y="194"/>
                        <a:pt x="108" y="193"/>
                        <a:pt x="108" y="191"/>
                      </a:cubicBezTo>
                      <a:cubicBezTo>
                        <a:pt x="108" y="189"/>
                        <a:pt x="105" y="187"/>
                        <a:pt x="106" y="185"/>
                      </a:cubicBezTo>
                      <a:cubicBezTo>
                        <a:pt x="106" y="184"/>
                        <a:pt x="108" y="184"/>
                        <a:pt x="108" y="184"/>
                      </a:cubicBezTo>
                      <a:cubicBezTo>
                        <a:pt x="110" y="185"/>
                        <a:pt x="111" y="185"/>
                        <a:pt x="113" y="184"/>
                      </a:cubicBezTo>
                      <a:cubicBezTo>
                        <a:pt x="115" y="183"/>
                        <a:pt x="115" y="181"/>
                        <a:pt x="115" y="178"/>
                      </a:cubicBezTo>
                      <a:cubicBezTo>
                        <a:pt x="116" y="175"/>
                        <a:pt x="113" y="174"/>
                        <a:pt x="112" y="171"/>
                      </a:cubicBezTo>
                      <a:cubicBezTo>
                        <a:pt x="112" y="170"/>
                        <a:pt x="111" y="169"/>
                        <a:pt x="112" y="168"/>
                      </a:cubicBezTo>
                      <a:cubicBezTo>
                        <a:pt x="113" y="167"/>
                        <a:pt x="114" y="169"/>
                        <a:pt x="114" y="170"/>
                      </a:cubicBezTo>
                      <a:cubicBezTo>
                        <a:pt x="115" y="171"/>
                        <a:pt x="116" y="172"/>
                        <a:pt x="117" y="173"/>
                      </a:cubicBezTo>
                      <a:cubicBezTo>
                        <a:pt x="117" y="174"/>
                        <a:pt x="118" y="176"/>
                        <a:pt x="119" y="175"/>
                      </a:cubicBezTo>
                      <a:cubicBezTo>
                        <a:pt x="120" y="174"/>
                        <a:pt x="120" y="171"/>
                        <a:pt x="121" y="170"/>
                      </a:cubicBezTo>
                      <a:cubicBezTo>
                        <a:pt x="122" y="169"/>
                        <a:pt x="124" y="169"/>
                        <a:pt x="125" y="168"/>
                      </a:cubicBezTo>
                      <a:cubicBezTo>
                        <a:pt x="126" y="168"/>
                        <a:pt x="128" y="167"/>
                        <a:pt x="129" y="167"/>
                      </a:cubicBezTo>
                      <a:cubicBezTo>
                        <a:pt x="132" y="167"/>
                        <a:pt x="133" y="165"/>
                        <a:pt x="135" y="163"/>
                      </a:cubicBezTo>
                      <a:cubicBezTo>
                        <a:pt x="136" y="161"/>
                        <a:pt x="137" y="158"/>
                        <a:pt x="140" y="158"/>
                      </a:cubicBezTo>
                      <a:cubicBezTo>
                        <a:pt x="141" y="157"/>
                        <a:pt x="141" y="157"/>
                        <a:pt x="143" y="157"/>
                      </a:cubicBezTo>
                      <a:cubicBezTo>
                        <a:pt x="144" y="156"/>
                        <a:pt x="145" y="156"/>
                        <a:pt x="146" y="156"/>
                      </a:cubicBezTo>
                      <a:cubicBezTo>
                        <a:pt x="149" y="155"/>
                        <a:pt x="151" y="152"/>
                        <a:pt x="154" y="152"/>
                      </a:cubicBezTo>
                      <a:cubicBezTo>
                        <a:pt x="155" y="152"/>
                        <a:pt x="156" y="152"/>
                        <a:pt x="158" y="151"/>
                      </a:cubicBezTo>
                      <a:cubicBezTo>
                        <a:pt x="159" y="150"/>
                        <a:pt x="159" y="149"/>
                        <a:pt x="160" y="149"/>
                      </a:cubicBezTo>
                      <a:cubicBezTo>
                        <a:pt x="163" y="147"/>
                        <a:pt x="164" y="145"/>
                        <a:pt x="165" y="142"/>
                      </a:cubicBezTo>
                      <a:cubicBezTo>
                        <a:pt x="166" y="140"/>
                        <a:pt x="168" y="139"/>
                        <a:pt x="170" y="137"/>
                      </a:cubicBezTo>
                      <a:cubicBezTo>
                        <a:pt x="171" y="136"/>
                        <a:pt x="171" y="135"/>
                        <a:pt x="172" y="134"/>
                      </a:cubicBezTo>
                      <a:cubicBezTo>
                        <a:pt x="173" y="134"/>
                        <a:pt x="174" y="134"/>
                        <a:pt x="175" y="133"/>
                      </a:cubicBezTo>
                      <a:cubicBezTo>
                        <a:pt x="176" y="132"/>
                        <a:pt x="175" y="131"/>
                        <a:pt x="175" y="130"/>
                      </a:cubicBezTo>
                      <a:cubicBezTo>
                        <a:pt x="175" y="129"/>
                        <a:pt x="175" y="128"/>
                        <a:pt x="174" y="127"/>
                      </a:cubicBezTo>
                      <a:cubicBezTo>
                        <a:pt x="172" y="126"/>
                        <a:pt x="170" y="126"/>
                        <a:pt x="171" y="123"/>
                      </a:cubicBezTo>
                      <a:cubicBezTo>
                        <a:pt x="171" y="121"/>
                        <a:pt x="168" y="121"/>
                        <a:pt x="169" y="120"/>
                      </a:cubicBezTo>
                      <a:cubicBezTo>
                        <a:pt x="169" y="118"/>
                        <a:pt x="172" y="117"/>
                        <a:pt x="174" y="115"/>
                      </a:cubicBezTo>
                      <a:cubicBezTo>
                        <a:pt x="176" y="114"/>
                        <a:pt x="177" y="112"/>
                        <a:pt x="177" y="109"/>
                      </a:cubicBezTo>
                      <a:cubicBezTo>
                        <a:pt x="177" y="108"/>
                        <a:pt x="178" y="108"/>
                        <a:pt x="178" y="107"/>
                      </a:cubicBezTo>
                      <a:cubicBezTo>
                        <a:pt x="177" y="106"/>
                        <a:pt x="176" y="105"/>
                        <a:pt x="177" y="104"/>
                      </a:cubicBezTo>
                      <a:cubicBezTo>
                        <a:pt x="178" y="102"/>
                        <a:pt x="180" y="102"/>
                        <a:pt x="182" y="101"/>
                      </a:cubicBezTo>
                      <a:cubicBezTo>
                        <a:pt x="184" y="100"/>
                        <a:pt x="185" y="97"/>
                        <a:pt x="188" y="98"/>
                      </a:cubicBezTo>
                      <a:cubicBezTo>
                        <a:pt x="189" y="99"/>
                        <a:pt x="191" y="99"/>
                        <a:pt x="190" y="97"/>
                      </a:cubicBezTo>
                      <a:cubicBezTo>
                        <a:pt x="189" y="97"/>
                        <a:pt x="189" y="96"/>
                        <a:pt x="188" y="95"/>
                      </a:cubicBezTo>
                      <a:cubicBezTo>
                        <a:pt x="188" y="94"/>
                        <a:pt x="189" y="93"/>
                        <a:pt x="190" y="92"/>
                      </a:cubicBezTo>
                      <a:cubicBezTo>
                        <a:pt x="190" y="90"/>
                        <a:pt x="192" y="90"/>
                        <a:pt x="193" y="91"/>
                      </a:cubicBezTo>
                      <a:cubicBezTo>
                        <a:pt x="194" y="92"/>
                        <a:pt x="194" y="94"/>
                        <a:pt x="196" y="93"/>
                      </a:cubicBezTo>
                      <a:cubicBezTo>
                        <a:pt x="197" y="92"/>
                        <a:pt x="196" y="91"/>
                        <a:pt x="198" y="91"/>
                      </a:cubicBezTo>
                      <a:cubicBezTo>
                        <a:pt x="200" y="91"/>
                        <a:pt x="200" y="93"/>
                        <a:pt x="201" y="94"/>
                      </a:cubicBezTo>
                      <a:cubicBezTo>
                        <a:pt x="201" y="96"/>
                        <a:pt x="203" y="94"/>
                        <a:pt x="203" y="93"/>
                      </a:cubicBezTo>
                      <a:cubicBezTo>
                        <a:pt x="204" y="92"/>
                        <a:pt x="206" y="91"/>
                        <a:pt x="207" y="91"/>
                      </a:cubicBezTo>
                      <a:cubicBezTo>
                        <a:pt x="208" y="92"/>
                        <a:pt x="209" y="92"/>
                        <a:pt x="210" y="92"/>
                      </a:cubicBezTo>
                      <a:cubicBezTo>
                        <a:pt x="211" y="92"/>
                        <a:pt x="212" y="92"/>
                        <a:pt x="213" y="92"/>
                      </a:cubicBezTo>
                      <a:cubicBezTo>
                        <a:pt x="215" y="91"/>
                        <a:pt x="218" y="91"/>
                        <a:pt x="220" y="92"/>
                      </a:cubicBezTo>
                      <a:cubicBezTo>
                        <a:pt x="220" y="87"/>
                        <a:pt x="212" y="84"/>
                        <a:pt x="213" y="78"/>
                      </a:cubicBezTo>
                      <a:cubicBezTo>
                        <a:pt x="214" y="76"/>
                        <a:pt x="215" y="73"/>
                        <a:pt x="216" y="71"/>
                      </a:cubicBezTo>
                      <a:cubicBezTo>
                        <a:pt x="217" y="68"/>
                        <a:pt x="218" y="65"/>
                        <a:pt x="217" y="63"/>
                      </a:cubicBezTo>
                      <a:cubicBezTo>
                        <a:pt x="214" y="60"/>
                        <a:pt x="209" y="57"/>
                        <a:pt x="211" y="53"/>
                      </a:cubicBezTo>
                      <a:cubicBezTo>
                        <a:pt x="212" y="52"/>
                        <a:pt x="212" y="51"/>
                        <a:pt x="213" y="50"/>
                      </a:cubicBezTo>
                      <a:cubicBezTo>
                        <a:pt x="214" y="49"/>
                        <a:pt x="214" y="49"/>
                        <a:pt x="213" y="48"/>
                      </a:cubicBezTo>
                      <a:cubicBezTo>
                        <a:pt x="210" y="46"/>
                        <a:pt x="209" y="45"/>
                        <a:pt x="209" y="42"/>
                      </a:cubicBezTo>
                      <a:cubicBezTo>
                        <a:pt x="209" y="39"/>
                        <a:pt x="210" y="37"/>
                        <a:pt x="210" y="35"/>
                      </a:cubicBezTo>
                      <a:cubicBezTo>
                        <a:pt x="211" y="33"/>
                        <a:pt x="211" y="32"/>
                        <a:pt x="210" y="31"/>
                      </a:cubicBezTo>
                      <a:cubicBezTo>
                        <a:pt x="210" y="30"/>
                        <a:pt x="208" y="29"/>
                        <a:pt x="207" y="28"/>
                      </a:cubicBezTo>
                      <a:cubicBezTo>
                        <a:pt x="203" y="24"/>
                        <a:pt x="197" y="21"/>
                        <a:pt x="191" y="18"/>
                      </a:cubicBezTo>
                      <a:cubicBezTo>
                        <a:pt x="186" y="15"/>
                        <a:pt x="180" y="12"/>
                        <a:pt x="174" y="9"/>
                      </a:cubicBezTo>
                      <a:cubicBezTo>
                        <a:pt x="172" y="7"/>
                        <a:pt x="169" y="5"/>
                        <a:pt x="167" y="4"/>
                      </a:cubicBezTo>
                      <a:cubicBezTo>
                        <a:pt x="166" y="3"/>
                        <a:pt x="165" y="2"/>
                        <a:pt x="164" y="1"/>
                      </a:cubicBezTo>
                      <a:cubicBezTo>
                        <a:pt x="162" y="0"/>
                        <a:pt x="162" y="0"/>
                        <a:pt x="160" y="0"/>
                      </a:cubicBezTo>
                      <a:cubicBezTo>
                        <a:pt x="159" y="0"/>
                        <a:pt x="154" y="0"/>
                        <a:pt x="155" y="1"/>
                      </a:cubicBezTo>
                      <a:cubicBezTo>
                        <a:pt x="155" y="3"/>
                        <a:pt x="157" y="7"/>
                        <a:pt x="155" y="9"/>
                      </a:cubicBezTo>
                      <a:cubicBezTo>
                        <a:pt x="153" y="11"/>
                        <a:pt x="152" y="11"/>
                        <a:pt x="152" y="14"/>
                      </a:cubicBezTo>
                      <a:cubicBezTo>
                        <a:pt x="152" y="16"/>
                        <a:pt x="153" y="17"/>
                        <a:pt x="152" y="19"/>
                      </a:cubicBezTo>
                      <a:cubicBezTo>
                        <a:pt x="151" y="21"/>
                        <a:pt x="149" y="21"/>
                        <a:pt x="147" y="20"/>
                      </a:cubicBezTo>
                      <a:cubicBezTo>
                        <a:pt x="144" y="20"/>
                        <a:pt x="140" y="19"/>
                        <a:pt x="137" y="18"/>
                      </a:cubicBezTo>
                      <a:cubicBezTo>
                        <a:pt x="134" y="18"/>
                        <a:pt x="131" y="17"/>
                        <a:pt x="128" y="17"/>
                      </a:cubicBezTo>
                      <a:cubicBezTo>
                        <a:pt x="126" y="17"/>
                        <a:pt x="122" y="16"/>
                        <a:pt x="121" y="19"/>
                      </a:cubicBezTo>
                      <a:cubicBezTo>
                        <a:pt x="119" y="23"/>
                        <a:pt x="120" y="28"/>
                        <a:pt x="116" y="31"/>
                      </a:cubicBezTo>
                      <a:cubicBezTo>
                        <a:pt x="114" y="32"/>
                        <a:pt x="111" y="30"/>
                        <a:pt x="109" y="29"/>
                      </a:cubicBezTo>
                      <a:cubicBezTo>
                        <a:pt x="106" y="29"/>
                        <a:pt x="104" y="30"/>
                        <a:pt x="102" y="31"/>
                      </a:cubicBezTo>
                      <a:cubicBezTo>
                        <a:pt x="99" y="32"/>
                        <a:pt x="98" y="33"/>
                        <a:pt x="97" y="36"/>
                      </a:cubicBezTo>
                      <a:cubicBezTo>
                        <a:pt x="96" y="38"/>
                        <a:pt x="95" y="40"/>
                        <a:pt x="93" y="42"/>
                      </a:cubicBezTo>
                      <a:cubicBezTo>
                        <a:pt x="91" y="43"/>
                        <a:pt x="88" y="44"/>
                        <a:pt x="88" y="47"/>
                      </a:cubicBezTo>
                      <a:cubicBezTo>
                        <a:pt x="88" y="49"/>
                        <a:pt x="91" y="51"/>
                        <a:pt x="91" y="53"/>
                      </a:cubicBezTo>
                      <a:cubicBezTo>
                        <a:pt x="92" y="58"/>
                        <a:pt x="86" y="63"/>
                        <a:pt x="82" y="66"/>
                      </a:cubicBezTo>
                      <a:cubicBezTo>
                        <a:pt x="80" y="68"/>
                        <a:pt x="78" y="69"/>
                        <a:pt x="76" y="72"/>
                      </a:cubicBezTo>
                      <a:cubicBezTo>
                        <a:pt x="75" y="73"/>
                        <a:pt x="75" y="74"/>
                        <a:pt x="74" y="75"/>
                      </a:cubicBezTo>
                      <a:cubicBezTo>
                        <a:pt x="74" y="76"/>
                        <a:pt x="74" y="78"/>
                        <a:pt x="73" y="79"/>
                      </a:cubicBezTo>
                      <a:cubicBezTo>
                        <a:pt x="69" y="82"/>
                        <a:pt x="64" y="82"/>
                        <a:pt x="61" y="85"/>
                      </a:cubicBezTo>
                      <a:cubicBezTo>
                        <a:pt x="59" y="87"/>
                        <a:pt x="60" y="90"/>
                        <a:pt x="60" y="92"/>
                      </a:cubicBezTo>
                      <a:cubicBezTo>
                        <a:pt x="60" y="95"/>
                        <a:pt x="60" y="99"/>
                        <a:pt x="59" y="102"/>
                      </a:cubicBezTo>
                      <a:cubicBezTo>
                        <a:pt x="59" y="108"/>
                        <a:pt x="56" y="113"/>
                        <a:pt x="52" y="117"/>
                      </a:cubicBezTo>
                      <a:cubicBezTo>
                        <a:pt x="51" y="119"/>
                        <a:pt x="49" y="120"/>
                        <a:pt x="48" y="123"/>
                      </a:cubicBezTo>
                      <a:cubicBezTo>
                        <a:pt x="47" y="124"/>
                        <a:pt x="47" y="125"/>
                        <a:pt x="47" y="126"/>
                      </a:cubicBezTo>
                      <a:cubicBezTo>
                        <a:pt x="48" y="127"/>
                        <a:pt x="49" y="128"/>
                        <a:pt x="50" y="129"/>
                      </a:cubicBezTo>
                      <a:cubicBezTo>
                        <a:pt x="54" y="132"/>
                        <a:pt x="51" y="139"/>
                        <a:pt x="48" y="142"/>
                      </a:cubicBezTo>
                      <a:cubicBezTo>
                        <a:pt x="46" y="144"/>
                        <a:pt x="43" y="143"/>
                        <a:pt x="41" y="142"/>
                      </a:cubicBezTo>
                      <a:cubicBezTo>
                        <a:pt x="38" y="141"/>
                        <a:pt x="36" y="141"/>
                        <a:pt x="33" y="141"/>
                      </a:cubicBezTo>
                      <a:cubicBezTo>
                        <a:pt x="28" y="142"/>
                        <a:pt x="25" y="148"/>
                        <a:pt x="22" y="152"/>
                      </a:cubicBezTo>
                      <a:cubicBezTo>
                        <a:pt x="20" y="154"/>
                        <a:pt x="18" y="156"/>
                        <a:pt x="17" y="158"/>
                      </a:cubicBezTo>
                      <a:cubicBezTo>
                        <a:pt x="16" y="161"/>
                        <a:pt x="17" y="163"/>
                        <a:pt x="18" y="166"/>
                      </a:cubicBezTo>
                      <a:cubicBezTo>
                        <a:pt x="20" y="168"/>
                        <a:pt x="20" y="171"/>
                        <a:pt x="19" y="174"/>
                      </a:cubicBezTo>
                      <a:cubicBezTo>
                        <a:pt x="18" y="177"/>
                        <a:pt x="17" y="179"/>
                        <a:pt x="19" y="182"/>
                      </a:cubicBezTo>
                      <a:cubicBezTo>
                        <a:pt x="20" y="185"/>
                        <a:pt x="21" y="187"/>
                        <a:pt x="21" y="190"/>
                      </a:cubicBezTo>
                      <a:cubicBezTo>
                        <a:pt x="21" y="193"/>
                        <a:pt x="20" y="196"/>
                        <a:pt x="20" y="200"/>
                      </a:cubicBezTo>
                      <a:cubicBezTo>
                        <a:pt x="19" y="202"/>
                        <a:pt x="19" y="204"/>
                        <a:pt x="21" y="206"/>
                      </a:cubicBezTo>
                      <a:cubicBezTo>
                        <a:pt x="23" y="208"/>
                        <a:pt x="25" y="208"/>
                        <a:pt x="27" y="210"/>
                      </a:cubicBezTo>
                      <a:cubicBezTo>
                        <a:pt x="29" y="211"/>
                        <a:pt x="31" y="214"/>
                        <a:pt x="30" y="216"/>
                      </a:cubicBezTo>
                      <a:cubicBezTo>
                        <a:pt x="29" y="218"/>
                        <a:pt x="29" y="221"/>
                        <a:pt x="27" y="222"/>
                      </a:cubicBezTo>
                      <a:cubicBezTo>
                        <a:pt x="25" y="223"/>
                        <a:pt x="23" y="222"/>
                        <a:pt x="22" y="223"/>
                      </a:cubicBezTo>
                      <a:cubicBezTo>
                        <a:pt x="18" y="223"/>
                        <a:pt x="21" y="225"/>
                        <a:pt x="22" y="227"/>
                      </a:cubicBezTo>
                      <a:cubicBezTo>
                        <a:pt x="23" y="229"/>
                        <a:pt x="24" y="231"/>
                        <a:pt x="25" y="233"/>
                      </a:cubicBezTo>
                      <a:cubicBezTo>
                        <a:pt x="26" y="236"/>
                        <a:pt x="24" y="238"/>
                        <a:pt x="24" y="241"/>
                      </a:cubicBezTo>
                      <a:cubicBezTo>
                        <a:pt x="23" y="244"/>
                        <a:pt x="21" y="248"/>
                        <a:pt x="18" y="249"/>
                      </a:cubicBezTo>
                      <a:cubicBezTo>
                        <a:pt x="16" y="250"/>
                        <a:pt x="14" y="250"/>
                        <a:pt x="14" y="252"/>
                      </a:cubicBezTo>
                      <a:cubicBezTo>
                        <a:pt x="13" y="254"/>
                        <a:pt x="12" y="255"/>
                        <a:pt x="11" y="257"/>
                      </a:cubicBezTo>
                      <a:cubicBezTo>
                        <a:pt x="11" y="259"/>
                        <a:pt x="11" y="261"/>
                        <a:pt x="11" y="263"/>
                      </a:cubicBezTo>
                      <a:cubicBezTo>
                        <a:pt x="11" y="265"/>
                        <a:pt x="12" y="266"/>
                        <a:pt x="11" y="268"/>
                      </a:cubicBezTo>
                      <a:cubicBezTo>
                        <a:pt x="11" y="271"/>
                        <a:pt x="11" y="273"/>
                        <a:pt x="8" y="274"/>
                      </a:cubicBezTo>
                      <a:cubicBezTo>
                        <a:pt x="8" y="274"/>
                        <a:pt x="9" y="274"/>
                        <a:pt x="9" y="274"/>
                      </a:cubicBezTo>
                      <a:cubicBezTo>
                        <a:pt x="7" y="274"/>
                        <a:pt x="9" y="274"/>
                        <a:pt x="9" y="274"/>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59" name="Freeform 411">
                  <a:extLst>
                    <a:ext uri="{FF2B5EF4-FFF2-40B4-BE49-F238E27FC236}">
                      <a16:creationId xmlns:a16="http://schemas.microsoft.com/office/drawing/2014/main" id="{34FF239A-AD32-D118-0DD4-25E9B8A9FBB9}"/>
                    </a:ext>
                  </a:extLst>
                </p:cNvPr>
                <p:cNvSpPr/>
                <p:nvPr>
                  <p:custDataLst>
                    <p:tags r:id="rId281"/>
                  </p:custDataLst>
                </p:nvPr>
              </p:nvSpPr>
              <p:spPr bwMode="auto">
                <a:xfrm>
                  <a:off x="6342063" y="2398714"/>
                  <a:ext cx="20637" cy="17463"/>
                </a:xfrm>
                <a:custGeom>
                  <a:avLst/>
                  <a:gdLst>
                    <a:gd name="T0" fmla="*/ 3 w 11"/>
                    <a:gd name="T1" fmla="*/ 7 h 10"/>
                    <a:gd name="T2" fmla="*/ 8 w 11"/>
                    <a:gd name="T3" fmla="*/ 6 h 10"/>
                    <a:gd name="T4" fmla="*/ 10 w 11"/>
                    <a:gd name="T5" fmla="*/ 4 h 10"/>
                    <a:gd name="T6" fmla="*/ 9 w 11"/>
                    <a:gd name="T7" fmla="*/ 1 h 10"/>
                    <a:gd name="T8" fmla="*/ 5 w 11"/>
                    <a:gd name="T9" fmla="*/ 0 h 10"/>
                    <a:gd name="T10" fmla="*/ 2 w 11"/>
                    <a:gd name="T11" fmla="*/ 3 h 10"/>
                    <a:gd name="T12" fmla="*/ 1 w 11"/>
                    <a:gd name="T13" fmla="*/ 5 h 10"/>
                    <a:gd name="T14" fmla="*/ 4 w 11"/>
                    <a:gd name="T15" fmla="*/ 6 h 10"/>
                    <a:gd name="T16" fmla="*/ 3 w 11"/>
                    <a:gd name="T17" fmla="*/ 7 h 10"/>
                    <a:gd name="T18" fmla="*/ 3 w 11"/>
                    <a:gd name="T19"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0">
                      <a:moveTo>
                        <a:pt x="3" y="7"/>
                      </a:moveTo>
                      <a:cubicBezTo>
                        <a:pt x="5" y="6"/>
                        <a:pt x="8" y="10"/>
                        <a:pt x="8" y="6"/>
                      </a:cubicBezTo>
                      <a:cubicBezTo>
                        <a:pt x="9" y="5"/>
                        <a:pt x="10" y="5"/>
                        <a:pt x="10" y="4"/>
                      </a:cubicBezTo>
                      <a:cubicBezTo>
                        <a:pt x="11" y="2"/>
                        <a:pt x="10" y="2"/>
                        <a:pt x="9" y="1"/>
                      </a:cubicBezTo>
                      <a:cubicBezTo>
                        <a:pt x="8" y="0"/>
                        <a:pt x="7" y="0"/>
                        <a:pt x="5" y="0"/>
                      </a:cubicBezTo>
                      <a:cubicBezTo>
                        <a:pt x="4" y="1"/>
                        <a:pt x="3" y="2"/>
                        <a:pt x="2" y="3"/>
                      </a:cubicBezTo>
                      <a:cubicBezTo>
                        <a:pt x="0" y="3"/>
                        <a:pt x="0" y="3"/>
                        <a:pt x="1" y="5"/>
                      </a:cubicBezTo>
                      <a:cubicBezTo>
                        <a:pt x="1" y="6"/>
                        <a:pt x="2" y="7"/>
                        <a:pt x="4" y="6"/>
                      </a:cubicBezTo>
                      <a:cubicBezTo>
                        <a:pt x="4" y="7"/>
                        <a:pt x="4" y="7"/>
                        <a:pt x="3" y="7"/>
                      </a:cubicBezTo>
                      <a:cubicBezTo>
                        <a:pt x="5" y="6"/>
                        <a:pt x="3" y="7"/>
                        <a:pt x="3" y="7"/>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grpSp>
      </p:grpSp>
      <p:sp>
        <p:nvSpPr>
          <p:cNvPr id="160" name="Freeform 412">
            <a:extLst>
              <a:ext uri="{FF2B5EF4-FFF2-40B4-BE49-F238E27FC236}">
                <a16:creationId xmlns:a16="http://schemas.microsoft.com/office/drawing/2014/main" id="{1E388380-3D32-7D70-330E-AD3A774F265B}"/>
              </a:ext>
            </a:extLst>
          </p:cNvPr>
          <p:cNvSpPr/>
          <p:nvPr>
            <p:custDataLst>
              <p:tags r:id="rId94"/>
            </p:custDataLst>
          </p:nvPr>
        </p:nvSpPr>
        <p:spPr bwMode="auto">
          <a:xfrm>
            <a:off x="5341148" y="3140631"/>
            <a:ext cx="37040" cy="33037"/>
          </a:xfrm>
          <a:custGeom>
            <a:avLst/>
            <a:gdLst>
              <a:gd name="T0" fmla="*/ 18 w 32"/>
              <a:gd name="T1" fmla="*/ 0 h 28"/>
              <a:gd name="T2" fmla="*/ 13 w 32"/>
              <a:gd name="T3" fmla="*/ 0 h 28"/>
              <a:gd name="T4" fmla="*/ 8 w 32"/>
              <a:gd name="T5" fmla="*/ 5 h 28"/>
              <a:gd name="T6" fmla="*/ 0 w 32"/>
              <a:gd name="T7" fmla="*/ 18 h 28"/>
              <a:gd name="T8" fmla="*/ 11 w 32"/>
              <a:gd name="T9" fmla="*/ 19 h 28"/>
              <a:gd name="T10" fmla="*/ 18 w 32"/>
              <a:gd name="T11" fmla="*/ 22 h 28"/>
              <a:gd name="T12" fmla="*/ 22 w 32"/>
              <a:gd name="T13" fmla="*/ 28 h 28"/>
              <a:gd name="T14" fmla="*/ 32 w 32"/>
              <a:gd name="T15" fmla="*/ 27 h 28"/>
              <a:gd name="T16" fmla="*/ 29 w 32"/>
              <a:gd name="T17" fmla="*/ 21 h 28"/>
              <a:gd name="T18" fmla="*/ 27 w 32"/>
              <a:gd name="T19" fmla="*/ 16 h 28"/>
              <a:gd name="T20" fmla="*/ 23 w 32"/>
              <a:gd name="T21" fmla="*/ 9 h 28"/>
              <a:gd name="T22" fmla="*/ 28 w 32"/>
              <a:gd name="T23" fmla="*/ 5 h 28"/>
              <a:gd name="T24" fmla="*/ 18 w 32"/>
              <a:gd name="T25" fmla="*/ 0 h 28"/>
              <a:gd name="T26" fmla="*/ 18 w 32"/>
              <a:gd name="T27" fmla="*/ 0 h 28"/>
              <a:gd name="T28" fmla="*/ 18 w 32"/>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28">
                <a:moveTo>
                  <a:pt x="18" y="0"/>
                </a:moveTo>
                <a:cubicBezTo>
                  <a:pt x="16" y="0"/>
                  <a:pt x="14" y="0"/>
                  <a:pt x="13" y="0"/>
                </a:cubicBezTo>
                <a:cubicBezTo>
                  <a:pt x="11" y="1"/>
                  <a:pt x="9" y="3"/>
                  <a:pt x="8" y="5"/>
                </a:cubicBezTo>
                <a:cubicBezTo>
                  <a:pt x="6" y="9"/>
                  <a:pt x="3" y="14"/>
                  <a:pt x="0" y="18"/>
                </a:cubicBezTo>
                <a:cubicBezTo>
                  <a:pt x="4" y="18"/>
                  <a:pt x="7" y="19"/>
                  <a:pt x="11" y="19"/>
                </a:cubicBezTo>
                <a:cubicBezTo>
                  <a:pt x="13" y="20"/>
                  <a:pt x="16" y="20"/>
                  <a:pt x="18" y="22"/>
                </a:cubicBezTo>
                <a:cubicBezTo>
                  <a:pt x="19" y="24"/>
                  <a:pt x="19" y="27"/>
                  <a:pt x="22" y="28"/>
                </a:cubicBezTo>
                <a:cubicBezTo>
                  <a:pt x="25" y="28"/>
                  <a:pt x="28" y="27"/>
                  <a:pt x="32" y="27"/>
                </a:cubicBezTo>
                <a:cubicBezTo>
                  <a:pt x="30" y="25"/>
                  <a:pt x="30" y="23"/>
                  <a:pt x="29" y="21"/>
                </a:cubicBezTo>
                <a:cubicBezTo>
                  <a:pt x="29" y="20"/>
                  <a:pt x="28" y="17"/>
                  <a:pt x="27" y="16"/>
                </a:cubicBezTo>
                <a:cubicBezTo>
                  <a:pt x="26" y="15"/>
                  <a:pt x="21" y="11"/>
                  <a:pt x="23" y="9"/>
                </a:cubicBezTo>
                <a:cubicBezTo>
                  <a:pt x="24" y="8"/>
                  <a:pt x="31" y="7"/>
                  <a:pt x="28" y="5"/>
                </a:cubicBezTo>
                <a:cubicBezTo>
                  <a:pt x="25" y="3"/>
                  <a:pt x="21" y="1"/>
                  <a:pt x="18" y="0"/>
                </a:cubicBezTo>
                <a:cubicBezTo>
                  <a:pt x="18" y="0"/>
                  <a:pt x="18" y="0"/>
                  <a:pt x="18" y="0"/>
                </a:cubicBezTo>
                <a:cubicBezTo>
                  <a:pt x="16" y="0"/>
                  <a:pt x="18" y="0"/>
                  <a:pt x="18" y="0"/>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161" name="Freeform 413">
            <a:extLst>
              <a:ext uri="{FF2B5EF4-FFF2-40B4-BE49-F238E27FC236}">
                <a16:creationId xmlns:a16="http://schemas.microsoft.com/office/drawing/2014/main" id="{0A20AA43-6E1F-A608-ED73-25721C5990D9}"/>
              </a:ext>
            </a:extLst>
          </p:cNvPr>
          <p:cNvSpPr/>
          <p:nvPr>
            <p:custDataLst>
              <p:tags r:id="rId95"/>
            </p:custDataLst>
          </p:nvPr>
        </p:nvSpPr>
        <p:spPr bwMode="auto">
          <a:xfrm>
            <a:off x="5097883" y="3072558"/>
            <a:ext cx="24026" cy="80086"/>
          </a:xfrm>
          <a:custGeom>
            <a:avLst/>
            <a:gdLst>
              <a:gd name="T0" fmla="*/ 4 w 20"/>
              <a:gd name="T1" fmla="*/ 27 h 68"/>
              <a:gd name="T2" fmla="*/ 1 w 20"/>
              <a:gd name="T3" fmla="*/ 30 h 68"/>
              <a:gd name="T4" fmla="*/ 0 w 20"/>
              <a:gd name="T5" fmla="*/ 32 h 68"/>
              <a:gd name="T6" fmla="*/ 1 w 20"/>
              <a:gd name="T7" fmla="*/ 34 h 68"/>
              <a:gd name="T8" fmla="*/ 4 w 20"/>
              <a:gd name="T9" fmla="*/ 45 h 68"/>
              <a:gd name="T10" fmla="*/ 10 w 20"/>
              <a:gd name="T11" fmla="*/ 68 h 68"/>
              <a:gd name="T12" fmla="*/ 14 w 20"/>
              <a:gd name="T13" fmla="*/ 51 h 68"/>
              <a:gd name="T14" fmla="*/ 18 w 20"/>
              <a:gd name="T15" fmla="*/ 34 h 68"/>
              <a:gd name="T16" fmla="*/ 11 w 20"/>
              <a:gd name="T17" fmla="*/ 33 h 68"/>
              <a:gd name="T18" fmla="*/ 10 w 20"/>
              <a:gd name="T19" fmla="*/ 29 h 68"/>
              <a:gd name="T20" fmla="*/ 12 w 20"/>
              <a:gd name="T21" fmla="*/ 25 h 68"/>
              <a:gd name="T22" fmla="*/ 11 w 20"/>
              <a:gd name="T23" fmla="*/ 20 h 68"/>
              <a:gd name="T24" fmla="*/ 10 w 20"/>
              <a:gd name="T25" fmla="*/ 15 h 68"/>
              <a:gd name="T26" fmla="*/ 20 w 20"/>
              <a:gd name="T27" fmla="*/ 11 h 68"/>
              <a:gd name="T28" fmla="*/ 20 w 20"/>
              <a:gd name="T29" fmla="*/ 0 h 68"/>
              <a:gd name="T30" fmla="*/ 16 w 20"/>
              <a:gd name="T31" fmla="*/ 1 h 68"/>
              <a:gd name="T32" fmla="*/ 14 w 20"/>
              <a:gd name="T33" fmla="*/ 1 h 68"/>
              <a:gd name="T34" fmla="*/ 13 w 20"/>
              <a:gd name="T35" fmla="*/ 3 h 68"/>
              <a:gd name="T36" fmla="*/ 10 w 20"/>
              <a:gd name="T37" fmla="*/ 12 h 68"/>
              <a:gd name="T38" fmla="*/ 3 w 20"/>
              <a:gd name="T39" fmla="*/ 28 h 68"/>
              <a:gd name="T40" fmla="*/ 4 w 20"/>
              <a:gd name="T41" fmla="*/ 27 h 68"/>
              <a:gd name="T42" fmla="*/ 4 w 20"/>
              <a:gd name="T43" fmla="*/ 2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68">
                <a:moveTo>
                  <a:pt x="4" y="27"/>
                </a:moveTo>
                <a:cubicBezTo>
                  <a:pt x="3" y="28"/>
                  <a:pt x="2" y="29"/>
                  <a:pt x="1" y="30"/>
                </a:cubicBezTo>
                <a:cubicBezTo>
                  <a:pt x="1" y="30"/>
                  <a:pt x="0" y="31"/>
                  <a:pt x="0" y="32"/>
                </a:cubicBezTo>
                <a:cubicBezTo>
                  <a:pt x="0" y="32"/>
                  <a:pt x="1" y="33"/>
                  <a:pt x="1" y="34"/>
                </a:cubicBezTo>
                <a:cubicBezTo>
                  <a:pt x="2" y="38"/>
                  <a:pt x="3" y="41"/>
                  <a:pt x="4" y="45"/>
                </a:cubicBezTo>
                <a:cubicBezTo>
                  <a:pt x="6" y="53"/>
                  <a:pt x="8" y="60"/>
                  <a:pt x="10" y="68"/>
                </a:cubicBezTo>
                <a:cubicBezTo>
                  <a:pt x="11" y="62"/>
                  <a:pt x="12" y="57"/>
                  <a:pt x="14" y="51"/>
                </a:cubicBezTo>
                <a:cubicBezTo>
                  <a:pt x="15" y="46"/>
                  <a:pt x="16" y="40"/>
                  <a:pt x="18" y="34"/>
                </a:cubicBezTo>
                <a:cubicBezTo>
                  <a:pt x="16" y="34"/>
                  <a:pt x="13" y="34"/>
                  <a:pt x="11" y="33"/>
                </a:cubicBezTo>
                <a:cubicBezTo>
                  <a:pt x="10" y="32"/>
                  <a:pt x="10" y="31"/>
                  <a:pt x="10" y="29"/>
                </a:cubicBezTo>
                <a:cubicBezTo>
                  <a:pt x="10" y="28"/>
                  <a:pt x="12" y="27"/>
                  <a:pt x="12" y="25"/>
                </a:cubicBezTo>
                <a:cubicBezTo>
                  <a:pt x="12" y="23"/>
                  <a:pt x="11" y="22"/>
                  <a:pt x="11" y="20"/>
                </a:cubicBezTo>
                <a:cubicBezTo>
                  <a:pt x="10" y="19"/>
                  <a:pt x="10" y="17"/>
                  <a:pt x="10" y="15"/>
                </a:cubicBezTo>
                <a:cubicBezTo>
                  <a:pt x="12" y="11"/>
                  <a:pt x="17" y="10"/>
                  <a:pt x="20" y="11"/>
                </a:cubicBezTo>
                <a:cubicBezTo>
                  <a:pt x="20" y="8"/>
                  <a:pt x="20" y="4"/>
                  <a:pt x="20" y="0"/>
                </a:cubicBezTo>
                <a:cubicBezTo>
                  <a:pt x="19" y="0"/>
                  <a:pt x="17" y="1"/>
                  <a:pt x="16" y="1"/>
                </a:cubicBezTo>
                <a:cubicBezTo>
                  <a:pt x="15" y="1"/>
                  <a:pt x="15" y="1"/>
                  <a:pt x="14" y="1"/>
                </a:cubicBezTo>
                <a:cubicBezTo>
                  <a:pt x="14" y="2"/>
                  <a:pt x="14" y="2"/>
                  <a:pt x="13" y="3"/>
                </a:cubicBezTo>
                <a:cubicBezTo>
                  <a:pt x="12" y="6"/>
                  <a:pt x="11" y="9"/>
                  <a:pt x="10" y="12"/>
                </a:cubicBezTo>
                <a:cubicBezTo>
                  <a:pt x="9" y="17"/>
                  <a:pt x="6" y="23"/>
                  <a:pt x="3" y="28"/>
                </a:cubicBezTo>
                <a:cubicBezTo>
                  <a:pt x="3" y="27"/>
                  <a:pt x="4" y="27"/>
                  <a:pt x="4" y="27"/>
                </a:cubicBezTo>
                <a:cubicBezTo>
                  <a:pt x="3" y="28"/>
                  <a:pt x="4" y="27"/>
                  <a:pt x="4" y="27"/>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162" name="Freeform 418">
            <a:extLst>
              <a:ext uri="{FF2B5EF4-FFF2-40B4-BE49-F238E27FC236}">
                <a16:creationId xmlns:a16="http://schemas.microsoft.com/office/drawing/2014/main" id="{8EEFA931-6442-26C7-828E-5054E4D9FC90}"/>
              </a:ext>
            </a:extLst>
          </p:cNvPr>
          <p:cNvSpPr/>
          <p:nvPr>
            <p:custDataLst>
              <p:tags r:id="rId96"/>
            </p:custDataLst>
          </p:nvPr>
        </p:nvSpPr>
        <p:spPr bwMode="auto">
          <a:xfrm>
            <a:off x="4874641" y="2427857"/>
            <a:ext cx="4004" cy="5006"/>
          </a:xfrm>
          <a:custGeom>
            <a:avLst/>
            <a:gdLst>
              <a:gd name="T0" fmla="*/ 3 w 3"/>
              <a:gd name="T1" fmla="*/ 4 h 5"/>
              <a:gd name="T2" fmla="*/ 1 w 3"/>
              <a:gd name="T3" fmla="*/ 2 h 5"/>
              <a:gd name="T4" fmla="*/ 1 w 3"/>
              <a:gd name="T5" fmla="*/ 4 h 5"/>
              <a:gd name="T6" fmla="*/ 3 w 3"/>
              <a:gd name="T7" fmla="*/ 4 h 5"/>
              <a:gd name="T8" fmla="*/ 3 w 3"/>
              <a:gd name="T9" fmla="*/ 4 h 5"/>
              <a:gd name="T10" fmla="*/ 3 w 3"/>
              <a:gd name="T11" fmla="*/ 4 h 5"/>
            </a:gdLst>
            <a:ahLst/>
            <a:cxnLst>
              <a:cxn ang="0">
                <a:pos x="T0" y="T1"/>
              </a:cxn>
              <a:cxn ang="0">
                <a:pos x="T2" y="T3"/>
              </a:cxn>
              <a:cxn ang="0">
                <a:pos x="T4" y="T5"/>
              </a:cxn>
              <a:cxn ang="0">
                <a:pos x="T6" y="T7"/>
              </a:cxn>
              <a:cxn ang="0">
                <a:pos x="T8" y="T9"/>
              </a:cxn>
              <a:cxn ang="0">
                <a:pos x="T10" y="T11"/>
              </a:cxn>
            </a:cxnLst>
            <a:rect l="0" t="0" r="r" b="b"/>
            <a:pathLst>
              <a:path w="3" h="5">
                <a:moveTo>
                  <a:pt x="3" y="4"/>
                </a:moveTo>
                <a:cubicBezTo>
                  <a:pt x="3" y="3"/>
                  <a:pt x="2" y="0"/>
                  <a:pt x="1" y="2"/>
                </a:cubicBezTo>
                <a:cubicBezTo>
                  <a:pt x="0" y="3"/>
                  <a:pt x="0" y="3"/>
                  <a:pt x="1" y="4"/>
                </a:cubicBezTo>
                <a:cubicBezTo>
                  <a:pt x="2" y="5"/>
                  <a:pt x="3" y="5"/>
                  <a:pt x="3" y="4"/>
                </a:cubicBezTo>
                <a:cubicBezTo>
                  <a:pt x="3" y="4"/>
                  <a:pt x="3" y="4"/>
                  <a:pt x="3" y="4"/>
                </a:cubicBezTo>
                <a:cubicBezTo>
                  <a:pt x="3" y="3"/>
                  <a:pt x="3" y="4"/>
                  <a:pt x="3" y="4"/>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nvGrpSpPr>
          <p:cNvPr id="163" name="Group 162">
            <a:extLst>
              <a:ext uri="{FF2B5EF4-FFF2-40B4-BE49-F238E27FC236}">
                <a16:creationId xmlns:a16="http://schemas.microsoft.com/office/drawing/2014/main" id="{B0134C11-8057-7081-AB01-54B857B4ECA7}"/>
              </a:ext>
            </a:extLst>
          </p:cNvPr>
          <p:cNvGrpSpPr/>
          <p:nvPr>
            <p:custDataLst>
              <p:tags r:id="rId97"/>
            </p:custDataLst>
          </p:nvPr>
        </p:nvGrpSpPr>
        <p:grpSpPr>
          <a:xfrm>
            <a:off x="4849614" y="2402829"/>
            <a:ext cx="126137" cy="60065"/>
            <a:chOff x="6411913" y="2435226"/>
            <a:chExt cx="200025" cy="95250"/>
          </a:xfrm>
        </p:grpSpPr>
        <p:sp>
          <p:nvSpPr>
            <p:cNvPr id="164" name="Freeform 266">
              <a:extLst>
                <a:ext uri="{FF2B5EF4-FFF2-40B4-BE49-F238E27FC236}">
                  <a16:creationId xmlns:a16="http://schemas.microsoft.com/office/drawing/2014/main" id="{85E2C30F-AC82-F190-49D2-59B89A348323}"/>
                </a:ext>
              </a:extLst>
            </p:cNvPr>
            <p:cNvSpPr/>
            <p:nvPr>
              <p:custDataLst>
                <p:tags r:id="rId273"/>
              </p:custDataLst>
            </p:nvPr>
          </p:nvSpPr>
          <p:spPr bwMode="auto">
            <a:xfrm>
              <a:off x="6462713" y="2435226"/>
              <a:ext cx="149225" cy="95250"/>
            </a:xfrm>
            <a:custGeom>
              <a:avLst/>
              <a:gdLst>
                <a:gd name="T0" fmla="*/ 67 w 80"/>
                <a:gd name="T1" fmla="*/ 21 h 51"/>
                <a:gd name="T2" fmla="*/ 77 w 80"/>
                <a:gd name="T3" fmla="*/ 4 h 51"/>
                <a:gd name="T4" fmla="*/ 70 w 80"/>
                <a:gd name="T5" fmla="*/ 5 h 51"/>
                <a:gd name="T6" fmla="*/ 65 w 80"/>
                <a:gd name="T7" fmla="*/ 4 h 51"/>
                <a:gd name="T8" fmla="*/ 61 w 80"/>
                <a:gd name="T9" fmla="*/ 5 h 51"/>
                <a:gd name="T10" fmla="*/ 54 w 80"/>
                <a:gd name="T11" fmla="*/ 2 h 51"/>
                <a:gd name="T12" fmla="*/ 45 w 80"/>
                <a:gd name="T13" fmla="*/ 2 h 51"/>
                <a:gd name="T14" fmla="*/ 41 w 80"/>
                <a:gd name="T15" fmla="*/ 2 h 51"/>
                <a:gd name="T16" fmla="*/ 38 w 80"/>
                <a:gd name="T17" fmla="*/ 1 h 51"/>
                <a:gd name="T18" fmla="*/ 35 w 80"/>
                <a:gd name="T19" fmla="*/ 0 h 51"/>
                <a:gd name="T20" fmla="*/ 35 w 80"/>
                <a:gd name="T21" fmla="*/ 3 h 51"/>
                <a:gd name="T22" fmla="*/ 32 w 80"/>
                <a:gd name="T23" fmla="*/ 3 h 51"/>
                <a:gd name="T24" fmla="*/ 27 w 80"/>
                <a:gd name="T25" fmla="*/ 3 h 51"/>
                <a:gd name="T26" fmla="*/ 18 w 80"/>
                <a:gd name="T27" fmla="*/ 4 h 51"/>
                <a:gd name="T28" fmla="*/ 15 w 80"/>
                <a:gd name="T29" fmla="*/ 6 h 51"/>
                <a:gd name="T30" fmla="*/ 12 w 80"/>
                <a:gd name="T31" fmla="*/ 8 h 51"/>
                <a:gd name="T32" fmla="*/ 5 w 80"/>
                <a:gd name="T33" fmla="*/ 10 h 51"/>
                <a:gd name="T34" fmla="*/ 2 w 80"/>
                <a:gd name="T35" fmla="*/ 10 h 51"/>
                <a:gd name="T36" fmla="*/ 1 w 80"/>
                <a:gd name="T37" fmla="*/ 13 h 51"/>
                <a:gd name="T38" fmla="*/ 4 w 80"/>
                <a:gd name="T39" fmla="*/ 16 h 51"/>
                <a:gd name="T40" fmla="*/ 2 w 80"/>
                <a:gd name="T41" fmla="*/ 17 h 51"/>
                <a:gd name="T42" fmla="*/ 1 w 80"/>
                <a:gd name="T43" fmla="*/ 20 h 51"/>
                <a:gd name="T44" fmla="*/ 6 w 80"/>
                <a:gd name="T45" fmla="*/ 21 h 51"/>
                <a:gd name="T46" fmla="*/ 3 w 80"/>
                <a:gd name="T47" fmla="*/ 23 h 51"/>
                <a:gd name="T48" fmla="*/ 3 w 80"/>
                <a:gd name="T49" fmla="*/ 29 h 51"/>
                <a:gd name="T50" fmla="*/ 9 w 80"/>
                <a:gd name="T51" fmla="*/ 33 h 51"/>
                <a:gd name="T52" fmla="*/ 13 w 80"/>
                <a:gd name="T53" fmla="*/ 34 h 51"/>
                <a:gd name="T54" fmla="*/ 16 w 80"/>
                <a:gd name="T55" fmla="*/ 31 h 51"/>
                <a:gd name="T56" fmla="*/ 18 w 80"/>
                <a:gd name="T57" fmla="*/ 32 h 51"/>
                <a:gd name="T58" fmla="*/ 18 w 80"/>
                <a:gd name="T59" fmla="*/ 35 h 51"/>
                <a:gd name="T60" fmla="*/ 16 w 80"/>
                <a:gd name="T61" fmla="*/ 39 h 51"/>
                <a:gd name="T62" fmla="*/ 15 w 80"/>
                <a:gd name="T63" fmla="*/ 43 h 51"/>
                <a:gd name="T64" fmla="*/ 26 w 80"/>
                <a:gd name="T65" fmla="*/ 39 h 51"/>
                <a:gd name="T66" fmla="*/ 39 w 80"/>
                <a:gd name="T67" fmla="*/ 41 h 51"/>
                <a:gd name="T68" fmla="*/ 47 w 80"/>
                <a:gd name="T69" fmla="*/ 48 h 51"/>
                <a:gd name="T70" fmla="*/ 53 w 80"/>
                <a:gd name="T71" fmla="*/ 50 h 51"/>
                <a:gd name="T72" fmla="*/ 59 w 80"/>
                <a:gd name="T73" fmla="*/ 50 h 51"/>
                <a:gd name="T74" fmla="*/ 64 w 80"/>
                <a:gd name="T75" fmla="*/ 51 h 51"/>
                <a:gd name="T76" fmla="*/ 66 w 80"/>
                <a:gd name="T77" fmla="*/ 51 h 51"/>
                <a:gd name="T78" fmla="*/ 67 w 80"/>
                <a:gd name="T79" fmla="*/ 49 h 51"/>
                <a:gd name="T80" fmla="*/ 69 w 80"/>
                <a:gd name="T81" fmla="*/ 45 h 51"/>
                <a:gd name="T82" fmla="*/ 73 w 80"/>
                <a:gd name="T83" fmla="*/ 42 h 51"/>
                <a:gd name="T84" fmla="*/ 67 w 80"/>
                <a:gd name="T85" fmla="*/ 31 h 51"/>
                <a:gd name="T86" fmla="*/ 68 w 80"/>
                <a:gd name="T87" fmla="*/ 20 h 51"/>
                <a:gd name="T88" fmla="*/ 67 w 80"/>
                <a:gd name="T89" fmla="*/ 21 h 51"/>
                <a:gd name="T90" fmla="*/ 67 w 80"/>
                <a:gd name="T91"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 h="51">
                  <a:moveTo>
                    <a:pt x="67" y="21"/>
                  </a:moveTo>
                  <a:cubicBezTo>
                    <a:pt x="69" y="14"/>
                    <a:pt x="80" y="11"/>
                    <a:pt x="77" y="4"/>
                  </a:cubicBezTo>
                  <a:cubicBezTo>
                    <a:pt x="75" y="6"/>
                    <a:pt x="72" y="5"/>
                    <a:pt x="70" y="5"/>
                  </a:cubicBezTo>
                  <a:cubicBezTo>
                    <a:pt x="68" y="5"/>
                    <a:pt x="67" y="4"/>
                    <a:pt x="65" y="4"/>
                  </a:cubicBezTo>
                  <a:cubicBezTo>
                    <a:pt x="64" y="4"/>
                    <a:pt x="62" y="5"/>
                    <a:pt x="61" y="5"/>
                  </a:cubicBezTo>
                  <a:cubicBezTo>
                    <a:pt x="58" y="5"/>
                    <a:pt x="57" y="3"/>
                    <a:pt x="54" y="2"/>
                  </a:cubicBezTo>
                  <a:cubicBezTo>
                    <a:pt x="51" y="2"/>
                    <a:pt x="48" y="2"/>
                    <a:pt x="45" y="2"/>
                  </a:cubicBezTo>
                  <a:cubicBezTo>
                    <a:pt x="44" y="2"/>
                    <a:pt x="43" y="3"/>
                    <a:pt x="41" y="2"/>
                  </a:cubicBezTo>
                  <a:cubicBezTo>
                    <a:pt x="40" y="2"/>
                    <a:pt x="39" y="1"/>
                    <a:pt x="38" y="1"/>
                  </a:cubicBezTo>
                  <a:cubicBezTo>
                    <a:pt x="37" y="1"/>
                    <a:pt x="36" y="0"/>
                    <a:pt x="35" y="0"/>
                  </a:cubicBezTo>
                  <a:cubicBezTo>
                    <a:pt x="35" y="1"/>
                    <a:pt x="36" y="2"/>
                    <a:pt x="35" y="3"/>
                  </a:cubicBezTo>
                  <a:cubicBezTo>
                    <a:pt x="34" y="3"/>
                    <a:pt x="33" y="3"/>
                    <a:pt x="32" y="3"/>
                  </a:cubicBezTo>
                  <a:cubicBezTo>
                    <a:pt x="30" y="3"/>
                    <a:pt x="29" y="3"/>
                    <a:pt x="27" y="3"/>
                  </a:cubicBezTo>
                  <a:cubicBezTo>
                    <a:pt x="24" y="3"/>
                    <a:pt x="21" y="3"/>
                    <a:pt x="18" y="4"/>
                  </a:cubicBezTo>
                  <a:cubicBezTo>
                    <a:pt x="17" y="5"/>
                    <a:pt x="16" y="5"/>
                    <a:pt x="15" y="6"/>
                  </a:cubicBezTo>
                  <a:cubicBezTo>
                    <a:pt x="14" y="6"/>
                    <a:pt x="13" y="7"/>
                    <a:pt x="12" y="8"/>
                  </a:cubicBezTo>
                  <a:cubicBezTo>
                    <a:pt x="10" y="9"/>
                    <a:pt x="7" y="9"/>
                    <a:pt x="5" y="10"/>
                  </a:cubicBezTo>
                  <a:cubicBezTo>
                    <a:pt x="4" y="10"/>
                    <a:pt x="2" y="10"/>
                    <a:pt x="2" y="10"/>
                  </a:cubicBezTo>
                  <a:cubicBezTo>
                    <a:pt x="1" y="11"/>
                    <a:pt x="1" y="12"/>
                    <a:pt x="1" y="13"/>
                  </a:cubicBezTo>
                  <a:cubicBezTo>
                    <a:pt x="0" y="15"/>
                    <a:pt x="3" y="14"/>
                    <a:pt x="4" y="16"/>
                  </a:cubicBezTo>
                  <a:cubicBezTo>
                    <a:pt x="4" y="16"/>
                    <a:pt x="2" y="17"/>
                    <a:pt x="2" y="17"/>
                  </a:cubicBezTo>
                  <a:cubicBezTo>
                    <a:pt x="1" y="18"/>
                    <a:pt x="0" y="19"/>
                    <a:pt x="1" y="20"/>
                  </a:cubicBezTo>
                  <a:cubicBezTo>
                    <a:pt x="2" y="23"/>
                    <a:pt x="5" y="20"/>
                    <a:pt x="6" y="21"/>
                  </a:cubicBezTo>
                  <a:cubicBezTo>
                    <a:pt x="8" y="24"/>
                    <a:pt x="4" y="23"/>
                    <a:pt x="3" y="23"/>
                  </a:cubicBezTo>
                  <a:cubicBezTo>
                    <a:pt x="0" y="24"/>
                    <a:pt x="3" y="28"/>
                    <a:pt x="3" y="29"/>
                  </a:cubicBezTo>
                  <a:cubicBezTo>
                    <a:pt x="5" y="30"/>
                    <a:pt x="7" y="32"/>
                    <a:pt x="9" y="33"/>
                  </a:cubicBezTo>
                  <a:cubicBezTo>
                    <a:pt x="10" y="34"/>
                    <a:pt x="11" y="35"/>
                    <a:pt x="13" y="34"/>
                  </a:cubicBezTo>
                  <a:cubicBezTo>
                    <a:pt x="14" y="33"/>
                    <a:pt x="15" y="32"/>
                    <a:pt x="16" y="31"/>
                  </a:cubicBezTo>
                  <a:cubicBezTo>
                    <a:pt x="17" y="30"/>
                    <a:pt x="18" y="31"/>
                    <a:pt x="18" y="32"/>
                  </a:cubicBezTo>
                  <a:cubicBezTo>
                    <a:pt x="19" y="33"/>
                    <a:pt x="18" y="34"/>
                    <a:pt x="18" y="35"/>
                  </a:cubicBezTo>
                  <a:cubicBezTo>
                    <a:pt x="17" y="37"/>
                    <a:pt x="17" y="38"/>
                    <a:pt x="16" y="39"/>
                  </a:cubicBezTo>
                  <a:cubicBezTo>
                    <a:pt x="16" y="40"/>
                    <a:pt x="15" y="41"/>
                    <a:pt x="15" y="43"/>
                  </a:cubicBezTo>
                  <a:cubicBezTo>
                    <a:pt x="18" y="41"/>
                    <a:pt x="22" y="39"/>
                    <a:pt x="26" y="39"/>
                  </a:cubicBezTo>
                  <a:cubicBezTo>
                    <a:pt x="30" y="38"/>
                    <a:pt x="35" y="39"/>
                    <a:pt x="39" y="41"/>
                  </a:cubicBezTo>
                  <a:cubicBezTo>
                    <a:pt x="42" y="42"/>
                    <a:pt x="44" y="46"/>
                    <a:pt x="47" y="48"/>
                  </a:cubicBezTo>
                  <a:cubicBezTo>
                    <a:pt x="49" y="49"/>
                    <a:pt x="51" y="51"/>
                    <a:pt x="53" y="50"/>
                  </a:cubicBezTo>
                  <a:cubicBezTo>
                    <a:pt x="55" y="50"/>
                    <a:pt x="57" y="49"/>
                    <a:pt x="59" y="50"/>
                  </a:cubicBezTo>
                  <a:cubicBezTo>
                    <a:pt x="60" y="50"/>
                    <a:pt x="62" y="51"/>
                    <a:pt x="64" y="51"/>
                  </a:cubicBezTo>
                  <a:cubicBezTo>
                    <a:pt x="65" y="51"/>
                    <a:pt x="66" y="51"/>
                    <a:pt x="66" y="51"/>
                  </a:cubicBezTo>
                  <a:cubicBezTo>
                    <a:pt x="67" y="51"/>
                    <a:pt x="67" y="49"/>
                    <a:pt x="67" y="49"/>
                  </a:cubicBezTo>
                  <a:cubicBezTo>
                    <a:pt x="67" y="47"/>
                    <a:pt x="68" y="46"/>
                    <a:pt x="69" y="45"/>
                  </a:cubicBezTo>
                  <a:cubicBezTo>
                    <a:pt x="71" y="44"/>
                    <a:pt x="74" y="44"/>
                    <a:pt x="73" y="42"/>
                  </a:cubicBezTo>
                  <a:cubicBezTo>
                    <a:pt x="70" y="38"/>
                    <a:pt x="67" y="35"/>
                    <a:pt x="67" y="31"/>
                  </a:cubicBezTo>
                  <a:cubicBezTo>
                    <a:pt x="66" y="27"/>
                    <a:pt x="67" y="23"/>
                    <a:pt x="68" y="20"/>
                  </a:cubicBezTo>
                  <a:cubicBezTo>
                    <a:pt x="68" y="20"/>
                    <a:pt x="68" y="20"/>
                    <a:pt x="67" y="21"/>
                  </a:cubicBezTo>
                  <a:cubicBezTo>
                    <a:pt x="69" y="14"/>
                    <a:pt x="67" y="21"/>
                    <a:pt x="67" y="21"/>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65" name="Freeform 420">
              <a:extLst>
                <a:ext uri="{FF2B5EF4-FFF2-40B4-BE49-F238E27FC236}">
                  <a16:creationId xmlns:a16="http://schemas.microsoft.com/office/drawing/2014/main" id="{0A1261E1-C601-0071-803F-9BB5FFEC39C3}"/>
                </a:ext>
              </a:extLst>
            </p:cNvPr>
            <p:cNvSpPr/>
            <p:nvPr>
              <p:custDataLst>
                <p:tags r:id="rId274"/>
              </p:custDataLst>
            </p:nvPr>
          </p:nvSpPr>
          <p:spPr bwMode="auto">
            <a:xfrm>
              <a:off x="6411913" y="2482851"/>
              <a:ext cx="46037" cy="28575"/>
            </a:xfrm>
            <a:custGeom>
              <a:avLst/>
              <a:gdLst>
                <a:gd name="T0" fmla="*/ 2 w 25"/>
                <a:gd name="T1" fmla="*/ 3 h 15"/>
                <a:gd name="T2" fmla="*/ 3 w 25"/>
                <a:gd name="T3" fmla="*/ 5 h 15"/>
                <a:gd name="T4" fmla="*/ 2 w 25"/>
                <a:gd name="T5" fmla="*/ 7 h 15"/>
                <a:gd name="T6" fmla="*/ 3 w 25"/>
                <a:gd name="T7" fmla="*/ 9 h 15"/>
                <a:gd name="T8" fmla="*/ 7 w 25"/>
                <a:gd name="T9" fmla="*/ 11 h 15"/>
                <a:gd name="T10" fmla="*/ 6 w 25"/>
                <a:gd name="T11" fmla="*/ 14 h 15"/>
                <a:gd name="T12" fmla="*/ 7 w 25"/>
                <a:gd name="T13" fmla="*/ 14 h 15"/>
                <a:gd name="T14" fmla="*/ 8 w 25"/>
                <a:gd name="T15" fmla="*/ 12 h 15"/>
                <a:gd name="T16" fmla="*/ 11 w 25"/>
                <a:gd name="T17" fmla="*/ 8 h 15"/>
                <a:gd name="T18" fmla="*/ 13 w 25"/>
                <a:gd name="T19" fmla="*/ 8 h 15"/>
                <a:gd name="T20" fmla="*/ 16 w 25"/>
                <a:gd name="T21" fmla="*/ 8 h 15"/>
                <a:gd name="T22" fmla="*/ 19 w 25"/>
                <a:gd name="T23" fmla="*/ 6 h 15"/>
                <a:gd name="T24" fmla="*/ 22 w 25"/>
                <a:gd name="T25" fmla="*/ 4 h 15"/>
                <a:gd name="T26" fmla="*/ 23 w 25"/>
                <a:gd name="T27" fmla="*/ 2 h 15"/>
                <a:gd name="T28" fmla="*/ 20 w 25"/>
                <a:gd name="T29" fmla="*/ 1 h 15"/>
                <a:gd name="T30" fmla="*/ 15 w 25"/>
                <a:gd name="T31" fmla="*/ 0 h 15"/>
                <a:gd name="T32" fmla="*/ 10 w 25"/>
                <a:gd name="T33" fmla="*/ 2 h 15"/>
                <a:gd name="T34" fmla="*/ 4 w 25"/>
                <a:gd name="T35" fmla="*/ 3 h 15"/>
                <a:gd name="T36" fmla="*/ 1 w 25"/>
                <a:gd name="T37" fmla="*/ 3 h 15"/>
                <a:gd name="T38" fmla="*/ 2 w 25"/>
                <a:gd name="T39" fmla="*/ 3 h 15"/>
                <a:gd name="T40" fmla="*/ 2 w 25"/>
                <a:gd name="T41"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15">
                  <a:moveTo>
                    <a:pt x="2" y="3"/>
                  </a:moveTo>
                  <a:cubicBezTo>
                    <a:pt x="1" y="4"/>
                    <a:pt x="2" y="4"/>
                    <a:pt x="3" y="5"/>
                  </a:cubicBezTo>
                  <a:cubicBezTo>
                    <a:pt x="4" y="5"/>
                    <a:pt x="3" y="6"/>
                    <a:pt x="2" y="7"/>
                  </a:cubicBezTo>
                  <a:cubicBezTo>
                    <a:pt x="1" y="8"/>
                    <a:pt x="2" y="9"/>
                    <a:pt x="3" y="9"/>
                  </a:cubicBezTo>
                  <a:cubicBezTo>
                    <a:pt x="5" y="9"/>
                    <a:pt x="6" y="9"/>
                    <a:pt x="7" y="11"/>
                  </a:cubicBezTo>
                  <a:cubicBezTo>
                    <a:pt x="7" y="12"/>
                    <a:pt x="6" y="13"/>
                    <a:pt x="6" y="14"/>
                  </a:cubicBezTo>
                  <a:cubicBezTo>
                    <a:pt x="6" y="15"/>
                    <a:pt x="7" y="14"/>
                    <a:pt x="7" y="14"/>
                  </a:cubicBezTo>
                  <a:cubicBezTo>
                    <a:pt x="8" y="13"/>
                    <a:pt x="8" y="12"/>
                    <a:pt x="8" y="12"/>
                  </a:cubicBezTo>
                  <a:cubicBezTo>
                    <a:pt x="9" y="10"/>
                    <a:pt x="10" y="9"/>
                    <a:pt x="11" y="8"/>
                  </a:cubicBezTo>
                  <a:cubicBezTo>
                    <a:pt x="12" y="8"/>
                    <a:pt x="13" y="8"/>
                    <a:pt x="13" y="8"/>
                  </a:cubicBezTo>
                  <a:cubicBezTo>
                    <a:pt x="14" y="8"/>
                    <a:pt x="15" y="8"/>
                    <a:pt x="16" y="8"/>
                  </a:cubicBezTo>
                  <a:cubicBezTo>
                    <a:pt x="17" y="8"/>
                    <a:pt x="18" y="7"/>
                    <a:pt x="19" y="6"/>
                  </a:cubicBezTo>
                  <a:cubicBezTo>
                    <a:pt x="20" y="5"/>
                    <a:pt x="21" y="4"/>
                    <a:pt x="22" y="4"/>
                  </a:cubicBezTo>
                  <a:cubicBezTo>
                    <a:pt x="23" y="4"/>
                    <a:pt x="25" y="2"/>
                    <a:pt x="23" y="2"/>
                  </a:cubicBezTo>
                  <a:cubicBezTo>
                    <a:pt x="22" y="1"/>
                    <a:pt x="21" y="1"/>
                    <a:pt x="20" y="1"/>
                  </a:cubicBezTo>
                  <a:cubicBezTo>
                    <a:pt x="19" y="1"/>
                    <a:pt x="17" y="0"/>
                    <a:pt x="15" y="0"/>
                  </a:cubicBezTo>
                  <a:cubicBezTo>
                    <a:pt x="13" y="0"/>
                    <a:pt x="11" y="1"/>
                    <a:pt x="10" y="2"/>
                  </a:cubicBezTo>
                  <a:cubicBezTo>
                    <a:pt x="8" y="2"/>
                    <a:pt x="6" y="4"/>
                    <a:pt x="4" y="3"/>
                  </a:cubicBezTo>
                  <a:cubicBezTo>
                    <a:pt x="3" y="3"/>
                    <a:pt x="2" y="3"/>
                    <a:pt x="1" y="3"/>
                  </a:cubicBezTo>
                  <a:cubicBezTo>
                    <a:pt x="1" y="3"/>
                    <a:pt x="2" y="3"/>
                    <a:pt x="2" y="3"/>
                  </a:cubicBezTo>
                  <a:cubicBezTo>
                    <a:pt x="0" y="4"/>
                    <a:pt x="2" y="3"/>
                    <a:pt x="2" y="3"/>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66" name="Freeform 421">
              <a:extLst>
                <a:ext uri="{FF2B5EF4-FFF2-40B4-BE49-F238E27FC236}">
                  <a16:creationId xmlns:a16="http://schemas.microsoft.com/office/drawing/2014/main" id="{D516231A-85A3-98DE-B60E-F2ED26BE3821}"/>
                </a:ext>
              </a:extLst>
            </p:cNvPr>
            <p:cNvSpPr/>
            <p:nvPr>
              <p:custDataLst>
                <p:tags r:id="rId275"/>
              </p:custDataLst>
            </p:nvPr>
          </p:nvSpPr>
          <p:spPr bwMode="auto">
            <a:xfrm>
              <a:off x="6423025" y="2460626"/>
              <a:ext cx="25400" cy="17463"/>
            </a:xfrm>
            <a:custGeom>
              <a:avLst/>
              <a:gdLst>
                <a:gd name="T0" fmla="*/ 1 w 14"/>
                <a:gd name="T1" fmla="*/ 2 h 9"/>
                <a:gd name="T2" fmla="*/ 1 w 14"/>
                <a:gd name="T3" fmla="*/ 4 h 9"/>
                <a:gd name="T4" fmla="*/ 4 w 14"/>
                <a:gd name="T5" fmla="*/ 5 h 9"/>
                <a:gd name="T6" fmla="*/ 6 w 14"/>
                <a:gd name="T7" fmla="*/ 9 h 9"/>
                <a:gd name="T8" fmla="*/ 8 w 14"/>
                <a:gd name="T9" fmla="*/ 8 h 9"/>
                <a:gd name="T10" fmla="*/ 10 w 14"/>
                <a:gd name="T11" fmla="*/ 7 h 9"/>
                <a:gd name="T12" fmla="*/ 12 w 14"/>
                <a:gd name="T13" fmla="*/ 4 h 9"/>
                <a:gd name="T14" fmla="*/ 8 w 14"/>
                <a:gd name="T15" fmla="*/ 1 h 9"/>
                <a:gd name="T16" fmla="*/ 5 w 14"/>
                <a:gd name="T17" fmla="*/ 3 h 9"/>
                <a:gd name="T18" fmla="*/ 2 w 14"/>
                <a:gd name="T19" fmla="*/ 2 h 9"/>
                <a:gd name="T20" fmla="*/ 0 w 14"/>
                <a:gd name="T21" fmla="*/ 2 h 9"/>
                <a:gd name="T22" fmla="*/ 1 w 14"/>
                <a:gd name="T23" fmla="*/ 2 h 9"/>
                <a:gd name="T24" fmla="*/ 1 w 14"/>
                <a:gd name="T25"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9">
                  <a:moveTo>
                    <a:pt x="1" y="2"/>
                  </a:moveTo>
                  <a:cubicBezTo>
                    <a:pt x="0" y="2"/>
                    <a:pt x="0" y="3"/>
                    <a:pt x="1" y="4"/>
                  </a:cubicBezTo>
                  <a:cubicBezTo>
                    <a:pt x="2" y="5"/>
                    <a:pt x="3" y="4"/>
                    <a:pt x="4" y="5"/>
                  </a:cubicBezTo>
                  <a:cubicBezTo>
                    <a:pt x="5" y="6"/>
                    <a:pt x="5" y="8"/>
                    <a:pt x="6" y="9"/>
                  </a:cubicBezTo>
                  <a:cubicBezTo>
                    <a:pt x="7" y="9"/>
                    <a:pt x="7" y="9"/>
                    <a:pt x="8" y="8"/>
                  </a:cubicBezTo>
                  <a:cubicBezTo>
                    <a:pt x="9" y="8"/>
                    <a:pt x="9" y="7"/>
                    <a:pt x="10" y="7"/>
                  </a:cubicBezTo>
                  <a:cubicBezTo>
                    <a:pt x="11" y="7"/>
                    <a:pt x="14" y="5"/>
                    <a:pt x="12" y="4"/>
                  </a:cubicBezTo>
                  <a:cubicBezTo>
                    <a:pt x="11" y="3"/>
                    <a:pt x="10" y="1"/>
                    <a:pt x="8" y="1"/>
                  </a:cubicBezTo>
                  <a:cubicBezTo>
                    <a:pt x="6" y="0"/>
                    <a:pt x="6" y="2"/>
                    <a:pt x="5" y="3"/>
                  </a:cubicBezTo>
                  <a:cubicBezTo>
                    <a:pt x="4" y="3"/>
                    <a:pt x="3" y="2"/>
                    <a:pt x="2" y="2"/>
                  </a:cubicBezTo>
                  <a:cubicBezTo>
                    <a:pt x="2" y="2"/>
                    <a:pt x="1" y="2"/>
                    <a:pt x="0" y="2"/>
                  </a:cubicBezTo>
                  <a:cubicBezTo>
                    <a:pt x="1" y="2"/>
                    <a:pt x="1" y="2"/>
                    <a:pt x="1" y="2"/>
                  </a:cubicBezTo>
                  <a:cubicBezTo>
                    <a:pt x="0" y="2"/>
                    <a:pt x="1" y="2"/>
                    <a:pt x="1" y="2"/>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sp>
        <p:nvSpPr>
          <p:cNvPr id="167" name="Freeform 423">
            <a:extLst>
              <a:ext uri="{FF2B5EF4-FFF2-40B4-BE49-F238E27FC236}">
                <a16:creationId xmlns:a16="http://schemas.microsoft.com/office/drawing/2014/main" id="{723AE532-BFDD-5EA0-287E-409C5979A593}"/>
              </a:ext>
            </a:extLst>
          </p:cNvPr>
          <p:cNvSpPr/>
          <p:nvPr>
            <p:custDataLst>
              <p:tags r:id="rId98"/>
            </p:custDataLst>
          </p:nvPr>
        </p:nvSpPr>
        <p:spPr bwMode="auto">
          <a:xfrm>
            <a:off x="4484216" y="2626072"/>
            <a:ext cx="10011" cy="6006"/>
          </a:xfrm>
          <a:custGeom>
            <a:avLst/>
            <a:gdLst>
              <a:gd name="T0" fmla="*/ 1 w 8"/>
              <a:gd name="T1" fmla="*/ 3 h 5"/>
              <a:gd name="T2" fmla="*/ 4 w 8"/>
              <a:gd name="T3" fmla="*/ 3 h 5"/>
              <a:gd name="T4" fmla="*/ 7 w 8"/>
              <a:gd name="T5" fmla="*/ 5 h 5"/>
              <a:gd name="T6" fmla="*/ 8 w 8"/>
              <a:gd name="T7" fmla="*/ 4 h 5"/>
              <a:gd name="T8" fmla="*/ 6 w 8"/>
              <a:gd name="T9" fmla="*/ 3 h 5"/>
              <a:gd name="T10" fmla="*/ 2 w 8"/>
              <a:gd name="T11" fmla="*/ 0 h 5"/>
              <a:gd name="T12" fmla="*/ 0 w 8"/>
              <a:gd name="T13" fmla="*/ 2 h 5"/>
              <a:gd name="T14" fmla="*/ 2 w 8"/>
              <a:gd name="T15" fmla="*/ 3 h 5"/>
              <a:gd name="T16" fmla="*/ 1 w 8"/>
              <a:gd name="T17" fmla="*/ 3 h 5"/>
              <a:gd name="T18" fmla="*/ 1 w 8"/>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5">
                <a:moveTo>
                  <a:pt x="1" y="3"/>
                </a:moveTo>
                <a:cubicBezTo>
                  <a:pt x="2" y="3"/>
                  <a:pt x="3" y="3"/>
                  <a:pt x="4" y="3"/>
                </a:cubicBezTo>
                <a:cubicBezTo>
                  <a:pt x="5" y="4"/>
                  <a:pt x="6" y="4"/>
                  <a:pt x="7" y="5"/>
                </a:cubicBezTo>
                <a:cubicBezTo>
                  <a:pt x="7" y="5"/>
                  <a:pt x="8" y="5"/>
                  <a:pt x="8" y="4"/>
                </a:cubicBezTo>
                <a:cubicBezTo>
                  <a:pt x="8" y="3"/>
                  <a:pt x="7" y="3"/>
                  <a:pt x="6" y="3"/>
                </a:cubicBezTo>
                <a:cubicBezTo>
                  <a:pt x="5" y="1"/>
                  <a:pt x="4" y="0"/>
                  <a:pt x="2" y="0"/>
                </a:cubicBezTo>
                <a:cubicBezTo>
                  <a:pt x="2" y="1"/>
                  <a:pt x="0" y="1"/>
                  <a:pt x="0" y="2"/>
                </a:cubicBezTo>
                <a:cubicBezTo>
                  <a:pt x="0" y="3"/>
                  <a:pt x="2" y="3"/>
                  <a:pt x="2" y="3"/>
                </a:cubicBezTo>
                <a:cubicBezTo>
                  <a:pt x="2" y="3"/>
                  <a:pt x="1" y="3"/>
                  <a:pt x="1" y="3"/>
                </a:cubicBezTo>
                <a:cubicBezTo>
                  <a:pt x="2" y="3"/>
                  <a:pt x="1" y="3"/>
                  <a:pt x="1" y="3"/>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68" name="Freeform 424">
            <a:extLst>
              <a:ext uri="{FF2B5EF4-FFF2-40B4-BE49-F238E27FC236}">
                <a16:creationId xmlns:a16="http://schemas.microsoft.com/office/drawing/2014/main" id="{8C06211B-59CF-AC3A-573E-1F02A2C7E861}"/>
              </a:ext>
            </a:extLst>
          </p:cNvPr>
          <p:cNvSpPr/>
          <p:nvPr>
            <p:custDataLst>
              <p:tags r:id="rId99"/>
            </p:custDataLst>
          </p:nvPr>
        </p:nvSpPr>
        <p:spPr bwMode="auto">
          <a:xfrm>
            <a:off x="4518253" y="2599043"/>
            <a:ext cx="15016" cy="10011"/>
          </a:xfrm>
          <a:custGeom>
            <a:avLst/>
            <a:gdLst>
              <a:gd name="T0" fmla="*/ 1 w 13"/>
              <a:gd name="T1" fmla="*/ 6 h 8"/>
              <a:gd name="T2" fmla="*/ 8 w 13"/>
              <a:gd name="T3" fmla="*/ 5 h 8"/>
              <a:gd name="T4" fmla="*/ 10 w 13"/>
              <a:gd name="T5" fmla="*/ 1 h 8"/>
              <a:gd name="T6" fmla="*/ 6 w 13"/>
              <a:gd name="T7" fmla="*/ 1 h 8"/>
              <a:gd name="T8" fmla="*/ 4 w 13"/>
              <a:gd name="T9" fmla="*/ 3 h 8"/>
              <a:gd name="T10" fmla="*/ 1 w 13"/>
              <a:gd name="T11" fmla="*/ 6 h 8"/>
              <a:gd name="T12" fmla="*/ 1 w 13"/>
              <a:gd name="T13" fmla="*/ 6 h 8"/>
              <a:gd name="T14" fmla="*/ 1 w 13"/>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8">
                <a:moveTo>
                  <a:pt x="1" y="6"/>
                </a:moveTo>
                <a:cubicBezTo>
                  <a:pt x="3" y="8"/>
                  <a:pt x="6" y="6"/>
                  <a:pt x="8" y="5"/>
                </a:cubicBezTo>
                <a:cubicBezTo>
                  <a:pt x="9" y="5"/>
                  <a:pt x="13" y="2"/>
                  <a:pt x="10" y="1"/>
                </a:cubicBezTo>
                <a:cubicBezTo>
                  <a:pt x="9" y="1"/>
                  <a:pt x="7" y="0"/>
                  <a:pt x="6" y="1"/>
                </a:cubicBezTo>
                <a:cubicBezTo>
                  <a:pt x="5" y="2"/>
                  <a:pt x="5" y="3"/>
                  <a:pt x="4" y="3"/>
                </a:cubicBezTo>
                <a:cubicBezTo>
                  <a:pt x="3" y="4"/>
                  <a:pt x="0" y="5"/>
                  <a:pt x="1" y="6"/>
                </a:cubicBezTo>
                <a:cubicBezTo>
                  <a:pt x="1" y="6"/>
                  <a:pt x="1" y="6"/>
                  <a:pt x="1" y="6"/>
                </a:cubicBezTo>
                <a:cubicBezTo>
                  <a:pt x="2" y="6"/>
                  <a:pt x="1" y="6"/>
                  <a:pt x="1" y="6"/>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69" name="Freeform 425">
            <a:extLst>
              <a:ext uri="{FF2B5EF4-FFF2-40B4-BE49-F238E27FC236}">
                <a16:creationId xmlns:a16="http://schemas.microsoft.com/office/drawing/2014/main" id="{172A6541-39CC-FE24-B6E7-1A8BED04B25C}"/>
              </a:ext>
            </a:extLst>
          </p:cNvPr>
          <p:cNvSpPr/>
          <p:nvPr>
            <p:custDataLst>
              <p:tags r:id="rId100"/>
            </p:custDataLst>
          </p:nvPr>
        </p:nvSpPr>
        <p:spPr bwMode="auto">
          <a:xfrm>
            <a:off x="4468198" y="2631078"/>
            <a:ext cx="72079" cy="51056"/>
          </a:xfrm>
          <a:custGeom>
            <a:avLst/>
            <a:gdLst>
              <a:gd name="T0" fmla="*/ 4 w 62"/>
              <a:gd name="T1" fmla="*/ 15 h 44"/>
              <a:gd name="T2" fmla="*/ 10 w 62"/>
              <a:gd name="T3" fmla="*/ 15 h 44"/>
              <a:gd name="T4" fmla="*/ 13 w 62"/>
              <a:gd name="T5" fmla="*/ 20 h 44"/>
              <a:gd name="T6" fmla="*/ 18 w 62"/>
              <a:gd name="T7" fmla="*/ 22 h 44"/>
              <a:gd name="T8" fmla="*/ 19 w 62"/>
              <a:gd name="T9" fmla="*/ 24 h 44"/>
              <a:gd name="T10" fmla="*/ 22 w 62"/>
              <a:gd name="T11" fmla="*/ 25 h 44"/>
              <a:gd name="T12" fmla="*/ 27 w 62"/>
              <a:gd name="T13" fmla="*/ 27 h 44"/>
              <a:gd name="T14" fmla="*/ 28 w 62"/>
              <a:gd name="T15" fmla="*/ 33 h 44"/>
              <a:gd name="T16" fmla="*/ 32 w 62"/>
              <a:gd name="T17" fmla="*/ 31 h 44"/>
              <a:gd name="T18" fmla="*/ 38 w 62"/>
              <a:gd name="T19" fmla="*/ 29 h 44"/>
              <a:gd name="T20" fmla="*/ 40 w 62"/>
              <a:gd name="T21" fmla="*/ 36 h 44"/>
              <a:gd name="T22" fmla="*/ 47 w 62"/>
              <a:gd name="T23" fmla="*/ 41 h 44"/>
              <a:gd name="T24" fmla="*/ 54 w 62"/>
              <a:gd name="T25" fmla="*/ 42 h 44"/>
              <a:gd name="T26" fmla="*/ 53 w 62"/>
              <a:gd name="T27" fmla="*/ 34 h 44"/>
              <a:gd name="T28" fmla="*/ 55 w 62"/>
              <a:gd name="T29" fmla="*/ 29 h 44"/>
              <a:gd name="T30" fmla="*/ 61 w 62"/>
              <a:gd name="T31" fmla="*/ 26 h 44"/>
              <a:gd name="T32" fmla="*/ 60 w 62"/>
              <a:gd name="T33" fmla="*/ 20 h 44"/>
              <a:gd name="T34" fmla="*/ 56 w 62"/>
              <a:gd name="T35" fmla="*/ 14 h 44"/>
              <a:gd name="T36" fmla="*/ 56 w 62"/>
              <a:gd name="T37" fmla="*/ 7 h 44"/>
              <a:gd name="T38" fmla="*/ 47 w 62"/>
              <a:gd name="T39" fmla="*/ 7 h 44"/>
              <a:gd name="T40" fmla="*/ 39 w 62"/>
              <a:gd name="T41" fmla="*/ 2 h 44"/>
              <a:gd name="T42" fmla="*/ 34 w 62"/>
              <a:gd name="T43" fmla="*/ 1 h 44"/>
              <a:gd name="T44" fmla="*/ 30 w 62"/>
              <a:gd name="T45" fmla="*/ 2 h 44"/>
              <a:gd name="T46" fmla="*/ 24 w 62"/>
              <a:gd name="T47" fmla="*/ 6 h 44"/>
              <a:gd name="T48" fmla="*/ 21 w 62"/>
              <a:gd name="T49" fmla="*/ 7 h 44"/>
              <a:gd name="T50" fmla="*/ 17 w 62"/>
              <a:gd name="T51" fmla="*/ 5 h 44"/>
              <a:gd name="T52" fmla="*/ 14 w 62"/>
              <a:gd name="T53" fmla="*/ 4 h 44"/>
              <a:gd name="T54" fmla="*/ 10 w 62"/>
              <a:gd name="T55" fmla="*/ 3 h 44"/>
              <a:gd name="T56" fmla="*/ 6 w 62"/>
              <a:gd name="T57" fmla="*/ 4 h 44"/>
              <a:gd name="T58" fmla="*/ 2 w 62"/>
              <a:gd name="T59" fmla="*/ 7 h 44"/>
              <a:gd name="T60" fmla="*/ 1 w 62"/>
              <a:gd name="T61" fmla="*/ 9 h 44"/>
              <a:gd name="T62" fmla="*/ 2 w 62"/>
              <a:gd name="T63" fmla="*/ 11 h 44"/>
              <a:gd name="T64" fmla="*/ 4 w 62"/>
              <a:gd name="T65" fmla="*/ 15 h 44"/>
              <a:gd name="T66" fmla="*/ 4 w 62"/>
              <a:gd name="T67" fmla="*/ 15 h 44"/>
              <a:gd name="T68" fmla="*/ 4 w 62"/>
              <a:gd name="T69" fmla="*/ 1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 h="44">
                <a:moveTo>
                  <a:pt x="4" y="15"/>
                </a:moveTo>
                <a:cubicBezTo>
                  <a:pt x="5" y="16"/>
                  <a:pt x="8" y="14"/>
                  <a:pt x="10" y="15"/>
                </a:cubicBezTo>
                <a:cubicBezTo>
                  <a:pt x="12" y="15"/>
                  <a:pt x="12" y="18"/>
                  <a:pt x="13" y="20"/>
                </a:cubicBezTo>
                <a:cubicBezTo>
                  <a:pt x="13" y="22"/>
                  <a:pt x="17" y="20"/>
                  <a:pt x="18" y="22"/>
                </a:cubicBezTo>
                <a:cubicBezTo>
                  <a:pt x="18" y="22"/>
                  <a:pt x="18" y="23"/>
                  <a:pt x="19" y="24"/>
                </a:cubicBezTo>
                <a:cubicBezTo>
                  <a:pt x="19" y="26"/>
                  <a:pt x="20" y="25"/>
                  <a:pt x="22" y="25"/>
                </a:cubicBezTo>
                <a:cubicBezTo>
                  <a:pt x="24" y="24"/>
                  <a:pt x="26" y="25"/>
                  <a:pt x="27" y="27"/>
                </a:cubicBezTo>
                <a:cubicBezTo>
                  <a:pt x="27" y="29"/>
                  <a:pt x="26" y="33"/>
                  <a:pt x="28" y="33"/>
                </a:cubicBezTo>
                <a:cubicBezTo>
                  <a:pt x="29" y="33"/>
                  <a:pt x="31" y="32"/>
                  <a:pt x="32" y="31"/>
                </a:cubicBezTo>
                <a:cubicBezTo>
                  <a:pt x="34" y="30"/>
                  <a:pt x="36" y="28"/>
                  <a:pt x="38" y="29"/>
                </a:cubicBezTo>
                <a:cubicBezTo>
                  <a:pt x="40" y="30"/>
                  <a:pt x="39" y="34"/>
                  <a:pt x="40" y="36"/>
                </a:cubicBezTo>
                <a:cubicBezTo>
                  <a:pt x="42" y="38"/>
                  <a:pt x="45" y="39"/>
                  <a:pt x="47" y="41"/>
                </a:cubicBezTo>
                <a:cubicBezTo>
                  <a:pt x="48" y="41"/>
                  <a:pt x="53" y="44"/>
                  <a:pt x="54" y="42"/>
                </a:cubicBezTo>
                <a:cubicBezTo>
                  <a:pt x="54" y="40"/>
                  <a:pt x="53" y="37"/>
                  <a:pt x="53" y="34"/>
                </a:cubicBezTo>
                <a:cubicBezTo>
                  <a:pt x="53" y="32"/>
                  <a:pt x="54" y="30"/>
                  <a:pt x="55" y="29"/>
                </a:cubicBezTo>
                <a:cubicBezTo>
                  <a:pt x="57" y="27"/>
                  <a:pt x="60" y="29"/>
                  <a:pt x="61" y="26"/>
                </a:cubicBezTo>
                <a:cubicBezTo>
                  <a:pt x="62" y="24"/>
                  <a:pt x="61" y="22"/>
                  <a:pt x="60" y="20"/>
                </a:cubicBezTo>
                <a:cubicBezTo>
                  <a:pt x="59" y="18"/>
                  <a:pt x="57" y="16"/>
                  <a:pt x="56" y="14"/>
                </a:cubicBezTo>
                <a:cubicBezTo>
                  <a:pt x="54" y="11"/>
                  <a:pt x="55" y="10"/>
                  <a:pt x="56" y="7"/>
                </a:cubicBezTo>
                <a:cubicBezTo>
                  <a:pt x="53" y="7"/>
                  <a:pt x="50" y="7"/>
                  <a:pt x="47" y="7"/>
                </a:cubicBezTo>
                <a:cubicBezTo>
                  <a:pt x="43" y="6"/>
                  <a:pt x="42" y="3"/>
                  <a:pt x="39" y="2"/>
                </a:cubicBezTo>
                <a:cubicBezTo>
                  <a:pt x="38" y="1"/>
                  <a:pt x="36" y="0"/>
                  <a:pt x="34" y="1"/>
                </a:cubicBezTo>
                <a:cubicBezTo>
                  <a:pt x="33" y="1"/>
                  <a:pt x="31" y="1"/>
                  <a:pt x="30" y="2"/>
                </a:cubicBezTo>
                <a:cubicBezTo>
                  <a:pt x="30" y="4"/>
                  <a:pt x="26" y="6"/>
                  <a:pt x="24" y="6"/>
                </a:cubicBezTo>
                <a:cubicBezTo>
                  <a:pt x="23" y="7"/>
                  <a:pt x="22" y="7"/>
                  <a:pt x="21" y="7"/>
                </a:cubicBezTo>
                <a:cubicBezTo>
                  <a:pt x="20" y="6"/>
                  <a:pt x="19" y="5"/>
                  <a:pt x="17" y="5"/>
                </a:cubicBezTo>
                <a:cubicBezTo>
                  <a:pt x="16" y="5"/>
                  <a:pt x="15" y="5"/>
                  <a:pt x="14" y="4"/>
                </a:cubicBezTo>
                <a:cubicBezTo>
                  <a:pt x="13" y="3"/>
                  <a:pt x="12" y="3"/>
                  <a:pt x="10" y="3"/>
                </a:cubicBezTo>
                <a:cubicBezTo>
                  <a:pt x="8" y="3"/>
                  <a:pt x="7" y="3"/>
                  <a:pt x="6" y="4"/>
                </a:cubicBezTo>
                <a:cubicBezTo>
                  <a:pt x="5" y="6"/>
                  <a:pt x="3" y="6"/>
                  <a:pt x="2" y="7"/>
                </a:cubicBezTo>
                <a:cubicBezTo>
                  <a:pt x="0" y="8"/>
                  <a:pt x="0" y="8"/>
                  <a:pt x="1" y="9"/>
                </a:cubicBezTo>
                <a:cubicBezTo>
                  <a:pt x="1" y="10"/>
                  <a:pt x="1" y="11"/>
                  <a:pt x="2" y="11"/>
                </a:cubicBezTo>
                <a:cubicBezTo>
                  <a:pt x="2" y="13"/>
                  <a:pt x="3" y="14"/>
                  <a:pt x="4" y="15"/>
                </a:cubicBezTo>
                <a:cubicBezTo>
                  <a:pt x="4" y="15"/>
                  <a:pt x="4" y="15"/>
                  <a:pt x="4" y="15"/>
                </a:cubicBezTo>
                <a:cubicBezTo>
                  <a:pt x="5" y="16"/>
                  <a:pt x="4" y="15"/>
                  <a:pt x="4" y="15"/>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70" name="Freeform 426">
            <a:extLst>
              <a:ext uri="{FF2B5EF4-FFF2-40B4-BE49-F238E27FC236}">
                <a16:creationId xmlns:a16="http://schemas.microsoft.com/office/drawing/2014/main" id="{6A14D3B5-2D1D-1C20-15C2-93071851BCEC}"/>
              </a:ext>
            </a:extLst>
          </p:cNvPr>
          <p:cNvSpPr/>
          <p:nvPr>
            <p:custDataLst>
              <p:tags r:id="rId101"/>
            </p:custDataLst>
          </p:nvPr>
        </p:nvSpPr>
        <p:spPr bwMode="auto">
          <a:xfrm>
            <a:off x="4490223" y="2621067"/>
            <a:ext cx="10011" cy="7008"/>
          </a:xfrm>
          <a:custGeom>
            <a:avLst/>
            <a:gdLst>
              <a:gd name="T0" fmla="*/ 1 w 8"/>
              <a:gd name="T1" fmla="*/ 3 h 6"/>
              <a:gd name="T2" fmla="*/ 4 w 8"/>
              <a:gd name="T3" fmla="*/ 3 h 6"/>
              <a:gd name="T4" fmla="*/ 6 w 8"/>
              <a:gd name="T5" fmla="*/ 5 h 6"/>
              <a:gd name="T6" fmla="*/ 7 w 8"/>
              <a:gd name="T7" fmla="*/ 4 h 6"/>
              <a:gd name="T8" fmla="*/ 6 w 8"/>
              <a:gd name="T9" fmla="*/ 2 h 6"/>
              <a:gd name="T10" fmla="*/ 2 w 8"/>
              <a:gd name="T11" fmla="*/ 1 h 6"/>
              <a:gd name="T12" fmla="*/ 0 w 8"/>
              <a:gd name="T13" fmla="*/ 2 h 6"/>
              <a:gd name="T14" fmla="*/ 2 w 8"/>
              <a:gd name="T15" fmla="*/ 3 h 6"/>
              <a:gd name="T16" fmla="*/ 1 w 8"/>
              <a:gd name="T17" fmla="*/ 3 h 6"/>
              <a:gd name="T18" fmla="*/ 1 w 8"/>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1" y="3"/>
                </a:moveTo>
                <a:cubicBezTo>
                  <a:pt x="2" y="3"/>
                  <a:pt x="3" y="3"/>
                  <a:pt x="4" y="3"/>
                </a:cubicBezTo>
                <a:cubicBezTo>
                  <a:pt x="5" y="4"/>
                  <a:pt x="5" y="4"/>
                  <a:pt x="6" y="5"/>
                </a:cubicBezTo>
                <a:cubicBezTo>
                  <a:pt x="6" y="6"/>
                  <a:pt x="7" y="5"/>
                  <a:pt x="7" y="4"/>
                </a:cubicBezTo>
                <a:cubicBezTo>
                  <a:pt x="8" y="3"/>
                  <a:pt x="7" y="3"/>
                  <a:pt x="6" y="2"/>
                </a:cubicBezTo>
                <a:cubicBezTo>
                  <a:pt x="5" y="1"/>
                  <a:pt x="4" y="0"/>
                  <a:pt x="2" y="1"/>
                </a:cubicBezTo>
                <a:cubicBezTo>
                  <a:pt x="2" y="1"/>
                  <a:pt x="1" y="2"/>
                  <a:pt x="0" y="2"/>
                </a:cubicBezTo>
                <a:cubicBezTo>
                  <a:pt x="0" y="3"/>
                  <a:pt x="1" y="3"/>
                  <a:pt x="2" y="3"/>
                </a:cubicBezTo>
                <a:cubicBezTo>
                  <a:pt x="1" y="3"/>
                  <a:pt x="1" y="3"/>
                  <a:pt x="1" y="3"/>
                </a:cubicBezTo>
                <a:cubicBezTo>
                  <a:pt x="2" y="3"/>
                  <a:pt x="1" y="3"/>
                  <a:pt x="1" y="3"/>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71" name="Freeform 427">
            <a:extLst>
              <a:ext uri="{FF2B5EF4-FFF2-40B4-BE49-F238E27FC236}">
                <a16:creationId xmlns:a16="http://schemas.microsoft.com/office/drawing/2014/main" id="{5A9B7628-B7D8-E856-8FF8-CC45D80D2165}"/>
              </a:ext>
            </a:extLst>
          </p:cNvPr>
          <p:cNvSpPr/>
          <p:nvPr>
            <p:custDataLst>
              <p:tags r:id="rId102"/>
            </p:custDataLst>
          </p:nvPr>
        </p:nvSpPr>
        <p:spPr bwMode="auto">
          <a:xfrm>
            <a:off x="4496229" y="2578020"/>
            <a:ext cx="62068" cy="60065"/>
          </a:xfrm>
          <a:custGeom>
            <a:avLst/>
            <a:gdLst>
              <a:gd name="T0" fmla="*/ 4 w 53"/>
              <a:gd name="T1" fmla="*/ 37 h 51"/>
              <a:gd name="T2" fmla="*/ 6 w 53"/>
              <a:gd name="T3" fmla="*/ 38 h 51"/>
              <a:gd name="T4" fmla="*/ 9 w 53"/>
              <a:gd name="T5" fmla="*/ 37 h 51"/>
              <a:gd name="T6" fmla="*/ 12 w 53"/>
              <a:gd name="T7" fmla="*/ 36 h 51"/>
              <a:gd name="T8" fmla="*/ 14 w 53"/>
              <a:gd name="T9" fmla="*/ 38 h 51"/>
              <a:gd name="T10" fmla="*/ 10 w 53"/>
              <a:gd name="T11" fmla="*/ 41 h 51"/>
              <a:gd name="T12" fmla="*/ 5 w 53"/>
              <a:gd name="T13" fmla="*/ 44 h 51"/>
              <a:gd name="T14" fmla="*/ 10 w 53"/>
              <a:gd name="T15" fmla="*/ 44 h 51"/>
              <a:gd name="T16" fmla="*/ 13 w 53"/>
              <a:gd name="T17" fmla="*/ 44 h 51"/>
              <a:gd name="T18" fmla="*/ 20 w 53"/>
              <a:gd name="T19" fmla="*/ 48 h 51"/>
              <a:gd name="T20" fmla="*/ 28 w 53"/>
              <a:gd name="T21" fmla="*/ 50 h 51"/>
              <a:gd name="T22" fmla="*/ 32 w 53"/>
              <a:gd name="T23" fmla="*/ 50 h 51"/>
              <a:gd name="T24" fmla="*/ 34 w 53"/>
              <a:gd name="T25" fmla="*/ 48 h 51"/>
              <a:gd name="T26" fmla="*/ 33 w 53"/>
              <a:gd name="T27" fmla="*/ 41 h 51"/>
              <a:gd name="T28" fmla="*/ 35 w 53"/>
              <a:gd name="T29" fmla="*/ 35 h 51"/>
              <a:gd name="T30" fmla="*/ 39 w 53"/>
              <a:gd name="T31" fmla="*/ 34 h 51"/>
              <a:gd name="T32" fmla="*/ 43 w 53"/>
              <a:gd name="T33" fmla="*/ 35 h 51"/>
              <a:gd name="T34" fmla="*/ 44 w 53"/>
              <a:gd name="T35" fmla="*/ 32 h 51"/>
              <a:gd name="T36" fmla="*/ 47 w 53"/>
              <a:gd name="T37" fmla="*/ 29 h 51"/>
              <a:gd name="T38" fmla="*/ 48 w 53"/>
              <a:gd name="T39" fmla="*/ 24 h 51"/>
              <a:gd name="T40" fmla="*/ 47 w 53"/>
              <a:gd name="T41" fmla="*/ 18 h 51"/>
              <a:gd name="T42" fmla="*/ 49 w 53"/>
              <a:gd name="T43" fmla="*/ 16 h 51"/>
              <a:gd name="T44" fmla="*/ 51 w 53"/>
              <a:gd name="T45" fmla="*/ 13 h 51"/>
              <a:gd name="T46" fmla="*/ 52 w 53"/>
              <a:gd name="T47" fmla="*/ 5 h 51"/>
              <a:gd name="T48" fmla="*/ 48 w 53"/>
              <a:gd name="T49" fmla="*/ 1 h 51"/>
              <a:gd name="T50" fmla="*/ 44 w 53"/>
              <a:gd name="T51" fmla="*/ 0 h 51"/>
              <a:gd name="T52" fmla="*/ 39 w 53"/>
              <a:gd name="T53" fmla="*/ 0 h 51"/>
              <a:gd name="T54" fmla="*/ 37 w 53"/>
              <a:gd name="T55" fmla="*/ 0 h 51"/>
              <a:gd name="T56" fmla="*/ 35 w 53"/>
              <a:gd name="T57" fmla="*/ 1 h 51"/>
              <a:gd name="T58" fmla="*/ 31 w 53"/>
              <a:gd name="T59" fmla="*/ 1 h 51"/>
              <a:gd name="T60" fmla="*/ 27 w 53"/>
              <a:gd name="T61" fmla="*/ 4 h 51"/>
              <a:gd name="T62" fmla="*/ 22 w 53"/>
              <a:gd name="T63" fmla="*/ 8 h 51"/>
              <a:gd name="T64" fmla="*/ 23 w 53"/>
              <a:gd name="T65" fmla="*/ 10 h 51"/>
              <a:gd name="T66" fmla="*/ 23 w 53"/>
              <a:gd name="T67" fmla="*/ 12 h 51"/>
              <a:gd name="T68" fmla="*/ 27 w 53"/>
              <a:gd name="T69" fmla="*/ 13 h 51"/>
              <a:gd name="T70" fmla="*/ 29 w 53"/>
              <a:gd name="T71" fmla="*/ 17 h 51"/>
              <a:gd name="T72" fmla="*/ 30 w 53"/>
              <a:gd name="T73" fmla="*/ 24 h 51"/>
              <a:gd name="T74" fmla="*/ 24 w 53"/>
              <a:gd name="T75" fmla="*/ 27 h 51"/>
              <a:gd name="T76" fmla="*/ 21 w 53"/>
              <a:gd name="T77" fmla="*/ 26 h 51"/>
              <a:gd name="T78" fmla="*/ 17 w 53"/>
              <a:gd name="T79" fmla="*/ 25 h 51"/>
              <a:gd name="T80" fmla="*/ 17 w 53"/>
              <a:gd name="T81" fmla="*/ 22 h 51"/>
              <a:gd name="T82" fmla="*/ 16 w 53"/>
              <a:gd name="T83" fmla="*/ 19 h 51"/>
              <a:gd name="T84" fmla="*/ 17 w 53"/>
              <a:gd name="T85" fmla="*/ 18 h 51"/>
              <a:gd name="T86" fmla="*/ 17 w 53"/>
              <a:gd name="T87" fmla="*/ 15 h 51"/>
              <a:gd name="T88" fmla="*/ 13 w 53"/>
              <a:gd name="T89" fmla="*/ 13 h 51"/>
              <a:gd name="T90" fmla="*/ 10 w 53"/>
              <a:gd name="T91" fmla="*/ 21 h 51"/>
              <a:gd name="T92" fmla="*/ 7 w 53"/>
              <a:gd name="T93" fmla="*/ 27 h 51"/>
              <a:gd name="T94" fmla="*/ 3 w 53"/>
              <a:gd name="T95" fmla="*/ 31 h 51"/>
              <a:gd name="T96" fmla="*/ 1 w 53"/>
              <a:gd name="T97" fmla="*/ 35 h 51"/>
              <a:gd name="T98" fmla="*/ 5 w 53"/>
              <a:gd name="T99" fmla="*/ 37 h 51"/>
              <a:gd name="T100" fmla="*/ 4 w 53"/>
              <a:gd name="T101" fmla="*/ 37 h 51"/>
              <a:gd name="T102" fmla="*/ 4 w 53"/>
              <a:gd name="T103"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51">
                <a:moveTo>
                  <a:pt x="4" y="37"/>
                </a:moveTo>
                <a:cubicBezTo>
                  <a:pt x="5" y="38"/>
                  <a:pt x="5" y="38"/>
                  <a:pt x="6" y="38"/>
                </a:cubicBezTo>
                <a:cubicBezTo>
                  <a:pt x="8" y="38"/>
                  <a:pt x="9" y="38"/>
                  <a:pt x="9" y="37"/>
                </a:cubicBezTo>
                <a:cubicBezTo>
                  <a:pt x="10" y="37"/>
                  <a:pt x="11" y="36"/>
                  <a:pt x="12" y="36"/>
                </a:cubicBezTo>
                <a:cubicBezTo>
                  <a:pt x="13" y="37"/>
                  <a:pt x="13" y="38"/>
                  <a:pt x="14" y="38"/>
                </a:cubicBezTo>
                <a:cubicBezTo>
                  <a:pt x="15" y="41"/>
                  <a:pt x="11" y="40"/>
                  <a:pt x="10" y="41"/>
                </a:cubicBezTo>
                <a:cubicBezTo>
                  <a:pt x="8" y="41"/>
                  <a:pt x="5" y="42"/>
                  <a:pt x="5" y="44"/>
                </a:cubicBezTo>
                <a:cubicBezTo>
                  <a:pt x="7" y="44"/>
                  <a:pt x="8" y="44"/>
                  <a:pt x="10" y="44"/>
                </a:cubicBezTo>
                <a:cubicBezTo>
                  <a:pt x="11" y="44"/>
                  <a:pt x="12" y="43"/>
                  <a:pt x="13" y="44"/>
                </a:cubicBezTo>
                <a:cubicBezTo>
                  <a:pt x="16" y="45"/>
                  <a:pt x="18" y="46"/>
                  <a:pt x="20" y="48"/>
                </a:cubicBezTo>
                <a:cubicBezTo>
                  <a:pt x="23" y="50"/>
                  <a:pt x="25" y="50"/>
                  <a:pt x="28" y="50"/>
                </a:cubicBezTo>
                <a:cubicBezTo>
                  <a:pt x="29" y="50"/>
                  <a:pt x="30" y="50"/>
                  <a:pt x="32" y="50"/>
                </a:cubicBezTo>
                <a:cubicBezTo>
                  <a:pt x="33" y="51"/>
                  <a:pt x="34" y="50"/>
                  <a:pt x="34" y="48"/>
                </a:cubicBezTo>
                <a:cubicBezTo>
                  <a:pt x="35" y="46"/>
                  <a:pt x="35" y="43"/>
                  <a:pt x="33" y="41"/>
                </a:cubicBezTo>
                <a:cubicBezTo>
                  <a:pt x="32" y="39"/>
                  <a:pt x="33" y="36"/>
                  <a:pt x="35" y="35"/>
                </a:cubicBezTo>
                <a:cubicBezTo>
                  <a:pt x="36" y="34"/>
                  <a:pt x="38" y="34"/>
                  <a:pt x="39" y="34"/>
                </a:cubicBezTo>
                <a:cubicBezTo>
                  <a:pt x="40" y="35"/>
                  <a:pt x="42" y="35"/>
                  <a:pt x="43" y="35"/>
                </a:cubicBezTo>
                <a:cubicBezTo>
                  <a:pt x="43" y="35"/>
                  <a:pt x="44" y="33"/>
                  <a:pt x="44" y="32"/>
                </a:cubicBezTo>
                <a:cubicBezTo>
                  <a:pt x="45" y="31"/>
                  <a:pt x="46" y="30"/>
                  <a:pt x="47" y="29"/>
                </a:cubicBezTo>
                <a:cubicBezTo>
                  <a:pt x="49" y="27"/>
                  <a:pt x="49" y="26"/>
                  <a:pt x="48" y="24"/>
                </a:cubicBezTo>
                <a:cubicBezTo>
                  <a:pt x="47" y="22"/>
                  <a:pt x="45" y="20"/>
                  <a:pt x="47" y="18"/>
                </a:cubicBezTo>
                <a:cubicBezTo>
                  <a:pt x="47" y="17"/>
                  <a:pt x="48" y="17"/>
                  <a:pt x="49" y="16"/>
                </a:cubicBezTo>
                <a:cubicBezTo>
                  <a:pt x="50" y="15"/>
                  <a:pt x="50" y="14"/>
                  <a:pt x="51" y="13"/>
                </a:cubicBezTo>
                <a:cubicBezTo>
                  <a:pt x="52" y="10"/>
                  <a:pt x="53" y="8"/>
                  <a:pt x="52" y="5"/>
                </a:cubicBezTo>
                <a:cubicBezTo>
                  <a:pt x="52" y="3"/>
                  <a:pt x="50" y="1"/>
                  <a:pt x="48" y="1"/>
                </a:cubicBezTo>
                <a:cubicBezTo>
                  <a:pt x="47" y="1"/>
                  <a:pt x="46" y="1"/>
                  <a:pt x="44" y="0"/>
                </a:cubicBezTo>
                <a:cubicBezTo>
                  <a:pt x="43" y="0"/>
                  <a:pt x="41" y="0"/>
                  <a:pt x="39" y="0"/>
                </a:cubicBezTo>
                <a:cubicBezTo>
                  <a:pt x="38" y="0"/>
                  <a:pt x="37" y="0"/>
                  <a:pt x="37" y="0"/>
                </a:cubicBezTo>
                <a:cubicBezTo>
                  <a:pt x="36" y="0"/>
                  <a:pt x="35" y="1"/>
                  <a:pt x="35" y="1"/>
                </a:cubicBezTo>
                <a:cubicBezTo>
                  <a:pt x="34" y="2"/>
                  <a:pt x="32" y="1"/>
                  <a:pt x="31" y="1"/>
                </a:cubicBezTo>
                <a:cubicBezTo>
                  <a:pt x="30" y="2"/>
                  <a:pt x="29" y="3"/>
                  <a:pt x="27" y="4"/>
                </a:cubicBezTo>
                <a:cubicBezTo>
                  <a:pt x="26" y="4"/>
                  <a:pt x="22" y="6"/>
                  <a:pt x="22" y="8"/>
                </a:cubicBezTo>
                <a:cubicBezTo>
                  <a:pt x="22" y="9"/>
                  <a:pt x="23" y="9"/>
                  <a:pt x="23" y="10"/>
                </a:cubicBezTo>
                <a:cubicBezTo>
                  <a:pt x="23" y="11"/>
                  <a:pt x="23" y="12"/>
                  <a:pt x="23" y="12"/>
                </a:cubicBezTo>
                <a:cubicBezTo>
                  <a:pt x="24" y="15"/>
                  <a:pt x="26" y="13"/>
                  <a:pt x="27" y="13"/>
                </a:cubicBezTo>
                <a:cubicBezTo>
                  <a:pt x="29" y="13"/>
                  <a:pt x="26" y="17"/>
                  <a:pt x="29" y="17"/>
                </a:cubicBezTo>
                <a:cubicBezTo>
                  <a:pt x="33" y="17"/>
                  <a:pt x="31" y="22"/>
                  <a:pt x="30" y="24"/>
                </a:cubicBezTo>
                <a:cubicBezTo>
                  <a:pt x="28" y="26"/>
                  <a:pt x="26" y="27"/>
                  <a:pt x="24" y="27"/>
                </a:cubicBezTo>
                <a:cubicBezTo>
                  <a:pt x="23" y="27"/>
                  <a:pt x="22" y="27"/>
                  <a:pt x="21" y="26"/>
                </a:cubicBezTo>
                <a:cubicBezTo>
                  <a:pt x="20" y="26"/>
                  <a:pt x="17" y="26"/>
                  <a:pt x="17" y="25"/>
                </a:cubicBezTo>
                <a:cubicBezTo>
                  <a:pt x="16" y="24"/>
                  <a:pt x="17" y="23"/>
                  <a:pt x="17" y="22"/>
                </a:cubicBezTo>
                <a:cubicBezTo>
                  <a:pt x="17" y="21"/>
                  <a:pt x="16" y="20"/>
                  <a:pt x="16" y="19"/>
                </a:cubicBezTo>
                <a:cubicBezTo>
                  <a:pt x="15" y="18"/>
                  <a:pt x="16" y="18"/>
                  <a:pt x="17" y="18"/>
                </a:cubicBezTo>
                <a:cubicBezTo>
                  <a:pt x="18" y="18"/>
                  <a:pt x="17" y="16"/>
                  <a:pt x="17" y="15"/>
                </a:cubicBezTo>
                <a:cubicBezTo>
                  <a:pt x="17" y="14"/>
                  <a:pt x="15" y="12"/>
                  <a:pt x="13" y="13"/>
                </a:cubicBezTo>
                <a:cubicBezTo>
                  <a:pt x="11" y="15"/>
                  <a:pt x="11" y="19"/>
                  <a:pt x="10" y="21"/>
                </a:cubicBezTo>
                <a:cubicBezTo>
                  <a:pt x="10" y="23"/>
                  <a:pt x="8" y="25"/>
                  <a:pt x="7" y="27"/>
                </a:cubicBezTo>
                <a:cubicBezTo>
                  <a:pt x="7" y="29"/>
                  <a:pt x="5" y="30"/>
                  <a:pt x="3" y="31"/>
                </a:cubicBezTo>
                <a:cubicBezTo>
                  <a:pt x="2" y="32"/>
                  <a:pt x="0" y="33"/>
                  <a:pt x="1" y="35"/>
                </a:cubicBezTo>
                <a:cubicBezTo>
                  <a:pt x="2" y="36"/>
                  <a:pt x="4" y="36"/>
                  <a:pt x="5" y="37"/>
                </a:cubicBezTo>
                <a:cubicBezTo>
                  <a:pt x="5" y="37"/>
                  <a:pt x="5" y="37"/>
                  <a:pt x="4" y="37"/>
                </a:cubicBezTo>
                <a:cubicBezTo>
                  <a:pt x="5" y="37"/>
                  <a:pt x="4" y="37"/>
                  <a:pt x="4" y="37"/>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72" name="Freeform 431">
            <a:extLst>
              <a:ext uri="{FF2B5EF4-FFF2-40B4-BE49-F238E27FC236}">
                <a16:creationId xmlns:a16="http://schemas.microsoft.com/office/drawing/2014/main" id="{EE02AC16-C885-BC21-62C8-44BE7B57BF02}"/>
              </a:ext>
            </a:extLst>
          </p:cNvPr>
          <p:cNvSpPr>
            <a:spLocks noEditPoints="1"/>
          </p:cNvSpPr>
          <p:nvPr>
            <p:custDataLst>
              <p:tags r:id="rId103"/>
            </p:custDataLst>
          </p:nvPr>
        </p:nvSpPr>
        <p:spPr bwMode="auto">
          <a:xfrm>
            <a:off x="4684433" y="2757215"/>
            <a:ext cx="112122" cy="98107"/>
          </a:xfrm>
          <a:custGeom>
            <a:avLst/>
            <a:gdLst>
              <a:gd name="T0" fmla="*/ 72 w 96"/>
              <a:gd name="T1" fmla="*/ 79 h 84"/>
              <a:gd name="T2" fmla="*/ 81 w 96"/>
              <a:gd name="T3" fmla="*/ 84 h 84"/>
              <a:gd name="T4" fmla="*/ 82 w 96"/>
              <a:gd name="T5" fmla="*/ 79 h 84"/>
              <a:gd name="T6" fmla="*/ 68 w 96"/>
              <a:gd name="T7" fmla="*/ 66 h 84"/>
              <a:gd name="T8" fmla="*/ 49 w 96"/>
              <a:gd name="T9" fmla="*/ 52 h 84"/>
              <a:gd name="T10" fmla="*/ 37 w 96"/>
              <a:gd name="T11" fmla="*/ 34 h 84"/>
              <a:gd name="T12" fmla="*/ 48 w 96"/>
              <a:gd name="T13" fmla="*/ 31 h 84"/>
              <a:gd name="T14" fmla="*/ 69 w 96"/>
              <a:gd name="T15" fmla="*/ 29 h 84"/>
              <a:gd name="T16" fmla="*/ 89 w 96"/>
              <a:gd name="T17" fmla="*/ 33 h 84"/>
              <a:gd name="T18" fmla="*/ 95 w 96"/>
              <a:gd name="T19" fmla="*/ 30 h 84"/>
              <a:gd name="T20" fmla="*/ 75 w 96"/>
              <a:gd name="T21" fmla="*/ 17 h 84"/>
              <a:gd name="T22" fmla="*/ 51 w 96"/>
              <a:gd name="T23" fmla="*/ 1 h 84"/>
              <a:gd name="T24" fmla="*/ 37 w 96"/>
              <a:gd name="T25" fmla="*/ 8 h 84"/>
              <a:gd name="T26" fmla="*/ 28 w 96"/>
              <a:gd name="T27" fmla="*/ 23 h 84"/>
              <a:gd name="T28" fmla="*/ 14 w 96"/>
              <a:gd name="T29" fmla="*/ 21 h 84"/>
              <a:gd name="T30" fmla="*/ 3 w 96"/>
              <a:gd name="T31" fmla="*/ 22 h 84"/>
              <a:gd name="T32" fmla="*/ 4 w 96"/>
              <a:gd name="T33" fmla="*/ 34 h 84"/>
              <a:gd name="T34" fmla="*/ 11 w 96"/>
              <a:gd name="T35" fmla="*/ 31 h 84"/>
              <a:gd name="T36" fmla="*/ 18 w 96"/>
              <a:gd name="T37" fmla="*/ 29 h 84"/>
              <a:gd name="T38" fmla="*/ 26 w 96"/>
              <a:gd name="T39" fmla="*/ 42 h 84"/>
              <a:gd name="T40" fmla="*/ 35 w 96"/>
              <a:gd name="T41" fmla="*/ 48 h 84"/>
              <a:gd name="T42" fmla="*/ 32 w 96"/>
              <a:gd name="T43" fmla="*/ 53 h 84"/>
              <a:gd name="T44" fmla="*/ 41 w 96"/>
              <a:gd name="T45" fmla="*/ 61 h 84"/>
              <a:gd name="T46" fmla="*/ 59 w 96"/>
              <a:gd name="T47" fmla="*/ 68 h 84"/>
              <a:gd name="T48" fmla="*/ 67 w 96"/>
              <a:gd name="T49" fmla="*/ 74 h 84"/>
              <a:gd name="T50" fmla="*/ 14 w 96"/>
              <a:gd name="T51" fmla="*/ 33 h 84"/>
              <a:gd name="T52" fmla="*/ 16 w 96"/>
              <a:gd name="T53" fmla="*/ 40 h 84"/>
              <a:gd name="T54" fmla="*/ 16 w 96"/>
              <a:gd name="T55" fmla="*/ 33 h 84"/>
              <a:gd name="T56" fmla="*/ 50 w 96"/>
              <a:gd name="T57" fmla="*/ 70 h 84"/>
              <a:gd name="T58" fmla="*/ 53 w 96"/>
              <a:gd name="T59" fmla="*/ 70 h 84"/>
              <a:gd name="T60" fmla="*/ 60 w 96"/>
              <a:gd name="T61" fmla="*/ 75 h 84"/>
              <a:gd name="T62" fmla="*/ 61 w 96"/>
              <a:gd name="T63" fmla="*/ 76 h 84"/>
              <a:gd name="T64" fmla="*/ 60 w 96"/>
              <a:gd name="T65" fmla="*/ 75 h 84"/>
              <a:gd name="T66" fmla="*/ 18 w 96"/>
              <a:gd name="T67" fmla="*/ 32 h 84"/>
              <a:gd name="T68" fmla="*/ 18 w 96"/>
              <a:gd name="T69" fmla="*/ 30 h 84"/>
              <a:gd name="T70" fmla="*/ 25 w 96"/>
              <a:gd name="T71" fmla="*/ 46 h 84"/>
              <a:gd name="T72" fmla="*/ 23 w 96"/>
              <a:gd name="T73" fmla="*/ 40 h 84"/>
              <a:gd name="T74" fmla="*/ 24 w 96"/>
              <a:gd name="T75" fmla="*/ 44 h 84"/>
              <a:gd name="T76" fmla="*/ 43 w 96"/>
              <a:gd name="T77" fmla="*/ 74 h 84"/>
              <a:gd name="T78" fmla="*/ 44 w 96"/>
              <a:gd name="T79" fmla="*/ 73 h 84"/>
              <a:gd name="T80" fmla="*/ 25 w 96"/>
              <a:gd name="T81" fmla="*/ 53 h 84"/>
              <a:gd name="T82" fmla="*/ 26 w 96"/>
              <a:gd name="T83" fmla="*/ 52 h 84"/>
              <a:gd name="T84" fmla="*/ 24 w 96"/>
              <a:gd name="T85" fmla="*/ 5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84">
                <a:moveTo>
                  <a:pt x="67" y="74"/>
                </a:moveTo>
                <a:cubicBezTo>
                  <a:pt x="68" y="75"/>
                  <a:pt x="68" y="76"/>
                  <a:pt x="69" y="77"/>
                </a:cubicBezTo>
                <a:cubicBezTo>
                  <a:pt x="70" y="78"/>
                  <a:pt x="71" y="78"/>
                  <a:pt x="72" y="79"/>
                </a:cubicBezTo>
                <a:cubicBezTo>
                  <a:pt x="73" y="79"/>
                  <a:pt x="74" y="80"/>
                  <a:pt x="75" y="80"/>
                </a:cubicBezTo>
                <a:cubicBezTo>
                  <a:pt x="76" y="81"/>
                  <a:pt x="77" y="82"/>
                  <a:pt x="78" y="83"/>
                </a:cubicBezTo>
                <a:cubicBezTo>
                  <a:pt x="79" y="83"/>
                  <a:pt x="80" y="83"/>
                  <a:pt x="81" y="84"/>
                </a:cubicBezTo>
                <a:cubicBezTo>
                  <a:pt x="82" y="84"/>
                  <a:pt x="82" y="84"/>
                  <a:pt x="83" y="83"/>
                </a:cubicBezTo>
                <a:cubicBezTo>
                  <a:pt x="83" y="82"/>
                  <a:pt x="83" y="82"/>
                  <a:pt x="84" y="81"/>
                </a:cubicBezTo>
                <a:cubicBezTo>
                  <a:pt x="84" y="80"/>
                  <a:pt x="83" y="80"/>
                  <a:pt x="82" y="79"/>
                </a:cubicBezTo>
                <a:cubicBezTo>
                  <a:pt x="81" y="79"/>
                  <a:pt x="80" y="77"/>
                  <a:pt x="78" y="77"/>
                </a:cubicBezTo>
                <a:cubicBezTo>
                  <a:pt x="76" y="75"/>
                  <a:pt x="73" y="75"/>
                  <a:pt x="72" y="73"/>
                </a:cubicBezTo>
                <a:cubicBezTo>
                  <a:pt x="71" y="70"/>
                  <a:pt x="70" y="68"/>
                  <a:pt x="68" y="66"/>
                </a:cubicBezTo>
                <a:cubicBezTo>
                  <a:pt x="66" y="64"/>
                  <a:pt x="64" y="63"/>
                  <a:pt x="62" y="62"/>
                </a:cubicBezTo>
                <a:cubicBezTo>
                  <a:pt x="60" y="61"/>
                  <a:pt x="58" y="59"/>
                  <a:pt x="55" y="57"/>
                </a:cubicBezTo>
                <a:cubicBezTo>
                  <a:pt x="53" y="55"/>
                  <a:pt x="51" y="54"/>
                  <a:pt x="49" y="52"/>
                </a:cubicBezTo>
                <a:cubicBezTo>
                  <a:pt x="47" y="50"/>
                  <a:pt x="47" y="47"/>
                  <a:pt x="46" y="45"/>
                </a:cubicBezTo>
                <a:cubicBezTo>
                  <a:pt x="44" y="43"/>
                  <a:pt x="42" y="42"/>
                  <a:pt x="41" y="41"/>
                </a:cubicBezTo>
                <a:cubicBezTo>
                  <a:pt x="38" y="39"/>
                  <a:pt x="38" y="37"/>
                  <a:pt x="37" y="34"/>
                </a:cubicBezTo>
                <a:cubicBezTo>
                  <a:pt x="37" y="32"/>
                  <a:pt x="37" y="29"/>
                  <a:pt x="39" y="28"/>
                </a:cubicBezTo>
                <a:cubicBezTo>
                  <a:pt x="41" y="27"/>
                  <a:pt x="43" y="28"/>
                  <a:pt x="44" y="30"/>
                </a:cubicBezTo>
                <a:cubicBezTo>
                  <a:pt x="45" y="31"/>
                  <a:pt x="47" y="33"/>
                  <a:pt x="48" y="31"/>
                </a:cubicBezTo>
                <a:cubicBezTo>
                  <a:pt x="50" y="29"/>
                  <a:pt x="51" y="28"/>
                  <a:pt x="54" y="27"/>
                </a:cubicBezTo>
                <a:cubicBezTo>
                  <a:pt x="57" y="26"/>
                  <a:pt x="59" y="27"/>
                  <a:pt x="61" y="29"/>
                </a:cubicBezTo>
                <a:cubicBezTo>
                  <a:pt x="63" y="30"/>
                  <a:pt x="66" y="30"/>
                  <a:pt x="69" y="29"/>
                </a:cubicBezTo>
                <a:cubicBezTo>
                  <a:pt x="72" y="29"/>
                  <a:pt x="76" y="29"/>
                  <a:pt x="79" y="29"/>
                </a:cubicBezTo>
                <a:cubicBezTo>
                  <a:pt x="82" y="29"/>
                  <a:pt x="85" y="28"/>
                  <a:pt x="87" y="30"/>
                </a:cubicBezTo>
                <a:cubicBezTo>
                  <a:pt x="88" y="31"/>
                  <a:pt x="89" y="32"/>
                  <a:pt x="89" y="33"/>
                </a:cubicBezTo>
                <a:cubicBezTo>
                  <a:pt x="90" y="34"/>
                  <a:pt x="90" y="35"/>
                  <a:pt x="91" y="35"/>
                </a:cubicBezTo>
                <a:cubicBezTo>
                  <a:pt x="92" y="35"/>
                  <a:pt x="93" y="35"/>
                  <a:pt x="94" y="35"/>
                </a:cubicBezTo>
                <a:cubicBezTo>
                  <a:pt x="94" y="33"/>
                  <a:pt x="95" y="32"/>
                  <a:pt x="95" y="30"/>
                </a:cubicBezTo>
                <a:cubicBezTo>
                  <a:pt x="96" y="27"/>
                  <a:pt x="95" y="25"/>
                  <a:pt x="93" y="23"/>
                </a:cubicBezTo>
                <a:cubicBezTo>
                  <a:pt x="91" y="20"/>
                  <a:pt x="91" y="18"/>
                  <a:pt x="91" y="15"/>
                </a:cubicBezTo>
                <a:cubicBezTo>
                  <a:pt x="86" y="17"/>
                  <a:pt x="81" y="18"/>
                  <a:pt x="75" y="17"/>
                </a:cubicBezTo>
                <a:cubicBezTo>
                  <a:pt x="69" y="16"/>
                  <a:pt x="65" y="12"/>
                  <a:pt x="60" y="9"/>
                </a:cubicBezTo>
                <a:cubicBezTo>
                  <a:pt x="58" y="7"/>
                  <a:pt x="55" y="5"/>
                  <a:pt x="53" y="3"/>
                </a:cubicBezTo>
                <a:cubicBezTo>
                  <a:pt x="53" y="2"/>
                  <a:pt x="52" y="1"/>
                  <a:pt x="51" y="1"/>
                </a:cubicBezTo>
                <a:cubicBezTo>
                  <a:pt x="51" y="0"/>
                  <a:pt x="48" y="3"/>
                  <a:pt x="48" y="3"/>
                </a:cubicBezTo>
                <a:cubicBezTo>
                  <a:pt x="45" y="5"/>
                  <a:pt x="43" y="5"/>
                  <a:pt x="40" y="6"/>
                </a:cubicBezTo>
                <a:cubicBezTo>
                  <a:pt x="39" y="6"/>
                  <a:pt x="38" y="7"/>
                  <a:pt x="37" y="8"/>
                </a:cubicBezTo>
                <a:cubicBezTo>
                  <a:pt x="36" y="9"/>
                  <a:pt x="37" y="11"/>
                  <a:pt x="37" y="12"/>
                </a:cubicBezTo>
                <a:cubicBezTo>
                  <a:pt x="36" y="14"/>
                  <a:pt x="33" y="16"/>
                  <a:pt x="32" y="18"/>
                </a:cubicBezTo>
                <a:cubicBezTo>
                  <a:pt x="31" y="20"/>
                  <a:pt x="31" y="23"/>
                  <a:pt x="28" y="23"/>
                </a:cubicBezTo>
                <a:cubicBezTo>
                  <a:pt x="26" y="24"/>
                  <a:pt x="24" y="23"/>
                  <a:pt x="22" y="22"/>
                </a:cubicBezTo>
                <a:cubicBezTo>
                  <a:pt x="21" y="21"/>
                  <a:pt x="18" y="19"/>
                  <a:pt x="16" y="20"/>
                </a:cubicBezTo>
                <a:cubicBezTo>
                  <a:pt x="16" y="20"/>
                  <a:pt x="15" y="21"/>
                  <a:pt x="14" y="21"/>
                </a:cubicBezTo>
                <a:cubicBezTo>
                  <a:pt x="14" y="22"/>
                  <a:pt x="12" y="23"/>
                  <a:pt x="11" y="23"/>
                </a:cubicBezTo>
                <a:cubicBezTo>
                  <a:pt x="10" y="24"/>
                  <a:pt x="9" y="24"/>
                  <a:pt x="8" y="23"/>
                </a:cubicBezTo>
                <a:cubicBezTo>
                  <a:pt x="6" y="23"/>
                  <a:pt x="5" y="22"/>
                  <a:pt x="3" y="22"/>
                </a:cubicBezTo>
                <a:cubicBezTo>
                  <a:pt x="2" y="22"/>
                  <a:pt x="1" y="23"/>
                  <a:pt x="1" y="24"/>
                </a:cubicBezTo>
                <a:cubicBezTo>
                  <a:pt x="0" y="24"/>
                  <a:pt x="1" y="26"/>
                  <a:pt x="1" y="27"/>
                </a:cubicBezTo>
                <a:cubicBezTo>
                  <a:pt x="2" y="30"/>
                  <a:pt x="3" y="32"/>
                  <a:pt x="4" y="34"/>
                </a:cubicBezTo>
                <a:cubicBezTo>
                  <a:pt x="5" y="35"/>
                  <a:pt x="6" y="38"/>
                  <a:pt x="7" y="36"/>
                </a:cubicBezTo>
                <a:cubicBezTo>
                  <a:pt x="8" y="35"/>
                  <a:pt x="8" y="34"/>
                  <a:pt x="8" y="33"/>
                </a:cubicBezTo>
                <a:cubicBezTo>
                  <a:pt x="9" y="32"/>
                  <a:pt x="10" y="32"/>
                  <a:pt x="11" y="31"/>
                </a:cubicBezTo>
                <a:cubicBezTo>
                  <a:pt x="13" y="30"/>
                  <a:pt x="11" y="27"/>
                  <a:pt x="13" y="26"/>
                </a:cubicBezTo>
                <a:cubicBezTo>
                  <a:pt x="13" y="26"/>
                  <a:pt x="14" y="26"/>
                  <a:pt x="15" y="26"/>
                </a:cubicBezTo>
                <a:cubicBezTo>
                  <a:pt x="16" y="27"/>
                  <a:pt x="17" y="28"/>
                  <a:pt x="18" y="29"/>
                </a:cubicBezTo>
                <a:cubicBezTo>
                  <a:pt x="20" y="30"/>
                  <a:pt x="23" y="30"/>
                  <a:pt x="24" y="32"/>
                </a:cubicBezTo>
                <a:cubicBezTo>
                  <a:pt x="26" y="34"/>
                  <a:pt x="24" y="37"/>
                  <a:pt x="24" y="39"/>
                </a:cubicBezTo>
                <a:cubicBezTo>
                  <a:pt x="24" y="41"/>
                  <a:pt x="25" y="41"/>
                  <a:pt x="26" y="42"/>
                </a:cubicBezTo>
                <a:cubicBezTo>
                  <a:pt x="27" y="42"/>
                  <a:pt x="28" y="43"/>
                  <a:pt x="29" y="44"/>
                </a:cubicBezTo>
                <a:cubicBezTo>
                  <a:pt x="30" y="45"/>
                  <a:pt x="31" y="46"/>
                  <a:pt x="32" y="46"/>
                </a:cubicBezTo>
                <a:cubicBezTo>
                  <a:pt x="33" y="47"/>
                  <a:pt x="34" y="47"/>
                  <a:pt x="35" y="48"/>
                </a:cubicBezTo>
                <a:cubicBezTo>
                  <a:pt x="36" y="51"/>
                  <a:pt x="34" y="49"/>
                  <a:pt x="32" y="49"/>
                </a:cubicBezTo>
                <a:cubicBezTo>
                  <a:pt x="30" y="47"/>
                  <a:pt x="28" y="47"/>
                  <a:pt x="28" y="50"/>
                </a:cubicBezTo>
                <a:cubicBezTo>
                  <a:pt x="28" y="52"/>
                  <a:pt x="31" y="52"/>
                  <a:pt x="32" y="53"/>
                </a:cubicBezTo>
                <a:cubicBezTo>
                  <a:pt x="33" y="53"/>
                  <a:pt x="33" y="55"/>
                  <a:pt x="34" y="56"/>
                </a:cubicBezTo>
                <a:cubicBezTo>
                  <a:pt x="35" y="57"/>
                  <a:pt x="36" y="57"/>
                  <a:pt x="37" y="58"/>
                </a:cubicBezTo>
                <a:cubicBezTo>
                  <a:pt x="39" y="58"/>
                  <a:pt x="40" y="59"/>
                  <a:pt x="41" y="61"/>
                </a:cubicBezTo>
                <a:cubicBezTo>
                  <a:pt x="43" y="64"/>
                  <a:pt x="46" y="63"/>
                  <a:pt x="49" y="63"/>
                </a:cubicBezTo>
                <a:cubicBezTo>
                  <a:pt x="51" y="63"/>
                  <a:pt x="52" y="64"/>
                  <a:pt x="53" y="65"/>
                </a:cubicBezTo>
                <a:cubicBezTo>
                  <a:pt x="55" y="67"/>
                  <a:pt x="56" y="68"/>
                  <a:pt x="59" y="68"/>
                </a:cubicBezTo>
                <a:cubicBezTo>
                  <a:pt x="61" y="68"/>
                  <a:pt x="62" y="70"/>
                  <a:pt x="64" y="71"/>
                </a:cubicBezTo>
                <a:cubicBezTo>
                  <a:pt x="66" y="72"/>
                  <a:pt x="67" y="73"/>
                  <a:pt x="68" y="74"/>
                </a:cubicBezTo>
                <a:cubicBezTo>
                  <a:pt x="68" y="74"/>
                  <a:pt x="68" y="74"/>
                  <a:pt x="67" y="74"/>
                </a:cubicBezTo>
                <a:cubicBezTo>
                  <a:pt x="68" y="75"/>
                  <a:pt x="67" y="74"/>
                  <a:pt x="67" y="74"/>
                </a:cubicBezTo>
                <a:close/>
                <a:moveTo>
                  <a:pt x="16" y="33"/>
                </a:moveTo>
                <a:cubicBezTo>
                  <a:pt x="16" y="32"/>
                  <a:pt x="14" y="31"/>
                  <a:pt x="14" y="33"/>
                </a:cubicBezTo>
                <a:cubicBezTo>
                  <a:pt x="14" y="34"/>
                  <a:pt x="15" y="36"/>
                  <a:pt x="14" y="37"/>
                </a:cubicBezTo>
                <a:cubicBezTo>
                  <a:pt x="14" y="38"/>
                  <a:pt x="14" y="39"/>
                  <a:pt x="15" y="39"/>
                </a:cubicBezTo>
                <a:cubicBezTo>
                  <a:pt x="15" y="39"/>
                  <a:pt x="16" y="40"/>
                  <a:pt x="16" y="40"/>
                </a:cubicBezTo>
                <a:cubicBezTo>
                  <a:pt x="16" y="39"/>
                  <a:pt x="16" y="38"/>
                  <a:pt x="16" y="37"/>
                </a:cubicBezTo>
                <a:cubicBezTo>
                  <a:pt x="16" y="35"/>
                  <a:pt x="16" y="34"/>
                  <a:pt x="16" y="33"/>
                </a:cubicBezTo>
                <a:cubicBezTo>
                  <a:pt x="16" y="33"/>
                  <a:pt x="16" y="33"/>
                  <a:pt x="16" y="33"/>
                </a:cubicBezTo>
                <a:cubicBezTo>
                  <a:pt x="16" y="32"/>
                  <a:pt x="16" y="33"/>
                  <a:pt x="16" y="33"/>
                </a:cubicBezTo>
                <a:close/>
                <a:moveTo>
                  <a:pt x="53" y="70"/>
                </a:moveTo>
                <a:cubicBezTo>
                  <a:pt x="52" y="70"/>
                  <a:pt x="51" y="69"/>
                  <a:pt x="50" y="70"/>
                </a:cubicBezTo>
                <a:cubicBezTo>
                  <a:pt x="49" y="71"/>
                  <a:pt x="52" y="71"/>
                  <a:pt x="52" y="71"/>
                </a:cubicBezTo>
                <a:cubicBezTo>
                  <a:pt x="53" y="71"/>
                  <a:pt x="55" y="72"/>
                  <a:pt x="55" y="71"/>
                </a:cubicBezTo>
                <a:cubicBezTo>
                  <a:pt x="55" y="71"/>
                  <a:pt x="54" y="70"/>
                  <a:pt x="53" y="70"/>
                </a:cubicBezTo>
                <a:cubicBezTo>
                  <a:pt x="53" y="70"/>
                  <a:pt x="53" y="70"/>
                  <a:pt x="53" y="70"/>
                </a:cubicBezTo>
                <a:cubicBezTo>
                  <a:pt x="53" y="70"/>
                  <a:pt x="53" y="70"/>
                  <a:pt x="53" y="70"/>
                </a:cubicBezTo>
                <a:close/>
                <a:moveTo>
                  <a:pt x="60" y="75"/>
                </a:moveTo>
                <a:cubicBezTo>
                  <a:pt x="59" y="75"/>
                  <a:pt x="55" y="75"/>
                  <a:pt x="55" y="76"/>
                </a:cubicBezTo>
                <a:cubicBezTo>
                  <a:pt x="56" y="77"/>
                  <a:pt x="58" y="77"/>
                  <a:pt x="58" y="77"/>
                </a:cubicBezTo>
                <a:cubicBezTo>
                  <a:pt x="59" y="77"/>
                  <a:pt x="60" y="76"/>
                  <a:pt x="61" y="76"/>
                </a:cubicBezTo>
                <a:cubicBezTo>
                  <a:pt x="61" y="76"/>
                  <a:pt x="64" y="77"/>
                  <a:pt x="64" y="76"/>
                </a:cubicBezTo>
                <a:cubicBezTo>
                  <a:pt x="64" y="75"/>
                  <a:pt x="60" y="75"/>
                  <a:pt x="59" y="75"/>
                </a:cubicBezTo>
                <a:cubicBezTo>
                  <a:pt x="59" y="75"/>
                  <a:pt x="59" y="75"/>
                  <a:pt x="60" y="75"/>
                </a:cubicBezTo>
                <a:cubicBezTo>
                  <a:pt x="58" y="76"/>
                  <a:pt x="60" y="75"/>
                  <a:pt x="60" y="75"/>
                </a:cubicBezTo>
                <a:close/>
                <a:moveTo>
                  <a:pt x="18" y="30"/>
                </a:moveTo>
                <a:cubicBezTo>
                  <a:pt x="17" y="31"/>
                  <a:pt x="17" y="31"/>
                  <a:pt x="18" y="32"/>
                </a:cubicBezTo>
                <a:cubicBezTo>
                  <a:pt x="18" y="32"/>
                  <a:pt x="19" y="32"/>
                  <a:pt x="19" y="32"/>
                </a:cubicBezTo>
                <a:cubicBezTo>
                  <a:pt x="20" y="31"/>
                  <a:pt x="18" y="29"/>
                  <a:pt x="17" y="31"/>
                </a:cubicBezTo>
                <a:cubicBezTo>
                  <a:pt x="17" y="30"/>
                  <a:pt x="17" y="30"/>
                  <a:pt x="18" y="30"/>
                </a:cubicBezTo>
                <a:cubicBezTo>
                  <a:pt x="17" y="31"/>
                  <a:pt x="18" y="30"/>
                  <a:pt x="18" y="30"/>
                </a:cubicBezTo>
                <a:close/>
                <a:moveTo>
                  <a:pt x="24" y="44"/>
                </a:moveTo>
                <a:cubicBezTo>
                  <a:pt x="24" y="45"/>
                  <a:pt x="25" y="46"/>
                  <a:pt x="25" y="46"/>
                </a:cubicBezTo>
                <a:cubicBezTo>
                  <a:pt x="26" y="46"/>
                  <a:pt x="26" y="45"/>
                  <a:pt x="26" y="44"/>
                </a:cubicBezTo>
                <a:cubicBezTo>
                  <a:pt x="26" y="44"/>
                  <a:pt x="25" y="43"/>
                  <a:pt x="24" y="43"/>
                </a:cubicBezTo>
                <a:cubicBezTo>
                  <a:pt x="23" y="42"/>
                  <a:pt x="23" y="41"/>
                  <a:pt x="23" y="40"/>
                </a:cubicBezTo>
                <a:cubicBezTo>
                  <a:pt x="22" y="39"/>
                  <a:pt x="20" y="40"/>
                  <a:pt x="21" y="41"/>
                </a:cubicBezTo>
                <a:cubicBezTo>
                  <a:pt x="22" y="43"/>
                  <a:pt x="23" y="43"/>
                  <a:pt x="24" y="44"/>
                </a:cubicBezTo>
                <a:cubicBezTo>
                  <a:pt x="24" y="44"/>
                  <a:pt x="24" y="44"/>
                  <a:pt x="24" y="44"/>
                </a:cubicBezTo>
                <a:cubicBezTo>
                  <a:pt x="24" y="45"/>
                  <a:pt x="24" y="44"/>
                  <a:pt x="24" y="44"/>
                </a:cubicBezTo>
                <a:close/>
                <a:moveTo>
                  <a:pt x="44" y="73"/>
                </a:moveTo>
                <a:cubicBezTo>
                  <a:pt x="44" y="73"/>
                  <a:pt x="43" y="73"/>
                  <a:pt x="43" y="74"/>
                </a:cubicBezTo>
                <a:cubicBezTo>
                  <a:pt x="44" y="75"/>
                  <a:pt x="44" y="74"/>
                  <a:pt x="45" y="74"/>
                </a:cubicBezTo>
                <a:cubicBezTo>
                  <a:pt x="47" y="73"/>
                  <a:pt x="44" y="72"/>
                  <a:pt x="44" y="73"/>
                </a:cubicBezTo>
                <a:cubicBezTo>
                  <a:pt x="44" y="73"/>
                  <a:pt x="44" y="73"/>
                  <a:pt x="44" y="73"/>
                </a:cubicBezTo>
                <a:cubicBezTo>
                  <a:pt x="44" y="73"/>
                  <a:pt x="44" y="73"/>
                  <a:pt x="44" y="73"/>
                </a:cubicBezTo>
                <a:close/>
                <a:moveTo>
                  <a:pt x="23" y="52"/>
                </a:moveTo>
                <a:cubicBezTo>
                  <a:pt x="24" y="52"/>
                  <a:pt x="25" y="52"/>
                  <a:pt x="25" y="53"/>
                </a:cubicBezTo>
                <a:cubicBezTo>
                  <a:pt x="26" y="54"/>
                  <a:pt x="26" y="55"/>
                  <a:pt x="27" y="55"/>
                </a:cubicBezTo>
                <a:cubicBezTo>
                  <a:pt x="28" y="57"/>
                  <a:pt x="29" y="55"/>
                  <a:pt x="27" y="54"/>
                </a:cubicBezTo>
                <a:cubicBezTo>
                  <a:pt x="27" y="54"/>
                  <a:pt x="27" y="53"/>
                  <a:pt x="26" y="52"/>
                </a:cubicBezTo>
                <a:cubicBezTo>
                  <a:pt x="26" y="52"/>
                  <a:pt x="25" y="51"/>
                  <a:pt x="24" y="51"/>
                </a:cubicBezTo>
                <a:cubicBezTo>
                  <a:pt x="23" y="50"/>
                  <a:pt x="22" y="51"/>
                  <a:pt x="23" y="51"/>
                </a:cubicBezTo>
                <a:cubicBezTo>
                  <a:pt x="23" y="52"/>
                  <a:pt x="24" y="52"/>
                  <a:pt x="24" y="52"/>
                </a:cubicBezTo>
                <a:cubicBezTo>
                  <a:pt x="24" y="52"/>
                  <a:pt x="24" y="52"/>
                  <a:pt x="23" y="52"/>
                </a:cubicBezTo>
                <a:cubicBezTo>
                  <a:pt x="24" y="52"/>
                  <a:pt x="23" y="52"/>
                  <a:pt x="23" y="52"/>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73" name="Freeform 432">
            <a:extLst>
              <a:ext uri="{FF2B5EF4-FFF2-40B4-BE49-F238E27FC236}">
                <a16:creationId xmlns:a16="http://schemas.microsoft.com/office/drawing/2014/main" id="{C8DE17A2-1492-1050-B576-1A3F68D98D1C}"/>
              </a:ext>
            </a:extLst>
          </p:cNvPr>
          <p:cNvSpPr/>
          <p:nvPr>
            <p:custDataLst>
              <p:tags r:id="rId104"/>
            </p:custDataLst>
          </p:nvPr>
        </p:nvSpPr>
        <p:spPr bwMode="auto">
          <a:xfrm>
            <a:off x="4679429" y="2749206"/>
            <a:ext cx="63068" cy="35039"/>
          </a:xfrm>
          <a:custGeom>
            <a:avLst/>
            <a:gdLst>
              <a:gd name="T0" fmla="*/ 2 w 54"/>
              <a:gd name="T1" fmla="*/ 14 h 30"/>
              <a:gd name="T2" fmla="*/ 1 w 54"/>
              <a:gd name="T3" fmla="*/ 22 h 30"/>
              <a:gd name="T4" fmla="*/ 2 w 54"/>
              <a:gd name="T5" fmla="*/ 24 h 30"/>
              <a:gd name="T6" fmla="*/ 5 w 54"/>
              <a:gd name="T7" fmla="*/ 24 h 30"/>
              <a:gd name="T8" fmla="*/ 6 w 54"/>
              <a:gd name="T9" fmla="*/ 27 h 30"/>
              <a:gd name="T10" fmla="*/ 13 w 54"/>
              <a:gd name="T11" fmla="*/ 28 h 30"/>
              <a:gd name="T12" fmla="*/ 17 w 54"/>
              <a:gd name="T13" fmla="*/ 27 h 30"/>
              <a:gd name="T14" fmla="*/ 20 w 54"/>
              <a:gd name="T15" fmla="*/ 24 h 30"/>
              <a:gd name="T16" fmla="*/ 32 w 54"/>
              <a:gd name="T17" fmla="*/ 28 h 30"/>
              <a:gd name="T18" fmla="*/ 33 w 54"/>
              <a:gd name="T19" fmla="*/ 26 h 30"/>
              <a:gd name="T20" fmla="*/ 36 w 54"/>
              <a:gd name="T21" fmla="*/ 22 h 30"/>
              <a:gd name="T22" fmla="*/ 38 w 54"/>
              <a:gd name="T23" fmla="*/ 19 h 30"/>
              <a:gd name="T24" fmla="*/ 39 w 54"/>
              <a:gd name="T25" fmla="*/ 16 h 30"/>
              <a:gd name="T26" fmla="*/ 45 w 54"/>
              <a:gd name="T27" fmla="*/ 10 h 30"/>
              <a:gd name="T28" fmla="*/ 54 w 54"/>
              <a:gd name="T29" fmla="*/ 6 h 30"/>
              <a:gd name="T30" fmla="*/ 51 w 54"/>
              <a:gd name="T31" fmla="*/ 2 h 30"/>
              <a:gd name="T32" fmla="*/ 48 w 54"/>
              <a:gd name="T33" fmla="*/ 1 h 30"/>
              <a:gd name="T34" fmla="*/ 45 w 54"/>
              <a:gd name="T35" fmla="*/ 4 h 30"/>
              <a:gd name="T36" fmla="*/ 41 w 54"/>
              <a:gd name="T37" fmla="*/ 5 h 30"/>
              <a:gd name="T38" fmla="*/ 33 w 54"/>
              <a:gd name="T39" fmla="*/ 5 h 30"/>
              <a:gd name="T40" fmla="*/ 27 w 54"/>
              <a:gd name="T41" fmla="*/ 8 h 30"/>
              <a:gd name="T42" fmla="*/ 20 w 54"/>
              <a:gd name="T43" fmla="*/ 11 h 30"/>
              <a:gd name="T44" fmla="*/ 12 w 54"/>
              <a:gd name="T45" fmla="*/ 9 h 30"/>
              <a:gd name="T46" fmla="*/ 7 w 54"/>
              <a:gd name="T47" fmla="*/ 9 h 30"/>
              <a:gd name="T48" fmla="*/ 2 w 54"/>
              <a:gd name="T49" fmla="*/ 14 h 30"/>
              <a:gd name="T50" fmla="*/ 2 w 54"/>
              <a:gd name="T51" fmla="*/ 14 h 30"/>
              <a:gd name="T52" fmla="*/ 2 w 54"/>
              <a:gd name="T53"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30">
                <a:moveTo>
                  <a:pt x="2" y="14"/>
                </a:moveTo>
                <a:cubicBezTo>
                  <a:pt x="0" y="15"/>
                  <a:pt x="0" y="20"/>
                  <a:pt x="1" y="22"/>
                </a:cubicBezTo>
                <a:cubicBezTo>
                  <a:pt x="1" y="24"/>
                  <a:pt x="1" y="24"/>
                  <a:pt x="2" y="24"/>
                </a:cubicBezTo>
                <a:cubicBezTo>
                  <a:pt x="3" y="24"/>
                  <a:pt x="4" y="24"/>
                  <a:pt x="5" y="24"/>
                </a:cubicBezTo>
                <a:cubicBezTo>
                  <a:pt x="6" y="24"/>
                  <a:pt x="6" y="26"/>
                  <a:pt x="6" y="27"/>
                </a:cubicBezTo>
                <a:cubicBezTo>
                  <a:pt x="8" y="26"/>
                  <a:pt x="10" y="28"/>
                  <a:pt x="13" y="28"/>
                </a:cubicBezTo>
                <a:cubicBezTo>
                  <a:pt x="14" y="28"/>
                  <a:pt x="16" y="28"/>
                  <a:pt x="17" y="27"/>
                </a:cubicBezTo>
                <a:cubicBezTo>
                  <a:pt x="18" y="26"/>
                  <a:pt x="19" y="25"/>
                  <a:pt x="20" y="24"/>
                </a:cubicBezTo>
                <a:cubicBezTo>
                  <a:pt x="24" y="23"/>
                  <a:pt x="27" y="30"/>
                  <a:pt x="32" y="28"/>
                </a:cubicBezTo>
                <a:cubicBezTo>
                  <a:pt x="33" y="27"/>
                  <a:pt x="33" y="27"/>
                  <a:pt x="33" y="26"/>
                </a:cubicBezTo>
                <a:cubicBezTo>
                  <a:pt x="34" y="24"/>
                  <a:pt x="35" y="23"/>
                  <a:pt x="36" y="22"/>
                </a:cubicBezTo>
                <a:cubicBezTo>
                  <a:pt x="36" y="21"/>
                  <a:pt x="38" y="20"/>
                  <a:pt x="38" y="19"/>
                </a:cubicBezTo>
                <a:cubicBezTo>
                  <a:pt x="39" y="18"/>
                  <a:pt x="39" y="17"/>
                  <a:pt x="39" y="16"/>
                </a:cubicBezTo>
                <a:cubicBezTo>
                  <a:pt x="39" y="13"/>
                  <a:pt x="43" y="11"/>
                  <a:pt x="45" y="10"/>
                </a:cubicBezTo>
                <a:cubicBezTo>
                  <a:pt x="49" y="10"/>
                  <a:pt x="51" y="8"/>
                  <a:pt x="54" y="6"/>
                </a:cubicBezTo>
                <a:cubicBezTo>
                  <a:pt x="53" y="5"/>
                  <a:pt x="52" y="3"/>
                  <a:pt x="51" y="2"/>
                </a:cubicBezTo>
                <a:cubicBezTo>
                  <a:pt x="50" y="1"/>
                  <a:pt x="49" y="0"/>
                  <a:pt x="48" y="1"/>
                </a:cubicBezTo>
                <a:cubicBezTo>
                  <a:pt x="47" y="2"/>
                  <a:pt x="46" y="3"/>
                  <a:pt x="45" y="4"/>
                </a:cubicBezTo>
                <a:cubicBezTo>
                  <a:pt x="44" y="5"/>
                  <a:pt x="42" y="5"/>
                  <a:pt x="41" y="5"/>
                </a:cubicBezTo>
                <a:cubicBezTo>
                  <a:pt x="38" y="5"/>
                  <a:pt x="35" y="5"/>
                  <a:pt x="33" y="5"/>
                </a:cubicBezTo>
                <a:cubicBezTo>
                  <a:pt x="30" y="5"/>
                  <a:pt x="29" y="6"/>
                  <a:pt x="27" y="8"/>
                </a:cubicBezTo>
                <a:cubicBezTo>
                  <a:pt x="25" y="10"/>
                  <a:pt x="23" y="11"/>
                  <a:pt x="20" y="11"/>
                </a:cubicBezTo>
                <a:cubicBezTo>
                  <a:pt x="17" y="10"/>
                  <a:pt x="15" y="9"/>
                  <a:pt x="12" y="9"/>
                </a:cubicBezTo>
                <a:cubicBezTo>
                  <a:pt x="10" y="8"/>
                  <a:pt x="8" y="7"/>
                  <a:pt x="7" y="9"/>
                </a:cubicBezTo>
                <a:cubicBezTo>
                  <a:pt x="6" y="11"/>
                  <a:pt x="4" y="13"/>
                  <a:pt x="2" y="14"/>
                </a:cubicBezTo>
                <a:cubicBezTo>
                  <a:pt x="2" y="14"/>
                  <a:pt x="2" y="14"/>
                  <a:pt x="2" y="14"/>
                </a:cubicBezTo>
                <a:cubicBezTo>
                  <a:pt x="1" y="14"/>
                  <a:pt x="2" y="14"/>
                  <a:pt x="2" y="14"/>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74" name="Freeform 433">
            <a:extLst>
              <a:ext uri="{FF2B5EF4-FFF2-40B4-BE49-F238E27FC236}">
                <a16:creationId xmlns:a16="http://schemas.microsoft.com/office/drawing/2014/main" id="{6049C2F5-5458-AFC0-9295-2D6CDD3442CC}"/>
              </a:ext>
            </a:extLst>
          </p:cNvPr>
          <p:cNvSpPr/>
          <p:nvPr>
            <p:custDataLst>
              <p:tags r:id="rId105"/>
            </p:custDataLst>
          </p:nvPr>
        </p:nvSpPr>
        <p:spPr bwMode="auto">
          <a:xfrm>
            <a:off x="4607350" y="2696149"/>
            <a:ext cx="148161" cy="63069"/>
          </a:xfrm>
          <a:custGeom>
            <a:avLst/>
            <a:gdLst>
              <a:gd name="T0" fmla="*/ 48 w 127"/>
              <a:gd name="T1" fmla="*/ 47 h 54"/>
              <a:gd name="T2" fmla="*/ 55 w 127"/>
              <a:gd name="T3" fmla="*/ 50 h 54"/>
              <a:gd name="T4" fmla="*/ 64 w 127"/>
              <a:gd name="T5" fmla="*/ 50 h 54"/>
              <a:gd name="T6" fmla="*/ 74 w 127"/>
              <a:gd name="T7" fmla="*/ 51 h 54"/>
              <a:gd name="T8" fmla="*/ 83 w 127"/>
              <a:gd name="T9" fmla="*/ 54 h 54"/>
              <a:gd name="T10" fmla="*/ 89 w 127"/>
              <a:gd name="T11" fmla="*/ 50 h 54"/>
              <a:gd name="T12" fmla="*/ 96 w 127"/>
              <a:gd name="T13" fmla="*/ 48 h 54"/>
              <a:gd name="T14" fmla="*/ 105 w 127"/>
              <a:gd name="T15" fmla="*/ 47 h 54"/>
              <a:gd name="T16" fmla="*/ 111 w 127"/>
              <a:gd name="T17" fmla="*/ 43 h 54"/>
              <a:gd name="T18" fmla="*/ 114 w 127"/>
              <a:gd name="T19" fmla="*/ 41 h 54"/>
              <a:gd name="T20" fmla="*/ 114 w 127"/>
              <a:gd name="T21" fmla="*/ 38 h 54"/>
              <a:gd name="T22" fmla="*/ 114 w 127"/>
              <a:gd name="T23" fmla="*/ 35 h 54"/>
              <a:gd name="T24" fmla="*/ 117 w 127"/>
              <a:gd name="T25" fmla="*/ 32 h 54"/>
              <a:gd name="T26" fmla="*/ 117 w 127"/>
              <a:gd name="T27" fmla="*/ 25 h 54"/>
              <a:gd name="T28" fmla="*/ 122 w 127"/>
              <a:gd name="T29" fmla="*/ 26 h 54"/>
              <a:gd name="T30" fmla="*/ 126 w 127"/>
              <a:gd name="T31" fmla="*/ 25 h 54"/>
              <a:gd name="T32" fmla="*/ 127 w 127"/>
              <a:gd name="T33" fmla="*/ 22 h 54"/>
              <a:gd name="T34" fmla="*/ 127 w 127"/>
              <a:gd name="T35" fmla="*/ 20 h 54"/>
              <a:gd name="T36" fmla="*/ 125 w 127"/>
              <a:gd name="T37" fmla="*/ 18 h 54"/>
              <a:gd name="T38" fmla="*/ 122 w 127"/>
              <a:gd name="T39" fmla="*/ 11 h 54"/>
              <a:gd name="T40" fmla="*/ 123 w 127"/>
              <a:gd name="T41" fmla="*/ 7 h 54"/>
              <a:gd name="T42" fmla="*/ 120 w 127"/>
              <a:gd name="T43" fmla="*/ 5 h 54"/>
              <a:gd name="T44" fmla="*/ 114 w 127"/>
              <a:gd name="T45" fmla="*/ 6 h 54"/>
              <a:gd name="T46" fmla="*/ 107 w 127"/>
              <a:gd name="T47" fmla="*/ 4 h 54"/>
              <a:gd name="T48" fmla="*/ 104 w 127"/>
              <a:gd name="T49" fmla="*/ 3 h 54"/>
              <a:gd name="T50" fmla="*/ 100 w 127"/>
              <a:gd name="T51" fmla="*/ 2 h 54"/>
              <a:gd name="T52" fmla="*/ 94 w 127"/>
              <a:gd name="T53" fmla="*/ 1 h 54"/>
              <a:gd name="T54" fmla="*/ 90 w 127"/>
              <a:gd name="T55" fmla="*/ 5 h 54"/>
              <a:gd name="T56" fmla="*/ 86 w 127"/>
              <a:gd name="T57" fmla="*/ 9 h 54"/>
              <a:gd name="T58" fmla="*/ 79 w 127"/>
              <a:gd name="T59" fmla="*/ 9 h 54"/>
              <a:gd name="T60" fmla="*/ 72 w 127"/>
              <a:gd name="T61" fmla="*/ 6 h 54"/>
              <a:gd name="T62" fmla="*/ 69 w 127"/>
              <a:gd name="T63" fmla="*/ 10 h 54"/>
              <a:gd name="T64" fmla="*/ 64 w 127"/>
              <a:gd name="T65" fmla="*/ 13 h 54"/>
              <a:gd name="T66" fmla="*/ 59 w 127"/>
              <a:gd name="T67" fmla="*/ 17 h 54"/>
              <a:gd name="T68" fmla="*/ 55 w 127"/>
              <a:gd name="T69" fmla="*/ 20 h 54"/>
              <a:gd name="T70" fmla="*/ 57 w 127"/>
              <a:gd name="T71" fmla="*/ 27 h 54"/>
              <a:gd name="T72" fmla="*/ 53 w 127"/>
              <a:gd name="T73" fmla="*/ 30 h 54"/>
              <a:gd name="T74" fmla="*/ 46 w 127"/>
              <a:gd name="T75" fmla="*/ 28 h 54"/>
              <a:gd name="T76" fmla="*/ 43 w 127"/>
              <a:gd name="T77" fmla="*/ 30 h 54"/>
              <a:gd name="T78" fmla="*/ 39 w 127"/>
              <a:gd name="T79" fmla="*/ 31 h 54"/>
              <a:gd name="T80" fmla="*/ 31 w 127"/>
              <a:gd name="T81" fmla="*/ 32 h 54"/>
              <a:gd name="T82" fmla="*/ 24 w 127"/>
              <a:gd name="T83" fmla="*/ 34 h 54"/>
              <a:gd name="T84" fmla="*/ 19 w 127"/>
              <a:gd name="T85" fmla="*/ 30 h 54"/>
              <a:gd name="T86" fmla="*/ 14 w 127"/>
              <a:gd name="T87" fmla="*/ 34 h 54"/>
              <a:gd name="T88" fmla="*/ 9 w 127"/>
              <a:gd name="T89" fmla="*/ 36 h 54"/>
              <a:gd name="T90" fmla="*/ 5 w 127"/>
              <a:gd name="T91" fmla="*/ 32 h 54"/>
              <a:gd name="T92" fmla="*/ 2 w 127"/>
              <a:gd name="T93" fmla="*/ 32 h 54"/>
              <a:gd name="T94" fmla="*/ 1 w 127"/>
              <a:gd name="T95" fmla="*/ 34 h 54"/>
              <a:gd name="T96" fmla="*/ 3 w 127"/>
              <a:gd name="T97" fmla="*/ 41 h 54"/>
              <a:gd name="T98" fmla="*/ 8 w 127"/>
              <a:gd name="T99" fmla="*/ 44 h 54"/>
              <a:gd name="T100" fmla="*/ 13 w 127"/>
              <a:gd name="T101" fmla="*/ 41 h 54"/>
              <a:gd name="T102" fmla="*/ 19 w 127"/>
              <a:gd name="T103" fmla="*/ 44 h 54"/>
              <a:gd name="T104" fmla="*/ 25 w 127"/>
              <a:gd name="T105" fmla="*/ 44 h 54"/>
              <a:gd name="T106" fmla="*/ 32 w 127"/>
              <a:gd name="T107" fmla="*/ 41 h 54"/>
              <a:gd name="T108" fmla="*/ 39 w 127"/>
              <a:gd name="T109" fmla="*/ 40 h 54"/>
              <a:gd name="T110" fmla="*/ 45 w 127"/>
              <a:gd name="T111" fmla="*/ 42 h 54"/>
              <a:gd name="T112" fmla="*/ 48 w 127"/>
              <a:gd name="T113" fmla="*/ 47 h 54"/>
              <a:gd name="T114" fmla="*/ 48 w 127"/>
              <a:gd name="T115" fmla="*/ 4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7" h="54">
                <a:moveTo>
                  <a:pt x="48" y="47"/>
                </a:moveTo>
                <a:cubicBezTo>
                  <a:pt x="50" y="49"/>
                  <a:pt x="52" y="50"/>
                  <a:pt x="55" y="50"/>
                </a:cubicBezTo>
                <a:cubicBezTo>
                  <a:pt x="58" y="50"/>
                  <a:pt x="61" y="50"/>
                  <a:pt x="64" y="50"/>
                </a:cubicBezTo>
                <a:cubicBezTo>
                  <a:pt x="68" y="50"/>
                  <a:pt x="71" y="51"/>
                  <a:pt x="74" y="51"/>
                </a:cubicBezTo>
                <a:cubicBezTo>
                  <a:pt x="77" y="52"/>
                  <a:pt x="80" y="53"/>
                  <a:pt x="83" y="54"/>
                </a:cubicBezTo>
                <a:cubicBezTo>
                  <a:pt x="85" y="54"/>
                  <a:pt x="87" y="52"/>
                  <a:pt x="89" y="50"/>
                </a:cubicBezTo>
                <a:cubicBezTo>
                  <a:pt x="91" y="48"/>
                  <a:pt x="94" y="48"/>
                  <a:pt x="96" y="48"/>
                </a:cubicBezTo>
                <a:cubicBezTo>
                  <a:pt x="99" y="48"/>
                  <a:pt x="102" y="48"/>
                  <a:pt x="105" y="47"/>
                </a:cubicBezTo>
                <a:cubicBezTo>
                  <a:pt x="107" y="47"/>
                  <a:pt x="109" y="44"/>
                  <a:pt x="111" y="43"/>
                </a:cubicBezTo>
                <a:cubicBezTo>
                  <a:pt x="112" y="43"/>
                  <a:pt x="113" y="42"/>
                  <a:pt x="114" y="41"/>
                </a:cubicBezTo>
                <a:cubicBezTo>
                  <a:pt x="115" y="40"/>
                  <a:pt x="114" y="39"/>
                  <a:pt x="114" y="38"/>
                </a:cubicBezTo>
                <a:cubicBezTo>
                  <a:pt x="114" y="37"/>
                  <a:pt x="114" y="36"/>
                  <a:pt x="114" y="35"/>
                </a:cubicBezTo>
                <a:cubicBezTo>
                  <a:pt x="115" y="34"/>
                  <a:pt x="116" y="34"/>
                  <a:pt x="117" y="32"/>
                </a:cubicBezTo>
                <a:cubicBezTo>
                  <a:pt x="118" y="30"/>
                  <a:pt x="116" y="28"/>
                  <a:pt x="117" y="25"/>
                </a:cubicBezTo>
                <a:cubicBezTo>
                  <a:pt x="118" y="24"/>
                  <a:pt x="121" y="25"/>
                  <a:pt x="122" y="26"/>
                </a:cubicBezTo>
                <a:cubicBezTo>
                  <a:pt x="124" y="26"/>
                  <a:pt x="126" y="27"/>
                  <a:pt x="126" y="25"/>
                </a:cubicBezTo>
                <a:cubicBezTo>
                  <a:pt x="127" y="24"/>
                  <a:pt x="127" y="23"/>
                  <a:pt x="127" y="22"/>
                </a:cubicBezTo>
                <a:cubicBezTo>
                  <a:pt x="127" y="21"/>
                  <a:pt x="127" y="20"/>
                  <a:pt x="127" y="20"/>
                </a:cubicBezTo>
                <a:cubicBezTo>
                  <a:pt x="127" y="19"/>
                  <a:pt x="126" y="19"/>
                  <a:pt x="125" y="18"/>
                </a:cubicBezTo>
                <a:cubicBezTo>
                  <a:pt x="124" y="16"/>
                  <a:pt x="122" y="14"/>
                  <a:pt x="122" y="11"/>
                </a:cubicBezTo>
                <a:cubicBezTo>
                  <a:pt x="122" y="10"/>
                  <a:pt x="123" y="9"/>
                  <a:pt x="123" y="7"/>
                </a:cubicBezTo>
                <a:cubicBezTo>
                  <a:pt x="123" y="7"/>
                  <a:pt x="121" y="6"/>
                  <a:pt x="120" y="5"/>
                </a:cubicBezTo>
                <a:cubicBezTo>
                  <a:pt x="118" y="4"/>
                  <a:pt x="117" y="4"/>
                  <a:pt x="114" y="6"/>
                </a:cubicBezTo>
                <a:cubicBezTo>
                  <a:pt x="112" y="7"/>
                  <a:pt x="109" y="5"/>
                  <a:pt x="107" y="4"/>
                </a:cubicBezTo>
                <a:cubicBezTo>
                  <a:pt x="106" y="4"/>
                  <a:pt x="105" y="3"/>
                  <a:pt x="104" y="3"/>
                </a:cubicBezTo>
                <a:cubicBezTo>
                  <a:pt x="103" y="2"/>
                  <a:pt x="102" y="2"/>
                  <a:pt x="100" y="2"/>
                </a:cubicBezTo>
                <a:cubicBezTo>
                  <a:pt x="98" y="1"/>
                  <a:pt x="96" y="0"/>
                  <a:pt x="94" y="1"/>
                </a:cubicBezTo>
                <a:cubicBezTo>
                  <a:pt x="92" y="1"/>
                  <a:pt x="91" y="3"/>
                  <a:pt x="90" y="5"/>
                </a:cubicBezTo>
                <a:cubicBezTo>
                  <a:pt x="89" y="7"/>
                  <a:pt x="88" y="8"/>
                  <a:pt x="86" y="9"/>
                </a:cubicBezTo>
                <a:cubicBezTo>
                  <a:pt x="84" y="10"/>
                  <a:pt x="81" y="10"/>
                  <a:pt x="79" y="9"/>
                </a:cubicBezTo>
                <a:cubicBezTo>
                  <a:pt x="77" y="9"/>
                  <a:pt x="74" y="8"/>
                  <a:pt x="72" y="6"/>
                </a:cubicBezTo>
                <a:cubicBezTo>
                  <a:pt x="71" y="8"/>
                  <a:pt x="71" y="10"/>
                  <a:pt x="69" y="10"/>
                </a:cubicBezTo>
                <a:cubicBezTo>
                  <a:pt x="66" y="11"/>
                  <a:pt x="65" y="10"/>
                  <a:pt x="64" y="13"/>
                </a:cubicBezTo>
                <a:cubicBezTo>
                  <a:pt x="63" y="15"/>
                  <a:pt x="62" y="16"/>
                  <a:pt x="59" y="17"/>
                </a:cubicBezTo>
                <a:cubicBezTo>
                  <a:pt x="58" y="18"/>
                  <a:pt x="54" y="18"/>
                  <a:pt x="55" y="20"/>
                </a:cubicBezTo>
                <a:cubicBezTo>
                  <a:pt x="55" y="23"/>
                  <a:pt x="57" y="25"/>
                  <a:pt x="57" y="27"/>
                </a:cubicBezTo>
                <a:cubicBezTo>
                  <a:pt x="58" y="30"/>
                  <a:pt x="55" y="31"/>
                  <a:pt x="53" y="30"/>
                </a:cubicBezTo>
                <a:cubicBezTo>
                  <a:pt x="50" y="30"/>
                  <a:pt x="48" y="28"/>
                  <a:pt x="46" y="28"/>
                </a:cubicBezTo>
                <a:cubicBezTo>
                  <a:pt x="45" y="29"/>
                  <a:pt x="44" y="29"/>
                  <a:pt x="43" y="30"/>
                </a:cubicBezTo>
                <a:cubicBezTo>
                  <a:pt x="42" y="30"/>
                  <a:pt x="40" y="31"/>
                  <a:pt x="39" y="31"/>
                </a:cubicBezTo>
                <a:cubicBezTo>
                  <a:pt x="36" y="31"/>
                  <a:pt x="33" y="31"/>
                  <a:pt x="31" y="32"/>
                </a:cubicBezTo>
                <a:cubicBezTo>
                  <a:pt x="29" y="33"/>
                  <a:pt x="27" y="35"/>
                  <a:pt x="24" y="34"/>
                </a:cubicBezTo>
                <a:cubicBezTo>
                  <a:pt x="22" y="33"/>
                  <a:pt x="21" y="31"/>
                  <a:pt x="19" y="30"/>
                </a:cubicBezTo>
                <a:cubicBezTo>
                  <a:pt x="17" y="30"/>
                  <a:pt x="15" y="32"/>
                  <a:pt x="14" y="34"/>
                </a:cubicBezTo>
                <a:cubicBezTo>
                  <a:pt x="13" y="35"/>
                  <a:pt x="11" y="37"/>
                  <a:pt x="9" y="36"/>
                </a:cubicBezTo>
                <a:cubicBezTo>
                  <a:pt x="8" y="34"/>
                  <a:pt x="7" y="32"/>
                  <a:pt x="5" y="32"/>
                </a:cubicBezTo>
                <a:cubicBezTo>
                  <a:pt x="4" y="32"/>
                  <a:pt x="3" y="32"/>
                  <a:pt x="2" y="32"/>
                </a:cubicBezTo>
                <a:cubicBezTo>
                  <a:pt x="1" y="32"/>
                  <a:pt x="1" y="34"/>
                  <a:pt x="1" y="34"/>
                </a:cubicBezTo>
                <a:cubicBezTo>
                  <a:pt x="1" y="37"/>
                  <a:pt x="0" y="39"/>
                  <a:pt x="3" y="41"/>
                </a:cubicBezTo>
                <a:cubicBezTo>
                  <a:pt x="5" y="41"/>
                  <a:pt x="6" y="43"/>
                  <a:pt x="8" y="44"/>
                </a:cubicBezTo>
                <a:cubicBezTo>
                  <a:pt x="11" y="44"/>
                  <a:pt x="11" y="41"/>
                  <a:pt x="13" y="41"/>
                </a:cubicBezTo>
                <a:cubicBezTo>
                  <a:pt x="16" y="41"/>
                  <a:pt x="17" y="43"/>
                  <a:pt x="19" y="44"/>
                </a:cubicBezTo>
                <a:cubicBezTo>
                  <a:pt x="21" y="45"/>
                  <a:pt x="23" y="45"/>
                  <a:pt x="25" y="44"/>
                </a:cubicBezTo>
                <a:cubicBezTo>
                  <a:pt x="28" y="43"/>
                  <a:pt x="29" y="42"/>
                  <a:pt x="32" y="41"/>
                </a:cubicBezTo>
                <a:cubicBezTo>
                  <a:pt x="34" y="40"/>
                  <a:pt x="37" y="40"/>
                  <a:pt x="39" y="40"/>
                </a:cubicBezTo>
                <a:cubicBezTo>
                  <a:pt x="42" y="39"/>
                  <a:pt x="44" y="39"/>
                  <a:pt x="45" y="42"/>
                </a:cubicBezTo>
                <a:cubicBezTo>
                  <a:pt x="46" y="43"/>
                  <a:pt x="46" y="46"/>
                  <a:pt x="48" y="47"/>
                </a:cubicBezTo>
                <a:cubicBezTo>
                  <a:pt x="49" y="48"/>
                  <a:pt x="48" y="47"/>
                  <a:pt x="48" y="47"/>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75" name="Freeform 434">
            <a:extLst>
              <a:ext uri="{FF2B5EF4-FFF2-40B4-BE49-F238E27FC236}">
                <a16:creationId xmlns:a16="http://schemas.microsoft.com/office/drawing/2014/main" id="{6BB58911-3ED7-B58A-899E-06FB86A11C49}"/>
              </a:ext>
            </a:extLst>
          </p:cNvPr>
          <p:cNvSpPr/>
          <p:nvPr>
            <p:custDataLst>
              <p:tags r:id="rId106"/>
            </p:custDataLst>
          </p:nvPr>
        </p:nvSpPr>
        <p:spPr bwMode="auto">
          <a:xfrm>
            <a:off x="4658405" y="2644092"/>
            <a:ext cx="129140" cy="62068"/>
          </a:xfrm>
          <a:custGeom>
            <a:avLst/>
            <a:gdLst>
              <a:gd name="T0" fmla="*/ 5 w 110"/>
              <a:gd name="T1" fmla="*/ 29 h 53"/>
              <a:gd name="T2" fmla="*/ 17 w 110"/>
              <a:gd name="T3" fmla="*/ 39 h 53"/>
              <a:gd name="T4" fmla="*/ 24 w 110"/>
              <a:gd name="T5" fmla="*/ 45 h 53"/>
              <a:gd name="T6" fmla="*/ 30 w 110"/>
              <a:gd name="T7" fmla="*/ 50 h 53"/>
              <a:gd name="T8" fmla="*/ 38 w 110"/>
              <a:gd name="T9" fmla="*/ 52 h 53"/>
              <a:gd name="T10" fmla="*/ 43 w 110"/>
              <a:gd name="T11" fmla="*/ 50 h 53"/>
              <a:gd name="T12" fmla="*/ 46 w 110"/>
              <a:gd name="T13" fmla="*/ 46 h 53"/>
              <a:gd name="T14" fmla="*/ 52 w 110"/>
              <a:gd name="T15" fmla="*/ 43 h 53"/>
              <a:gd name="T16" fmla="*/ 57 w 110"/>
              <a:gd name="T17" fmla="*/ 45 h 53"/>
              <a:gd name="T18" fmla="*/ 65 w 110"/>
              <a:gd name="T19" fmla="*/ 48 h 53"/>
              <a:gd name="T20" fmla="*/ 69 w 110"/>
              <a:gd name="T21" fmla="*/ 49 h 53"/>
              <a:gd name="T22" fmla="*/ 72 w 110"/>
              <a:gd name="T23" fmla="*/ 47 h 53"/>
              <a:gd name="T24" fmla="*/ 80 w 110"/>
              <a:gd name="T25" fmla="*/ 50 h 53"/>
              <a:gd name="T26" fmla="*/ 82 w 110"/>
              <a:gd name="T27" fmla="*/ 48 h 53"/>
              <a:gd name="T28" fmla="*/ 85 w 110"/>
              <a:gd name="T29" fmla="*/ 47 h 53"/>
              <a:gd name="T30" fmla="*/ 91 w 110"/>
              <a:gd name="T31" fmla="*/ 46 h 53"/>
              <a:gd name="T32" fmla="*/ 98 w 110"/>
              <a:gd name="T33" fmla="*/ 42 h 53"/>
              <a:gd name="T34" fmla="*/ 103 w 110"/>
              <a:gd name="T35" fmla="*/ 36 h 53"/>
              <a:gd name="T36" fmla="*/ 110 w 110"/>
              <a:gd name="T37" fmla="*/ 32 h 53"/>
              <a:gd name="T38" fmla="*/ 106 w 110"/>
              <a:gd name="T39" fmla="*/ 25 h 53"/>
              <a:gd name="T40" fmla="*/ 99 w 110"/>
              <a:gd name="T41" fmla="*/ 23 h 53"/>
              <a:gd name="T42" fmla="*/ 93 w 110"/>
              <a:gd name="T43" fmla="*/ 21 h 53"/>
              <a:gd name="T44" fmla="*/ 89 w 110"/>
              <a:gd name="T45" fmla="*/ 15 h 53"/>
              <a:gd name="T46" fmla="*/ 83 w 110"/>
              <a:gd name="T47" fmla="*/ 14 h 53"/>
              <a:gd name="T48" fmla="*/ 76 w 110"/>
              <a:gd name="T49" fmla="*/ 19 h 53"/>
              <a:gd name="T50" fmla="*/ 70 w 110"/>
              <a:gd name="T51" fmla="*/ 17 h 53"/>
              <a:gd name="T52" fmla="*/ 69 w 110"/>
              <a:gd name="T53" fmla="*/ 10 h 53"/>
              <a:gd name="T54" fmla="*/ 59 w 110"/>
              <a:gd name="T55" fmla="*/ 7 h 53"/>
              <a:gd name="T56" fmla="*/ 51 w 110"/>
              <a:gd name="T57" fmla="*/ 4 h 53"/>
              <a:gd name="T58" fmla="*/ 50 w 110"/>
              <a:gd name="T59" fmla="*/ 2 h 53"/>
              <a:gd name="T60" fmla="*/ 46 w 110"/>
              <a:gd name="T61" fmla="*/ 2 h 53"/>
              <a:gd name="T62" fmla="*/ 42 w 110"/>
              <a:gd name="T63" fmla="*/ 1 h 53"/>
              <a:gd name="T64" fmla="*/ 38 w 110"/>
              <a:gd name="T65" fmla="*/ 0 h 53"/>
              <a:gd name="T66" fmla="*/ 37 w 110"/>
              <a:gd name="T67" fmla="*/ 2 h 53"/>
              <a:gd name="T68" fmla="*/ 33 w 110"/>
              <a:gd name="T69" fmla="*/ 4 h 53"/>
              <a:gd name="T70" fmla="*/ 25 w 110"/>
              <a:gd name="T71" fmla="*/ 6 h 53"/>
              <a:gd name="T72" fmla="*/ 18 w 110"/>
              <a:gd name="T73" fmla="*/ 11 h 53"/>
              <a:gd name="T74" fmla="*/ 9 w 110"/>
              <a:gd name="T75" fmla="*/ 13 h 53"/>
              <a:gd name="T76" fmla="*/ 5 w 110"/>
              <a:gd name="T77" fmla="*/ 14 h 53"/>
              <a:gd name="T78" fmla="*/ 2 w 110"/>
              <a:gd name="T79" fmla="*/ 17 h 53"/>
              <a:gd name="T80" fmla="*/ 4 w 110"/>
              <a:gd name="T81" fmla="*/ 21 h 53"/>
              <a:gd name="T82" fmla="*/ 5 w 110"/>
              <a:gd name="T83" fmla="*/ 29 h 53"/>
              <a:gd name="T84" fmla="*/ 5 w 110"/>
              <a:gd name="T85" fmla="*/ 29 h 53"/>
              <a:gd name="T86" fmla="*/ 5 w 110"/>
              <a:gd name="T87" fmla="*/ 2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0" h="52">
                <a:moveTo>
                  <a:pt x="5" y="29"/>
                </a:moveTo>
                <a:cubicBezTo>
                  <a:pt x="7" y="34"/>
                  <a:pt x="13" y="37"/>
                  <a:pt x="17" y="39"/>
                </a:cubicBezTo>
                <a:cubicBezTo>
                  <a:pt x="19" y="41"/>
                  <a:pt x="22" y="43"/>
                  <a:pt x="24" y="45"/>
                </a:cubicBezTo>
                <a:cubicBezTo>
                  <a:pt x="26" y="46"/>
                  <a:pt x="28" y="49"/>
                  <a:pt x="30" y="50"/>
                </a:cubicBezTo>
                <a:cubicBezTo>
                  <a:pt x="33" y="52"/>
                  <a:pt x="35" y="52"/>
                  <a:pt x="38" y="52"/>
                </a:cubicBezTo>
                <a:cubicBezTo>
                  <a:pt x="40" y="53"/>
                  <a:pt x="42" y="53"/>
                  <a:pt x="43" y="50"/>
                </a:cubicBezTo>
                <a:cubicBezTo>
                  <a:pt x="44" y="49"/>
                  <a:pt x="45" y="47"/>
                  <a:pt x="46" y="46"/>
                </a:cubicBezTo>
                <a:cubicBezTo>
                  <a:pt x="47" y="44"/>
                  <a:pt x="49" y="43"/>
                  <a:pt x="52" y="43"/>
                </a:cubicBezTo>
                <a:cubicBezTo>
                  <a:pt x="54" y="43"/>
                  <a:pt x="55" y="45"/>
                  <a:pt x="57" y="45"/>
                </a:cubicBezTo>
                <a:cubicBezTo>
                  <a:pt x="60" y="45"/>
                  <a:pt x="63" y="47"/>
                  <a:pt x="65" y="48"/>
                </a:cubicBezTo>
                <a:cubicBezTo>
                  <a:pt x="66" y="49"/>
                  <a:pt x="68" y="49"/>
                  <a:pt x="69" y="49"/>
                </a:cubicBezTo>
                <a:cubicBezTo>
                  <a:pt x="70" y="48"/>
                  <a:pt x="71" y="47"/>
                  <a:pt x="72" y="47"/>
                </a:cubicBezTo>
                <a:cubicBezTo>
                  <a:pt x="75" y="47"/>
                  <a:pt x="78" y="49"/>
                  <a:pt x="80" y="50"/>
                </a:cubicBezTo>
                <a:cubicBezTo>
                  <a:pt x="81" y="51"/>
                  <a:pt x="81" y="49"/>
                  <a:pt x="82" y="48"/>
                </a:cubicBezTo>
                <a:cubicBezTo>
                  <a:pt x="83" y="48"/>
                  <a:pt x="84" y="47"/>
                  <a:pt x="85" y="47"/>
                </a:cubicBezTo>
                <a:cubicBezTo>
                  <a:pt x="87" y="47"/>
                  <a:pt x="89" y="47"/>
                  <a:pt x="91" y="46"/>
                </a:cubicBezTo>
                <a:cubicBezTo>
                  <a:pt x="94" y="45"/>
                  <a:pt x="96" y="44"/>
                  <a:pt x="98" y="42"/>
                </a:cubicBezTo>
                <a:cubicBezTo>
                  <a:pt x="100" y="40"/>
                  <a:pt x="101" y="38"/>
                  <a:pt x="103" y="36"/>
                </a:cubicBezTo>
                <a:cubicBezTo>
                  <a:pt x="105" y="34"/>
                  <a:pt x="107" y="33"/>
                  <a:pt x="110" y="32"/>
                </a:cubicBezTo>
                <a:cubicBezTo>
                  <a:pt x="109" y="29"/>
                  <a:pt x="107" y="27"/>
                  <a:pt x="106" y="25"/>
                </a:cubicBezTo>
                <a:cubicBezTo>
                  <a:pt x="104" y="23"/>
                  <a:pt x="102" y="22"/>
                  <a:pt x="99" y="23"/>
                </a:cubicBezTo>
                <a:cubicBezTo>
                  <a:pt x="97" y="24"/>
                  <a:pt x="95" y="23"/>
                  <a:pt x="93" y="21"/>
                </a:cubicBezTo>
                <a:cubicBezTo>
                  <a:pt x="92" y="19"/>
                  <a:pt x="92" y="16"/>
                  <a:pt x="89" y="15"/>
                </a:cubicBezTo>
                <a:cubicBezTo>
                  <a:pt x="87" y="15"/>
                  <a:pt x="85" y="14"/>
                  <a:pt x="83" y="14"/>
                </a:cubicBezTo>
                <a:cubicBezTo>
                  <a:pt x="80" y="15"/>
                  <a:pt x="79" y="18"/>
                  <a:pt x="76" y="19"/>
                </a:cubicBezTo>
                <a:cubicBezTo>
                  <a:pt x="74" y="19"/>
                  <a:pt x="72" y="18"/>
                  <a:pt x="70" y="17"/>
                </a:cubicBezTo>
                <a:cubicBezTo>
                  <a:pt x="68" y="15"/>
                  <a:pt x="68" y="12"/>
                  <a:pt x="69" y="10"/>
                </a:cubicBezTo>
                <a:cubicBezTo>
                  <a:pt x="70" y="7"/>
                  <a:pt x="60" y="7"/>
                  <a:pt x="59" y="7"/>
                </a:cubicBezTo>
                <a:cubicBezTo>
                  <a:pt x="56" y="6"/>
                  <a:pt x="53" y="6"/>
                  <a:pt x="51" y="4"/>
                </a:cubicBezTo>
                <a:cubicBezTo>
                  <a:pt x="51" y="3"/>
                  <a:pt x="51" y="2"/>
                  <a:pt x="50" y="2"/>
                </a:cubicBezTo>
                <a:cubicBezTo>
                  <a:pt x="48" y="2"/>
                  <a:pt x="47" y="2"/>
                  <a:pt x="46" y="2"/>
                </a:cubicBezTo>
                <a:cubicBezTo>
                  <a:pt x="44" y="2"/>
                  <a:pt x="43" y="2"/>
                  <a:pt x="42" y="1"/>
                </a:cubicBezTo>
                <a:cubicBezTo>
                  <a:pt x="41" y="1"/>
                  <a:pt x="39" y="0"/>
                  <a:pt x="38" y="0"/>
                </a:cubicBezTo>
                <a:cubicBezTo>
                  <a:pt x="38" y="0"/>
                  <a:pt x="37" y="1"/>
                  <a:pt x="37" y="2"/>
                </a:cubicBezTo>
                <a:cubicBezTo>
                  <a:pt x="36" y="3"/>
                  <a:pt x="34" y="4"/>
                  <a:pt x="33" y="4"/>
                </a:cubicBezTo>
                <a:cubicBezTo>
                  <a:pt x="30" y="5"/>
                  <a:pt x="28" y="5"/>
                  <a:pt x="25" y="6"/>
                </a:cubicBezTo>
                <a:cubicBezTo>
                  <a:pt x="22" y="8"/>
                  <a:pt x="20" y="9"/>
                  <a:pt x="18" y="11"/>
                </a:cubicBezTo>
                <a:cubicBezTo>
                  <a:pt x="15" y="13"/>
                  <a:pt x="12" y="13"/>
                  <a:pt x="9" y="13"/>
                </a:cubicBezTo>
                <a:cubicBezTo>
                  <a:pt x="8" y="13"/>
                  <a:pt x="6" y="13"/>
                  <a:pt x="5" y="14"/>
                </a:cubicBezTo>
                <a:cubicBezTo>
                  <a:pt x="4" y="15"/>
                  <a:pt x="3" y="16"/>
                  <a:pt x="2" y="17"/>
                </a:cubicBezTo>
                <a:cubicBezTo>
                  <a:pt x="0" y="18"/>
                  <a:pt x="3" y="20"/>
                  <a:pt x="4" y="21"/>
                </a:cubicBezTo>
                <a:cubicBezTo>
                  <a:pt x="6" y="24"/>
                  <a:pt x="4" y="27"/>
                  <a:pt x="5" y="29"/>
                </a:cubicBezTo>
                <a:cubicBezTo>
                  <a:pt x="5" y="29"/>
                  <a:pt x="5" y="29"/>
                  <a:pt x="5" y="29"/>
                </a:cubicBezTo>
                <a:cubicBezTo>
                  <a:pt x="7" y="32"/>
                  <a:pt x="5" y="29"/>
                  <a:pt x="5" y="29"/>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76" name="Freeform 435">
            <a:extLst>
              <a:ext uri="{FF2B5EF4-FFF2-40B4-BE49-F238E27FC236}">
                <a16:creationId xmlns:a16="http://schemas.microsoft.com/office/drawing/2014/main" id="{BB4A1103-FCF9-6B96-A701-0824543B88A1}"/>
              </a:ext>
            </a:extLst>
          </p:cNvPr>
          <p:cNvSpPr>
            <a:spLocks noEditPoints="1"/>
          </p:cNvSpPr>
          <p:nvPr>
            <p:custDataLst>
              <p:tags r:id="rId107"/>
            </p:custDataLst>
          </p:nvPr>
        </p:nvSpPr>
        <p:spPr bwMode="auto">
          <a:xfrm>
            <a:off x="4565304" y="2976454"/>
            <a:ext cx="79085" cy="157171"/>
          </a:xfrm>
          <a:custGeom>
            <a:avLst/>
            <a:gdLst>
              <a:gd name="T0" fmla="*/ 18 w 68"/>
              <a:gd name="T1" fmla="*/ 95 h 134"/>
              <a:gd name="T2" fmla="*/ 27 w 68"/>
              <a:gd name="T3" fmla="*/ 103 h 134"/>
              <a:gd name="T4" fmla="*/ 36 w 68"/>
              <a:gd name="T5" fmla="*/ 134 h 134"/>
              <a:gd name="T6" fmla="*/ 46 w 68"/>
              <a:gd name="T7" fmla="*/ 124 h 134"/>
              <a:gd name="T8" fmla="*/ 47 w 68"/>
              <a:gd name="T9" fmla="*/ 107 h 134"/>
              <a:gd name="T10" fmla="*/ 61 w 68"/>
              <a:gd name="T11" fmla="*/ 97 h 134"/>
              <a:gd name="T12" fmla="*/ 67 w 68"/>
              <a:gd name="T13" fmla="*/ 93 h 134"/>
              <a:gd name="T14" fmla="*/ 67 w 68"/>
              <a:gd name="T15" fmla="*/ 80 h 134"/>
              <a:gd name="T16" fmla="*/ 60 w 68"/>
              <a:gd name="T17" fmla="*/ 74 h 134"/>
              <a:gd name="T18" fmla="*/ 48 w 68"/>
              <a:gd name="T19" fmla="*/ 71 h 134"/>
              <a:gd name="T20" fmla="*/ 46 w 68"/>
              <a:gd name="T21" fmla="*/ 59 h 134"/>
              <a:gd name="T22" fmla="*/ 56 w 68"/>
              <a:gd name="T23" fmla="*/ 49 h 134"/>
              <a:gd name="T24" fmla="*/ 61 w 68"/>
              <a:gd name="T25" fmla="*/ 36 h 134"/>
              <a:gd name="T26" fmla="*/ 51 w 68"/>
              <a:gd name="T27" fmla="*/ 20 h 134"/>
              <a:gd name="T28" fmla="*/ 61 w 68"/>
              <a:gd name="T29" fmla="*/ 9 h 134"/>
              <a:gd name="T30" fmla="*/ 52 w 68"/>
              <a:gd name="T31" fmla="*/ 11 h 134"/>
              <a:gd name="T32" fmla="*/ 47 w 68"/>
              <a:gd name="T33" fmla="*/ 9 h 134"/>
              <a:gd name="T34" fmla="*/ 45 w 68"/>
              <a:gd name="T35" fmla="*/ 4 h 134"/>
              <a:gd name="T36" fmla="*/ 40 w 68"/>
              <a:gd name="T37" fmla="*/ 2 h 134"/>
              <a:gd name="T38" fmla="*/ 35 w 68"/>
              <a:gd name="T39" fmla="*/ 1 h 134"/>
              <a:gd name="T40" fmla="*/ 28 w 68"/>
              <a:gd name="T41" fmla="*/ 3 h 134"/>
              <a:gd name="T42" fmla="*/ 20 w 68"/>
              <a:gd name="T43" fmla="*/ 8 h 134"/>
              <a:gd name="T44" fmla="*/ 14 w 68"/>
              <a:gd name="T45" fmla="*/ 14 h 134"/>
              <a:gd name="T46" fmla="*/ 14 w 68"/>
              <a:gd name="T47" fmla="*/ 22 h 134"/>
              <a:gd name="T48" fmla="*/ 14 w 68"/>
              <a:gd name="T49" fmla="*/ 49 h 134"/>
              <a:gd name="T50" fmla="*/ 2 w 68"/>
              <a:gd name="T51" fmla="*/ 70 h 134"/>
              <a:gd name="T52" fmla="*/ 14 w 68"/>
              <a:gd name="T53" fmla="*/ 87 h 134"/>
              <a:gd name="T54" fmla="*/ 15 w 68"/>
              <a:gd name="T55" fmla="*/ 92 h 134"/>
              <a:gd name="T56" fmla="*/ 56 w 68"/>
              <a:gd name="T57" fmla="*/ 67 h 134"/>
              <a:gd name="T58" fmla="*/ 56 w 68"/>
              <a:gd name="T59" fmla="*/ 68 h 134"/>
              <a:gd name="T60" fmla="*/ 56 w 68"/>
              <a:gd name="T61" fmla="*/ 67 h 134"/>
              <a:gd name="T62" fmla="*/ 63 w 68"/>
              <a:gd name="T63" fmla="*/ 50 h 134"/>
              <a:gd name="T64" fmla="*/ 62 w 68"/>
              <a:gd name="T65" fmla="*/ 53 h 134"/>
              <a:gd name="T66" fmla="*/ 65 w 68"/>
              <a:gd name="T67" fmla="*/ 5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 h="134">
                <a:moveTo>
                  <a:pt x="15" y="92"/>
                </a:moveTo>
                <a:cubicBezTo>
                  <a:pt x="15" y="93"/>
                  <a:pt x="17" y="94"/>
                  <a:pt x="18" y="95"/>
                </a:cubicBezTo>
                <a:cubicBezTo>
                  <a:pt x="20" y="96"/>
                  <a:pt x="22" y="98"/>
                  <a:pt x="23" y="99"/>
                </a:cubicBezTo>
                <a:cubicBezTo>
                  <a:pt x="25" y="100"/>
                  <a:pt x="26" y="101"/>
                  <a:pt x="27" y="103"/>
                </a:cubicBezTo>
                <a:cubicBezTo>
                  <a:pt x="28" y="105"/>
                  <a:pt x="28" y="107"/>
                  <a:pt x="29" y="109"/>
                </a:cubicBezTo>
                <a:cubicBezTo>
                  <a:pt x="31" y="117"/>
                  <a:pt x="34" y="126"/>
                  <a:pt x="36" y="134"/>
                </a:cubicBezTo>
                <a:cubicBezTo>
                  <a:pt x="38" y="134"/>
                  <a:pt x="40" y="133"/>
                  <a:pt x="41" y="131"/>
                </a:cubicBezTo>
                <a:cubicBezTo>
                  <a:pt x="43" y="129"/>
                  <a:pt x="45" y="127"/>
                  <a:pt x="46" y="124"/>
                </a:cubicBezTo>
                <a:cubicBezTo>
                  <a:pt x="46" y="121"/>
                  <a:pt x="46" y="118"/>
                  <a:pt x="46" y="116"/>
                </a:cubicBezTo>
                <a:cubicBezTo>
                  <a:pt x="46" y="113"/>
                  <a:pt x="46" y="110"/>
                  <a:pt x="47" y="107"/>
                </a:cubicBezTo>
                <a:cubicBezTo>
                  <a:pt x="48" y="105"/>
                  <a:pt x="51" y="104"/>
                  <a:pt x="53" y="103"/>
                </a:cubicBezTo>
                <a:cubicBezTo>
                  <a:pt x="55" y="101"/>
                  <a:pt x="58" y="99"/>
                  <a:pt x="61" y="97"/>
                </a:cubicBezTo>
                <a:cubicBezTo>
                  <a:pt x="62" y="96"/>
                  <a:pt x="64" y="96"/>
                  <a:pt x="65" y="95"/>
                </a:cubicBezTo>
                <a:cubicBezTo>
                  <a:pt x="66" y="94"/>
                  <a:pt x="67" y="94"/>
                  <a:pt x="67" y="93"/>
                </a:cubicBezTo>
                <a:cubicBezTo>
                  <a:pt x="67" y="90"/>
                  <a:pt x="67" y="86"/>
                  <a:pt x="67" y="83"/>
                </a:cubicBezTo>
                <a:cubicBezTo>
                  <a:pt x="67" y="83"/>
                  <a:pt x="68" y="80"/>
                  <a:pt x="67" y="80"/>
                </a:cubicBezTo>
                <a:cubicBezTo>
                  <a:pt x="66" y="80"/>
                  <a:pt x="65" y="80"/>
                  <a:pt x="64" y="80"/>
                </a:cubicBezTo>
                <a:cubicBezTo>
                  <a:pt x="61" y="79"/>
                  <a:pt x="61" y="76"/>
                  <a:pt x="60" y="74"/>
                </a:cubicBezTo>
                <a:cubicBezTo>
                  <a:pt x="59" y="72"/>
                  <a:pt x="56" y="75"/>
                  <a:pt x="55" y="73"/>
                </a:cubicBezTo>
                <a:cubicBezTo>
                  <a:pt x="53" y="71"/>
                  <a:pt x="50" y="72"/>
                  <a:pt x="48" y="71"/>
                </a:cubicBezTo>
                <a:cubicBezTo>
                  <a:pt x="46" y="69"/>
                  <a:pt x="45" y="66"/>
                  <a:pt x="43" y="64"/>
                </a:cubicBezTo>
                <a:cubicBezTo>
                  <a:pt x="42" y="61"/>
                  <a:pt x="43" y="60"/>
                  <a:pt x="46" y="59"/>
                </a:cubicBezTo>
                <a:cubicBezTo>
                  <a:pt x="48" y="58"/>
                  <a:pt x="50" y="57"/>
                  <a:pt x="51" y="55"/>
                </a:cubicBezTo>
                <a:cubicBezTo>
                  <a:pt x="53" y="52"/>
                  <a:pt x="54" y="50"/>
                  <a:pt x="56" y="49"/>
                </a:cubicBezTo>
                <a:cubicBezTo>
                  <a:pt x="58" y="47"/>
                  <a:pt x="59" y="45"/>
                  <a:pt x="61" y="43"/>
                </a:cubicBezTo>
                <a:cubicBezTo>
                  <a:pt x="62" y="41"/>
                  <a:pt x="62" y="38"/>
                  <a:pt x="61" y="36"/>
                </a:cubicBezTo>
                <a:cubicBezTo>
                  <a:pt x="59" y="32"/>
                  <a:pt x="53" y="31"/>
                  <a:pt x="51" y="27"/>
                </a:cubicBezTo>
                <a:cubicBezTo>
                  <a:pt x="50" y="25"/>
                  <a:pt x="50" y="22"/>
                  <a:pt x="51" y="20"/>
                </a:cubicBezTo>
                <a:cubicBezTo>
                  <a:pt x="53" y="18"/>
                  <a:pt x="56" y="18"/>
                  <a:pt x="57" y="15"/>
                </a:cubicBezTo>
                <a:cubicBezTo>
                  <a:pt x="58" y="13"/>
                  <a:pt x="61" y="11"/>
                  <a:pt x="61" y="9"/>
                </a:cubicBezTo>
                <a:cubicBezTo>
                  <a:pt x="62" y="5"/>
                  <a:pt x="60" y="5"/>
                  <a:pt x="57" y="7"/>
                </a:cubicBezTo>
                <a:cubicBezTo>
                  <a:pt x="55" y="8"/>
                  <a:pt x="54" y="10"/>
                  <a:pt x="52" y="11"/>
                </a:cubicBezTo>
                <a:cubicBezTo>
                  <a:pt x="51" y="12"/>
                  <a:pt x="48" y="13"/>
                  <a:pt x="47" y="12"/>
                </a:cubicBezTo>
                <a:cubicBezTo>
                  <a:pt x="46" y="11"/>
                  <a:pt x="47" y="10"/>
                  <a:pt x="47" y="9"/>
                </a:cubicBezTo>
                <a:cubicBezTo>
                  <a:pt x="48" y="8"/>
                  <a:pt x="48" y="7"/>
                  <a:pt x="47" y="6"/>
                </a:cubicBezTo>
                <a:cubicBezTo>
                  <a:pt x="46" y="5"/>
                  <a:pt x="46" y="4"/>
                  <a:pt x="45" y="4"/>
                </a:cubicBezTo>
                <a:cubicBezTo>
                  <a:pt x="44" y="3"/>
                  <a:pt x="44" y="2"/>
                  <a:pt x="43" y="2"/>
                </a:cubicBezTo>
                <a:cubicBezTo>
                  <a:pt x="42" y="1"/>
                  <a:pt x="41" y="2"/>
                  <a:pt x="40" y="2"/>
                </a:cubicBezTo>
                <a:cubicBezTo>
                  <a:pt x="40" y="3"/>
                  <a:pt x="40" y="4"/>
                  <a:pt x="39" y="4"/>
                </a:cubicBezTo>
                <a:cubicBezTo>
                  <a:pt x="38" y="2"/>
                  <a:pt x="38" y="0"/>
                  <a:pt x="35" y="1"/>
                </a:cubicBezTo>
                <a:cubicBezTo>
                  <a:pt x="34" y="1"/>
                  <a:pt x="33" y="2"/>
                  <a:pt x="32" y="2"/>
                </a:cubicBezTo>
                <a:cubicBezTo>
                  <a:pt x="31" y="3"/>
                  <a:pt x="29" y="3"/>
                  <a:pt x="28" y="3"/>
                </a:cubicBezTo>
                <a:cubicBezTo>
                  <a:pt x="26" y="5"/>
                  <a:pt x="24" y="6"/>
                  <a:pt x="22" y="8"/>
                </a:cubicBezTo>
                <a:cubicBezTo>
                  <a:pt x="21" y="8"/>
                  <a:pt x="20" y="8"/>
                  <a:pt x="20" y="8"/>
                </a:cubicBezTo>
                <a:cubicBezTo>
                  <a:pt x="18" y="8"/>
                  <a:pt x="18" y="10"/>
                  <a:pt x="17" y="11"/>
                </a:cubicBezTo>
                <a:cubicBezTo>
                  <a:pt x="16" y="12"/>
                  <a:pt x="15" y="13"/>
                  <a:pt x="14" y="14"/>
                </a:cubicBezTo>
                <a:cubicBezTo>
                  <a:pt x="13" y="15"/>
                  <a:pt x="13" y="16"/>
                  <a:pt x="14" y="17"/>
                </a:cubicBezTo>
                <a:cubicBezTo>
                  <a:pt x="15" y="19"/>
                  <a:pt x="15" y="20"/>
                  <a:pt x="14" y="22"/>
                </a:cubicBezTo>
                <a:cubicBezTo>
                  <a:pt x="12" y="26"/>
                  <a:pt x="15" y="31"/>
                  <a:pt x="16" y="35"/>
                </a:cubicBezTo>
                <a:cubicBezTo>
                  <a:pt x="17" y="39"/>
                  <a:pt x="17" y="44"/>
                  <a:pt x="14" y="49"/>
                </a:cubicBezTo>
                <a:cubicBezTo>
                  <a:pt x="12" y="52"/>
                  <a:pt x="9" y="55"/>
                  <a:pt x="6" y="58"/>
                </a:cubicBezTo>
                <a:cubicBezTo>
                  <a:pt x="3" y="62"/>
                  <a:pt x="0" y="65"/>
                  <a:pt x="2" y="70"/>
                </a:cubicBezTo>
                <a:cubicBezTo>
                  <a:pt x="3" y="74"/>
                  <a:pt x="8" y="78"/>
                  <a:pt x="11" y="81"/>
                </a:cubicBezTo>
                <a:cubicBezTo>
                  <a:pt x="12" y="83"/>
                  <a:pt x="14" y="85"/>
                  <a:pt x="14" y="87"/>
                </a:cubicBezTo>
                <a:cubicBezTo>
                  <a:pt x="14" y="89"/>
                  <a:pt x="14" y="90"/>
                  <a:pt x="15" y="92"/>
                </a:cubicBezTo>
                <a:cubicBezTo>
                  <a:pt x="15" y="92"/>
                  <a:pt x="15" y="92"/>
                  <a:pt x="15" y="92"/>
                </a:cubicBezTo>
                <a:cubicBezTo>
                  <a:pt x="15" y="92"/>
                  <a:pt x="15" y="92"/>
                  <a:pt x="15" y="92"/>
                </a:cubicBezTo>
                <a:close/>
                <a:moveTo>
                  <a:pt x="56" y="67"/>
                </a:moveTo>
                <a:cubicBezTo>
                  <a:pt x="54" y="71"/>
                  <a:pt x="61" y="71"/>
                  <a:pt x="60" y="69"/>
                </a:cubicBezTo>
                <a:cubicBezTo>
                  <a:pt x="60" y="67"/>
                  <a:pt x="56" y="66"/>
                  <a:pt x="56" y="68"/>
                </a:cubicBezTo>
                <a:cubicBezTo>
                  <a:pt x="56" y="67"/>
                  <a:pt x="56" y="67"/>
                  <a:pt x="56" y="67"/>
                </a:cubicBezTo>
                <a:cubicBezTo>
                  <a:pt x="55" y="68"/>
                  <a:pt x="56" y="67"/>
                  <a:pt x="56" y="67"/>
                </a:cubicBezTo>
                <a:close/>
                <a:moveTo>
                  <a:pt x="65" y="51"/>
                </a:moveTo>
                <a:cubicBezTo>
                  <a:pt x="66" y="49"/>
                  <a:pt x="64" y="50"/>
                  <a:pt x="63" y="50"/>
                </a:cubicBezTo>
                <a:cubicBezTo>
                  <a:pt x="62" y="50"/>
                  <a:pt x="61" y="51"/>
                  <a:pt x="60" y="52"/>
                </a:cubicBezTo>
                <a:cubicBezTo>
                  <a:pt x="59" y="54"/>
                  <a:pt x="61" y="53"/>
                  <a:pt x="62" y="53"/>
                </a:cubicBezTo>
                <a:cubicBezTo>
                  <a:pt x="63" y="52"/>
                  <a:pt x="65" y="52"/>
                  <a:pt x="66" y="50"/>
                </a:cubicBezTo>
                <a:cubicBezTo>
                  <a:pt x="66" y="50"/>
                  <a:pt x="66" y="50"/>
                  <a:pt x="65" y="51"/>
                </a:cubicBezTo>
                <a:cubicBezTo>
                  <a:pt x="66" y="49"/>
                  <a:pt x="65" y="51"/>
                  <a:pt x="65" y="51"/>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177" name="Freeform 437">
            <a:extLst>
              <a:ext uri="{FF2B5EF4-FFF2-40B4-BE49-F238E27FC236}">
                <a16:creationId xmlns:a16="http://schemas.microsoft.com/office/drawing/2014/main" id="{7E3A7B0F-3583-9A5A-8DC9-FDC635B1E1CE}"/>
              </a:ext>
            </a:extLst>
          </p:cNvPr>
          <p:cNvSpPr/>
          <p:nvPr>
            <p:custDataLst>
              <p:tags r:id="rId108"/>
            </p:custDataLst>
          </p:nvPr>
        </p:nvSpPr>
        <p:spPr bwMode="auto">
          <a:xfrm>
            <a:off x="4602345" y="3071557"/>
            <a:ext cx="312340" cy="289315"/>
          </a:xfrm>
          <a:custGeom>
            <a:avLst/>
            <a:gdLst>
              <a:gd name="T0" fmla="*/ 3 w 267"/>
              <a:gd name="T1" fmla="*/ 132 h 247"/>
              <a:gd name="T2" fmla="*/ 11 w 267"/>
              <a:gd name="T3" fmla="*/ 147 h 247"/>
              <a:gd name="T4" fmla="*/ 16 w 267"/>
              <a:gd name="T5" fmla="*/ 159 h 247"/>
              <a:gd name="T6" fmla="*/ 36 w 267"/>
              <a:gd name="T7" fmla="*/ 164 h 247"/>
              <a:gd name="T8" fmla="*/ 44 w 267"/>
              <a:gd name="T9" fmla="*/ 176 h 247"/>
              <a:gd name="T10" fmla="*/ 75 w 267"/>
              <a:gd name="T11" fmla="*/ 185 h 247"/>
              <a:gd name="T12" fmla="*/ 84 w 267"/>
              <a:gd name="T13" fmla="*/ 192 h 247"/>
              <a:gd name="T14" fmla="*/ 105 w 267"/>
              <a:gd name="T15" fmla="*/ 182 h 247"/>
              <a:gd name="T16" fmla="*/ 120 w 267"/>
              <a:gd name="T17" fmla="*/ 182 h 247"/>
              <a:gd name="T18" fmla="*/ 227 w 267"/>
              <a:gd name="T19" fmla="*/ 237 h 247"/>
              <a:gd name="T20" fmla="*/ 248 w 267"/>
              <a:gd name="T21" fmla="*/ 242 h 247"/>
              <a:gd name="T22" fmla="*/ 264 w 267"/>
              <a:gd name="T23" fmla="*/ 240 h 247"/>
              <a:gd name="T24" fmla="*/ 264 w 267"/>
              <a:gd name="T25" fmla="*/ 194 h 247"/>
              <a:gd name="T26" fmla="*/ 263 w 267"/>
              <a:gd name="T27" fmla="*/ 74 h 247"/>
              <a:gd name="T28" fmla="*/ 260 w 267"/>
              <a:gd name="T29" fmla="*/ 56 h 247"/>
              <a:gd name="T30" fmla="*/ 263 w 267"/>
              <a:gd name="T31" fmla="*/ 40 h 247"/>
              <a:gd name="T32" fmla="*/ 267 w 267"/>
              <a:gd name="T33" fmla="*/ 27 h 247"/>
              <a:gd name="T34" fmla="*/ 254 w 267"/>
              <a:gd name="T35" fmla="*/ 22 h 247"/>
              <a:gd name="T36" fmla="*/ 236 w 267"/>
              <a:gd name="T37" fmla="*/ 18 h 247"/>
              <a:gd name="T38" fmla="*/ 226 w 267"/>
              <a:gd name="T39" fmla="*/ 8 h 247"/>
              <a:gd name="T40" fmla="*/ 214 w 267"/>
              <a:gd name="T41" fmla="*/ 4 h 247"/>
              <a:gd name="T42" fmla="*/ 198 w 267"/>
              <a:gd name="T43" fmla="*/ 9 h 247"/>
              <a:gd name="T44" fmla="*/ 189 w 267"/>
              <a:gd name="T45" fmla="*/ 15 h 247"/>
              <a:gd name="T46" fmla="*/ 179 w 267"/>
              <a:gd name="T47" fmla="*/ 29 h 247"/>
              <a:gd name="T48" fmla="*/ 174 w 267"/>
              <a:gd name="T49" fmla="*/ 50 h 247"/>
              <a:gd name="T50" fmla="*/ 158 w 267"/>
              <a:gd name="T51" fmla="*/ 51 h 247"/>
              <a:gd name="T52" fmla="*/ 127 w 267"/>
              <a:gd name="T53" fmla="*/ 38 h 247"/>
              <a:gd name="T54" fmla="*/ 104 w 267"/>
              <a:gd name="T55" fmla="*/ 31 h 247"/>
              <a:gd name="T56" fmla="*/ 96 w 267"/>
              <a:gd name="T57" fmla="*/ 15 h 247"/>
              <a:gd name="T58" fmla="*/ 82 w 267"/>
              <a:gd name="T59" fmla="*/ 9 h 247"/>
              <a:gd name="T60" fmla="*/ 69 w 267"/>
              <a:gd name="T61" fmla="*/ 6 h 247"/>
              <a:gd name="T62" fmla="*/ 52 w 267"/>
              <a:gd name="T63" fmla="*/ 6 h 247"/>
              <a:gd name="T64" fmla="*/ 38 w 267"/>
              <a:gd name="T65" fmla="*/ 0 h 247"/>
              <a:gd name="T66" fmla="*/ 37 w 267"/>
              <a:gd name="T67" fmla="*/ 14 h 247"/>
              <a:gd name="T68" fmla="*/ 16 w 267"/>
              <a:gd name="T69" fmla="*/ 29 h 247"/>
              <a:gd name="T70" fmla="*/ 14 w 267"/>
              <a:gd name="T71" fmla="*/ 47 h 247"/>
              <a:gd name="T72" fmla="*/ 1 w 267"/>
              <a:gd name="T73" fmla="*/ 57 h 247"/>
              <a:gd name="T74" fmla="*/ 3 w 267"/>
              <a:gd name="T75" fmla="*/ 63 h 247"/>
              <a:gd name="T76" fmla="*/ 9 w 267"/>
              <a:gd name="T77" fmla="*/ 79 h 247"/>
              <a:gd name="T78" fmla="*/ 9 w 267"/>
              <a:gd name="T79" fmla="*/ 97 h 247"/>
              <a:gd name="T80" fmla="*/ 7 w 267"/>
              <a:gd name="T81" fmla="*/ 114 h 247"/>
              <a:gd name="T82" fmla="*/ 4 w 267"/>
              <a:gd name="T83" fmla="*/ 12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7" h="246">
                <a:moveTo>
                  <a:pt x="4" y="127"/>
                </a:moveTo>
                <a:cubicBezTo>
                  <a:pt x="2" y="129"/>
                  <a:pt x="1" y="130"/>
                  <a:pt x="3" y="132"/>
                </a:cubicBezTo>
                <a:cubicBezTo>
                  <a:pt x="4" y="135"/>
                  <a:pt x="6" y="137"/>
                  <a:pt x="8" y="139"/>
                </a:cubicBezTo>
                <a:cubicBezTo>
                  <a:pt x="10" y="141"/>
                  <a:pt x="11" y="144"/>
                  <a:pt x="11" y="147"/>
                </a:cubicBezTo>
                <a:cubicBezTo>
                  <a:pt x="12" y="149"/>
                  <a:pt x="12" y="152"/>
                  <a:pt x="13" y="155"/>
                </a:cubicBezTo>
                <a:cubicBezTo>
                  <a:pt x="14" y="156"/>
                  <a:pt x="15" y="158"/>
                  <a:pt x="16" y="159"/>
                </a:cubicBezTo>
                <a:cubicBezTo>
                  <a:pt x="19" y="160"/>
                  <a:pt x="20" y="158"/>
                  <a:pt x="23" y="158"/>
                </a:cubicBezTo>
                <a:cubicBezTo>
                  <a:pt x="27" y="158"/>
                  <a:pt x="33" y="160"/>
                  <a:pt x="36" y="164"/>
                </a:cubicBezTo>
                <a:cubicBezTo>
                  <a:pt x="38" y="165"/>
                  <a:pt x="39" y="167"/>
                  <a:pt x="40" y="169"/>
                </a:cubicBezTo>
                <a:cubicBezTo>
                  <a:pt x="41" y="172"/>
                  <a:pt x="42" y="174"/>
                  <a:pt x="44" y="176"/>
                </a:cubicBezTo>
                <a:cubicBezTo>
                  <a:pt x="48" y="179"/>
                  <a:pt x="54" y="179"/>
                  <a:pt x="59" y="180"/>
                </a:cubicBezTo>
                <a:cubicBezTo>
                  <a:pt x="64" y="181"/>
                  <a:pt x="70" y="182"/>
                  <a:pt x="75" y="185"/>
                </a:cubicBezTo>
                <a:cubicBezTo>
                  <a:pt x="77" y="186"/>
                  <a:pt x="79" y="188"/>
                  <a:pt x="81" y="190"/>
                </a:cubicBezTo>
                <a:cubicBezTo>
                  <a:pt x="82" y="191"/>
                  <a:pt x="82" y="192"/>
                  <a:pt x="84" y="192"/>
                </a:cubicBezTo>
                <a:cubicBezTo>
                  <a:pt x="85" y="192"/>
                  <a:pt x="87" y="191"/>
                  <a:pt x="88" y="190"/>
                </a:cubicBezTo>
                <a:cubicBezTo>
                  <a:pt x="94" y="188"/>
                  <a:pt x="99" y="185"/>
                  <a:pt x="105" y="182"/>
                </a:cubicBezTo>
                <a:cubicBezTo>
                  <a:pt x="107" y="181"/>
                  <a:pt x="110" y="179"/>
                  <a:pt x="112" y="179"/>
                </a:cubicBezTo>
                <a:cubicBezTo>
                  <a:pt x="115" y="178"/>
                  <a:pt x="118" y="181"/>
                  <a:pt x="120" y="182"/>
                </a:cubicBezTo>
                <a:cubicBezTo>
                  <a:pt x="132" y="188"/>
                  <a:pt x="144" y="194"/>
                  <a:pt x="156" y="200"/>
                </a:cubicBezTo>
                <a:cubicBezTo>
                  <a:pt x="179" y="212"/>
                  <a:pt x="203" y="224"/>
                  <a:pt x="227" y="237"/>
                </a:cubicBezTo>
                <a:cubicBezTo>
                  <a:pt x="234" y="240"/>
                  <a:pt x="240" y="244"/>
                  <a:pt x="247" y="247"/>
                </a:cubicBezTo>
                <a:cubicBezTo>
                  <a:pt x="247" y="245"/>
                  <a:pt x="247" y="243"/>
                  <a:pt x="248" y="242"/>
                </a:cubicBezTo>
                <a:cubicBezTo>
                  <a:pt x="250" y="240"/>
                  <a:pt x="254" y="240"/>
                  <a:pt x="256" y="240"/>
                </a:cubicBezTo>
                <a:cubicBezTo>
                  <a:pt x="259" y="240"/>
                  <a:pt x="262" y="241"/>
                  <a:pt x="264" y="240"/>
                </a:cubicBezTo>
                <a:cubicBezTo>
                  <a:pt x="265" y="239"/>
                  <a:pt x="264" y="235"/>
                  <a:pt x="264" y="234"/>
                </a:cubicBezTo>
                <a:cubicBezTo>
                  <a:pt x="264" y="220"/>
                  <a:pt x="264" y="207"/>
                  <a:pt x="264" y="194"/>
                </a:cubicBezTo>
                <a:cubicBezTo>
                  <a:pt x="264" y="167"/>
                  <a:pt x="264" y="140"/>
                  <a:pt x="264" y="113"/>
                </a:cubicBezTo>
                <a:cubicBezTo>
                  <a:pt x="264" y="100"/>
                  <a:pt x="264" y="87"/>
                  <a:pt x="263" y="74"/>
                </a:cubicBezTo>
                <a:cubicBezTo>
                  <a:pt x="263" y="71"/>
                  <a:pt x="263" y="68"/>
                  <a:pt x="262" y="65"/>
                </a:cubicBezTo>
                <a:cubicBezTo>
                  <a:pt x="262" y="62"/>
                  <a:pt x="260" y="59"/>
                  <a:pt x="260" y="56"/>
                </a:cubicBezTo>
                <a:cubicBezTo>
                  <a:pt x="260" y="53"/>
                  <a:pt x="262" y="51"/>
                  <a:pt x="263" y="49"/>
                </a:cubicBezTo>
                <a:cubicBezTo>
                  <a:pt x="264" y="46"/>
                  <a:pt x="263" y="42"/>
                  <a:pt x="263" y="40"/>
                </a:cubicBezTo>
                <a:cubicBezTo>
                  <a:pt x="263" y="37"/>
                  <a:pt x="262" y="34"/>
                  <a:pt x="263" y="32"/>
                </a:cubicBezTo>
                <a:cubicBezTo>
                  <a:pt x="264" y="30"/>
                  <a:pt x="267" y="29"/>
                  <a:pt x="267" y="27"/>
                </a:cubicBezTo>
                <a:cubicBezTo>
                  <a:pt x="266" y="24"/>
                  <a:pt x="265" y="23"/>
                  <a:pt x="263" y="23"/>
                </a:cubicBezTo>
                <a:cubicBezTo>
                  <a:pt x="260" y="22"/>
                  <a:pt x="257" y="22"/>
                  <a:pt x="254" y="22"/>
                </a:cubicBezTo>
                <a:cubicBezTo>
                  <a:pt x="251" y="21"/>
                  <a:pt x="248" y="21"/>
                  <a:pt x="245" y="21"/>
                </a:cubicBezTo>
                <a:cubicBezTo>
                  <a:pt x="242" y="20"/>
                  <a:pt x="239" y="20"/>
                  <a:pt x="236" y="18"/>
                </a:cubicBezTo>
                <a:cubicBezTo>
                  <a:pt x="234" y="17"/>
                  <a:pt x="233" y="15"/>
                  <a:pt x="233" y="13"/>
                </a:cubicBezTo>
                <a:cubicBezTo>
                  <a:pt x="232" y="10"/>
                  <a:pt x="229" y="9"/>
                  <a:pt x="226" y="8"/>
                </a:cubicBezTo>
                <a:cubicBezTo>
                  <a:pt x="224" y="8"/>
                  <a:pt x="221" y="8"/>
                  <a:pt x="219" y="6"/>
                </a:cubicBezTo>
                <a:cubicBezTo>
                  <a:pt x="217" y="5"/>
                  <a:pt x="216" y="4"/>
                  <a:pt x="214" y="4"/>
                </a:cubicBezTo>
                <a:cubicBezTo>
                  <a:pt x="211" y="5"/>
                  <a:pt x="209" y="6"/>
                  <a:pt x="206" y="7"/>
                </a:cubicBezTo>
                <a:cubicBezTo>
                  <a:pt x="204" y="8"/>
                  <a:pt x="201" y="8"/>
                  <a:pt x="198" y="9"/>
                </a:cubicBezTo>
                <a:cubicBezTo>
                  <a:pt x="196" y="9"/>
                  <a:pt x="193" y="8"/>
                  <a:pt x="191" y="9"/>
                </a:cubicBezTo>
                <a:cubicBezTo>
                  <a:pt x="189" y="10"/>
                  <a:pt x="189" y="12"/>
                  <a:pt x="189" y="15"/>
                </a:cubicBezTo>
                <a:cubicBezTo>
                  <a:pt x="188" y="20"/>
                  <a:pt x="182" y="19"/>
                  <a:pt x="180" y="23"/>
                </a:cubicBezTo>
                <a:cubicBezTo>
                  <a:pt x="179" y="24"/>
                  <a:pt x="179" y="27"/>
                  <a:pt x="179" y="29"/>
                </a:cubicBezTo>
                <a:cubicBezTo>
                  <a:pt x="180" y="32"/>
                  <a:pt x="182" y="34"/>
                  <a:pt x="182" y="36"/>
                </a:cubicBezTo>
                <a:cubicBezTo>
                  <a:pt x="183" y="42"/>
                  <a:pt x="178" y="47"/>
                  <a:pt x="174" y="50"/>
                </a:cubicBezTo>
                <a:cubicBezTo>
                  <a:pt x="172" y="51"/>
                  <a:pt x="169" y="53"/>
                  <a:pt x="167" y="53"/>
                </a:cubicBezTo>
                <a:cubicBezTo>
                  <a:pt x="164" y="54"/>
                  <a:pt x="161" y="53"/>
                  <a:pt x="158" y="51"/>
                </a:cubicBezTo>
                <a:cubicBezTo>
                  <a:pt x="153" y="49"/>
                  <a:pt x="149" y="45"/>
                  <a:pt x="144" y="42"/>
                </a:cubicBezTo>
                <a:cubicBezTo>
                  <a:pt x="139" y="40"/>
                  <a:pt x="133" y="39"/>
                  <a:pt x="127" y="38"/>
                </a:cubicBezTo>
                <a:cubicBezTo>
                  <a:pt x="122" y="37"/>
                  <a:pt x="116" y="37"/>
                  <a:pt x="110" y="35"/>
                </a:cubicBezTo>
                <a:cubicBezTo>
                  <a:pt x="108" y="34"/>
                  <a:pt x="106" y="33"/>
                  <a:pt x="104" y="31"/>
                </a:cubicBezTo>
                <a:cubicBezTo>
                  <a:pt x="103" y="30"/>
                  <a:pt x="103" y="27"/>
                  <a:pt x="102" y="25"/>
                </a:cubicBezTo>
                <a:cubicBezTo>
                  <a:pt x="101" y="21"/>
                  <a:pt x="100" y="17"/>
                  <a:pt x="96" y="15"/>
                </a:cubicBezTo>
                <a:cubicBezTo>
                  <a:pt x="94" y="14"/>
                  <a:pt x="91" y="14"/>
                  <a:pt x="89" y="13"/>
                </a:cubicBezTo>
                <a:cubicBezTo>
                  <a:pt x="86" y="12"/>
                  <a:pt x="84" y="11"/>
                  <a:pt x="82" y="9"/>
                </a:cubicBezTo>
                <a:cubicBezTo>
                  <a:pt x="80" y="7"/>
                  <a:pt x="79" y="6"/>
                  <a:pt x="76" y="6"/>
                </a:cubicBezTo>
                <a:cubicBezTo>
                  <a:pt x="74" y="5"/>
                  <a:pt x="71" y="6"/>
                  <a:pt x="69" y="6"/>
                </a:cubicBezTo>
                <a:cubicBezTo>
                  <a:pt x="66" y="6"/>
                  <a:pt x="63" y="5"/>
                  <a:pt x="60" y="6"/>
                </a:cubicBezTo>
                <a:cubicBezTo>
                  <a:pt x="57" y="6"/>
                  <a:pt x="55" y="7"/>
                  <a:pt x="52" y="6"/>
                </a:cubicBezTo>
                <a:cubicBezTo>
                  <a:pt x="49" y="6"/>
                  <a:pt x="47" y="4"/>
                  <a:pt x="44" y="3"/>
                </a:cubicBezTo>
                <a:cubicBezTo>
                  <a:pt x="42" y="2"/>
                  <a:pt x="40" y="0"/>
                  <a:pt x="38" y="0"/>
                </a:cubicBezTo>
                <a:cubicBezTo>
                  <a:pt x="37" y="3"/>
                  <a:pt x="37" y="6"/>
                  <a:pt x="37" y="9"/>
                </a:cubicBezTo>
                <a:cubicBezTo>
                  <a:pt x="37" y="10"/>
                  <a:pt x="38" y="13"/>
                  <a:pt x="37" y="14"/>
                </a:cubicBezTo>
                <a:cubicBezTo>
                  <a:pt x="31" y="17"/>
                  <a:pt x="26" y="21"/>
                  <a:pt x="20" y="25"/>
                </a:cubicBezTo>
                <a:cubicBezTo>
                  <a:pt x="18" y="26"/>
                  <a:pt x="16" y="27"/>
                  <a:pt x="16" y="29"/>
                </a:cubicBezTo>
                <a:cubicBezTo>
                  <a:pt x="16" y="33"/>
                  <a:pt x="16" y="36"/>
                  <a:pt x="16" y="39"/>
                </a:cubicBezTo>
                <a:cubicBezTo>
                  <a:pt x="16" y="42"/>
                  <a:pt x="16" y="45"/>
                  <a:pt x="14" y="47"/>
                </a:cubicBezTo>
                <a:cubicBezTo>
                  <a:pt x="13" y="50"/>
                  <a:pt x="11" y="53"/>
                  <a:pt x="8" y="54"/>
                </a:cubicBezTo>
                <a:cubicBezTo>
                  <a:pt x="6" y="55"/>
                  <a:pt x="3" y="55"/>
                  <a:pt x="1" y="57"/>
                </a:cubicBezTo>
                <a:cubicBezTo>
                  <a:pt x="0" y="57"/>
                  <a:pt x="1" y="58"/>
                  <a:pt x="1" y="59"/>
                </a:cubicBezTo>
                <a:cubicBezTo>
                  <a:pt x="2" y="60"/>
                  <a:pt x="2" y="62"/>
                  <a:pt x="3" y="63"/>
                </a:cubicBezTo>
                <a:cubicBezTo>
                  <a:pt x="4" y="66"/>
                  <a:pt x="6" y="67"/>
                  <a:pt x="7" y="70"/>
                </a:cubicBezTo>
                <a:cubicBezTo>
                  <a:pt x="8" y="73"/>
                  <a:pt x="8" y="76"/>
                  <a:pt x="9" y="79"/>
                </a:cubicBezTo>
                <a:cubicBezTo>
                  <a:pt x="9" y="82"/>
                  <a:pt x="8" y="85"/>
                  <a:pt x="8" y="88"/>
                </a:cubicBezTo>
                <a:cubicBezTo>
                  <a:pt x="8" y="91"/>
                  <a:pt x="9" y="94"/>
                  <a:pt x="9" y="97"/>
                </a:cubicBezTo>
                <a:cubicBezTo>
                  <a:pt x="10" y="100"/>
                  <a:pt x="9" y="102"/>
                  <a:pt x="8" y="105"/>
                </a:cubicBezTo>
                <a:cubicBezTo>
                  <a:pt x="7" y="108"/>
                  <a:pt x="6" y="111"/>
                  <a:pt x="7" y="114"/>
                </a:cubicBezTo>
                <a:cubicBezTo>
                  <a:pt x="7" y="116"/>
                  <a:pt x="8" y="119"/>
                  <a:pt x="8" y="122"/>
                </a:cubicBezTo>
                <a:cubicBezTo>
                  <a:pt x="8" y="124"/>
                  <a:pt x="6" y="126"/>
                  <a:pt x="4" y="127"/>
                </a:cubicBezTo>
                <a:cubicBezTo>
                  <a:pt x="3" y="128"/>
                  <a:pt x="4" y="127"/>
                  <a:pt x="4" y="127"/>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grpSp>
        <p:nvGrpSpPr>
          <p:cNvPr id="178" name="Group 177">
            <a:extLst>
              <a:ext uri="{FF2B5EF4-FFF2-40B4-BE49-F238E27FC236}">
                <a16:creationId xmlns:a16="http://schemas.microsoft.com/office/drawing/2014/main" id="{10994EFE-89A5-A92B-3803-3D030D8985A7}"/>
              </a:ext>
            </a:extLst>
          </p:cNvPr>
          <p:cNvGrpSpPr/>
          <p:nvPr>
            <p:custDataLst>
              <p:tags r:id="rId109"/>
            </p:custDataLst>
          </p:nvPr>
        </p:nvGrpSpPr>
        <p:grpSpPr>
          <a:xfrm>
            <a:off x="4320037" y="2640088"/>
            <a:ext cx="285310" cy="243264"/>
            <a:chOff x="5572125" y="2811464"/>
            <a:chExt cx="452437" cy="385763"/>
          </a:xfrm>
        </p:grpSpPr>
        <p:sp>
          <p:nvSpPr>
            <p:cNvPr id="179" name="Freeform 415">
              <a:extLst>
                <a:ext uri="{FF2B5EF4-FFF2-40B4-BE49-F238E27FC236}">
                  <a16:creationId xmlns:a16="http://schemas.microsoft.com/office/drawing/2014/main" id="{39C8C3DA-4734-57DA-36CE-0DFEDF86E594}"/>
                </a:ext>
              </a:extLst>
            </p:cNvPr>
            <p:cNvSpPr>
              <a:spLocks noEditPoints="1"/>
            </p:cNvSpPr>
            <p:nvPr>
              <p:custDataLst>
                <p:tags r:id="rId271"/>
              </p:custDataLst>
            </p:nvPr>
          </p:nvSpPr>
          <p:spPr bwMode="auto">
            <a:xfrm>
              <a:off x="5572125" y="2811464"/>
              <a:ext cx="404812" cy="347663"/>
            </a:xfrm>
            <a:custGeom>
              <a:avLst/>
              <a:gdLst>
                <a:gd name="T0" fmla="*/ 110 w 219"/>
                <a:gd name="T1" fmla="*/ 22 h 187"/>
                <a:gd name="T2" fmla="*/ 89 w 219"/>
                <a:gd name="T3" fmla="*/ 36 h 187"/>
                <a:gd name="T4" fmla="*/ 68 w 219"/>
                <a:gd name="T5" fmla="*/ 40 h 187"/>
                <a:gd name="T6" fmla="*/ 59 w 219"/>
                <a:gd name="T7" fmla="*/ 32 h 187"/>
                <a:gd name="T8" fmla="*/ 53 w 219"/>
                <a:gd name="T9" fmla="*/ 39 h 187"/>
                <a:gd name="T10" fmla="*/ 51 w 219"/>
                <a:gd name="T11" fmla="*/ 53 h 187"/>
                <a:gd name="T12" fmla="*/ 41 w 219"/>
                <a:gd name="T13" fmla="*/ 57 h 187"/>
                <a:gd name="T14" fmla="*/ 21 w 219"/>
                <a:gd name="T15" fmla="*/ 53 h 187"/>
                <a:gd name="T16" fmla="*/ 6 w 219"/>
                <a:gd name="T17" fmla="*/ 59 h 187"/>
                <a:gd name="T18" fmla="*/ 4 w 219"/>
                <a:gd name="T19" fmla="*/ 68 h 187"/>
                <a:gd name="T20" fmla="*/ 20 w 219"/>
                <a:gd name="T21" fmla="*/ 73 h 187"/>
                <a:gd name="T22" fmla="*/ 38 w 219"/>
                <a:gd name="T23" fmla="*/ 79 h 187"/>
                <a:gd name="T24" fmla="*/ 47 w 219"/>
                <a:gd name="T25" fmla="*/ 86 h 187"/>
                <a:gd name="T26" fmla="*/ 48 w 219"/>
                <a:gd name="T27" fmla="*/ 95 h 187"/>
                <a:gd name="T28" fmla="*/ 62 w 219"/>
                <a:gd name="T29" fmla="*/ 109 h 187"/>
                <a:gd name="T30" fmla="*/ 71 w 219"/>
                <a:gd name="T31" fmla="*/ 126 h 187"/>
                <a:gd name="T32" fmla="*/ 64 w 219"/>
                <a:gd name="T33" fmla="*/ 122 h 187"/>
                <a:gd name="T34" fmla="*/ 60 w 219"/>
                <a:gd name="T35" fmla="*/ 144 h 187"/>
                <a:gd name="T36" fmla="*/ 57 w 219"/>
                <a:gd name="T37" fmla="*/ 168 h 187"/>
                <a:gd name="T38" fmla="*/ 76 w 219"/>
                <a:gd name="T39" fmla="*/ 177 h 187"/>
                <a:gd name="T40" fmla="*/ 94 w 219"/>
                <a:gd name="T41" fmla="*/ 177 h 187"/>
                <a:gd name="T42" fmla="*/ 123 w 219"/>
                <a:gd name="T43" fmla="*/ 187 h 187"/>
                <a:gd name="T44" fmla="*/ 138 w 219"/>
                <a:gd name="T45" fmla="*/ 171 h 187"/>
                <a:gd name="T46" fmla="*/ 154 w 219"/>
                <a:gd name="T47" fmla="*/ 164 h 187"/>
                <a:gd name="T48" fmla="*/ 172 w 219"/>
                <a:gd name="T49" fmla="*/ 168 h 187"/>
                <a:gd name="T50" fmla="*/ 192 w 219"/>
                <a:gd name="T51" fmla="*/ 170 h 187"/>
                <a:gd name="T52" fmla="*/ 209 w 219"/>
                <a:gd name="T53" fmla="*/ 157 h 187"/>
                <a:gd name="T54" fmla="*/ 199 w 219"/>
                <a:gd name="T55" fmla="*/ 140 h 187"/>
                <a:gd name="T56" fmla="*/ 202 w 219"/>
                <a:gd name="T57" fmla="*/ 127 h 187"/>
                <a:gd name="T58" fmla="*/ 198 w 219"/>
                <a:gd name="T59" fmla="*/ 107 h 187"/>
                <a:gd name="T60" fmla="*/ 187 w 219"/>
                <a:gd name="T61" fmla="*/ 97 h 187"/>
                <a:gd name="T62" fmla="*/ 203 w 219"/>
                <a:gd name="T63" fmla="*/ 79 h 187"/>
                <a:gd name="T64" fmla="*/ 210 w 219"/>
                <a:gd name="T65" fmla="*/ 65 h 187"/>
                <a:gd name="T66" fmla="*/ 217 w 219"/>
                <a:gd name="T67" fmla="*/ 49 h 187"/>
                <a:gd name="T68" fmla="*/ 196 w 219"/>
                <a:gd name="T69" fmla="*/ 43 h 187"/>
                <a:gd name="T70" fmla="*/ 167 w 219"/>
                <a:gd name="T71" fmla="*/ 30 h 187"/>
                <a:gd name="T72" fmla="*/ 152 w 219"/>
                <a:gd name="T73" fmla="*/ 25 h 187"/>
                <a:gd name="T74" fmla="*/ 142 w 219"/>
                <a:gd name="T75" fmla="*/ 15 h 187"/>
                <a:gd name="T76" fmla="*/ 128 w 219"/>
                <a:gd name="T77" fmla="*/ 7 h 187"/>
                <a:gd name="T78" fmla="*/ 119 w 219"/>
                <a:gd name="T79" fmla="*/ 2 h 187"/>
                <a:gd name="T80" fmla="*/ 109 w 219"/>
                <a:gd name="T81" fmla="*/ 6 h 187"/>
                <a:gd name="T82" fmla="*/ 49 w 219"/>
                <a:gd name="T83" fmla="*/ 43 h 187"/>
                <a:gd name="T84" fmla="*/ 40 w 219"/>
                <a:gd name="T85" fmla="*/ 34 h 187"/>
                <a:gd name="T86" fmla="*/ 41 w 219"/>
                <a:gd name="T87" fmla="*/ 36 h 187"/>
                <a:gd name="T88" fmla="*/ 57 w 219"/>
                <a:gd name="T89" fmla="*/ 106 h 187"/>
                <a:gd name="T90" fmla="*/ 57 w 219"/>
                <a:gd name="T91" fmla="*/ 108 h 187"/>
                <a:gd name="T92" fmla="*/ 44 w 219"/>
                <a:gd name="T93" fmla="*/ 97 h 187"/>
                <a:gd name="T94" fmla="*/ 31 w 219"/>
                <a:gd name="T95" fmla="*/ 85 h 187"/>
                <a:gd name="T96" fmla="*/ 29 w 219"/>
                <a:gd name="T97" fmla="*/ 8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9" h="187">
                  <a:moveTo>
                    <a:pt x="109" y="6"/>
                  </a:moveTo>
                  <a:cubicBezTo>
                    <a:pt x="109" y="9"/>
                    <a:pt x="109" y="12"/>
                    <a:pt x="109" y="15"/>
                  </a:cubicBezTo>
                  <a:cubicBezTo>
                    <a:pt x="109" y="16"/>
                    <a:pt x="109" y="17"/>
                    <a:pt x="109" y="18"/>
                  </a:cubicBezTo>
                  <a:cubicBezTo>
                    <a:pt x="110" y="19"/>
                    <a:pt x="110" y="20"/>
                    <a:pt x="110" y="22"/>
                  </a:cubicBezTo>
                  <a:cubicBezTo>
                    <a:pt x="109" y="24"/>
                    <a:pt x="105" y="24"/>
                    <a:pt x="103" y="24"/>
                  </a:cubicBezTo>
                  <a:cubicBezTo>
                    <a:pt x="100" y="25"/>
                    <a:pt x="97" y="27"/>
                    <a:pt x="95" y="28"/>
                  </a:cubicBezTo>
                  <a:cubicBezTo>
                    <a:pt x="94" y="28"/>
                    <a:pt x="81" y="32"/>
                    <a:pt x="85" y="35"/>
                  </a:cubicBezTo>
                  <a:cubicBezTo>
                    <a:pt x="86" y="36"/>
                    <a:pt x="87" y="36"/>
                    <a:pt x="89" y="36"/>
                  </a:cubicBezTo>
                  <a:cubicBezTo>
                    <a:pt x="90" y="36"/>
                    <a:pt x="89" y="37"/>
                    <a:pt x="89" y="38"/>
                  </a:cubicBezTo>
                  <a:cubicBezTo>
                    <a:pt x="88" y="38"/>
                    <a:pt x="86" y="39"/>
                    <a:pt x="85" y="39"/>
                  </a:cubicBezTo>
                  <a:cubicBezTo>
                    <a:pt x="82" y="40"/>
                    <a:pt x="80" y="41"/>
                    <a:pt x="77" y="40"/>
                  </a:cubicBezTo>
                  <a:cubicBezTo>
                    <a:pt x="74" y="40"/>
                    <a:pt x="71" y="40"/>
                    <a:pt x="68" y="40"/>
                  </a:cubicBezTo>
                  <a:cubicBezTo>
                    <a:pt x="66" y="40"/>
                    <a:pt x="65" y="40"/>
                    <a:pt x="64" y="40"/>
                  </a:cubicBezTo>
                  <a:cubicBezTo>
                    <a:pt x="63" y="39"/>
                    <a:pt x="62" y="38"/>
                    <a:pt x="61" y="37"/>
                  </a:cubicBezTo>
                  <a:cubicBezTo>
                    <a:pt x="60" y="36"/>
                    <a:pt x="60" y="36"/>
                    <a:pt x="60" y="35"/>
                  </a:cubicBezTo>
                  <a:cubicBezTo>
                    <a:pt x="60" y="34"/>
                    <a:pt x="60" y="32"/>
                    <a:pt x="59" y="32"/>
                  </a:cubicBezTo>
                  <a:cubicBezTo>
                    <a:pt x="58" y="31"/>
                    <a:pt x="58" y="32"/>
                    <a:pt x="57" y="32"/>
                  </a:cubicBezTo>
                  <a:cubicBezTo>
                    <a:pt x="56" y="32"/>
                    <a:pt x="55" y="32"/>
                    <a:pt x="54" y="31"/>
                  </a:cubicBezTo>
                  <a:cubicBezTo>
                    <a:pt x="53" y="31"/>
                    <a:pt x="48" y="29"/>
                    <a:pt x="50" y="32"/>
                  </a:cubicBezTo>
                  <a:cubicBezTo>
                    <a:pt x="51" y="34"/>
                    <a:pt x="52" y="37"/>
                    <a:pt x="53" y="39"/>
                  </a:cubicBezTo>
                  <a:cubicBezTo>
                    <a:pt x="54" y="41"/>
                    <a:pt x="56" y="43"/>
                    <a:pt x="56" y="45"/>
                  </a:cubicBezTo>
                  <a:cubicBezTo>
                    <a:pt x="56" y="47"/>
                    <a:pt x="56" y="50"/>
                    <a:pt x="57" y="52"/>
                  </a:cubicBezTo>
                  <a:cubicBezTo>
                    <a:pt x="58" y="53"/>
                    <a:pt x="59" y="56"/>
                    <a:pt x="57" y="55"/>
                  </a:cubicBezTo>
                  <a:cubicBezTo>
                    <a:pt x="55" y="54"/>
                    <a:pt x="53" y="53"/>
                    <a:pt x="51" y="53"/>
                  </a:cubicBezTo>
                  <a:cubicBezTo>
                    <a:pt x="48" y="53"/>
                    <a:pt x="50" y="57"/>
                    <a:pt x="49" y="58"/>
                  </a:cubicBezTo>
                  <a:cubicBezTo>
                    <a:pt x="48" y="58"/>
                    <a:pt x="48" y="56"/>
                    <a:pt x="47" y="56"/>
                  </a:cubicBezTo>
                  <a:cubicBezTo>
                    <a:pt x="47" y="55"/>
                    <a:pt x="45" y="55"/>
                    <a:pt x="44" y="56"/>
                  </a:cubicBezTo>
                  <a:cubicBezTo>
                    <a:pt x="43" y="56"/>
                    <a:pt x="42" y="56"/>
                    <a:pt x="41" y="57"/>
                  </a:cubicBezTo>
                  <a:cubicBezTo>
                    <a:pt x="40" y="57"/>
                    <a:pt x="39" y="58"/>
                    <a:pt x="38" y="58"/>
                  </a:cubicBezTo>
                  <a:cubicBezTo>
                    <a:pt x="36" y="57"/>
                    <a:pt x="36" y="56"/>
                    <a:pt x="34" y="54"/>
                  </a:cubicBezTo>
                  <a:cubicBezTo>
                    <a:pt x="33" y="53"/>
                    <a:pt x="30" y="50"/>
                    <a:pt x="28" y="50"/>
                  </a:cubicBezTo>
                  <a:cubicBezTo>
                    <a:pt x="26" y="51"/>
                    <a:pt x="23" y="53"/>
                    <a:pt x="21" y="53"/>
                  </a:cubicBezTo>
                  <a:cubicBezTo>
                    <a:pt x="18" y="54"/>
                    <a:pt x="15" y="54"/>
                    <a:pt x="11" y="55"/>
                  </a:cubicBezTo>
                  <a:cubicBezTo>
                    <a:pt x="8" y="55"/>
                    <a:pt x="6" y="56"/>
                    <a:pt x="3" y="57"/>
                  </a:cubicBezTo>
                  <a:cubicBezTo>
                    <a:pt x="1" y="58"/>
                    <a:pt x="0" y="59"/>
                    <a:pt x="1" y="60"/>
                  </a:cubicBezTo>
                  <a:cubicBezTo>
                    <a:pt x="3" y="62"/>
                    <a:pt x="4" y="60"/>
                    <a:pt x="6" y="59"/>
                  </a:cubicBezTo>
                  <a:cubicBezTo>
                    <a:pt x="6" y="59"/>
                    <a:pt x="8" y="59"/>
                    <a:pt x="9" y="60"/>
                  </a:cubicBezTo>
                  <a:cubicBezTo>
                    <a:pt x="9" y="61"/>
                    <a:pt x="8" y="62"/>
                    <a:pt x="8" y="63"/>
                  </a:cubicBezTo>
                  <a:cubicBezTo>
                    <a:pt x="8" y="65"/>
                    <a:pt x="9" y="67"/>
                    <a:pt x="6" y="67"/>
                  </a:cubicBezTo>
                  <a:cubicBezTo>
                    <a:pt x="5" y="67"/>
                    <a:pt x="4" y="67"/>
                    <a:pt x="4" y="68"/>
                  </a:cubicBezTo>
                  <a:cubicBezTo>
                    <a:pt x="3" y="69"/>
                    <a:pt x="4" y="70"/>
                    <a:pt x="5" y="70"/>
                  </a:cubicBezTo>
                  <a:cubicBezTo>
                    <a:pt x="7" y="72"/>
                    <a:pt x="8" y="74"/>
                    <a:pt x="10" y="72"/>
                  </a:cubicBezTo>
                  <a:cubicBezTo>
                    <a:pt x="11" y="69"/>
                    <a:pt x="14" y="71"/>
                    <a:pt x="16" y="72"/>
                  </a:cubicBezTo>
                  <a:cubicBezTo>
                    <a:pt x="17" y="72"/>
                    <a:pt x="19" y="72"/>
                    <a:pt x="20" y="73"/>
                  </a:cubicBezTo>
                  <a:cubicBezTo>
                    <a:pt x="21" y="73"/>
                    <a:pt x="22" y="74"/>
                    <a:pt x="23" y="74"/>
                  </a:cubicBezTo>
                  <a:cubicBezTo>
                    <a:pt x="24" y="76"/>
                    <a:pt x="26" y="80"/>
                    <a:pt x="28" y="77"/>
                  </a:cubicBezTo>
                  <a:cubicBezTo>
                    <a:pt x="30" y="75"/>
                    <a:pt x="33" y="76"/>
                    <a:pt x="35" y="77"/>
                  </a:cubicBezTo>
                  <a:cubicBezTo>
                    <a:pt x="36" y="78"/>
                    <a:pt x="37" y="78"/>
                    <a:pt x="38" y="79"/>
                  </a:cubicBezTo>
                  <a:cubicBezTo>
                    <a:pt x="39" y="79"/>
                    <a:pt x="39" y="80"/>
                    <a:pt x="40" y="81"/>
                  </a:cubicBezTo>
                  <a:cubicBezTo>
                    <a:pt x="41" y="84"/>
                    <a:pt x="44" y="82"/>
                    <a:pt x="46" y="82"/>
                  </a:cubicBezTo>
                  <a:cubicBezTo>
                    <a:pt x="48" y="82"/>
                    <a:pt x="51" y="83"/>
                    <a:pt x="52" y="85"/>
                  </a:cubicBezTo>
                  <a:cubicBezTo>
                    <a:pt x="53" y="87"/>
                    <a:pt x="48" y="86"/>
                    <a:pt x="47" y="86"/>
                  </a:cubicBezTo>
                  <a:cubicBezTo>
                    <a:pt x="47" y="86"/>
                    <a:pt x="45" y="85"/>
                    <a:pt x="45" y="87"/>
                  </a:cubicBezTo>
                  <a:cubicBezTo>
                    <a:pt x="46" y="88"/>
                    <a:pt x="47" y="88"/>
                    <a:pt x="48" y="89"/>
                  </a:cubicBezTo>
                  <a:cubicBezTo>
                    <a:pt x="50" y="90"/>
                    <a:pt x="47" y="92"/>
                    <a:pt x="47" y="93"/>
                  </a:cubicBezTo>
                  <a:cubicBezTo>
                    <a:pt x="46" y="94"/>
                    <a:pt x="47" y="95"/>
                    <a:pt x="48" y="95"/>
                  </a:cubicBezTo>
                  <a:cubicBezTo>
                    <a:pt x="49" y="96"/>
                    <a:pt x="50" y="97"/>
                    <a:pt x="51" y="98"/>
                  </a:cubicBezTo>
                  <a:cubicBezTo>
                    <a:pt x="52" y="101"/>
                    <a:pt x="54" y="102"/>
                    <a:pt x="57" y="102"/>
                  </a:cubicBezTo>
                  <a:cubicBezTo>
                    <a:pt x="59" y="103"/>
                    <a:pt x="62" y="102"/>
                    <a:pt x="62" y="105"/>
                  </a:cubicBezTo>
                  <a:cubicBezTo>
                    <a:pt x="63" y="106"/>
                    <a:pt x="62" y="107"/>
                    <a:pt x="62" y="109"/>
                  </a:cubicBezTo>
                  <a:cubicBezTo>
                    <a:pt x="62" y="110"/>
                    <a:pt x="63" y="111"/>
                    <a:pt x="63" y="112"/>
                  </a:cubicBezTo>
                  <a:cubicBezTo>
                    <a:pt x="64" y="113"/>
                    <a:pt x="64" y="114"/>
                    <a:pt x="63" y="116"/>
                  </a:cubicBezTo>
                  <a:cubicBezTo>
                    <a:pt x="62" y="117"/>
                    <a:pt x="63" y="118"/>
                    <a:pt x="64" y="119"/>
                  </a:cubicBezTo>
                  <a:cubicBezTo>
                    <a:pt x="67" y="121"/>
                    <a:pt x="69" y="123"/>
                    <a:pt x="71" y="126"/>
                  </a:cubicBezTo>
                  <a:cubicBezTo>
                    <a:pt x="72" y="128"/>
                    <a:pt x="72" y="129"/>
                    <a:pt x="71" y="130"/>
                  </a:cubicBezTo>
                  <a:cubicBezTo>
                    <a:pt x="71" y="132"/>
                    <a:pt x="70" y="129"/>
                    <a:pt x="70" y="128"/>
                  </a:cubicBezTo>
                  <a:cubicBezTo>
                    <a:pt x="70" y="127"/>
                    <a:pt x="68" y="126"/>
                    <a:pt x="67" y="125"/>
                  </a:cubicBezTo>
                  <a:cubicBezTo>
                    <a:pt x="67" y="124"/>
                    <a:pt x="65" y="122"/>
                    <a:pt x="64" y="122"/>
                  </a:cubicBezTo>
                  <a:cubicBezTo>
                    <a:pt x="62" y="122"/>
                    <a:pt x="64" y="126"/>
                    <a:pt x="64" y="127"/>
                  </a:cubicBezTo>
                  <a:cubicBezTo>
                    <a:pt x="65" y="130"/>
                    <a:pt x="64" y="132"/>
                    <a:pt x="64" y="135"/>
                  </a:cubicBezTo>
                  <a:cubicBezTo>
                    <a:pt x="63" y="137"/>
                    <a:pt x="64" y="139"/>
                    <a:pt x="63" y="140"/>
                  </a:cubicBezTo>
                  <a:cubicBezTo>
                    <a:pt x="62" y="142"/>
                    <a:pt x="61" y="143"/>
                    <a:pt x="60" y="144"/>
                  </a:cubicBezTo>
                  <a:cubicBezTo>
                    <a:pt x="59" y="148"/>
                    <a:pt x="60" y="152"/>
                    <a:pt x="58" y="155"/>
                  </a:cubicBezTo>
                  <a:cubicBezTo>
                    <a:pt x="58" y="157"/>
                    <a:pt x="57" y="159"/>
                    <a:pt x="57" y="160"/>
                  </a:cubicBezTo>
                  <a:cubicBezTo>
                    <a:pt x="56" y="162"/>
                    <a:pt x="55" y="163"/>
                    <a:pt x="54" y="164"/>
                  </a:cubicBezTo>
                  <a:cubicBezTo>
                    <a:pt x="55" y="165"/>
                    <a:pt x="57" y="166"/>
                    <a:pt x="57" y="168"/>
                  </a:cubicBezTo>
                  <a:cubicBezTo>
                    <a:pt x="58" y="169"/>
                    <a:pt x="58" y="171"/>
                    <a:pt x="59" y="172"/>
                  </a:cubicBezTo>
                  <a:cubicBezTo>
                    <a:pt x="61" y="173"/>
                    <a:pt x="63" y="173"/>
                    <a:pt x="64" y="174"/>
                  </a:cubicBezTo>
                  <a:cubicBezTo>
                    <a:pt x="66" y="174"/>
                    <a:pt x="68" y="174"/>
                    <a:pt x="70" y="175"/>
                  </a:cubicBezTo>
                  <a:cubicBezTo>
                    <a:pt x="72" y="176"/>
                    <a:pt x="74" y="177"/>
                    <a:pt x="76" y="177"/>
                  </a:cubicBezTo>
                  <a:cubicBezTo>
                    <a:pt x="78" y="177"/>
                    <a:pt x="80" y="178"/>
                    <a:pt x="82" y="179"/>
                  </a:cubicBezTo>
                  <a:cubicBezTo>
                    <a:pt x="83" y="180"/>
                    <a:pt x="85" y="180"/>
                    <a:pt x="87" y="180"/>
                  </a:cubicBezTo>
                  <a:cubicBezTo>
                    <a:pt x="88" y="180"/>
                    <a:pt x="91" y="181"/>
                    <a:pt x="92" y="179"/>
                  </a:cubicBezTo>
                  <a:cubicBezTo>
                    <a:pt x="92" y="178"/>
                    <a:pt x="92" y="177"/>
                    <a:pt x="94" y="177"/>
                  </a:cubicBezTo>
                  <a:cubicBezTo>
                    <a:pt x="96" y="177"/>
                    <a:pt x="98" y="178"/>
                    <a:pt x="100" y="179"/>
                  </a:cubicBezTo>
                  <a:cubicBezTo>
                    <a:pt x="102" y="180"/>
                    <a:pt x="104" y="181"/>
                    <a:pt x="106" y="182"/>
                  </a:cubicBezTo>
                  <a:cubicBezTo>
                    <a:pt x="108" y="183"/>
                    <a:pt x="110" y="182"/>
                    <a:pt x="112" y="183"/>
                  </a:cubicBezTo>
                  <a:cubicBezTo>
                    <a:pt x="117" y="183"/>
                    <a:pt x="119" y="187"/>
                    <a:pt x="123" y="187"/>
                  </a:cubicBezTo>
                  <a:cubicBezTo>
                    <a:pt x="128" y="187"/>
                    <a:pt x="133" y="186"/>
                    <a:pt x="137" y="185"/>
                  </a:cubicBezTo>
                  <a:cubicBezTo>
                    <a:pt x="136" y="184"/>
                    <a:pt x="136" y="182"/>
                    <a:pt x="136" y="181"/>
                  </a:cubicBezTo>
                  <a:cubicBezTo>
                    <a:pt x="135" y="180"/>
                    <a:pt x="135" y="179"/>
                    <a:pt x="134" y="178"/>
                  </a:cubicBezTo>
                  <a:cubicBezTo>
                    <a:pt x="133" y="175"/>
                    <a:pt x="136" y="173"/>
                    <a:pt x="138" y="171"/>
                  </a:cubicBezTo>
                  <a:cubicBezTo>
                    <a:pt x="140" y="169"/>
                    <a:pt x="142" y="168"/>
                    <a:pt x="144" y="167"/>
                  </a:cubicBezTo>
                  <a:cubicBezTo>
                    <a:pt x="145" y="166"/>
                    <a:pt x="146" y="166"/>
                    <a:pt x="147" y="165"/>
                  </a:cubicBezTo>
                  <a:cubicBezTo>
                    <a:pt x="148" y="165"/>
                    <a:pt x="150" y="163"/>
                    <a:pt x="151" y="163"/>
                  </a:cubicBezTo>
                  <a:cubicBezTo>
                    <a:pt x="152" y="163"/>
                    <a:pt x="153" y="164"/>
                    <a:pt x="154" y="164"/>
                  </a:cubicBezTo>
                  <a:cubicBezTo>
                    <a:pt x="155" y="164"/>
                    <a:pt x="156" y="165"/>
                    <a:pt x="158" y="165"/>
                  </a:cubicBezTo>
                  <a:cubicBezTo>
                    <a:pt x="159" y="165"/>
                    <a:pt x="160" y="164"/>
                    <a:pt x="161" y="164"/>
                  </a:cubicBezTo>
                  <a:cubicBezTo>
                    <a:pt x="163" y="164"/>
                    <a:pt x="164" y="165"/>
                    <a:pt x="166" y="165"/>
                  </a:cubicBezTo>
                  <a:cubicBezTo>
                    <a:pt x="168" y="165"/>
                    <a:pt x="170" y="167"/>
                    <a:pt x="172" y="168"/>
                  </a:cubicBezTo>
                  <a:cubicBezTo>
                    <a:pt x="174" y="170"/>
                    <a:pt x="177" y="169"/>
                    <a:pt x="179" y="171"/>
                  </a:cubicBezTo>
                  <a:cubicBezTo>
                    <a:pt x="180" y="172"/>
                    <a:pt x="183" y="173"/>
                    <a:pt x="185" y="173"/>
                  </a:cubicBezTo>
                  <a:cubicBezTo>
                    <a:pt x="186" y="173"/>
                    <a:pt x="187" y="173"/>
                    <a:pt x="188" y="173"/>
                  </a:cubicBezTo>
                  <a:cubicBezTo>
                    <a:pt x="190" y="172"/>
                    <a:pt x="191" y="171"/>
                    <a:pt x="192" y="170"/>
                  </a:cubicBezTo>
                  <a:cubicBezTo>
                    <a:pt x="194" y="168"/>
                    <a:pt x="196" y="166"/>
                    <a:pt x="198" y="165"/>
                  </a:cubicBezTo>
                  <a:cubicBezTo>
                    <a:pt x="201" y="163"/>
                    <a:pt x="204" y="162"/>
                    <a:pt x="207" y="161"/>
                  </a:cubicBezTo>
                  <a:cubicBezTo>
                    <a:pt x="208" y="160"/>
                    <a:pt x="208" y="160"/>
                    <a:pt x="208" y="159"/>
                  </a:cubicBezTo>
                  <a:cubicBezTo>
                    <a:pt x="209" y="159"/>
                    <a:pt x="209" y="158"/>
                    <a:pt x="209" y="157"/>
                  </a:cubicBezTo>
                  <a:cubicBezTo>
                    <a:pt x="210" y="156"/>
                    <a:pt x="211" y="155"/>
                    <a:pt x="211" y="153"/>
                  </a:cubicBezTo>
                  <a:cubicBezTo>
                    <a:pt x="212" y="151"/>
                    <a:pt x="207" y="150"/>
                    <a:pt x="205" y="149"/>
                  </a:cubicBezTo>
                  <a:cubicBezTo>
                    <a:pt x="203" y="149"/>
                    <a:pt x="200" y="148"/>
                    <a:pt x="199" y="146"/>
                  </a:cubicBezTo>
                  <a:cubicBezTo>
                    <a:pt x="197" y="145"/>
                    <a:pt x="199" y="142"/>
                    <a:pt x="199" y="140"/>
                  </a:cubicBezTo>
                  <a:cubicBezTo>
                    <a:pt x="199" y="139"/>
                    <a:pt x="200" y="138"/>
                    <a:pt x="199" y="137"/>
                  </a:cubicBezTo>
                  <a:cubicBezTo>
                    <a:pt x="199" y="135"/>
                    <a:pt x="198" y="134"/>
                    <a:pt x="198" y="133"/>
                  </a:cubicBezTo>
                  <a:cubicBezTo>
                    <a:pt x="197" y="132"/>
                    <a:pt x="198" y="130"/>
                    <a:pt x="198" y="129"/>
                  </a:cubicBezTo>
                  <a:cubicBezTo>
                    <a:pt x="199" y="128"/>
                    <a:pt x="201" y="128"/>
                    <a:pt x="202" y="127"/>
                  </a:cubicBezTo>
                  <a:cubicBezTo>
                    <a:pt x="203" y="125"/>
                    <a:pt x="201" y="122"/>
                    <a:pt x="201" y="121"/>
                  </a:cubicBezTo>
                  <a:cubicBezTo>
                    <a:pt x="200" y="120"/>
                    <a:pt x="199" y="119"/>
                    <a:pt x="199" y="118"/>
                  </a:cubicBezTo>
                  <a:cubicBezTo>
                    <a:pt x="198" y="117"/>
                    <a:pt x="199" y="115"/>
                    <a:pt x="199" y="114"/>
                  </a:cubicBezTo>
                  <a:cubicBezTo>
                    <a:pt x="200" y="111"/>
                    <a:pt x="198" y="109"/>
                    <a:pt x="198" y="107"/>
                  </a:cubicBezTo>
                  <a:cubicBezTo>
                    <a:pt x="198" y="104"/>
                    <a:pt x="197" y="103"/>
                    <a:pt x="194" y="104"/>
                  </a:cubicBezTo>
                  <a:cubicBezTo>
                    <a:pt x="192" y="104"/>
                    <a:pt x="190" y="106"/>
                    <a:pt x="188" y="107"/>
                  </a:cubicBezTo>
                  <a:cubicBezTo>
                    <a:pt x="185" y="108"/>
                    <a:pt x="183" y="106"/>
                    <a:pt x="184" y="103"/>
                  </a:cubicBezTo>
                  <a:cubicBezTo>
                    <a:pt x="185" y="101"/>
                    <a:pt x="186" y="98"/>
                    <a:pt x="187" y="97"/>
                  </a:cubicBezTo>
                  <a:cubicBezTo>
                    <a:pt x="188" y="95"/>
                    <a:pt x="189" y="95"/>
                    <a:pt x="190" y="94"/>
                  </a:cubicBezTo>
                  <a:cubicBezTo>
                    <a:pt x="191" y="92"/>
                    <a:pt x="191" y="91"/>
                    <a:pt x="192" y="90"/>
                  </a:cubicBezTo>
                  <a:cubicBezTo>
                    <a:pt x="194" y="88"/>
                    <a:pt x="197" y="87"/>
                    <a:pt x="199" y="85"/>
                  </a:cubicBezTo>
                  <a:cubicBezTo>
                    <a:pt x="200" y="83"/>
                    <a:pt x="201" y="80"/>
                    <a:pt x="203" y="79"/>
                  </a:cubicBezTo>
                  <a:cubicBezTo>
                    <a:pt x="206" y="79"/>
                    <a:pt x="207" y="80"/>
                    <a:pt x="209" y="79"/>
                  </a:cubicBezTo>
                  <a:cubicBezTo>
                    <a:pt x="210" y="79"/>
                    <a:pt x="211" y="78"/>
                    <a:pt x="211" y="78"/>
                  </a:cubicBezTo>
                  <a:cubicBezTo>
                    <a:pt x="210" y="76"/>
                    <a:pt x="210" y="75"/>
                    <a:pt x="210" y="73"/>
                  </a:cubicBezTo>
                  <a:cubicBezTo>
                    <a:pt x="209" y="70"/>
                    <a:pt x="210" y="67"/>
                    <a:pt x="210" y="65"/>
                  </a:cubicBezTo>
                  <a:cubicBezTo>
                    <a:pt x="210" y="62"/>
                    <a:pt x="211" y="59"/>
                    <a:pt x="213" y="57"/>
                  </a:cubicBezTo>
                  <a:cubicBezTo>
                    <a:pt x="215" y="55"/>
                    <a:pt x="217" y="54"/>
                    <a:pt x="218" y="52"/>
                  </a:cubicBezTo>
                  <a:cubicBezTo>
                    <a:pt x="219" y="51"/>
                    <a:pt x="219" y="50"/>
                    <a:pt x="219" y="49"/>
                  </a:cubicBezTo>
                  <a:cubicBezTo>
                    <a:pt x="219" y="48"/>
                    <a:pt x="217" y="49"/>
                    <a:pt x="217" y="49"/>
                  </a:cubicBezTo>
                  <a:cubicBezTo>
                    <a:pt x="215" y="48"/>
                    <a:pt x="214" y="48"/>
                    <a:pt x="213" y="48"/>
                  </a:cubicBezTo>
                  <a:cubicBezTo>
                    <a:pt x="212" y="47"/>
                    <a:pt x="211" y="46"/>
                    <a:pt x="210" y="46"/>
                  </a:cubicBezTo>
                  <a:cubicBezTo>
                    <a:pt x="208" y="44"/>
                    <a:pt x="205" y="46"/>
                    <a:pt x="203" y="46"/>
                  </a:cubicBezTo>
                  <a:cubicBezTo>
                    <a:pt x="200" y="46"/>
                    <a:pt x="198" y="45"/>
                    <a:pt x="196" y="43"/>
                  </a:cubicBezTo>
                  <a:cubicBezTo>
                    <a:pt x="194" y="41"/>
                    <a:pt x="192" y="38"/>
                    <a:pt x="189" y="38"/>
                  </a:cubicBezTo>
                  <a:cubicBezTo>
                    <a:pt x="186" y="38"/>
                    <a:pt x="184" y="38"/>
                    <a:pt x="181" y="37"/>
                  </a:cubicBezTo>
                  <a:cubicBezTo>
                    <a:pt x="178" y="37"/>
                    <a:pt x="176" y="37"/>
                    <a:pt x="173" y="35"/>
                  </a:cubicBezTo>
                  <a:cubicBezTo>
                    <a:pt x="171" y="34"/>
                    <a:pt x="169" y="32"/>
                    <a:pt x="167" y="30"/>
                  </a:cubicBezTo>
                  <a:cubicBezTo>
                    <a:pt x="165" y="29"/>
                    <a:pt x="165" y="27"/>
                    <a:pt x="164" y="24"/>
                  </a:cubicBezTo>
                  <a:cubicBezTo>
                    <a:pt x="164" y="22"/>
                    <a:pt x="162" y="24"/>
                    <a:pt x="161" y="25"/>
                  </a:cubicBezTo>
                  <a:cubicBezTo>
                    <a:pt x="159" y="26"/>
                    <a:pt x="157" y="27"/>
                    <a:pt x="155" y="27"/>
                  </a:cubicBezTo>
                  <a:cubicBezTo>
                    <a:pt x="154" y="27"/>
                    <a:pt x="152" y="26"/>
                    <a:pt x="152" y="25"/>
                  </a:cubicBezTo>
                  <a:cubicBezTo>
                    <a:pt x="152" y="23"/>
                    <a:pt x="153" y="19"/>
                    <a:pt x="150" y="19"/>
                  </a:cubicBezTo>
                  <a:cubicBezTo>
                    <a:pt x="148" y="19"/>
                    <a:pt x="146" y="20"/>
                    <a:pt x="144" y="18"/>
                  </a:cubicBezTo>
                  <a:cubicBezTo>
                    <a:pt x="144" y="18"/>
                    <a:pt x="143" y="17"/>
                    <a:pt x="143" y="16"/>
                  </a:cubicBezTo>
                  <a:cubicBezTo>
                    <a:pt x="143" y="15"/>
                    <a:pt x="143" y="15"/>
                    <a:pt x="142" y="15"/>
                  </a:cubicBezTo>
                  <a:cubicBezTo>
                    <a:pt x="140" y="15"/>
                    <a:pt x="139" y="15"/>
                    <a:pt x="138" y="14"/>
                  </a:cubicBezTo>
                  <a:cubicBezTo>
                    <a:pt x="137" y="13"/>
                    <a:pt x="138" y="11"/>
                    <a:pt x="137" y="10"/>
                  </a:cubicBezTo>
                  <a:cubicBezTo>
                    <a:pt x="136" y="8"/>
                    <a:pt x="135" y="9"/>
                    <a:pt x="133" y="9"/>
                  </a:cubicBezTo>
                  <a:cubicBezTo>
                    <a:pt x="131" y="10"/>
                    <a:pt x="129" y="8"/>
                    <a:pt x="128" y="7"/>
                  </a:cubicBezTo>
                  <a:cubicBezTo>
                    <a:pt x="127" y="5"/>
                    <a:pt x="126" y="3"/>
                    <a:pt x="125" y="1"/>
                  </a:cubicBezTo>
                  <a:cubicBezTo>
                    <a:pt x="125" y="0"/>
                    <a:pt x="125" y="0"/>
                    <a:pt x="125" y="0"/>
                  </a:cubicBezTo>
                  <a:cubicBezTo>
                    <a:pt x="124" y="1"/>
                    <a:pt x="123" y="1"/>
                    <a:pt x="122" y="1"/>
                  </a:cubicBezTo>
                  <a:cubicBezTo>
                    <a:pt x="121" y="1"/>
                    <a:pt x="120" y="2"/>
                    <a:pt x="119" y="2"/>
                  </a:cubicBezTo>
                  <a:cubicBezTo>
                    <a:pt x="117" y="3"/>
                    <a:pt x="114" y="3"/>
                    <a:pt x="112" y="4"/>
                  </a:cubicBezTo>
                  <a:cubicBezTo>
                    <a:pt x="110" y="4"/>
                    <a:pt x="109" y="5"/>
                    <a:pt x="109" y="6"/>
                  </a:cubicBezTo>
                  <a:cubicBezTo>
                    <a:pt x="109" y="6"/>
                    <a:pt x="109" y="6"/>
                    <a:pt x="109" y="6"/>
                  </a:cubicBezTo>
                  <a:cubicBezTo>
                    <a:pt x="109" y="9"/>
                    <a:pt x="109" y="6"/>
                    <a:pt x="109" y="6"/>
                  </a:cubicBezTo>
                  <a:close/>
                  <a:moveTo>
                    <a:pt x="48" y="44"/>
                  </a:moveTo>
                  <a:cubicBezTo>
                    <a:pt x="49" y="42"/>
                    <a:pt x="47" y="41"/>
                    <a:pt x="46" y="41"/>
                  </a:cubicBezTo>
                  <a:cubicBezTo>
                    <a:pt x="45" y="41"/>
                    <a:pt x="42" y="42"/>
                    <a:pt x="44" y="43"/>
                  </a:cubicBezTo>
                  <a:cubicBezTo>
                    <a:pt x="45" y="44"/>
                    <a:pt x="48" y="45"/>
                    <a:pt x="49" y="43"/>
                  </a:cubicBezTo>
                  <a:cubicBezTo>
                    <a:pt x="48" y="43"/>
                    <a:pt x="48" y="43"/>
                    <a:pt x="48" y="44"/>
                  </a:cubicBezTo>
                  <a:cubicBezTo>
                    <a:pt x="49" y="43"/>
                    <a:pt x="48" y="44"/>
                    <a:pt x="48" y="44"/>
                  </a:cubicBezTo>
                  <a:close/>
                  <a:moveTo>
                    <a:pt x="41" y="36"/>
                  </a:moveTo>
                  <a:cubicBezTo>
                    <a:pt x="42" y="35"/>
                    <a:pt x="41" y="34"/>
                    <a:pt x="40" y="34"/>
                  </a:cubicBezTo>
                  <a:cubicBezTo>
                    <a:pt x="39" y="35"/>
                    <a:pt x="38" y="36"/>
                    <a:pt x="37" y="37"/>
                  </a:cubicBezTo>
                  <a:cubicBezTo>
                    <a:pt x="36" y="38"/>
                    <a:pt x="37" y="38"/>
                    <a:pt x="39" y="38"/>
                  </a:cubicBezTo>
                  <a:cubicBezTo>
                    <a:pt x="40" y="38"/>
                    <a:pt x="41" y="37"/>
                    <a:pt x="42" y="36"/>
                  </a:cubicBezTo>
                  <a:cubicBezTo>
                    <a:pt x="42" y="36"/>
                    <a:pt x="42" y="36"/>
                    <a:pt x="41" y="36"/>
                  </a:cubicBezTo>
                  <a:cubicBezTo>
                    <a:pt x="42" y="35"/>
                    <a:pt x="41" y="36"/>
                    <a:pt x="41" y="36"/>
                  </a:cubicBezTo>
                  <a:close/>
                  <a:moveTo>
                    <a:pt x="57" y="108"/>
                  </a:moveTo>
                  <a:cubicBezTo>
                    <a:pt x="57" y="108"/>
                    <a:pt x="59" y="109"/>
                    <a:pt x="59" y="108"/>
                  </a:cubicBezTo>
                  <a:cubicBezTo>
                    <a:pt x="59" y="107"/>
                    <a:pt x="57" y="106"/>
                    <a:pt x="57" y="106"/>
                  </a:cubicBezTo>
                  <a:cubicBezTo>
                    <a:pt x="56" y="105"/>
                    <a:pt x="55" y="105"/>
                    <a:pt x="55" y="106"/>
                  </a:cubicBezTo>
                  <a:cubicBezTo>
                    <a:pt x="55" y="107"/>
                    <a:pt x="56" y="107"/>
                    <a:pt x="57" y="108"/>
                  </a:cubicBezTo>
                  <a:cubicBezTo>
                    <a:pt x="57" y="108"/>
                    <a:pt x="57" y="108"/>
                    <a:pt x="57" y="108"/>
                  </a:cubicBezTo>
                  <a:cubicBezTo>
                    <a:pt x="57" y="108"/>
                    <a:pt x="57" y="108"/>
                    <a:pt x="57" y="108"/>
                  </a:cubicBezTo>
                  <a:close/>
                  <a:moveTo>
                    <a:pt x="44" y="98"/>
                  </a:moveTo>
                  <a:cubicBezTo>
                    <a:pt x="44" y="96"/>
                    <a:pt x="44" y="95"/>
                    <a:pt x="42" y="95"/>
                  </a:cubicBezTo>
                  <a:cubicBezTo>
                    <a:pt x="41" y="95"/>
                    <a:pt x="39" y="96"/>
                    <a:pt x="40" y="97"/>
                  </a:cubicBezTo>
                  <a:cubicBezTo>
                    <a:pt x="41" y="99"/>
                    <a:pt x="44" y="99"/>
                    <a:pt x="44" y="97"/>
                  </a:cubicBezTo>
                  <a:cubicBezTo>
                    <a:pt x="44" y="97"/>
                    <a:pt x="44" y="97"/>
                    <a:pt x="44" y="98"/>
                  </a:cubicBezTo>
                  <a:cubicBezTo>
                    <a:pt x="44" y="96"/>
                    <a:pt x="44" y="98"/>
                    <a:pt x="44" y="98"/>
                  </a:cubicBezTo>
                  <a:close/>
                  <a:moveTo>
                    <a:pt x="28" y="85"/>
                  </a:moveTo>
                  <a:cubicBezTo>
                    <a:pt x="29" y="87"/>
                    <a:pt x="30" y="86"/>
                    <a:pt x="31" y="85"/>
                  </a:cubicBezTo>
                  <a:cubicBezTo>
                    <a:pt x="31" y="83"/>
                    <a:pt x="30" y="82"/>
                    <a:pt x="28" y="82"/>
                  </a:cubicBezTo>
                  <a:cubicBezTo>
                    <a:pt x="27" y="81"/>
                    <a:pt x="26" y="81"/>
                    <a:pt x="26" y="82"/>
                  </a:cubicBezTo>
                  <a:cubicBezTo>
                    <a:pt x="26" y="83"/>
                    <a:pt x="27" y="83"/>
                    <a:pt x="28" y="84"/>
                  </a:cubicBezTo>
                  <a:cubicBezTo>
                    <a:pt x="28" y="85"/>
                    <a:pt x="28" y="85"/>
                    <a:pt x="29" y="86"/>
                  </a:cubicBezTo>
                  <a:cubicBezTo>
                    <a:pt x="29" y="86"/>
                    <a:pt x="28" y="85"/>
                    <a:pt x="28" y="85"/>
                  </a:cubicBezTo>
                  <a:cubicBezTo>
                    <a:pt x="29" y="87"/>
                    <a:pt x="28" y="85"/>
                    <a:pt x="28" y="85"/>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80" name="Freeform 438">
              <a:extLst>
                <a:ext uri="{FF2B5EF4-FFF2-40B4-BE49-F238E27FC236}">
                  <a16:creationId xmlns:a16="http://schemas.microsoft.com/office/drawing/2014/main" id="{6E6B96D7-3475-8F01-7D7C-7DCAA67C269E}"/>
                </a:ext>
              </a:extLst>
            </p:cNvPr>
            <p:cNvSpPr/>
            <p:nvPr>
              <p:custDataLst>
                <p:tags r:id="rId272"/>
              </p:custDataLst>
            </p:nvPr>
          </p:nvSpPr>
          <p:spPr bwMode="auto">
            <a:xfrm>
              <a:off x="5991225" y="3132139"/>
              <a:ext cx="33337" cy="65088"/>
            </a:xfrm>
            <a:custGeom>
              <a:avLst/>
              <a:gdLst>
                <a:gd name="T0" fmla="*/ 13 w 18"/>
                <a:gd name="T1" fmla="*/ 8 h 35"/>
                <a:gd name="T2" fmla="*/ 8 w 18"/>
                <a:gd name="T3" fmla="*/ 9 h 35"/>
                <a:gd name="T4" fmla="*/ 4 w 18"/>
                <a:gd name="T5" fmla="*/ 13 h 35"/>
                <a:gd name="T6" fmla="*/ 3 w 18"/>
                <a:gd name="T7" fmla="*/ 22 h 35"/>
                <a:gd name="T8" fmla="*/ 5 w 18"/>
                <a:gd name="T9" fmla="*/ 23 h 35"/>
                <a:gd name="T10" fmla="*/ 4 w 18"/>
                <a:gd name="T11" fmla="*/ 25 h 35"/>
                <a:gd name="T12" fmla="*/ 4 w 18"/>
                <a:gd name="T13" fmla="*/ 27 h 35"/>
                <a:gd name="T14" fmla="*/ 6 w 18"/>
                <a:gd name="T15" fmla="*/ 29 h 35"/>
                <a:gd name="T16" fmla="*/ 7 w 18"/>
                <a:gd name="T17" fmla="*/ 33 h 35"/>
                <a:gd name="T18" fmla="*/ 11 w 18"/>
                <a:gd name="T19" fmla="*/ 34 h 35"/>
                <a:gd name="T20" fmla="*/ 13 w 18"/>
                <a:gd name="T21" fmla="*/ 32 h 35"/>
                <a:gd name="T22" fmla="*/ 15 w 18"/>
                <a:gd name="T23" fmla="*/ 26 h 35"/>
                <a:gd name="T24" fmla="*/ 18 w 18"/>
                <a:gd name="T25" fmla="*/ 20 h 35"/>
                <a:gd name="T26" fmla="*/ 18 w 18"/>
                <a:gd name="T27" fmla="*/ 13 h 35"/>
                <a:gd name="T28" fmla="*/ 18 w 18"/>
                <a:gd name="T29" fmla="*/ 5 h 35"/>
                <a:gd name="T30" fmla="*/ 15 w 18"/>
                <a:gd name="T31" fmla="*/ 2 h 35"/>
                <a:gd name="T32" fmla="*/ 12 w 18"/>
                <a:gd name="T33" fmla="*/ 8 h 35"/>
                <a:gd name="T34" fmla="*/ 13 w 18"/>
                <a:gd name="T35" fmla="*/ 8 h 35"/>
                <a:gd name="T36" fmla="*/ 13 w 18"/>
                <a:gd name="T37"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35">
                  <a:moveTo>
                    <a:pt x="13" y="8"/>
                  </a:moveTo>
                  <a:cubicBezTo>
                    <a:pt x="11" y="8"/>
                    <a:pt x="10" y="7"/>
                    <a:pt x="8" y="9"/>
                  </a:cubicBezTo>
                  <a:cubicBezTo>
                    <a:pt x="7" y="11"/>
                    <a:pt x="5" y="11"/>
                    <a:pt x="4" y="13"/>
                  </a:cubicBezTo>
                  <a:cubicBezTo>
                    <a:pt x="2" y="15"/>
                    <a:pt x="0" y="20"/>
                    <a:pt x="3" y="22"/>
                  </a:cubicBezTo>
                  <a:cubicBezTo>
                    <a:pt x="3" y="22"/>
                    <a:pt x="4" y="22"/>
                    <a:pt x="5" y="23"/>
                  </a:cubicBezTo>
                  <a:cubicBezTo>
                    <a:pt x="5" y="24"/>
                    <a:pt x="5" y="25"/>
                    <a:pt x="4" y="25"/>
                  </a:cubicBezTo>
                  <a:cubicBezTo>
                    <a:pt x="4" y="26"/>
                    <a:pt x="3" y="27"/>
                    <a:pt x="4" y="27"/>
                  </a:cubicBezTo>
                  <a:cubicBezTo>
                    <a:pt x="4" y="28"/>
                    <a:pt x="5" y="29"/>
                    <a:pt x="6" y="29"/>
                  </a:cubicBezTo>
                  <a:cubicBezTo>
                    <a:pt x="7" y="31"/>
                    <a:pt x="5" y="32"/>
                    <a:pt x="7" y="33"/>
                  </a:cubicBezTo>
                  <a:cubicBezTo>
                    <a:pt x="9" y="33"/>
                    <a:pt x="10" y="33"/>
                    <a:pt x="11" y="34"/>
                  </a:cubicBezTo>
                  <a:cubicBezTo>
                    <a:pt x="12" y="35"/>
                    <a:pt x="13" y="34"/>
                    <a:pt x="13" y="32"/>
                  </a:cubicBezTo>
                  <a:cubicBezTo>
                    <a:pt x="13" y="30"/>
                    <a:pt x="13" y="28"/>
                    <a:pt x="15" y="26"/>
                  </a:cubicBezTo>
                  <a:cubicBezTo>
                    <a:pt x="16" y="24"/>
                    <a:pt x="17" y="22"/>
                    <a:pt x="18" y="20"/>
                  </a:cubicBezTo>
                  <a:cubicBezTo>
                    <a:pt x="18" y="17"/>
                    <a:pt x="18" y="15"/>
                    <a:pt x="18" y="13"/>
                  </a:cubicBezTo>
                  <a:cubicBezTo>
                    <a:pt x="17" y="10"/>
                    <a:pt x="18" y="8"/>
                    <a:pt x="18" y="5"/>
                  </a:cubicBezTo>
                  <a:cubicBezTo>
                    <a:pt x="18" y="4"/>
                    <a:pt x="17" y="0"/>
                    <a:pt x="15" y="2"/>
                  </a:cubicBezTo>
                  <a:cubicBezTo>
                    <a:pt x="14" y="4"/>
                    <a:pt x="17" y="9"/>
                    <a:pt x="12" y="8"/>
                  </a:cubicBezTo>
                  <a:cubicBezTo>
                    <a:pt x="13" y="8"/>
                    <a:pt x="13" y="8"/>
                    <a:pt x="13" y="8"/>
                  </a:cubicBezTo>
                  <a:cubicBezTo>
                    <a:pt x="12" y="8"/>
                    <a:pt x="13" y="8"/>
                    <a:pt x="13" y="8"/>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sp>
        <p:nvSpPr>
          <p:cNvPr id="181" name="Freeform 439">
            <a:extLst>
              <a:ext uri="{FF2B5EF4-FFF2-40B4-BE49-F238E27FC236}">
                <a16:creationId xmlns:a16="http://schemas.microsoft.com/office/drawing/2014/main" id="{974F94EC-16E6-3E6B-544D-142271109EB9}"/>
              </a:ext>
            </a:extLst>
          </p:cNvPr>
          <p:cNvSpPr/>
          <p:nvPr>
            <p:custDataLst>
              <p:tags r:id="rId110"/>
            </p:custDataLst>
          </p:nvPr>
        </p:nvSpPr>
        <p:spPr bwMode="auto">
          <a:xfrm>
            <a:off x="4850615" y="3288792"/>
            <a:ext cx="331360" cy="281306"/>
          </a:xfrm>
          <a:custGeom>
            <a:avLst/>
            <a:gdLst>
              <a:gd name="T0" fmla="*/ 243 w 284"/>
              <a:gd name="T1" fmla="*/ 9 h 240"/>
              <a:gd name="T2" fmla="*/ 237 w 284"/>
              <a:gd name="T3" fmla="*/ 2 h 240"/>
              <a:gd name="T4" fmla="*/ 223 w 284"/>
              <a:gd name="T5" fmla="*/ 10 h 240"/>
              <a:gd name="T6" fmla="*/ 209 w 284"/>
              <a:gd name="T7" fmla="*/ 21 h 240"/>
              <a:gd name="T8" fmla="*/ 192 w 284"/>
              <a:gd name="T9" fmla="*/ 20 h 240"/>
              <a:gd name="T10" fmla="*/ 161 w 284"/>
              <a:gd name="T11" fmla="*/ 16 h 240"/>
              <a:gd name="T12" fmla="*/ 125 w 284"/>
              <a:gd name="T13" fmla="*/ 19 h 240"/>
              <a:gd name="T14" fmla="*/ 55 w 284"/>
              <a:gd name="T15" fmla="*/ 19 h 240"/>
              <a:gd name="T16" fmla="*/ 54 w 284"/>
              <a:gd name="T17" fmla="*/ 43 h 240"/>
              <a:gd name="T18" fmla="*/ 45 w 284"/>
              <a:gd name="T19" fmla="*/ 57 h 240"/>
              <a:gd name="T20" fmla="*/ 37 w 284"/>
              <a:gd name="T21" fmla="*/ 76 h 240"/>
              <a:gd name="T22" fmla="*/ 37 w 284"/>
              <a:gd name="T23" fmla="*/ 126 h 240"/>
              <a:gd name="T24" fmla="*/ 20 w 284"/>
              <a:gd name="T25" fmla="*/ 134 h 240"/>
              <a:gd name="T26" fmla="*/ 12 w 284"/>
              <a:gd name="T27" fmla="*/ 156 h 240"/>
              <a:gd name="T28" fmla="*/ 8 w 284"/>
              <a:gd name="T29" fmla="*/ 172 h 240"/>
              <a:gd name="T30" fmla="*/ 1 w 284"/>
              <a:gd name="T31" fmla="*/ 182 h 240"/>
              <a:gd name="T32" fmla="*/ 10 w 284"/>
              <a:gd name="T33" fmla="*/ 188 h 240"/>
              <a:gd name="T34" fmla="*/ 18 w 284"/>
              <a:gd name="T35" fmla="*/ 204 h 240"/>
              <a:gd name="T36" fmla="*/ 28 w 284"/>
              <a:gd name="T37" fmla="*/ 225 h 240"/>
              <a:gd name="T38" fmla="*/ 37 w 284"/>
              <a:gd name="T39" fmla="*/ 233 h 240"/>
              <a:gd name="T40" fmla="*/ 53 w 284"/>
              <a:gd name="T41" fmla="*/ 226 h 240"/>
              <a:gd name="T42" fmla="*/ 69 w 284"/>
              <a:gd name="T43" fmla="*/ 222 h 240"/>
              <a:gd name="T44" fmla="*/ 88 w 284"/>
              <a:gd name="T45" fmla="*/ 235 h 240"/>
              <a:gd name="T46" fmla="*/ 109 w 284"/>
              <a:gd name="T47" fmla="*/ 239 h 240"/>
              <a:gd name="T48" fmla="*/ 128 w 284"/>
              <a:gd name="T49" fmla="*/ 232 h 240"/>
              <a:gd name="T50" fmla="*/ 138 w 284"/>
              <a:gd name="T51" fmla="*/ 224 h 240"/>
              <a:gd name="T52" fmla="*/ 159 w 284"/>
              <a:gd name="T53" fmla="*/ 231 h 240"/>
              <a:gd name="T54" fmla="*/ 178 w 284"/>
              <a:gd name="T55" fmla="*/ 211 h 240"/>
              <a:gd name="T56" fmla="*/ 176 w 284"/>
              <a:gd name="T57" fmla="*/ 198 h 240"/>
              <a:gd name="T58" fmla="*/ 194 w 284"/>
              <a:gd name="T59" fmla="*/ 195 h 240"/>
              <a:gd name="T60" fmla="*/ 201 w 284"/>
              <a:gd name="T61" fmla="*/ 219 h 240"/>
              <a:gd name="T62" fmla="*/ 208 w 284"/>
              <a:gd name="T63" fmla="*/ 234 h 240"/>
              <a:gd name="T64" fmla="*/ 216 w 284"/>
              <a:gd name="T65" fmla="*/ 215 h 240"/>
              <a:gd name="T66" fmla="*/ 226 w 284"/>
              <a:gd name="T67" fmla="*/ 197 h 240"/>
              <a:gd name="T68" fmla="*/ 241 w 284"/>
              <a:gd name="T69" fmla="*/ 182 h 240"/>
              <a:gd name="T70" fmla="*/ 249 w 284"/>
              <a:gd name="T71" fmla="*/ 156 h 240"/>
              <a:gd name="T72" fmla="*/ 254 w 284"/>
              <a:gd name="T73" fmla="*/ 121 h 240"/>
              <a:gd name="T74" fmla="*/ 268 w 284"/>
              <a:gd name="T75" fmla="*/ 103 h 240"/>
              <a:gd name="T76" fmla="*/ 283 w 284"/>
              <a:gd name="T77" fmla="*/ 89 h 240"/>
              <a:gd name="T78" fmla="*/ 263 w 284"/>
              <a:gd name="T79" fmla="*/ 64 h 240"/>
              <a:gd name="T80" fmla="*/ 260 w 284"/>
              <a:gd name="T81" fmla="*/ 37 h 240"/>
              <a:gd name="T82" fmla="*/ 258 w 284"/>
              <a:gd name="T83" fmla="*/ 30 h 240"/>
              <a:gd name="T84" fmla="*/ 256 w 284"/>
              <a:gd name="T85" fmla="*/ 2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4" h="240">
                <a:moveTo>
                  <a:pt x="256" y="20"/>
                </a:moveTo>
                <a:cubicBezTo>
                  <a:pt x="255" y="18"/>
                  <a:pt x="252" y="16"/>
                  <a:pt x="250" y="15"/>
                </a:cubicBezTo>
                <a:cubicBezTo>
                  <a:pt x="247" y="13"/>
                  <a:pt x="245" y="11"/>
                  <a:pt x="243" y="9"/>
                </a:cubicBezTo>
                <a:cubicBezTo>
                  <a:pt x="242" y="8"/>
                  <a:pt x="241" y="7"/>
                  <a:pt x="240" y="7"/>
                </a:cubicBezTo>
                <a:cubicBezTo>
                  <a:pt x="239" y="6"/>
                  <a:pt x="239" y="5"/>
                  <a:pt x="238" y="4"/>
                </a:cubicBezTo>
                <a:cubicBezTo>
                  <a:pt x="237" y="4"/>
                  <a:pt x="237" y="2"/>
                  <a:pt x="237" y="2"/>
                </a:cubicBezTo>
                <a:cubicBezTo>
                  <a:pt x="236" y="0"/>
                  <a:pt x="236" y="0"/>
                  <a:pt x="234" y="1"/>
                </a:cubicBezTo>
                <a:cubicBezTo>
                  <a:pt x="231" y="2"/>
                  <a:pt x="228" y="3"/>
                  <a:pt x="226" y="4"/>
                </a:cubicBezTo>
                <a:cubicBezTo>
                  <a:pt x="224" y="5"/>
                  <a:pt x="224" y="8"/>
                  <a:pt x="223" y="10"/>
                </a:cubicBezTo>
                <a:cubicBezTo>
                  <a:pt x="223" y="12"/>
                  <a:pt x="221" y="13"/>
                  <a:pt x="220" y="14"/>
                </a:cubicBezTo>
                <a:cubicBezTo>
                  <a:pt x="217" y="16"/>
                  <a:pt x="214" y="15"/>
                  <a:pt x="211" y="16"/>
                </a:cubicBezTo>
                <a:cubicBezTo>
                  <a:pt x="210" y="17"/>
                  <a:pt x="210" y="20"/>
                  <a:pt x="209" y="21"/>
                </a:cubicBezTo>
                <a:cubicBezTo>
                  <a:pt x="208" y="24"/>
                  <a:pt x="206" y="25"/>
                  <a:pt x="203" y="25"/>
                </a:cubicBezTo>
                <a:cubicBezTo>
                  <a:pt x="201" y="26"/>
                  <a:pt x="199" y="25"/>
                  <a:pt x="197" y="24"/>
                </a:cubicBezTo>
                <a:cubicBezTo>
                  <a:pt x="195" y="22"/>
                  <a:pt x="194" y="20"/>
                  <a:pt x="192" y="20"/>
                </a:cubicBezTo>
                <a:cubicBezTo>
                  <a:pt x="185" y="20"/>
                  <a:pt x="179" y="20"/>
                  <a:pt x="173" y="20"/>
                </a:cubicBezTo>
                <a:cubicBezTo>
                  <a:pt x="171" y="20"/>
                  <a:pt x="167" y="21"/>
                  <a:pt x="165" y="20"/>
                </a:cubicBezTo>
                <a:cubicBezTo>
                  <a:pt x="163" y="19"/>
                  <a:pt x="163" y="16"/>
                  <a:pt x="161" y="16"/>
                </a:cubicBezTo>
                <a:cubicBezTo>
                  <a:pt x="158" y="17"/>
                  <a:pt x="157" y="18"/>
                  <a:pt x="155" y="18"/>
                </a:cubicBezTo>
                <a:cubicBezTo>
                  <a:pt x="151" y="18"/>
                  <a:pt x="148" y="18"/>
                  <a:pt x="145" y="18"/>
                </a:cubicBezTo>
                <a:cubicBezTo>
                  <a:pt x="138" y="19"/>
                  <a:pt x="131" y="19"/>
                  <a:pt x="125" y="19"/>
                </a:cubicBezTo>
                <a:cubicBezTo>
                  <a:pt x="111" y="19"/>
                  <a:pt x="98" y="19"/>
                  <a:pt x="85" y="19"/>
                </a:cubicBezTo>
                <a:cubicBezTo>
                  <a:pt x="76" y="19"/>
                  <a:pt x="68" y="19"/>
                  <a:pt x="59" y="19"/>
                </a:cubicBezTo>
                <a:cubicBezTo>
                  <a:pt x="58" y="19"/>
                  <a:pt x="56" y="19"/>
                  <a:pt x="55" y="19"/>
                </a:cubicBezTo>
                <a:cubicBezTo>
                  <a:pt x="55" y="19"/>
                  <a:pt x="55" y="19"/>
                  <a:pt x="54" y="19"/>
                </a:cubicBezTo>
                <a:cubicBezTo>
                  <a:pt x="54" y="20"/>
                  <a:pt x="54" y="23"/>
                  <a:pt x="54" y="23"/>
                </a:cubicBezTo>
                <a:cubicBezTo>
                  <a:pt x="54" y="30"/>
                  <a:pt x="54" y="36"/>
                  <a:pt x="54" y="43"/>
                </a:cubicBezTo>
                <a:cubicBezTo>
                  <a:pt x="54" y="46"/>
                  <a:pt x="54" y="48"/>
                  <a:pt x="55" y="51"/>
                </a:cubicBezTo>
                <a:cubicBezTo>
                  <a:pt x="55" y="53"/>
                  <a:pt x="55" y="55"/>
                  <a:pt x="53" y="56"/>
                </a:cubicBezTo>
                <a:cubicBezTo>
                  <a:pt x="50" y="57"/>
                  <a:pt x="47" y="57"/>
                  <a:pt x="45" y="57"/>
                </a:cubicBezTo>
                <a:cubicBezTo>
                  <a:pt x="43" y="56"/>
                  <a:pt x="39" y="56"/>
                  <a:pt x="38" y="58"/>
                </a:cubicBezTo>
                <a:cubicBezTo>
                  <a:pt x="37" y="60"/>
                  <a:pt x="37" y="63"/>
                  <a:pt x="37" y="65"/>
                </a:cubicBezTo>
                <a:cubicBezTo>
                  <a:pt x="37" y="69"/>
                  <a:pt x="37" y="72"/>
                  <a:pt x="37" y="76"/>
                </a:cubicBezTo>
                <a:cubicBezTo>
                  <a:pt x="37" y="82"/>
                  <a:pt x="37" y="89"/>
                  <a:pt x="37" y="96"/>
                </a:cubicBezTo>
                <a:cubicBezTo>
                  <a:pt x="37" y="103"/>
                  <a:pt x="37" y="109"/>
                  <a:pt x="37" y="116"/>
                </a:cubicBezTo>
                <a:cubicBezTo>
                  <a:pt x="37" y="119"/>
                  <a:pt x="37" y="122"/>
                  <a:pt x="37" y="126"/>
                </a:cubicBezTo>
                <a:cubicBezTo>
                  <a:pt x="37" y="128"/>
                  <a:pt x="38" y="131"/>
                  <a:pt x="35" y="131"/>
                </a:cubicBezTo>
                <a:cubicBezTo>
                  <a:pt x="32" y="132"/>
                  <a:pt x="29" y="132"/>
                  <a:pt x="26" y="131"/>
                </a:cubicBezTo>
                <a:cubicBezTo>
                  <a:pt x="23" y="131"/>
                  <a:pt x="21" y="131"/>
                  <a:pt x="20" y="134"/>
                </a:cubicBezTo>
                <a:cubicBezTo>
                  <a:pt x="16" y="138"/>
                  <a:pt x="19" y="145"/>
                  <a:pt x="15" y="148"/>
                </a:cubicBezTo>
                <a:cubicBezTo>
                  <a:pt x="14" y="149"/>
                  <a:pt x="12" y="149"/>
                  <a:pt x="10" y="150"/>
                </a:cubicBezTo>
                <a:cubicBezTo>
                  <a:pt x="9" y="150"/>
                  <a:pt x="12" y="155"/>
                  <a:pt x="12" y="156"/>
                </a:cubicBezTo>
                <a:cubicBezTo>
                  <a:pt x="12" y="159"/>
                  <a:pt x="11" y="160"/>
                  <a:pt x="8" y="161"/>
                </a:cubicBezTo>
                <a:cubicBezTo>
                  <a:pt x="6" y="162"/>
                  <a:pt x="5" y="163"/>
                  <a:pt x="6" y="166"/>
                </a:cubicBezTo>
                <a:cubicBezTo>
                  <a:pt x="7" y="168"/>
                  <a:pt x="9" y="170"/>
                  <a:pt x="8" y="172"/>
                </a:cubicBezTo>
                <a:cubicBezTo>
                  <a:pt x="8" y="173"/>
                  <a:pt x="7" y="174"/>
                  <a:pt x="6" y="174"/>
                </a:cubicBezTo>
                <a:cubicBezTo>
                  <a:pt x="5" y="175"/>
                  <a:pt x="4" y="176"/>
                  <a:pt x="3" y="177"/>
                </a:cubicBezTo>
                <a:cubicBezTo>
                  <a:pt x="2" y="178"/>
                  <a:pt x="0" y="180"/>
                  <a:pt x="1" y="182"/>
                </a:cubicBezTo>
                <a:cubicBezTo>
                  <a:pt x="1" y="182"/>
                  <a:pt x="3" y="182"/>
                  <a:pt x="4" y="182"/>
                </a:cubicBezTo>
                <a:cubicBezTo>
                  <a:pt x="5" y="181"/>
                  <a:pt x="7" y="182"/>
                  <a:pt x="8" y="183"/>
                </a:cubicBezTo>
                <a:cubicBezTo>
                  <a:pt x="10" y="184"/>
                  <a:pt x="10" y="186"/>
                  <a:pt x="10" y="188"/>
                </a:cubicBezTo>
                <a:cubicBezTo>
                  <a:pt x="10" y="191"/>
                  <a:pt x="12" y="191"/>
                  <a:pt x="13" y="193"/>
                </a:cubicBezTo>
                <a:cubicBezTo>
                  <a:pt x="15" y="195"/>
                  <a:pt x="14" y="199"/>
                  <a:pt x="14" y="201"/>
                </a:cubicBezTo>
                <a:cubicBezTo>
                  <a:pt x="13" y="202"/>
                  <a:pt x="17" y="203"/>
                  <a:pt x="18" y="204"/>
                </a:cubicBezTo>
                <a:cubicBezTo>
                  <a:pt x="20" y="206"/>
                  <a:pt x="19" y="208"/>
                  <a:pt x="19" y="211"/>
                </a:cubicBezTo>
                <a:cubicBezTo>
                  <a:pt x="19" y="214"/>
                  <a:pt x="21" y="216"/>
                  <a:pt x="23" y="218"/>
                </a:cubicBezTo>
                <a:cubicBezTo>
                  <a:pt x="24" y="220"/>
                  <a:pt x="26" y="223"/>
                  <a:pt x="28" y="225"/>
                </a:cubicBezTo>
                <a:cubicBezTo>
                  <a:pt x="29" y="227"/>
                  <a:pt x="31" y="229"/>
                  <a:pt x="32" y="232"/>
                </a:cubicBezTo>
                <a:cubicBezTo>
                  <a:pt x="32" y="233"/>
                  <a:pt x="32" y="233"/>
                  <a:pt x="33" y="234"/>
                </a:cubicBezTo>
                <a:cubicBezTo>
                  <a:pt x="34" y="234"/>
                  <a:pt x="36" y="234"/>
                  <a:pt x="37" y="233"/>
                </a:cubicBezTo>
                <a:cubicBezTo>
                  <a:pt x="40" y="232"/>
                  <a:pt x="42" y="231"/>
                  <a:pt x="45" y="231"/>
                </a:cubicBezTo>
                <a:cubicBezTo>
                  <a:pt x="47" y="231"/>
                  <a:pt x="50" y="232"/>
                  <a:pt x="52" y="230"/>
                </a:cubicBezTo>
                <a:cubicBezTo>
                  <a:pt x="52" y="229"/>
                  <a:pt x="52" y="227"/>
                  <a:pt x="53" y="226"/>
                </a:cubicBezTo>
                <a:cubicBezTo>
                  <a:pt x="53" y="225"/>
                  <a:pt x="54" y="224"/>
                  <a:pt x="55" y="223"/>
                </a:cubicBezTo>
                <a:cubicBezTo>
                  <a:pt x="58" y="222"/>
                  <a:pt x="60" y="221"/>
                  <a:pt x="63" y="221"/>
                </a:cubicBezTo>
                <a:cubicBezTo>
                  <a:pt x="65" y="220"/>
                  <a:pt x="68" y="220"/>
                  <a:pt x="69" y="222"/>
                </a:cubicBezTo>
                <a:cubicBezTo>
                  <a:pt x="71" y="223"/>
                  <a:pt x="71" y="225"/>
                  <a:pt x="72" y="226"/>
                </a:cubicBezTo>
                <a:cubicBezTo>
                  <a:pt x="74" y="228"/>
                  <a:pt x="75" y="230"/>
                  <a:pt x="75" y="233"/>
                </a:cubicBezTo>
                <a:cubicBezTo>
                  <a:pt x="76" y="239"/>
                  <a:pt x="84" y="236"/>
                  <a:pt x="88" y="235"/>
                </a:cubicBezTo>
                <a:cubicBezTo>
                  <a:pt x="90" y="234"/>
                  <a:pt x="93" y="233"/>
                  <a:pt x="96" y="233"/>
                </a:cubicBezTo>
                <a:cubicBezTo>
                  <a:pt x="99" y="233"/>
                  <a:pt x="102" y="233"/>
                  <a:pt x="104" y="235"/>
                </a:cubicBezTo>
                <a:cubicBezTo>
                  <a:pt x="106" y="237"/>
                  <a:pt x="106" y="238"/>
                  <a:pt x="109" y="239"/>
                </a:cubicBezTo>
                <a:cubicBezTo>
                  <a:pt x="111" y="239"/>
                  <a:pt x="114" y="240"/>
                  <a:pt x="116" y="237"/>
                </a:cubicBezTo>
                <a:cubicBezTo>
                  <a:pt x="118" y="235"/>
                  <a:pt x="118" y="233"/>
                  <a:pt x="121" y="233"/>
                </a:cubicBezTo>
                <a:cubicBezTo>
                  <a:pt x="123" y="232"/>
                  <a:pt x="126" y="234"/>
                  <a:pt x="128" y="232"/>
                </a:cubicBezTo>
                <a:cubicBezTo>
                  <a:pt x="129" y="231"/>
                  <a:pt x="128" y="230"/>
                  <a:pt x="129" y="229"/>
                </a:cubicBezTo>
                <a:cubicBezTo>
                  <a:pt x="130" y="228"/>
                  <a:pt x="130" y="227"/>
                  <a:pt x="131" y="227"/>
                </a:cubicBezTo>
                <a:cubicBezTo>
                  <a:pt x="134" y="226"/>
                  <a:pt x="135" y="224"/>
                  <a:pt x="138" y="224"/>
                </a:cubicBezTo>
                <a:cubicBezTo>
                  <a:pt x="141" y="224"/>
                  <a:pt x="143" y="226"/>
                  <a:pt x="145" y="228"/>
                </a:cubicBezTo>
                <a:cubicBezTo>
                  <a:pt x="147" y="230"/>
                  <a:pt x="149" y="231"/>
                  <a:pt x="152" y="232"/>
                </a:cubicBezTo>
                <a:cubicBezTo>
                  <a:pt x="154" y="233"/>
                  <a:pt x="157" y="233"/>
                  <a:pt x="159" y="231"/>
                </a:cubicBezTo>
                <a:cubicBezTo>
                  <a:pt x="161" y="229"/>
                  <a:pt x="163" y="227"/>
                  <a:pt x="165" y="225"/>
                </a:cubicBezTo>
                <a:cubicBezTo>
                  <a:pt x="168" y="223"/>
                  <a:pt x="170" y="221"/>
                  <a:pt x="172" y="218"/>
                </a:cubicBezTo>
                <a:cubicBezTo>
                  <a:pt x="174" y="216"/>
                  <a:pt x="176" y="214"/>
                  <a:pt x="178" y="211"/>
                </a:cubicBezTo>
                <a:cubicBezTo>
                  <a:pt x="179" y="209"/>
                  <a:pt x="178" y="206"/>
                  <a:pt x="178" y="205"/>
                </a:cubicBezTo>
                <a:cubicBezTo>
                  <a:pt x="178" y="203"/>
                  <a:pt x="178" y="202"/>
                  <a:pt x="178" y="201"/>
                </a:cubicBezTo>
                <a:cubicBezTo>
                  <a:pt x="177" y="200"/>
                  <a:pt x="176" y="199"/>
                  <a:pt x="176" y="198"/>
                </a:cubicBezTo>
                <a:cubicBezTo>
                  <a:pt x="176" y="192"/>
                  <a:pt x="185" y="197"/>
                  <a:pt x="185" y="192"/>
                </a:cubicBezTo>
                <a:cubicBezTo>
                  <a:pt x="185" y="188"/>
                  <a:pt x="191" y="188"/>
                  <a:pt x="194" y="190"/>
                </a:cubicBezTo>
                <a:cubicBezTo>
                  <a:pt x="196" y="191"/>
                  <a:pt x="195" y="193"/>
                  <a:pt x="194" y="195"/>
                </a:cubicBezTo>
                <a:cubicBezTo>
                  <a:pt x="193" y="198"/>
                  <a:pt x="193" y="201"/>
                  <a:pt x="193" y="204"/>
                </a:cubicBezTo>
                <a:cubicBezTo>
                  <a:pt x="194" y="207"/>
                  <a:pt x="194" y="211"/>
                  <a:pt x="195" y="214"/>
                </a:cubicBezTo>
                <a:cubicBezTo>
                  <a:pt x="196" y="216"/>
                  <a:pt x="199" y="218"/>
                  <a:pt x="201" y="219"/>
                </a:cubicBezTo>
                <a:cubicBezTo>
                  <a:pt x="203" y="221"/>
                  <a:pt x="205" y="222"/>
                  <a:pt x="206" y="225"/>
                </a:cubicBezTo>
                <a:cubicBezTo>
                  <a:pt x="207" y="226"/>
                  <a:pt x="207" y="228"/>
                  <a:pt x="207" y="229"/>
                </a:cubicBezTo>
                <a:cubicBezTo>
                  <a:pt x="207" y="231"/>
                  <a:pt x="207" y="233"/>
                  <a:pt x="208" y="234"/>
                </a:cubicBezTo>
                <a:cubicBezTo>
                  <a:pt x="208" y="231"/>
                  <a:pt x="210" y="229"/>
                  <a:pt x="210" y="227"/>
                </a:cubicBezTo>
                <a:cubicBezTo>
                  <a:pt x="211" y="224"/>
                  <a:pt x="210" y="221"/>
                  <a:pt x="211" y="218"/>
                </a:cubicBezTo>
                <a:cubicBezTo>
                  <a:pt x="212" y="216"/>
                  <a:pt x="214" y="215"/>
                  <a:pt x="216" y="215"/>
                </a:cubicBezTo>
                <a:cubicBezTo>
                  <a:pt x="218" y="215"/>
                  <a:pt x="221" y="216"/>
                  <a:pt x="223" y="214"/>
                </a:cubicBezTo>
                <a:cubicBezTo>
                  <a:pt x="224" y="212"/>
                  <a:pt x="223" y="208"/>
                  <a:pt x="223" y="206"/>
                </a:cubicBezTo>
                <a:cubicBezTo>
                  <a:pt x="224" y="203"/>
                  <a:pt x="224" y="200"/>
                  <a:pt x="226" y="197"/>
                </a:cubicBezTo>
                <a:cubicBezTo>
                  <a:pt x="227" y="195"/>
                  <a:pt x="229" y="193"/>
                  <a:pt x="230" y="191"/>
                </a:cubicBezTo>
                <a:cubicBezTo>
                  <a:pt x="231" y="188"/>
                  <a:pt x="232" y="185"/>
                  <a:pt x="234" y="183"/>
                </a:cubicBezTo>
                <a:cubicBezTo>
                  <a:pt x="236" y="182"/>
                  <a:pt x="238" y="182"/>
                  <a:pt x="241" y="182"/>
                </a:cubicBezTo>
                <a:cubicBezTo>
                  <a:pt x="243" y="181"/>
                  <a:pt x="244" y="177"/>
                  <a:pt x="244" y="175"/>
                </a:cubicBezTo>
                <a:cubicBezTo>
                  <a:pt x="245" y="172"/>
                  <a:pt x="246" y="169"/>
                  <a:pt x="247" y="166"/>
                </a:cubicBezTo>
                <a:cubicBezTo>
                  <a:pt x="248" y="163"/>
                  <a:pt x="249" y="160"/>
                  <a:pt x="249" y="156"/>
                </a:cubicBezTo>
                <a:cubicBezTo>
                  <a:pt x="249" y="154"/>
                  <a:pt x="249" y="151"/>
                  <a:pt x="248" y="148"/>
                </a:cubicBezTo>
                <a:cubicBezTo>
                  <a:pt x="248" y="145"/>
                  <a:pt x="248" y="142"/>
                  <a:pt x="248" y="139"/>
                </a:cubicBezTo>
                <a:cubicBezTo>
                  <a:pt x="250" y="133"/>
                  <a:pt x="252" y="127"/>
                  <a:pt x="254" y="121"/>
                </a:cubicBezTo>
                <a:cubicBezTo>
                  <a:pt x="256" y="117"/>
                  <a:pt x="254" y="112"/>
                  <a:pt x="256" y="108"/>
                </a:cubicBezTo>
                <a:cubicBezTo>
                  <a:pt x="257" y="106"/>
                  <a:pt x="259" y="105"/>
                  <a:pt x="261" y="105"/>
                </a:cubicBezTo>
                <a:cubicBezTo>
                  <a:pt x="264" y="106"/>
                  <a:pt x="266" y="106"/>
                  <a:pt x="268" y="103"/>
                </a:cubicBezTo>
                <a:cubicBezTo>
                  <a:pt x="270" y="102"/>
                  <a:pt x="271" y="99"/>
                  <a:pt x="273" y="98"/>
                </a:cubicBezTo>
                <a:cubicBezTo>
                  <a:pt x="275" y="97"/>
                  <a:pt x="278" y="97"/>
                  <a:pt x="280" y="95"/>
                </a:cubicBezTo>
                <a:cubicBezTo>
                  <a:pt x="281" y="94"/>
                  <a:pt x="284" y="90"/>
                  <a:pt x="283" y="89"/>
                </a:cubicBezTo>
                <a:cubicBezTo>
                  <a:pt x="282" y="87"/>
                  <a:pt x="279" y="85"/>
                  <a:pt x="277" y="84"/>
                </a:cubicBezTo>
                <a:cubicBezTo>
                  <a:pt x="273" y="81"/>
                  <a:pt x="266" y="78"/>
                  <a:pt x="265" y="72"/>
                </a:cubicBezTo>
                <a:cubicBezTo>
                  <a:pt x="264" y="70"/>
                  <a:pt x="263" y="67"/>
                  <a:pt x="263" y="64"/>
                </a:cubicBezTo>
                <a:cubicBezTo>
                  <a:pt x="263" y="61"/>
                  <a:pt x="262" y="58"/>
                  <a:pt x="262" y="55"/>
                </a:cubicBezTo>
                <a:cubicBezTo>
                  <a:pt x="262" y="52"/>
                  <a:pt x="262" y="49"/>
                  <a:pt x="262" y="46"/>
                </a:cubicBezTo>
                <a:cubicBezTo>
                  <a:pt x="261" y="43"/>
                  <a:pt x="260" y="40"/>
                  <a:pt x="260" y="37"/>
                </a:cubicBezTo>
                <a:cubicBezTo>
                  <a:pt x="260" y="36"/>
                  <a:pt x="261" y="36"/>
                  <a:pt x="262" y="36"/>
                </a:cubicBezTo>
                <a:cubicBezTo>
                  <a:pt x="263" y="36"/>
                  <a:pt x="263" y="36"/>
                  <a:pt x="263" y="35"/>
                </a:cubicBezTo>
                <a:cubicBezTo>
                  <a:pt x="262" y="33"/>
                  <a:pt x="260" y="32"/>
                  <a:pt x="258" y="30"/>
                </a:cubicBezTo>
                <a:cubicBezTo>
                  <a:pt x="257" y="28"/>
                  <a:pt x="256" y="26"/>
                  <a:pt x="256" y="24"/>
                </a:cubicBezTo>
                <a:cubicBezTo>
                  <a:pt x="257" y="23"/>
                  <a:pt x="257" y="21"/>
                  <a:pt x="256" y="19"/>
                </a:cubicBezTo>
                <a:cubicBezTo>
                  <a:pt x="256" y="20"/>
                  <a:pt x="256" y="20"/>
                  <a:pt x="256" y="20"/>
                </a:cubicBezTo>
                <a:cubicBezTo>
                  <a:pt x="256" y="19"/>
                  <a:pt x="256" y="20"/>
                  <a:pt x="256" y="20"/>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182" name="Freeform 441">
            <a:extLst>
              <a:ext uri="{FF2B5EF4-FFF2-40B4-BE49-F238E27FC236}">
                <a16:creationId xmlns:a16="http://schemas.microsoft.com/office/drawing/2014/main" id="{12A46F32-57EE-BBB5-DA06-FC8991736252}"/>
              </a:ext>
            </a:extLst>
          </p:cNvPr>
          <p:cNvSpPr/>
          <p:nvPr>
            <p:custDataLst>
              <p:tags r:id="rId111"/>
            </p:custDataLst>
          </p:nvPr>
        </p:nvSpPr>
        <p:spPr bwMode="auto">
          <a:xfrm>
            <a:off x="4651398" y="2987465"/>
            <a:ext cx="5005" cy="5006"/>
          </a:xfrm>
          <a:custGeom>
            <a:avLst/>
            <a:gdLst>
              <a:gd name="T0" fmla="*/ 2 w 4"/>
              <a:gd name="T1" fmla="*/ 2 h 4"/>
              <a:gd name="T2" fmla="*/ 3 w 4"/>
              <a:gd name="T3" fmla="*/ 4 h 4"/>
              <a:gd name="T4" fmla="*/ 3 w 4"/>
              <a:gd name="T5" fmla="*/ 1 h 4"/>
              <a:gd name="T6" fmla="*/ 1 w 4"/>
              <a:gd name="T7" fmla="*/ 1 h 4"/>
              <a:gd name="T8" fmla="*/ 2 w 4"/>
              <a:gd name="T9" fmla="*/ 3 h 4"/>
              <a:gd name="T10" fmla="*/ 2 w 4"/>
              <a:gd name="T11" fmla="*/ 2 h 4"/>
              <a:gd name="T12" fmla="*/ 2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2" y="2"/>
                </a:moveTo>
                <a:cubicBezTo>
                  <a:pt x="2" y="3"/>
                  <a:pt x="2" y="4"/>
                  <a:pt x="3" y="4"/>
                </a:cubicBezTo>
                <a:cubicBezTo>
                  <a:pt x="3" y="3"/>
                  <a:pt x="4" y="1"/>
                  <a:pt x="3" y="1"/>
                </a:cubicBezTo>
                <a:cubicBezTo>
                  <a:pt x="3" y="0"/>
                  <a:pt x="1" y="0"/>
                  <a:pt x="1" y="1"/>
                </a:cubicBezTo>
                <a:cubicBezTo>
                  <a:pt x="0" y="1"/>
                  <a:pt x="2" y="2"/>
                  <a:pt x="2" y="3"/>
                </a:cubicBezTo>
                <a:cubicBezTo>
                  <a:pt x="2" y="3"/>
                  <a:pt x="2" y="3"/>
                  <a:pt x="2" y="2"/>
                </a:cubicBezTo>
                <a:cubicBezTo>
                  <a:pt x="2" y="4"/>
                  <a:pt x="2" y="2"/>
                  <a:pt x="2" y="2"/>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nvGrpSpPr>
          <p:cNvPr id="183" name="Group 182">
            <a:extLst>
              <a:ext uri="{FF2B5EF4-FFF2-40B4-BE49-F238E27FC236}">
                <a16:creationId xmlns:a16="http://schemas.microsoft.com/office/drawing/2014/main" id="{5D6DF5F4-3F9C-B53A-FB3F-292048D9B90B}"/>
              </a:ext>
            </a:extLst>
          </p:cNvPr>
          <p:cNvGrpSpPr/>
          <p:nvPr>
            <p:custDataLst>
              <p:tags r:id="rId112"/>
            </p:custDataLst>
          </p:nvPr>
        </p:nvGrpSpPr>
        <p:grpSpPr>
          <a:xfrm>
            <a:off x="4552290" y="2744201"/>
            <a:ext cx="231251" cy="249271"/>
            <a:chOff x="5940425" y="2976564"/>
            <a:chExt cx="366713" cy="395288"/>
          </a:xfrm>
        </p:grpSpPr>
        <p:sp>
          <p:nvSpPr>
            <p:cNvPr id="184" name="Freeform 214">
              <a:extLst>
                <a:ext uri="{FF2B5EF4-FFF2-40B4-BE49-F238E27FC236}">
                  <a16:creationId xmlns:a16="http://schemas.microsoft.com/office/drawing/2014/main" id="{E7525348-3239-B4B4-DCED-185E6895AEDE}"/>
                </a:ext>
              </a:extLst>
            </p:cNvPr>
            <p:cNvSpPr/>
            <p:nvPr>
              <p:custDataLst>
                <p:tags r:id="rId268"/>
              </p:custDataLst>
            </p:nvPr>
          </p:nvSpPr>
          <p:spPr bwMode="auto">
            <a:xfrm>
              <a:off x="5940425" y="2976564"/>
              <a:ext cx="366713" cy="349250"/>
            </a:xfrm>
            <a:custGeom>
              <a:avLst/>
              <a:gdLst>
                <a:gd name="T0" fmla="*/ 20 w 198"/>
                <a:gd name="T1" fmla="*/ 68 h 188"/>
                <a:gd name="T2" fmla="*/ 30 w 198"/>
                <a:gd name="T3" fmla="*/ 57 h 188"/>
                <a:gd name="T4" fmla="*/ 46 w 198"/>
                <a:gd name="T5" fmla="*/ 61 h 188"/>
                <a:gd name="T6" fmla="*/ 57 w 198"/>
                <a:gd name="T7" fmla="*/ 71 h 188"/>
                <a:gd name="T8" fmla="*/ 61 w 198"/>
                <a:gd name="T9" fmla="*/ 85 h 188"/>
                <a:gd name="T10" fmla="*/ 71 w 198"/>
                <a:gd name="T11" fmla="*/ 93 h 188"/>
                <a:gd name="T12" fmla="*/ 76 w 198"/>
                <a:gd name="T13" fmla="*/ 98 h 188"/>
                <a:gd name="T14" fmla="*/ 82 w 198"/>
                <a:gd name="T15" fmla="*/ 102 h 188"/>
                <a:gd name="T16" fmla="*/ 91 w 198"/>
                <a:gd name="T17" fmla="*/ 110 h 188"/>
                <a:gd name="T18" fmla="*/ 101 w 198"/>
                <a:gd name="T19" fmla="*/ 118 h 188"/>
                <a:gd name="T20" fmla="*/ 112 w 198"/>
                <a:gd name="T21" fmla="*/ 121 h 188"/>
                <a:gd name="T22" fmla="*/ 118 w 198"/>
                <a:gd name="T23" fmla="*/ 124 h 188"/>
                <a:gd name="T24" fmla="*/ 126 w 198"/>
                <a:gd name="T25" fmla="*/ 131 h 188"/>
                <a:gd name="T26" fmla="*/ 128 w 198"/>
                <a:gd name="T27" fmla="*/ 134 h 188"/>
                <a:gd name="T28" fmla="*/ 137 w 198"/>
                <a:gd name="T29" fmla="*/ 139 h 188"/>
                <a:gd name="T30" fmla="*/ 140 w 198"/>
                <a:gd name="T31" fmla="*/ 144 h 188"/>
                <a:gd name="T32" fmla="*/ 147 w 198"/>
                <a:gd name="T33" fmla="*/ 146 h 188"/>
                <a:gd name="T34" fmla="*/ 152 w 198"/>
                <a:gd name="T35" fmla="*/ 153 h 188"/>
                <a:gd name="T36" fmla="*/ 156 w 198"/>
                <a:gd name="T37" fmla="*/ 163 h 188"/>
                <a:gd name="T38" fmla="*/ 153 w 198"/>
                <a:gd name="T39" fmla="*/ 174 h 188"/>
                <a:gd name="T40" fmla="*/ 151 w 198"/>
                <a:gd name="T41" fmla="*/ 187 h 188"/>
                <a:gd name="T42" fmla="*/ 162 w 198"/>
                <a:gd name="T43" fmla="*/ 181 h 188"/>
                <a:gd name="T44" fmla="*/ 167 w 198"/>
                <a:gd name="T45" fmla="*/ 169 h 188"/>
                <a:gd name="T46" fmla="*/ 175 w 198"/>
                <a:gd name="T47" fmla="*/ 162 h 188"/>
                <a:gd name="T48" fmla="*/ 165 w 198"/>
                <a:gd name="T49" fmla="*/ 153 h 188"/>
                <a:gd name="T50" fmla="*/ 168 w 198"/>
                <a:gd name="T51" fmla="*/ 140 h 188"/>
                <a:gd name="T52" fmla="*/ 176 w 198"/>
                <a:gd name="T53" fmla="*/ 136 h 188"/>
                <a:gd name="T54" fmla="*/ 184 w 198"/>
                <a:gd name="T55" fmla="*/ 140 h 188"/>
                <a:gd name="T56" fmla="*/ 194 w 198"/>
                <a:gd name="T57" fmla="*/ 148 h 188"/>
                <a:gd name="T58" fmla="*/ 193 w 198"/>
                <a:gd name="T59" fmla="*/ 138 h 188"/>
                <a:gd name="T60" fmla="*/ 178 w 198"/>
                <a:gd name="T61" fmla="*/ 128 h 188"/>
                <a:gd name="T62" fmla="*/ 163 w 198"/>
                <a:gd name="T63" fmla="*/ 121 h 188"/>
                <a:gd name="T64" fmla="*/ 155 w 198"/>
                <a:gd name="T65" fmla="*/ 114 h 188"/>
                <a:gd name="T66" fmla="*/ 157 w 198"/>
                <a:gd name="T67" fmla="*/ 108 h 188"/>
                <a:gd name="T68" fmla="*/ 139 w 198"/>
                <a:gd name="T69" fmla="*/ 107 h 188"/>
                <a:gd name="T70" fmla="*/ 119 w 198"/>
                <a:gd name="T71" fmla="*/ 84 h 188"/>
                <a:gd name="T72" fmla="*/ 99 w 198"/>
                <a:gd name="T73" fmla="*/ 64 h 188"/>
                <a:gd name="T74" fmla="*/ 92 w 198"/>
                <a:gd name="T75" fmla="*/ 55 h 188"/>
                <a:gd name="T76" fmla="*/ 95 w 198"/>
                <a:gd name="T77" fmla="*/ 47 h 188"/>
                <a:gd name="T78" fmla="*/ 96 w 198"/>
                <a:gd name="T79" fmla="*/ 34 h 188"/>
                <a:gd name="T80" fmla="*/ 101 w 198"/>
                <a:gd name="T81" fmla="*/ 32 h 188"/>
                <a:gd name="T82" fmla="*/ 105 w 198"/>
                <a:gd name="T83" fmla="*/ 30 h 188"/>
                <a:gd name="T84" fmla="*/ 107 w 198"/>
                <a:gd name="T85" fmla="*/ 21 h 188"/>
                <a:gd name="T86" fmla="*/ 114 w 198"/>
                <a:gd name="T87" fmla="*/ 12 h 188"/>
                <a:gd name="T88" fmla="*/ 98 w 198"/>
                <a:gd name="T89" fmla="*/ 10 h 188"/>
                <a:gd name="T90" fmla="*/ 90 w 198"/>
                <a:gd name="T91" fmla="*/ 1 h 188"/>
                <a:gd name="T92" fmla="*/ 76 w 198"/>
                <a:gd name="T93" fmla="*/ 3 h 188"/>
                <a:gd name="T94" fmla="*/ 63 w 198"/>
                <a:gd name="T95" fmla="*/ 4 h 188"/>
                <a:gd name="T96" fmla="*/ 56 w 198"/>
                <a:gd name="T97" fmla="*/ 13 h 188"/>
                <a:gd name="T98" fmla="*/ 46 w 198"/>
                <a:gd name="T99" fmla="*/ 15 h 188"/>
                <a:gd name="T100" fmla="*/ 37 w 198"/>
                <a:gd name="T101" fmla="*/ 24 h 188"/>
                <a:gd name="T102" fmla="*/ 31 w 198"/>
                <a:gd name="T103" fmla="*/ 24 h 188"/>
                <a:gd name="T104" fmla="*/ 24 w 198"/>
                <a:gd name="T105" fmla="*/ 17 h 188"/>
                <a:gd name="T106" fmla="*/ 13 w 198"/>
                <a:gd name="T107" fmla="*/ 24 h 188"/>
                <a:gd name="T108" fmla="*/ 4 w 198"/>
                <a:gd name="T109" fmla="*/ 25 h 188"/>
                <a:gd name="T110" fmla="*/ 2 w 198"/>
                <a:gd name="T111" fmla="*/ 29 h 188"/>
                <a:gd name="T112" fmla="*/ 1 w 198"/>
                <a:gd name="T113" fmla="*/ 42 h 188"/>
                <a:gd name="T114" fmla="*/ 2 w 198"/>
                <a:gd name="T115" fmla="*/ 56 h 188"/>
                <a:gd name="T116" fmla="*/ 14 w 198"/>
                <a:gd name="T117" fmla="*/ 63 h 188"/>
                <a:gd name="T118" fmla="*/ 13 w 198"/>
                <a:gd name="T119" fmla="*/ 69 h 188"/>
                <a:gd name="T120" fmla="*/ 12 w 198"/>
                <a:gd name="T121" fmla="*/ 6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8" h="188">
                  <a:moveTo>
                    <a:pt x="12" y="69"/>
                  </a:moveTo>
                  <a:cubicBezTo>
                    <a:pt x="15" y="68"/>
                    <a:pt x="17" y="68"/>
                    <a:pt x="20" y="68"/>
                  </a:cubicBezTo>
                  <a:cubicBezTo>
                    <a:pt x="22" y="67"/>
                    <a:pt x="24" y="64"/>
                    <a:pt x="25" y="62"/>
                  </a:cubicBezTo>
                  <a:cubicBezTo>
                    <a:pt x="27" y="60"/>
                    <a:pt x="27" y="58"/>
                    <a:pt x="30" y="57"/>
                  </a:cubicBezTo>
                  <a:cubicBezTo>
                    <a:pt x="33" y="57"/>
                    <a:pt x="35" y="58"/>
                    <a:pt x="38" y="58"/>
                  </a:cubicBezTo>
                  <a:cubicBezTo>
                    <a:pt x="41" y="59"/>
                    <a:pt x="44" y="60"/>
                    <a:pt x="46" y="61"/>
                  </a:cubicBezTo>
                  <a:cubicBezTo>
                    <a:pt x="49" y="62"/>
                    <a:pt x="52" y="62"/>
                    <a:pt x="55" y="64"/>
                  </a:cubicBezTo>
                  <a:cubicBezTo>
                    <a:pt x="57" y="66"/>
                    <a:pt x="57" y="69"/>
                    <a:pt x="57" y="71"/>
                  </a:cubicBezTo>
                  <a:cubicBezTo>
                    <a:pt x="58" y="74"/>
                    <a:pt x="59" y="77"/>
                    <a:pt x="59" y="80"/>
                  </a:cubicBezTo>
                  <a:cubicBezTo>
                    <a:pt x="59" y="81"/>
                    <a:pt x="59" y="83"/>
                    <a:pt x="61" y="85"/>
                  </a:cubicBezTo>
                  <a:cubicBezTo>
                    <a:pt x="62" y="86"/>
                    <a:pt x="64" y="85"/>
                    <a:pt x="66" y="87"/>
                  </a:cubicBezTo>
                  <a:cubicBezTo>
                    <a:pt x="68" y="88"/>
                    <a:pt x="70" y="91"/>
                    <a:pt x="71" y="93"/>
                  </a:cubicBezTo>
                  <a:cubicBezTo>
                    <a:pt x="72" y="94"/>
                    <a:pt x="72" y="96"/>
                    <a:pt x="73" y="97"/>
                  </a:cubicBezTo>
                  <a:cubicBezTo>
                    <a:pt x="73" y="98"/>
                    <a:pt x="75" y="98"/>
                    <a:pt x="76" y="98"/>
                  </a:cubicBezTo>
                  <a:cubicBezTo>
                    <a:pt x="77" y="99"/>
                    <a:pt x="78" y="98"/>
                    <a:pt x="79" y="99"/>
                  </a:cubicBezTo>
                  <a:cubicBezTo>
                    <a:pt x="80" y="100"/>
                    <a:pt x="81" y="101"/>
                    <a:pt x="82" y="102"/>
                  </a:cubicBezTo>
                  <a:cubicBezTo>
                    <a:pt x="84" y="104"/>
                    <a:pt x="86" y="106"/>
                    <a:pt x="88" y="108"/>
                  </a:cubicBezTo>
                  <a:cubicBezTo>
                    <a:pt x="89" y="108"/>
                    <a:pt x="90" y="109"/>
                    <a:pt x="91" y="110"/>
                  </a:cubicBezTo>
                  <a:cubicBezTo>
                    <a:pt x="92" y="111"/>
                    <a:pt x="93" y="112"/>
                    <a:pt x="94" y="113"/>
                  </a:cubicBezTo>
                  <a:cubicBezTo>
                    <a:pt x="96" y="115"/>
                    <a:pt x="99" y="116"/>
                    <a:pt x="101" y="118"/>
                  </a:cubicBezTo>
                  <a:cubicBezTo>
                    <a:pt x="103" y="119"/>
                    <a:pt x="105" y="120"/>
                    <a:pt x="108" y="121"/>
                  </a:cubicBezTo>
                  <a:cubicBezTo>
                    <a:pt x="109" y="121"/>
                    <a:pt x="111" y="121"/>
                    <a:pt x="112" y="121"/>
                  </a:cubicBezTo>
                  <a:cubicBezTo>
                    <a:pt x="114" y="121"/>
                    <a:pt x="115" y="121"/>
                    <a:pt x="116" y="121"/>
                  </a:cubicBezTo>
                  <a:cubicBezTo>
                    <a:pt x="117" y="122"/>
                    <a:pt x="118" y="123"/>
                    <a:pt x="118" y="124"/>
                  </a:cubicBezTo>
                  <a:cubicBezTo>
                    <a:pt x="119" y="125"/>
                    <a:pt x="120" y="126"/>
                    <a:pt x="121" y="126"/>
                  </a:cubicBezTo>
                  <a:cubicBezTo>
                    <a:pt x="122" y="127"/>
                    <a:pt x="126" y="129"/>
                    <a:pt x="126" y="131"/>
                  </a:cubicBezTo>
                  <a:cubicBezTo>
                    <a:pt x="126" y="131"/>
                    <a:pt x="125" y="132"/>
                    <a:pt x="126" y="133"/>
                  </a:cubicBezTo>
                  <a:cubicBezTo>
                    <a:pt x="126" y="134"/>
                    <a:pt x="127" y="134"/>
                    <a:pt x="128" y="134"/>
                  </a:cubicBezTo>
                  <a:cubicBezTo>
                    <a:pt x="130" y="134"/>
                    <a:pt x="132" y="132"/>
                    <a:pt x="135" y="134"/>
                  </a:cubicBezTo>
                  <a:cubicBezTo>
                    <a:pt x="136" y="135"/>
                    <a:pt x="137" y="137"/>
                    <a:pt x="137" y="139"/>
                  </a:cubicBezTo>
                  <a:cubicBezTo>
                    <a:pt x="137" y="140"/>
                    <a:pt x="137" y="141"/>
                    <a:pt x="137" y="142"/>
                  </a:cubicBezTo>
                  <a:cubicBezTo>
                    <a:pt x="138" y="143"/>
                    <a:pt x="139" y="144"/>
                    <a:pt x="140" y="144"/>
                  </a:cubicBezTo>
                  <a:cubicBezTo>
                    <a:pt x="141" y="145"/>
                    <a:pt x="142" y="146"/>
                    <a:pt x="143" y="146"/>
                  </a:cubicBezTo>
                  <a:cubicBezTo>
                    <a:pt x="144" y="146"/>
                    <a:pt x="146" y="146"/>
                    <a:pt x="147" y="146"/>
                  </a:cubicBezTo>
                  <a:cubicBezTo>
                    <a:pt x="149" y="145"/>
                    <a:pt x="151" y="148"/>
                    <a:pt x="152" y="150"/>
                  </a:cubicBezTo>
                  <a:cubicBezTo>
                    <a:pt x="152" y="151"/>
                    <a:pt x="152" y="152"/>
                    <a:pt x="152" y="153"/>
                  </a:cubicBezTo>
                  <a:cubicBezTo>
                    <a:pt x="153" y="154"/>
                    <a:pt x="154" y="155"/>
                    <a:pt x="154" y="156"/>
                  </a:cubicBezTo>
                  <a:cubicBezTo>
                    <a:pt x="156" y="158"/>
                    <a:pt x="155" y="161"/>
                    <a:pt x="156" y="163"/>
                  </a:cubicBezTo>
                  <a:cubicBezTo>
                    <a:pt x="157" y="165"/>
                    <a:pt x="159" y="167"/>
                    <a:pt x="158" y="170"/>
                  </a:cubicBezTo>
                  <a:cubicBezTo>
                    <a:pt x="157" y="172"/>
                    <a:pt x="153" y="171"/>
                    <a:pt x="153" y="174"/>
                  </a:cubicBezTo>
                  <a:cubicBezTo>
                    <a:pt x="153" y="177"/>
                    <a:pt x="152" y="179"/>
                    <a:pt x="151" y="181"/>
                  </a:cubicBezTo>
                  <a:cubicBezTo>
                    <a:pt x="151" y="183"/>
                    <a:pt x="150" y="186"/>
                    <a:pt x="151" y="187"/>
                  </a:cubicBezTo>
                  <a:cubicBezTo>
                    <a:pt x="152" y="188"/>
                    <a:pt x="156" y="188"/>
                    <a:pt x="157" y="187"/>
                  </a:cubicBezTo>
                  <a:cubicBezTo>
                    <a:pt x="158" y="185"/>
                    <a:pt x="159" y="183"/>
                    <a:pt x="162" y="181"/>
                  </a:cubicBezTo>
                  <a:cubicBezTo>
                    <a:pt x="164" y="180"/>
                    <a:pt x="165" y="179"/>
                    <a:pt x="165" y="176"/>
                  </a:cubicBezTo>
                  <a:cubicBezTo>
                    <a:pt x="164" y="174"/>
                    <a:pt x="164" y="171"/>
                    <a:pt x="167" y="169"/>
                  </a:cubicBezTo>
                  <a:cubicBezTo>
                    <a:pt x="169" y="168"/>
                    <a:pt x="171" y="169"/>
                    <a:pt x="173" y="168"/>
                  </a:cubicBezTo>
                  <a:cubicBezTo>
                    <a:pt x="175" y="167"/>
                    <a:pt x="175" y="164"/>
                    <a:pt x="175" y="162"/>
                  </a:cubicBezTo>
                  <a:cubicBezTo>
                    <a:pt x="175" y="160"/>
                    <a:pt x="174" y="158"/>
                    <a:pt x="172" y="157"/>
                  </a:cubicBezTo>
                  <a:cubicBezTo>
                    <a:pt x="170" y="156"/>
                    <a:pt x="167" y="155"/>
                    <a:pt x="165" y="153"/>
                  </a:cubicBezTo>
                  <a:cubicBezTo>
                    <a:pt x="164" y="152"/>
                    <a:pt x="164" y="149"/>
                    <a:pt x="165" y="147"/>
                  </a:cubicBezTo>
                  <a:cubicBezTo>
                    <a:pt x="166" y="145"/>
                    <a:pt x="167" y="142"/>
                    <a:pt x="168" y="140"/>
                  </a:cubicBezTo>
                  <a:cubicBezTo>
                    <a:pt x="170" y="138"/>
                    <a:pt x="172" y="137"/>
                    <a:pt x="174" y="136"/>
                  </a:cubicBezTo>
                  <a:cubicBezTo>
                    <a:pt x="175" y="136"/>
                    <a:pt x="176" y="136"/>
                    <a:pt x="176" y="136"/>
                  </a:cubicBezTo>
                  <a:cubicBezTo>
                    <a:pt x="177" y="137"/>
                    <a:pt x="177" y="138"/>
                    <a:pt x="178" y="139"/>
                  </a:cubicBezTo>
                  <a:cubicBezTo>
                    <a:pt x="180" y="139"/>
                    <a:pt x="182" y="139"/>
                    <a:pt x="184" y="140"/>
                  </a:cubicBezTo>
                  <a:cubicBezTo>
                    <a:pt x="186" y="141"/>
                    <a:pt x="186" y="143"/>
                    <a:pt x="188" y="145"/>
                  </a:cubicBezTo>
                  <a:cubicBezTo>
                    <a:pt x="189" y="147"/>
                    <a:pt x="192" y="148"/>
                    <a:pt x="194" y="148"/>
                  </a:cubicBezTo>
                  <a:cubicBezTo>
                    <a:pt x="196" y="149"/>
                    <a:pt x="197" y="146"/>
                    <a:pt x="198" y="144"/>
                  </a:cubicBezTo>
                  <a:cubicBezTo>
                    <a:pt x="198" y="142"/>
                    <a:pt x="194" y="139"/>
                    <a:pt x="193" y="138"/>
                  </a:cubicBezTo>
                  <a:cubicBezTo>
                    <a:pt x="191" y="135"/>
                    <a:pt x="189" y="133"/>
                    <a:pt x="186" y="132"/>
                  </a:cubicBezTo>
                  <a:cubicBezTo>
                    <a:pt x="184" y="131"/>
                    <a:pt x="181" y="129"/>
                    <a:pt x="178" y="128"/>
                  </a:cubicBezTo>
                  <a:cubicBezTo>
                    <a:pt x="176" y="127"/>
                    <a:pt x="173" y="126"/>
                    <a:pt x="170" y="125"/>
                  </a:cubicBezTo>
                  <a:cubicBezTo>
                    <a:pt x="168" y="124"/>
                    <a:pt x="165" y="123"/>
                    <a:pt x="163" y="121"/>
                  </a:cubicBezTo>
                  <a:cubicBezTo>
                    <a:pt x="161" y="120"/>
                    <a:pt x="158" y="119"/>
                    <a:pt x="157" y="117"/>
                  </a:cubicBezTo>
                  <a:cubicBezTo>
                    <a:pt x="156" y="116"/>
                    <a:pt x="155" y="115"/>
                    <a:pt x="155" y="114"/>
                  </a:cubicBezTo>
                  <a:cubicBezTo>
                    <a:pt x="155" y="113"/>
                    <a:pt x="156" y="113"/>
                    <a:pt x="157" y="112"/>
                  </a:cubicBezTo>
                  <a:cubicBezTo>
                    <a:pt x="159" y="111"/>
                    <a:pt x="159" y="108"/>
                    <a:pt x="157" y="108"/>
                  </a:cubicBezTo>
                  <a:cubicBezTo>
                    <a:pt x="154" y="107"/>
                    <a:pt x="151" y="108"/>
                    <a:pt x="149" y="108"/>
                  </a:cubicBezTo>
                  <a:cubicBezTo>
                    <a:pt x="146" y="108"/>
                    <a:pt x="142" y="108"/>
                    <a:pt x="139" y="107"/>
                  </a:cubicBezTo>
                  <a:cubicBezTo>
                    <a:pt x="134" y="106"/>
                    <a:pt x="130" y="101"/>
                    <a:pt x="126" y="97"/>
                  </a:cubicBezTo>
                  <a:cubicBezTo>
                    <a:pt x="122" y="93"/>
                    <a:pt x="120" y="89"/>
                    <a:pt x="119" y="84"/>
                  </a:cubicBezTo>
                  <a:cubicBezTo>
                    <a:pt x="117" y="78"/>
                    <a:pt x="113" y="75"/>
                    <a:pt x="109" y="72"/>
                  </a:cubicBezTo>
                  <a:cubicBezTo>
                    <a:pt x="105" y="69"/>
                    <a:pt x="102" y="67"/>
                    <a:pt x="99" y="64"/>
                  </a:cubicBezTo>
                  <a:cubicBezTo>
                    <a:pt x="97" y="63"/>
                    <a:pt x="96" y="62"/>
                    <a:pt x="95" y="61"/>
                  </a:cubicBezTo>
                  <a:cubicBezTo>
                    <a:pt x="93" y="59"/>
                    <a:pt x="93" y="57"/>
                    <a:pt x="92" y="55"/>
                  </a:cubicBezTo>
                  <a:cubicBezTo>
                    <a:pt x="92" y="54"/>
                    <a:pt x="91" y="52"/>
                    <a:pt x="91" y="50"/>
                  </a:cubicBezTo>
                  <a:cubicBezTo>
                    <a:pt x="92" y="49"/>
                    <a:pt x="94" y="48"/>
                    <a:pt x="95" y="47"/>
                  </a:cubicBezTo>
                  <a:cubicBezTo>
                    <a:pt x="98" y="44"/>
                    <a:pt x="95" y="42"/>
                    <a:pt x="93" y="40"/>
                  </a:cubicBezTo>
                  <a:cubicBezTo>
                    <a:pt x="90" y="37"/>
                    <a:pt x="92" y="32"/>
                    <a:pt x="96" y="34"/>
                  </a:cubicBezTo>
                  <a:cubicBezTo>
                    <a:pt x="97" y="34"/>
                    <a:pt x="98" y="34"/>
                    <a:pt x="99" y="33"/>
                  </a:cubicBezTo>
                  <a:cubicBezTo>
                    <a:pt x="100" y="33"/>
                    <a:pt x="101" y="33"/>
                    <a:pt x="101" y="32"/>
                  </a:cubicBezTo>
                  <a:cubicBezTo>
                    <a:pt x="102" y="32"/>
                    <a:pt x="103" y="32"/>
                    <a:pt x="104" y="32"/>
                  </a:cubicBezTo>
                  <a:cubicBezTo>
                    <a:pt x="104" y="31"/>
                    <a:pt x="105" y="31"/>
                    <a:pt x="105" y="30"/>
                  </a:cubicBezTo>
                  <a:cubicBezTo>
                    <a:pt x="106" y="30"/>
                    <a:pt x="107" y="28"/>
                    <a:pt x="108" y="28"/>
                  </a:cubicBezTo>
                  <a:cubicBezTo>
                    <a:pt x="107" y="26"/>
                    <a:pt x="107" y="23"/>
                    <a:pt x="107" y="21"/>
                  </a:cubicBezTo>
                  <a:cubicBezTo>
                    <a:pt x="108" y="19"/>
                    <a:pt x="108" y="18"/>
                    <a:pt x="110" y="16"/>
                  </a:cubicBezTo>
                  <a:cubicBezTo>
                    <a:pt x="111" y="15"/>
                    <a:pt x="113" y="13"/>
                    <a:pt x="114" y="12"/>
                  </a:cubicBezTo>
                  <a:cubicBezTo>
                    <a:pt x="111" y="11"/>
                    <a:pt x="109" y="11"/>
                    <a:pt x="106" y="11"/>
                  </a:cubicBezTo>
                  <a:cubicBezTo>
                    <a:pt x="103" y="11"/>
                    <a:pt x="100" y="11"/>
                    <a:pt x="98" y="10"/>
                  </a:cubicBezTo>
                  <a:cubicBezTo>
                    <a:pt x="96" y="10"/>
                    <a:pt x="93" y="8"/>
                    <a:pt x="92" y="7"/>
                  </a:cubicBezTo>
                  <a:cubicBezTo>
                    <a:pt x="91" y="5"/>
                    <a:pt x="92" y="3"/>
                    <a:pt x="90" y="1"/>
                  </a:cubicBezTo>
                  <a:cubicBezTo>
                    <a:pt x="89" y="0"/>
                    <a:pt x="86" y="1"/>
                    <a:pt x="84" y="1"/>
                  </a:cubicBezTo>
                  <a:cubicBezTo>
                    <a:pt x="81" y="1"/>
                    <a:pt x="79" y="2"/>
                    <a:pt x="76" y="3"/>
                  </a:cubicBezTo>
                  <a:cubicBezTo>
                    <a:pt x="74" y="5"/>
                    <a:pt x="73" y="6"/>
                    <a:pt x="70" y="6"/>
                  </a:cubicBezTo>
                  <a:cubicBezTo>
                    <a:pt x="68" y="6"/>
                    <a:pt x="65" y="6"/>
                    <a:pt x="63" y="4"/>
                  </a:cubicBezTo>
                  <a:cubicBezTo>
                    <a:pt x="63" y="6"/>
                    <a:pt x="63" y="10"/>
                    <a:pt x="61" y="11"/>
                  </a:cubicBezTo>
                  <a:cubicBezTo>
                    <a:pt x="59" y="12"/>
                    <a:pt x="56" y="10"/>
                    <a:pt x="56" y="13"/>
                  </a:cubicBezTo>
                  <a:cubicBezTo>
                    <a:pt x="56" y="15"/>
                    <a:pt x="56" y="18"/>
                    <a:pt x="54" y="19"/>
                  </a:cubicBezTo>
                  <a:cubicBezTo>
                    <a:pt x="51" y="19"/>
                    <a:pt x="48" y="16"/>
                    <a:pt x="46" y="15"/>
                  </a:cubicBezTo>
                  <a:cubicBezTo>
                    <a:pt x="44" y="14"/>
                    <a:pt x="43" y="15"/>
                    <a:pt x="42" y="17"/>
                  </a:cubicBezTo>
                  <a:cubicBezTo>
                    <a:pt x="41" y="20"/>
                    <a:pt x="39" y="22"/>
                    <a:pt x="37" y="24"/>
                  </a:cubicBezTo>
                  <a:cubicBezTo>
                    <a:pt x="36" y="25"/>
                    <a:pt x="35" y="26"/>
                    <a:pt x="34" y="26"/>
                  </a:cubicBezTo>
                  <a:cubicBezTo>
                    <a:pt x="33" y="25"/>
                    <a:pt x="32" y="24"/>
                    <a:pt x="31" y="24"/>
                  </a:cubicBezTo>
                  <a:cubicBezTo>
                    <a:pt x="29" y="22"/>
                    <a:pt x="28" y="20"/>
                    <a:pt x="27" y="18"/>
                  </a:cubicBezTo>
                  <a:cubicBezTo>
                    <a:pt x="27" y="17"/>
                    <a:pt x="26" y="15"/>
                    <a:pt x="24" y="17"/>
                  </a:cubicBezTo>
                  <a:cubicBezTo>
                    <a:pt x="22" y="18"/>
                    <a:pt x="22" y="20"/>
                    <a:pt x="20" y="22"/>
                  </a:cubicBezTo>
                  <a:cubicBezTo>
                    <a:pt x="18" y="24"/>
                    <a:pt x="16" y="24"/>
                    <a:pt x="13" y="24"/>
                  </a:cubicBezTo>
                  <a:cubicBezTo>
                    <a:pt x="12" y="24"/>
                    <a:pt x="10" y="24"/>
                    <a:pt x="9" y="24"/>
                  </a:cubicBezTo>
                  <a:cubicBezTo>
                    <a:pt x="7" y="24"/>
                    <a:pt x="6" y="24"/>
                    <a:pt x="4" y="25"/>
                  </a:cubicBezTo>
                  <a:cubicBezTo>
                    <a:pt x="3" y="25"/>
                    <a:pt x="3" y="24"/>
                    <a:pt x="3" y="26"/>
                  </a:cubicBezTo>
                  <a:cubicBezTo>
                    <a:pt x="2" y="27"/>
                    <a:pt x="2" y="28"/>
                    <a:pt x="2" y="29"/>
                  </a:cubicBezTo>
                  <a:cubicBezTo>
                    <a:pt x="4" y="32"/>
                    <a:pt x="6" y="34"/>
                    <a:pt x="5" y="37"/>
                  </a:cubicBezTo>
                  <a:cubicBezTo>
                    <a:pt x="5" y="40"/>
                    <a:pt x="2" y="40"/>
                    <a:pt x="1" y="42"/>
                  </a:cubicBezTo>
                  <a:cubicBezTo>
                    <a:pt x="0" y="45"/>
                    <a:pt x="3" y="47"/>
                    <a:pt x="3" y="49"/>
                  </a:cubicBezTo>
                  <a:cubicBezTo>
                    <a:pt x="3" y="51"/>
                    <a:pt x="0" y="54"/>
                    <a:pt x="2" y="56"/>
                  </a:cubicBezTo>
                  <a:cubicBezTo>
                    <a:pt x="3" y="58"/>
                    <a:pt x="6" y="58"/>
                    <a:pt x="8" y="59"/>
                  </a:cubicBezTo>
                  <a:cubicBezTo>
                    <a:pt x="10" y="59"/>
                    <a:pt x="14" y="60"/>
                    <a:pt x="14" y="63"/>
                  </a:cubicBezTo>
                  <a:cubicBezTo>
                    <a:pt x="15" y="65"/>
                    <a:pt x="13" y="67"/>
                    <a:pt x="12" y="69"/>
                  </a:cubicBezTo>
                  <a:cubicBezTo>
                    <a:pt x="11" y="70"/>
                    <a:pt x="13" y="69"/>
                    <a:pt x="13" y="69"/>
                  </a:cubicBezTo>
                  <a:cubicBezTo>
                    <a:pt x="13" y="69"/>
                    <a:pt x="12" y="69"/>
                    <a:pt x="12" y="69"/>
                  </a:cubicBezTo>
                  <a:cubicBezTo>
                    <a:pt x="14" y="69"/>
                    <a:pt x="12" y="69"/>
                    <a:pt x="12" y="69"/>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85" name="Freeform 436">
              <a:extLst>
                <a:ext uri="{FF2B5EF4-FFF2-40B4-BE49-F238E27FC236}">
                  <a16:creationId xmlns:a16="http://schemas.microsoft.com/office/drawing/2014/main" id="{872B07BE-E1DA-75D3-FDBB-0D0DFF1FE5DE}"/>
                </a:ext>
              </a:extLst>
            </p:cNvPr>
            <p:cNvSpPr/>
            <p:nvPr>
              <p:custDataLst>
                <p:tags r:id="rId269"/>
              </p:custDataLst>
            </p:nvPr>
          </p:nvSpPr>
          <p:spPr bwMode="auto">
            <a:xfrm>
              <a:off x="5980113" y="3200401"/>
              <a:ext cx="52387" cy="88900"/>
            </a:xfrm>
            <a:custGeom>
              <a:avLst/>
              <a:gdLst>
                <a:gd name="T0" fmla="*/ 4 w 29"/>
                <a:gd name="T1" fmla="*/ 41 h 48"/>
                <a:gd name="T2" fmla="*/ 5 w 29"/>
                <a:gd name="T3" fmla="*/ 44 h 48"/>
                <a:gd name="T4" fmla="*/ 7 w 29"/>
                <a:gd name="T5" fmla="*/ 45 h 48"/>
                <a:gd name="T6" fmla="*/ 9 w 29"/>
                <a:gd name="T7" fmla="*/ 47 h 48"/>
                <a:gd name="T8" fmla="*/ 12 w 29"/>
                <a:gd name="T9" fmla="*/ 47 h 48"/>
                <a:gd name="T10" fmla="*/ 15 w 29"/>
                <a:gd name="T11" fmla="*/ 44 h 48"/>
                <a:gd name="T12" fmla="*/ 18 w 29"/>
                <a:gd name="T13" fmla="*/ 40 h 48"/>
                <a:gd name="T14" fmla="*/ 23 w 29"/>
                <a:gd name="T15" fmla="*/ 43 h 48"/>
                <a:gd name="T16" fmla="*/ 25 w 29"/>
                <a:gd name="T17" fmla="*/ 38 h 48"/>
                <a:gd name="T18" fmla="*/ 27 w 29"/>
                <a:gd name="T19" fmla="*/ 31 h 48"/>
                <a:gd name="T20" fmla="*/ 28 w 29"/>
                <a:gd name="T21" fmla="*/ 21 h 48"/>
                <a:gd name="T22" fmla="*/ 28 w 29"/>
                <a:gd name="T23" fmla="*/ 13 h 48"/>
                <a:gd name="T24" fmla="*/ 27 w 29"/>
                <a:gd name="T25" fmla="*/ 10 h 48"/>
                <a:gd name="T26" fmla="*/ 24 w 29"/>
                <a:gd name="T27" fmla="*/ 7 h 48"/>
                <a:gd name="T28" fmla="*/ 23 w 29"/>
                <a:gd name="T29" fmla="*/ 2 h 48"/>
                <a:gd name="T30" fmla="*/ 18 w 29"/>
                <a:gd name="T31" fmla="*/ 1 h 48"/>
                <a:gd name="T32" fmla="*/ 11 w 29"/>
                <a:gd name="T33" fmla="*/ 5 h 48"/>
                <a:gd name="T34" fmla="*/ 6 w 29"/>
                <a:gd name="T35" fmla="*/ 9 h 48"/>
                <a:gd name="T36" fmla="*/ 1 w 29"/>
                <a:gd name="T37" fmla="*/ 9 h 48"/>
                <a:gd name="T38" fmla="*/ 3 w 29"/>
                <a:gd name="T39" fmla="*/ 14 h 48"/>
                <a:gd name="T40" fmla="*/ 5 w 29"/>
                <a:gd name="T41" fmla="*/ 16 h 48"/>
                <a:gd name="T42" fmla="*/ 7 w 29"/>
                <a:gd name="T43" fmla="*/ 19 h 48"/>
                <a:gd name="T44" fmla="*/ 5 w 29"/>
                <a:gd name="T45" fmla="*/ 27 h 48"/>
                <a:gd name="T46" fmla="*/ 6 w 29"/>
                <a:gd name="T47" fmla="*/ 33 h 48"/>
                <a:gd name="T48" fmla="*/ 4 w 29"/>
                <a:gd name="T49" fmla="*/ 37 h 48"/>
                <a:gd name="T50" fmla="*/ 4 w 29"/>
                <a:gd name="T51" fmla="*/ 41 h 48"/>
                <a:gd name="T52" fmla="*/ 4 w 29"/>
                <a:gd name="T53" fmla="*/ 41 h 48"/>
                <a:gd name="T54" fmla="*/ 4 w 29"/>
                <a:gd name="T55" fmla="*/ 4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 h="48">
                  <a:moveTo>
                    <a:pt x="4" y="41"/>
                  </a:moveTo>
                  <a:cubicBezTo>
                    <a:pt x="4" y="42"/>
                    <a:pt x="4" y="43"/>
                    <a:pt x="5" y="44"/>
                  </a:cubicBezTo>
                  <a:cubicBezTo>
                    <a:pt x="6" y="45"/>
                    <a:pt x="6" y="44"/>
                    <a:pt x="7" y="45"/>
                  </a:cubicBezTo>
                  <a:cubicBezTo>
                    <a:pt x="8" y="45"/>
                    <a:pt x="8" y="46"/>
                    <a:pt x="9" y="47"/>
                  </a:cubicBezTo>
                  <a:cubicBezTo>
                    <a:pt x="10" y="48"/>
                    <a:pt x="11" y="47"/>
                    <a:pt x="12" y="47"/>
                  </a:cubicBezTo>
                  <a:cubicBezTo>
                    <a:pt x="13" y="47"/>
                    <a:pt x="15" y="45"/>
                    <a:pt x="15" y="44"/>
                  </a:cubicBezTo>
                  <a:cubicBezTo>
                    <a:pt x="16" y="43"/>
                    <a:pt x="15" y="39"/>
                    <a:pt x="18" y="40"/>
                  </a:cubicBezTo>
                  <a:cubicBezTo>
                    <a:pt x="20" y="41"/>
                    <a:pt x="21" y="43"/>
                    <a:pt x="23" y="43"/>
                  </a:cubicBezTo>
                  <a:cubicBezTo>
                    <a:pt x="25" y="44"/>
                    <a:pt x="25" y="39"/>
                    <a:pt x="25" y="38"/>
                  </a:cubicBezTo>
                  <a:cubicBezTo>
                    <a:pt x="26" y="36"/>
                    <a:pt x="27" y="33"/>
                    <a:pt x="27" y="31"/>
                  </a:cubicBezTo>
                  <a:cubicBezTo>
                    <a:pt x="27" y="27"/>
                    <a:pt x="27" y="24"/>
                    <a:pt x="28" y="21"/>
                  </a:cubicBezTo>
                  <a:cubicBezTo>
                    <a:pt x="28" y="18"/>
                    <a:pt x="29" y="16"/>
                    <a:pt x="28" y="13"/>
                  </a:cubicBezTo>
                  <a:cubicBezTo>
                    <a:pt x="28" y="12"/>
                    <a:pt x="28" y="11"/>
                    <a:pt x="27" y="10"/>
                  </a:cubicBezTo>
                  <a:cubicBezTo>
                    <a:pt x="26" y="9"/>
                    <a:pt x="25" y="8"/>
                    <a:pt x="24" y="7"/>
                  </a:cubicBezTo>
                  <a:cubicBezTo>
                    <a:pt x="23" y="5"/>
                    <a:pt x="25" y="4"/>
                    <a:pt x="23" y="2"/>
                  </a:cubicBezTo>
                  <a:cubicBezTo>
                    <a:pt x="22" y="1"/>
                    <a:pt x="20" y="0"/>
                    <a:pt x="18" y="1"/>
                  </a:cubicBezTo>
                  <a:cubicBezTo>
                    <a:pt x="16" y="2"/>
                    <a:pt x="13" y="4"/>
                    <a:pt x="11" y="5"/>
                  </a:cubicBezTo>
                  <a:cubicBezTo>
                    <a:pt x="9" y="7"/>
                    <a:pt x="9" y="10"/>
                    <a:pt x="6" y="9"/>
                  </a:cubicBezTo>
                  <a:cubicBezTo>
                    <a:pt x="4" y="9"/>
                    <a:pt x="1" y="7"/>
                    <a:pt x="1" y="9"/>
                  </a:cubicBezTo>
                  <a:cubicBezTo>
                    <a:pt x="0" y="11"/>
                    <a:pt x="0" y="14"/>
                    <a:pt x="3" y="14"/>
                  </a:cubicBezTo>
                  <a:cubicBezTo>
                    <a:pt x="4" y="15"/>
                    <a:pt x="4" y="15"/>
                    <a:pt x="5" y="16"/>
                  </a:cubicBezTo>
                  <a:cubicBezTo>
                    <a:pt x="6" y="17"/>
                    <a:pt x="7" y="18"/>
                    <a:pt x="7" y="19"/>
                  </a:cubicBezTo>
                  <a:cubicBezTo>
                    <a:pt x="7" y="22"/>
                    <a:pt x="4" y="24"/>
                    <a:pt x="5" y="27"/>
                  </a:cubicBezTo>
                  <a:cubicBezTo>
                    <a:pt x="7" y="29"/>
                    <a:pt x="8" y="30"/>
                    <a:pt x="6" y="33"/>
                  </a:cubicBezTo>
                  <a:cubicBezTo>
                    <a:pt x="6" y="34"/>
                    <a:pt x="4" y="35"/>
                    <a:pt x="4" y="37"/>
                  </a:cubicBezTo>
                  <a:cubicBezTo>
                    <a:pt x="4" y="38"/>
                    <a:pt x="4" y="40"/>
                    <a:pt x="4" y="41"/>
                  </a:cubicBezTo>
                  <a:cubicBezTo>
                    <a:pt x="4" y="41"/>
                    <a:pt x="4" y="41"/>
                    <a:pt x="4" y="41"/>
                  </a:cubicBezTo>
                  <a:cubicBezTo>
                    <a:pt x="4" y="42"/>
                    <a:pt x="4" y="41"/>
                    <a:pt x="4" y="41"/>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86" name="Freeform 442">
              <a:extLst>
                <a:ext uri="{FF2B5EF4-FFF2-40B4-BE49-F238E27FC236}">
                  <a16:creationId xmlns:a16="http://schemas.microsoft.com/office/drawing/2014/main" id="{567A078E-8BB8-7729-1EB5-213829B1D9EC}"/>
                </a:ext>
              </a:extLst>
            </p:cNvPr>
            <p:cNvSpPr/>
            <p:nvPr>
              <p:custDataLst>
                <p:tags r:id="rId270"/>
              </p:custDataLst>
            </p:nvPr>
          </p:nvSpPr>
          <p:spPr bwMode="auto">
            <a:xfrm>
              <a:off x="6113463" y="3309939"/>
              <a:ext cx="101600" cy="61913"/>
            </a:xfrm>
            <a:custGeom>
              <a:avLst/>
              <a:gdLst>
                <a:gd name="T0" fmla="*/ 53 w 55"/>
                <a:gd name="T1" fmla="*/ 5 h 33"/>
                <a:gd name="T2" fmla="*/ 53 w 55"/>
                <a:gd name="T3" fmla="*/ 1 h 33"/>
                <a:gd name="T4" fmla="*/ 45 w 55"/>
                <a:gd name="T5" fmla="*/ 4 h 33"/>
                <a:gd name="T6" fmla="*/ 37 w 55"/>
                <a:gd name="T7" fmla="*/ 5 h 33"/>
                <a:gd name="T8" fmla="*/ 28 w 55"/>
                <a:gd name="T9" fmla="*/ 5 h 33"/>
                <a:gd name="T10" fmla="*/ 25 w 55"/>
                <a:gd name="T11" fmla="*/ 4 h 33"/>
                <a:gd name="T12" fmla="*/ 20 w 55"/>
                <a:gd name="T13" fmla="*/ 3 h 33"/>
                <a:gd name="T14" fmla="*/ 17 w 55"/>
                <a:gd name="T15" fmla="*/ 3 h 33"/>
                <a:gd name="T16" fmla="*/ 13 w 55"/>
                <a:gd name="T17" fmla="*/ 4 h 33"/>
                <a:gd name="T18" fmla="*/ 10 w 55"/>
                <a:gd name="T19" fmla="*/ 4 h 33"/>
                <a:gd name="T20" fmla="*/ 7 w 55"/>
                <a:gd name="T21" fmla="*/ 3 h 33"/>
                <a:gd name="T22" fmla="*/ 5 w 55"/>
                <a:gd name="T23" fmla="*/ 5 h 33"/>
                <a:gd name="T24" fmla="*/ 3 w 55"/>
                <a:gd name="T25" fmla="*/ 8 h 33"/>
                <a:gd name="T26" fmla="*/ 2 w 55"/>
                <a:gd name="T27" fmla="*/ 12 h 33"/>
                <a:gd name="T28" fmla="*/ 5 w 55"/>
                <a:gd name="T29" fmla="*/ 13 h 33"/>
                <a:gd name="T30" fmla="*/ 8 w 55"/>
                <a:gd name="T31" fmla="*/ 15 h 33"/>
                <a:gd name="T32" fmla="*/ 14 w 55"/>
                <a:gd name="T33" fmla="*/ 16 h 33"/>
                <a:gd name="T34" fmla="*/ 20 w 55"/>
                <a:gd name="T35" fmla="*/ 19 h 33"/>
                <a:gd name="T36" fmla="*/ 28 w 55"/>
                <a:gd name="T37" fmla="*/ 22 h 33"/>
                <a:gd name="T38" fmla="*/ 31 w 55"/>
                <a:gd name="T39" fmla="*/ 24 h 33"/>
                <a:gd name="T40" fmla="*/ 34 w 55"/>
                <a:gd name="T41" fmla="*/ 26 h 33"/>
                <a:gd name="T42" fmla="*/ 36 w 55"/>
                <a:gd name="T43" fmla="*/ 29 h 33"/>
                <a:gd name="T44" fmla="*/ 39 w 55"/>
                <a:gd name="T45" fmla="*/ 31 h 33"/>
                <a:gd name="T46" fmla="*/ 43 w 55"/>
                <a:gd name="T47" fmla="*/ 31 h 33"/>
                <a:gd name="T48" fmla="*/ 46 w 55"/>
                <a:gd name="T49" fmla="*/ 33 h 33"/>
                <a:gd name="T50" fmla="*/ 49 w 55"/>
                <a:gd name="T51" fmla="*/ 26 h 33"/>
                <a:gd name="T52" fmla="*/ 51 w 55"/>
                <a:gd name="T53" fmla="*/ 25 h 33"/>
                <a:gd name="T54" fmla="*/ 48 w 55"/>
                <a:gd name="T55" fmla="*/ 22 h 33"/>
                <a:gd name="T56" fmla="*/ 47 w 55"/>
                <a:gd name="T57" fmla="*/ 17 h 33"/>
                <a:gd name="T58" fmla="*/ 49 w 55"/>
                <a:gd name="T59" fmla="*/ 12 h 33"/>
                <a:gd name="T60" fmla="*/ 51 w 55"/>
                <a:gd name="T61" fmla="*/ 7 h 33"/>
                <a:gd name="T62" fmla="*/ 53 w 55"/>
                <a:gd name="T63" fmla="*/ 5 h 33"/>
                <a:gd name="T64" fmla="*/ 53 w 55"/>
                <a:gd name="T65" fmla="*/ 5 h 33"/>
                <a:gd name="T66" fmla="*/ 53 w 55"/>
                <a:gd name="T67"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33">
                  <a:moveTo>
                    <a:pt x="53" y="5"/>
                  </a:moveTo>
                  <a:cubicBezTo>
                    <a:pt x="53" y="5"/>
                    <a:pt x="55" y="0"/>
                    <a:pt x="53" y="1"/>
                  </a:cubicBezTo>
                  <a:cubicBezTo>
                    <a:pt x="50" y="3"/>
                    <a:pt x="48" y="4"/>
                    <a:pt x="45" y="4"/>
                  </a:cubicBezTo>
                  <a:cubicBezTo>
                    <a:pt x="42" y="4"/>
                    <a:pt x="40" y="4"/>
                    <a:pt x="37" y="5"/>
                  </a:cubicBezTo>
                  <a:cubicBezTo>
                    <a:pt x="34" y="6"/>
                    <a:pt x="32" y="7"/>
                    <a:pt x="28" y="5"/>
                  </a:cubicBezTo>
                  <a:cubicBezTo>
                    <a:pt x="27" y="5"/>
                    <a:pt x="26" y="4"/>
                    <a:pt x="25" y="4"/>
                  </a:cubicBezTo>
                  <a:cubicBezTo>
                    <a:pt x="23" y="4"/>
                    <a:pt x="22" y="3"/>
                    <a:pt x="20" y="3"/>
                  </a:cubicBezTo>
                  <a:cubicBezTo>
                    <a:pt x="19" y="3"/>
                    <a:pt x="18" y="2"/>
                    <a:pt x="17" y="3"/>
                  </a:cubicBezTo>
                  <a:cubicBezTo>
                    <a:pt x="15" y="3"/>
                    <a:pt x="14" y="4"/>
                    <a:pt x="13" y="4"/>
                  </a:cubicBezTo>
                  <a:cubicBezTo>
                    <a:pt x="12" y="5"/>
                    <a:pt x="11" y="4"/>
                    <a:pt x="10" y="4"/>
                  </a:cubicBezTo>
                  <a:cubicBezTo>
                    <a:pt x="9" y="3"/>
                    <a:pt x="8" y="3"/>
                    <a:pt x="7" y="3"/>
                  </a:cubicBezTo>
                  <a:cubicBezTo>
                    <a:pt x="6" y="3"/>
                    <a:pt x="6" y="4"/>
                    <a:pt x="5" y="5"/>
                  </a:cubicBezTo>
                  <a:cubicBezTo>
                    <a:pt x="5" y="7"/>
                    <a:pt x="4" y="7"/>
                    <a:pt x="3" y="8"/>
                  </a:cubicBezTo>
                  <a:cubicBezTo>
                    <a:pt x="1" y="9"/>
                    <a:pt x="0" y="11"/>
                    <a:pt x="2" y="12"/>
                  </a:cubicBezTo>
                  <a:cubicBezTo>
                    <a:pt x="3" y="12"/>
                    <a:pt x="4" y="12"/>
                    <a:pt x="5" y="13"/>
                  </a:cubicBezTo>
                  <a:cubicBezTo>
                    <a:pt x="6" y="14"/>
                    <a:pt x="7" y="15"/>
                    <a:pt x="8" y="15"/>
                  </a:cubicBezTo>
                  <a:cubicBezTo>
                    <a:pt x="10" y="15"/>
                    <a:pt x="12" y="14"/>
                    <a:pt x="14" y="16"/>
                  </a:cubicBezTo>
                  <a:cubicBezTo>
                    <a:pt x="16" y="17"/>
                    <a:pt x="17" y="19"/>
                    <a:pt x="20" y="19"/>
                  </a:cubicBezTo>
                  <a:cubicBezTo>
                    <a:pt x="22" y="20"/>
                    <a:pt x="25" y="21"/>
                    <a:pt x="28" y="22"/>
                  </a:cubicBezTo>
                  <a:cubicBezTo>
                    <a:pt x="29" y="22"/>
                    <a:pt x="30" y="23"/>
                    <a:pt x="31" y="24"/>
                  </a:cubicBezTo>
                  <a:cubicBezTo>
                    <a:pt x="32" y="25"/>
                    <a:pt x="33" y="25"/>
                    <a:pt x="34" y="26"/>
                  </a:cubicBezTo>
                  <a:cubicBezTo>
                    <a:pt x="35" y="27"/>
                    <a:pt x="35" y="28"/>
                    <a:pt x="36" y="29"/>
                  </a:cubicBezTo>
                  <a:cubicBezTo>
                    <a:pt x="37" y="30"/>
                    <a:pt x="38" y="30"/>
                    <a:pt x="39" y="31"/>
                  </a:cubicBezTo>
                  <a:cubicBezTo>
                    <a:pt x="40" y="31"/>
                    <a:pt x="41" y="31"/>
                    <a:pt x="43" y="31"/>
                  </a:cubicBezTo>
                  <a:cubicBezTo>
                    <a:pt x="44" y="32"/>
                    <a:pt x="45" y="33"/>
                    <a:pt x="46" y="33"/>
                  </a:cubicBezTo>
                  <a:cubicBezTo>
                    <a:pt x="49" y="32"/>
                    <a:pt x="46" y="27"/>
                    <a:pt x="49" y="26"/>
                  </a:cubicBezTo>
                  <a:cubicBezTo>
                    <a:pt x="50" y="26"/>
                    <a:pt x="51" y="27"/>
                    <a:pt x="51" y="25"/>
                  </a:cubicBezTo>
                  <a:cubicBezTo>
                    <a:pt x="51" y="24"/>
                    <a:pt x="49" y="23"/>
                    <a:pt x="48" y="22"/>
                  </a:cubicBezTo>
                  <a:cubicBezTo>
                    <a:pt x="47" y="20"/>
                    <a:pt x="47" y="19"/>
                    <a:pt x="47" y="17"/>
                  </a:cubicBezTo>
                  <a:cubicBezTo>
                    <a:pt x="48" y="15"/>
                    <a:pt x="49" y="14"/>
                    <a:pt x="49" y="12"/>
                  </a:cubicBezTo>
                  <a:cubicBezTo>
                    <a:pt x="49" y="10"/>
                    <a:pt x="49" y="9"/>
                    <a:pt x="51" y="7"/>
                  </a:cubicBezTo>
                  <a:cubicBezTo>
                    <a:pt x="52" y="6"/>
                    <a:pt x="53" y="6"/>
                    <a:pt x="53" y="5"/>
                  </a:cubicBezTo>
                  <a:cubicBezTo>
                    <a:pt x="53" y="5"/>
                    <a:pt x="53" y="5"/>
                    <a:pt x="53" y="5"/>
                  </a:cubicBezTo>
                  <a:cubicBezTo>
                    <a:pt x="53" y="4"/>
                    <a:pt x="53" y="5"/>
                    <a:pt x="53" y="5"/>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sp>
        <p:nvSpPr>
          <p:cNvPr id="187" name="Freeform 445">
            <a:extLst>
              <a:ext uri="{FF2B5EF4-FFF2-40B4-BE49-F238E27FC236}">
                <a16:creationId xmlns:a16="http://schemas.microsoft.com/office/drawing/2014/main" id="{439196FA-E906-1C66-A012-B6666B9194A9}"/>
              </a:ext>
            </a:extLst>
          </p:cNvPr>
          <p:cNvSpPr/>
          <p:nvPr>
            <p:custDataLst>
              <p:tags r:id="rId113"/>
            </p:custDataLst>
          </p:nvPr>
        </p:nvSpPr>
        <p:spPr bwMode="auto">
          <a:xfrm>
            <a:off x="4861627" y="2816279"/>
            <a:ext cx="122133" cy="67073"/>
          </a:xfrm>
          <a:custGeom>
            <a:avLst/>
            <a:gdLst>
              <a:gd name="T0" fmla="*/ 8 w 104"/>
              <a:gd name="T1" fmla="*/ 2 h 57"/>
              <a:gd name="T2" fmla="*/ 4 w 104"/>
              <a:gd name="T3" fmla="*/ 0 h 57"/>
              <a:gd name="T4" fmla="*/ 2 w 104"/>
              <a:gd name="T5" fmla="*/ 4 h 57"/>
              <a:gd name="T6" fmla="*/ 3 w 104"/>
              <a:gd name="T7" fmla="*/ 13 h 57"/>
              <a:gd name="T8" fmla="*/ 7 w 104"/>
              <a:gd name="T9" fmla="*/ 16 h 57"/>
              <a:gd name="T10" fmla="*/ 9 w 104"/>
              <a:gd name="T11" fmla="*/ 19 h 57"/>
              <a:gd name="T12" fmla="*/ 5 w 104"/>
              <a:gd name="T13" fmla="*/ 24 h 57"/>
              <a:gd name="T14" fmla="*/ 2 w 104"/>
              <a:gd name="T15" fmla="*/ 31 h 57"/>
              <a:gd name="T16" fmla="*/ 2 w 104"/>
              <a:gd name="T17" fmla="*/ 36 h 57"/>
              <a:gd name="T18" fmla="*/ 1 w 104"/>
              <a:gd name="T19" fmla="*/ 38 h 57"/>
              <a:gd name="T20" fmla="*/ 8 w 104"/>
              <a:gd name="T21" fmla="*/ 45 h 57"/>
              <a:gd name="T22" fmla="*/ 9 w 104"/>
              <a:gd name="T23" fmla="*/ 55 h 57"/>
              <a:gd name="T24" fmla="*/ 18 w 104"/>
              <a:gd name="T25" fmla="*/ 55 h 57"/>
              <a:gd name="T26" fmla="*/ 27 w 104"/>
              <a:gd name="T27" fmla="*/ 53 h 57"/>
              <a:gd name="T28" fmla="*/ 35 w 104"/>
              <a:gd name="T29" fmla="*/ 52 h 57"/>
              <a:gd name="T30" fmla="*/ 42 w 104"/>
              <a:gd name="T31" fmla="*/ 56 h 57"/>
              <a:gd name="T32" fmla="*/ 51 w 104"/>
              <a:gd name="T33" fmla="*/ 56 h 57"/>
              <a:gd name="T34" fmla="*/ 55 w 104"/>
              <a:gd name="T35" fmla="*/ 56 h 57"/>
              <a:gd name="T36" fmla="*/ 59 w 104"/>
              <a:gd name="T37" fmla="*/ 55 h 57"/>
              <a:gd name="T38" fmla="*/ 62 w 104"/>
              <a:gd name="T39" fmla="*/ 50 h 57"/>
              <a:gd name="T40" fmla="*/ 68 w 104"/>
              <a:gd name="T41" fmla="*/ 48 h 57"/>
              <a:gd name="T42" fmla="*/ 74 w 104"/>
              <a:gd name="T43" fmla="*/ 44 h 57"/>
              <a:gd name="T44" fmla="*/ 83 w 104"/>
              <a:gd name="T45" fmla="*/ 42 h 57"/>
              <a:gd name="T46" fmla="*/ 90 w 104"/>
              <a:gd name="T47" fmla="*/ 44 h 57"/>
              <a:gd name="T48" fmla="*/ 94 w 104"/>
              <a:gd name="T49" fmla="*/ 44 h 57"/>
              <a:gd name="T50" fmla="*/ 94 w 104"/>
              <a:gd name="T51" fmla="*/ 41 h 57"/>
              <a:gd name="T52" fmla="*/ 88 w 104"/>
              <a:gd name="T53" fmla="*/ 36 h 57"/>
              <a:gd name="T54" fmla="*/ 85 w 104"/>
              <a:gd name="T55" fmla="*/ 33 h 57"/>
              <a:gd name="T56" fmla="*/ 91 w 104"/>
              <a:gd name="T57" fmla="*/ 31 h 57"/>
              <a:gd name="T58" fmla="*/ 93 w 104"/>
              <a:gd name="T59" fmla="*/ 24 h 57"/>
              <a:gd name="T60" fmla="*/ 93 w 104"/>
              <a:gd name="T61" fmla="*/ 20 h 57"/>
              <a:gd name="T62" fmla="*/ 96 w 104"/>
              <a:gd name="T63" fmla="*/ 18 h 57"/>
              <a:gd name="T64" fmla="*/ 102 w 104"/>
              <a:gd name="T65" fmla="*/ 15 h 57"/>
              <a:gd name="T66" fmla="*/ 104 w 104"/>
              <a:gd name="T67" fmla="*/ 10 h 57"/>
              <a:gd name="T68" fmla="*/ 97 w 104"/>
              <a:gd name="T69" fmla="*/ 6 h 57"/>
              <a:gd name="T70" fmla="*/ 88 w 104"/>
              <a:gd name="T71" fmla="*/ 3 h 57"/>
              <a:gd name="T72" fmla="*/ 80 w 104"/>
              <a:gd name="T73" fmla="*/ 2 h 57"/>
              <a:gd name="T74" fmla="*/ 72 w 104"/>
              <a:gd name="T75" fmla="*/ 4 h 57"/>
              <a:gd name="T76" fmla="*/ 63 w 104"/>
              <a:gd name="T77" fmla="*/ 6 h 57"/>
              <a:gd name="T78" fmla="*/ 57 w 104"/>
              <a:gd name="T79" fmla="*/ 10 h 57"/>
              <a:gd name="T80" fmla="*/ 49 w 104"/>
              <a:gd name="T81" fmla="*/ 10 h 57"/>
              <a:gd name="T82" fmla="*/ 40 w 104"/>
              <a:gd name="T83" fmla="*/ 9 h 57"/>
              <a:gd name="T84" fmla="*/ 31 w 104"/>
              <a:gd name="T85" fmla="*/ 11 h 57"/>
              <a:gd name="T86" fmla="*/ 23 w 104"/>
              <a:gd name="T87" fmla="*/ 9 h 57"/>
              <a:gd name="T88" fmla="*/ 14 w 104"/>
              <a:gd name="T89" fmla="*/ 7 h 57"/>
              <a:gd name="T90" fmla="*/ 8 w 104"/>
              <a:gd name="T91" fmla="*/ 7 h 57"/>
              <a:gd name="T92" fmla="*/ 8 w 104"/>
              <a:gd name="T93" fmla="*/ 1 h 57"/>
              <a:gd name="T94" fmla="*/ 8 w 104"/>
              <a:gd name="T95" fmla="*/ 2 h 57"/>
              <a:gd name="T96" fmla="*/ 8 w 104"/>
              <a:gd name="T97"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 h="57">
                <a:moveTo>
                  <a:pt x="8" y="2"/>
                </a:moveTo>
                <a:cubicBezTo>
                  <a:pt x="7" y="1"/>
                  <a:pt x="5" y="0"/>
                  <a:pt x="4" y="0"/>
                </a:cubicBezTo>
                <a:cubicBezTo>
                  <a:pt x="3" y="0"/>
                  <a:pt x="2" y="3"/>
                  <a:pt x="2" y="4"/>
                </a:cubicBezTo>
                <a:cubicBezTo>
                  <a:pt x="0" y="7"/>
                  <a:pt x="0" y="10"/>
                  <a:pt x="3" y="13"/>
                </a:cubicBezTo>
                <a:cubicBezTo>
                  <a:pt x="4" y="14"/>
                  <a:pt x="5" y="15"/>
                  <a:pt x="7" y="16"/>
                </a:cubicBezTo>
                <a:cubicBezTo>
                  <a:pt x="8" y="17"/>
                  <a:pt x="9" y="17"/>
                  <a:pt x="9" y="19"/>
                </a:cubicBezTo>
                <a:cubicBezTo>
                  <a:pt x="10" y="21"/>
                  <a:pt x="7" y="23"/>
                  <a:pt x="5" y="24"/>
                </a:cubicBezTo>
                <a:cubicBezTo>
                  <a:pt x="3" y="26"/>
                  <a:pt x="0" y="28"/>
                  <a:pt x="2" y="31"/>
                </a:cubicBezTo>
                <a:cubicBezTo>
                  <a:pt x="2" y="32"/>
                  <a:pt x="3" y="34"/>
                  <a:pt x="2" y="36"/>
                </a:cubicBezTo>
                <a:cubicBezTo>
                  <a:pt x="2" y="36"/>
                  <a:pt x="0" y="37"/>
                  <a:pt x="1" y="38"/>
                </a:cubicBezTo>
                <a:cubicBezTo>
                  <a:pt x="1" y="41"/>
                  <a:pt x="6" y="43"/>
                  <a:pt x="8" y="45"/>
                </a:cubicBezTo>
                <a:cubicBezTo>
                  <a:pt x="10" y="48"/>
                  <a:pt x="11" y="51"/>
                  <a:pt x="9" y="55"/>
                </a:cubicBezTo>
                <a:cubicBezTo>
                  <a:pt x="12" y="55"/>
                  <a:pt x="15" y="56"/>
                  <a:pt x="18" y="55"/>
                </a:cubicBezTo>
                <a:cubicBezTo>
                  <a:pt x="21" y="55"/>
                  <a:pt x="24" y="54"/>
                  <a:pt x="27" y="53"/>
                </a:cubicBezTo>
                <a:cubicBezTo>
                  <a:pt x="29" y="52"/>
                  <a:pt x="32" y="51"/>
                  <a:pt x="35" y="52"/>
                </a:cubicBezTo>
                <a:cubicBezTo>
                  <a:pt x="37" y="53"/>
                  <a:pt x="39" y="55"/>
                  <a:pt x="42" y="56"/>
                </a:cubicBezTo>
                <a:cubicBezTo>
                  <a:pt x="45" y="56"/>
                  <a:pt x="48" y="57"/>
                  <a:pt x="51" y="56"/>
                </a:cubicBezTo>
                <a:cubicBezTo>
                  <a:pt x="52" y="56"/>
                  <a:pt x="53" y="56"/>
                  <a:pt x="55" y="56"/>
                </a:cubicBezTo>
                <a:cubicBezTo>
                  <a:pt x="56" y="56"/>
                  <a:pt x="58" y="56"/>
                  <a:pt x="59" y="55"/>
                </a:cubicBezTo>
                <a:cubicBezTo>
                  <a:pt x="61" y="54"/>
                  <a:pt x="60" y="52"/>
                  <a:pt x="62" y="50"/>
                </a:cubicBezTo>
                <a:cubicBezTo>
                  <a:pt x="63" y="49"/>
                  <a:pt x="66" y="49"/>
                  <a:pt x="68" y="48"/>
                </a:cubicBezTo>
                <a:cubicBezTo>
                  <a:pt x="70" y="47"/>
                  <a:pt x="72" y="45"/>
                  <a:pt x="74" y="44"/>
                </a:cubicBezTo>
                <a:cubicBezTo>
                  <a:pt x="77" y="42"/>
                  <a:pt x="80" y="41"/>
                  <a:pt x="83" y="42"/>
                </a:cubicBezTo>
                <a:cubicBezTo>
                  <a:pt x="85" y="43"/>
                  <a:pt x="87" y="44"/>
                  <a:pt x="90" y="44"/>
                </a:cubicBezTo>
                <a:cubicBezTo>
                  <a:pt x="92" y="44"/>
                  <a:pt x="93" y="44"/>
                  <a:pt x="94" y="44"/>
                </a:cubicBezTo>
                <a:cubicBezTo>
                  <a:pt x="96" y="43"/>
                  <a:pt x="94" y="41"/>
                  <a:pt x="94" y="41"/>
                </a:cubicBezTo>
                <a:cubicBezTo>
                  <a:pt x="92" y="39"/>
                  <a:pt x="90" y="38"/>
                  <a:pt x="88" y="36"/>
                </a:cubicBezTo>
                <a:cubicBezTo>
                  <a:pt x="87" y="36"/>
                  <a:pt x="83" y="35"/>
                  <a:pt x="85" y="33"/>
                </a:cubicBezTo>
                <a:cubicBezTo>
                  <a:pt x="87" y="32"/>
                  <a:pt x="90" y="32"/>
                  <a:pt x="91" y="31"/>
                </a:cubicBezTo>
                <a:cubicBezTo>
                  <a:pt x="94" y="29"/>
                  <a:pt x="94" y="27"/>
                  <a:pt x="93" y="24"/>
                </a:cubicBezTo>
                <a:cubicBezTo>
                  <a:pt x="93" y="23"/>
                  <a:pt x="93" y="22"/>
                  <a:pt x="93" y="20"/>
                </a:cubicBezTo>
                <a:cubicBezTo>
                  <a:pt x="94" y="19"/>
                  <a:pt x="95" y="19"/>
                  <a:pt x="96" y="18"/>
                </a:cubicBezTo>
                <a:cubicBezTo>
                  <a:pt x="97" y="16"/>
                  <a:pt x="100" y="17"/>
                  <a:pt x="102" y="15"/>
                </a:cubicBezTo>
                <a:cubicBezTo>
                  <a:pt x="103" y="14"/>
                  <a:pt x="104" y="12"/>
                  <a:pt x="104" y="10"/>
                </a:cubicBezTo>
                <a:cubicBezTo>
                  <a:pt x="104" y="8"/>
                  <a:pt x="98" y="7"/>
                  <a:pt x="97" y="6"/>
                </a:cubicBezTo>
                <a:cubicBezTo>
                  <a:pt x="94" y="5"/>
                  <a:pt x="91" y="4"/>
                  <a:pt x="88" y="3"/>
                </a:cubicBezTo>
                <a:cubicBezTo>
                  <a:pt x="86" y="2"/>
                  <a:pt x="83" y="2"/>
                  <a:pt x="80" y="2"/>
                </a:cubicBezTo>
                <a:cubicBezTo>
                  <a:pt x="77" y="3"/>
                  <a:pt x="74" y="3"/>
                  <a:pt x="72" y="4"/>
                </a:cubicBezTo>
                <a:cubicBezTo>
                  <a:pt x="69" y="4"/>
                  <a:pt x="66" y="5"/>
                  <a:pt x="63" y="6"/>
                </a:cubicBezTo>
                <a:cubicBezTo>
                  <a:pt x="61" y="7"/>
                  <a:pt x="59" y="9"/>
                  <a:pt x="57" y="10"/>
                </a:cubicBezTo>
                <a:cubicBezTo>
                  <a:pt x="54" y="11"/>
                  <a:pt x="51" y="11"/>
                  <a:pt x="49" y="10"/>
                </a:cubicBezTo>
                <a:cubicBezTo>
                  <a:pt x="46" y="10"/>
                  <a:pt x="43" y="9"/>
                  <a:pt x="40" y="9"/>
                </a:cubicBezTo>
                <a:cubicBezTo>
                  <a:pt x="37" y="9"/>
                  <a:pt x="34" y="10"/>
                  <a:pt x="31" y="11"/>
                </a:cubicBezTo>
                <a:cubicBezTo>
                  <a:pt x="28" y="11"/>
                  <a:pt x="26" y="10"/>
                  <a:pt x="23" y="9"/>
                </a:cubicBezTo>
                <a:cubicBezTo>
                  <a:pt x="20" y="7"/>
                  <a:pt x="18" y="7"/>
                  <a:pt x="14" y="7"/>
                </a:cubicBezTo>
                <a:cubicBezTo>
                  <a:pt x="12" y="8"/>
                  <a:pt x="9" y="9"/>
                  <a:pt x="8" y="7"/>
                </a:cubicBezTo>
                <a:cubicBezTo>
                  <a:pt x="7" y="5"/>
                  <a:pt x="9" y="2"/>
                  <a:pt x="8" y="1"/>
                </a:cubicBezTo>
                <a:cubicBezTo>
                  <a:pt x="8" y="1"/>
                  <a:pt x="8" y="2"/>
                  <a:pt x="8" y="2"/>
                </a:cubicBezTo>
                <a:cubicBezTo>
                  <a:pt x="7" y="1"/>
                  <a:pt x="8" y="2"/>
                  <a:pt x="8" y="2"/>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nvGrpSpPr>
          <p:cNvPr id="188" name="Group 187">
            <a:extLst>
              <a:ext uri="{FF2B5EF4-FFF2-40B4-BE49-F238E27FC236}">
                <a16:creationId xmlns:a16="http://schemas.microsoft.com/office/drawing/2014/main" id="{44416E4B-AE67-6339-E303-A077CFED7105}"/>
              </a:ext>
            </a:extLst>
          </p:cNvPr>
          <p:cNvGrpSpPr/>
          <p:nvPr>
            <p:custDataLst>
              <p:tags r:id="rId114"/>
            </p:custDataLst>
          </p:nvPr>
        </p:nvGrpSpPr>
        <p:grpSpPr>
          <a:xfrm>
            <a:off x="4815577" y="2875343"/>
            <a:ext cx="129140" cy="156169"/>
            <a:chOff x="6357938" y="3184526"/>
            <a:chExt cx="204787" cy="247650"/>
          </a:xfrm>
        </p:grpSpPr>
        <p:sp>
          <p:nvSpPr>
            <p:cNvPr id="189" name="Freeform 447">
              <a:extLst>
                <a:ext uri="{FF2B5EF4-FFF2-40B4-BE49-F238E27FC236}">
                  <a16:creationId xmlns:a16="http://schemas.microsoft.com/office/drawing/2014/main" id="{BC9F24E2-7B62-CF88-FB97-A5E9013162EC}"/>
                </a:ext>
              </a:extLst>
            </p:cNvPr>
            <p:cNvSpPr/>
            <p:nvPr>
              <p:custDataLst>
                <p:tags r:id="rId263"/>
              </p:custDataLst>
            </p:nvPr>
          </p:nvSpPr>
          <p:spPr bwMode="auto">
            <a:xfrm>
              <a:off x="6357938" y="3184526"/>
              <a:ext cx="204787" cy="147638"/>
            </a:xfrm>
            <a:custGeom>
              <a:avLst/>
              <a:gdLst>
                <a:gd name="T0" fmla="*/ 105 w 111"/>
                <a:gd name="T1" fmla="*/ 13 h 80"/>
                <a:gd name="T2" fmla="*/ 111 w 111"/>
                <a:gd name="T3" fmla="*/ 5 h 80"/>
                <a:gd name="T4" fmla="*/ 107 w 111"/>
                <a:gd name="T5" fmla="*/ 1 h 80"/>
                <a:gd name="T6" fmla="*/ 102 w 111"/>
                <a:gd name="T7" fmla="*/ 5 h 80"/>
                <a:gd name="T8" fmla="*/ 92 w 111"/>
                <a:gd name="T9" fmla="*/ 9 h 80"/>
                <a:gd name="T10" fmla="*/ 70 w 111"/>
                <a:gd name="T11" fmla="*/ 4 h 80"/>
                <a:gd name="T12" fmla="*/ 52 w 111"/>
                <a:gd name="T13" fmla="*/ 7 h 80"/>
                <a:gd name="T14" fmla="*/ 48 w 111"/>
                <a:gd name="T15" fmla="*/ 8 h 80"/>
                <a:gd name="T16" fmla="*/ 40 w 111"/>
                <a:gd name="T17" fmla="*/ 13 h 80"/>
                <a:gd name="T18" fmla="*/ 33 w 111"/>
                <a:gd name="T19" fmla="*/ 14 h 80"/>
                <a:gd name="T20" fmla="*/ 19 w 111"/>
                <a:gd name="T21" fmla="*/ 17 h 80"/>
                <a:gd name="T22" fmla="*/ 16 w 111"/>
                <a:gd name="T23" fmla="*/ 24 h 80"/>
                <a:gd name="T24" fmla="*/ 9 w 111"/>
                <a:gd name="T25" fmla="*/ 34 h 80"/>
                <a:gd name="T26" fmla="*/ 4 w 111"/>
                <a:gd name="T27" fmla="*/ 40 h 80"/>
                <a:gd name="T28" fmla="*/ 2 w 111"/>
                <a:gd name="T29" fmla="*/ 46 h 80"/>
                <a:gd name="T30" fmla="*/ 12 w 111"/>
                <a:gd name="T31" fmla="*/ 53 h 80"/>
                <a:gd name="T32" fmla="*/ 13 w 111"/>
                <a:gd name="T33" fmla="*/ 57 h 80"/>
                <a:gd name="T34" fmla="*/ 15 w 111"/>
                <a:gd name="T35" fmla="*/ 61 h 80"/>
                <a:gd name="T36" fmla="*/ 21 w 111"/>
                <a:gd name="T37" fmla="*/ 65 h 80"/>
                <a:gd name="T38" fmla="*/ 43 w 111"/>
                <a:gd name="T39" fmla="*/ 66 h 80"/>
                <a:gd name="T40" fmla="*/ 52 w 111"/>
                <a:gd name="T41" fmla="*/ 70 h 80"/>
                <a:gd name="T42" fmla="*/ 58 w 111"/>
                <a:gd name="T43" fmla="*/ 74 h 80"/>
                <a:gd name="T44" fmla="*/ 66 w 111"/>
                <a:gd name="T45" fmla="*/ 77 h 80"/>
                <a:gd name="T46" fmla="*/ 59 w 111"/>
                <a:gd name="T47" fmla="*/ 67 h 80"/>
                <a:gd name="T48" fmla="*/ 50 w 111"/>
                <a:gd name="T49" fmla="*/ 61 h 80"/>
                <a:gd name="T50" fmla="*/ 41 w 111"/>
                <a:gd name="T51" fmla="*/ 57 h 80"/>
                <a:gd name="T52" fmla="*/ 47 w 111"/>
                <a:gd name="T53" fmla="*/ 53 h 80"/>
                <a:gd name="T54" fmla="*/ 51 w 111"/>
                <a:gd name="T55" fmla="*/ 51 h 80"/>
                <a:gd name="T56" fmla="*/ 51 w 111"/>
                <a:gd name="T57" fmla="*/ 48 h 80"/>
                <a:gd name="T58" fmla="*/ 47 w 111"/>
                <a:gd name="T59" fmla="*/ 42 h 80"/>
                <a:gd name="T60" fmla="*/ 42 w 111"/>
                <a:gd name="T61" fmla="*/ 32 h 80"/>
                <a:gd name="T62" fmla="*/ 47 w 111"/>
                <a:gd name="T63" fmla="*/ 21 h 80"/>
                <a:gd name="T64" fmla="*/ 54 w 111"/>
                <a:gd name="T65" fmla="*/ 28 h 80"/>
                <a:gd name="T66" fmla="*/ 55 w 111"/>
                <a:gd name="T67" fmla="*/ 34 h 80"/>
                <a:gd name="T68" fmla="*/ 60 w 111"/>
                <a:gd name="T69" fmla="*/ 35 h 80"/>
                <a:gd name="T70" fmla="*/ 60 w 111"/>
                <a:gd name="T71" fmla="*/ 30 h 80"/>
                <a:gd name="T72" fmla="*/ 65 w 111"/>
                <a:gd name="T73" fmla="*/ 34 h 80"/>
                <a:gd name="T74" fmla="*/ 63 w 111"/>
                <a:gd name="T75" fmla="*/ 28 h 80"/>
                <a:gd name="T76" fmla="*/ 72 w 111"/>
                <a:gd name="T77" fmla="*/ 31 h 80"/>
                <a:gd name="T78" fmla="*/ 68 w 111"/>
                <a:gd name="T79" fmla="*/ 28 h 80"/>
                <a:gd name="T80" fmla="*/ 63 w 111"/>
                <a:gd name="T81" fmla="*/ 22 h 80"/>
                <a:gd name="T82" fmla="*/ 64 w 111"/>
                <a:gd name="T83" fmla="*/ 19 h 80"/>
                <a:gd name="T84" fmla="*/ 71 w 111"/>
                <a:gd name="T85" fmla="*/ 15 h 80"/>
                <a:gd name="T86" fmla="*/ 86 w 111"/>
                <a:gd name="T87" fmla="*/ 14 h 80"/>
                <a:gd name="T88" fmla="*/ 100 w 111"/>
                <a:gd name="T89" fmla="*/ 19 h 80"/>
                <a:gd name="T90" fmla="*/ 101 w 111"/>
                <a:gd name="T91" fmla="*/ 2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0" h="80">
                  <a:moveTo>
                    <a:pt x="101" y="20"/>
                  </a:moveTo>
                  <a:cubicBezTo>
                    <a:pt x="102" y="18"/>
                    <a:pt x="104" y="16"/>
                    <a:pt x="105" y="13"/>
                  </a:cubicBezTo>
                  <a:cubicBezTo>
                    <a:pt x="106" y="10"/>
                    <a:pt x="107" y="9"/>
                    <a:pt x="110" y="7"/>
                  </a:cubicBezTo>
                  <a:cubicBezTo>
                    <a:pt x="110" y="7"/>
                    <a:pt x="111" y="6"/>
                    <a:pt x="111" y="5"/>
                  </a:cubicBezTo>
                  <a:cubicBezTo>
                    <a:pt x="110" y="4"/>
                    <a:pt x="110" y="2"/>
                    <a:pt x="109" y="1"/>
                  </a:cubicBezTo>
                  <a:cubicBezTo>
                    <a:pt x="108" y="0"/>
                    <a:pt x="108" y="0"/>
                    <a:pt x="107" y="1"/>
                  </a:cubicBezTo>
                  <a:cubicBezTo>
                    <a:pt x="106" y="1"/>
                    <a:pt x="104" y="1"/>
                    <a:pt x="103" y="2"/>
                  </a:cubicBezTo>
                  <a:cubicBezTo>
                    <a:pt x="103" y="2"/>
                    <a:pt x="103" y="4"/>
                    <a:pt x="102" y="5"/>
                  </a:cubicBezTo>
                  <a:cubicBezTo>
                    <a:pt x="102" y="5"/>
                    <a:pt x="102" y="6"/>
                    <a:pt x="101" y="7"/>
                  </a:cubicBezTo>
                  <a:cubicBezTo>
                    <a:pt x="99" y="8"/>
                    <a:pt x="95" y="8"/>
                    <a:pt x="92" y="9"/>
                  </a:cubicBezTo>
                  <a:cubicBezTo>
                    <a:pt x="87" y="9"/>
                    <a:pt x="81" y="9"/>
                    <a:pt x="77" y="6"/>
                  </a:cubicBezTo>
                  <a:cubicBezTo>
                    <a:pt x="75" y="4"/>
                    <a:pt x="73" y="3"/>
                    <a:pt x="70" y="4"/>
                  </a:cubicBezTo>
                  <a:cubicBezTo>
                    <a:pt x="67" y="5"/>
                    <a:pt x="64" y="6"/>
                    <a:pt x="61" y="7"/>
                  </a:cubicBezTo>
                  <a:cubicBezTo>
                    <a:pt x="58" y="8"/>
                    <a:pt x="55" y="8"/>
                    <a:pt x="52" y="7"/>
                  </a:cubicBezTo>
                  <a:cubicBezTo>
                    <a:pt x="51" y="7"/>
                    <a:pt x="49" y="7"/>
                    <a:pt x="49" y="7"/>
                  </a:cubicBezTo>
                  <a:cubicBezTo>
                    <a:pt x="48" y="7"/>
                    <a:pt x="48" y="7"/>
                    <a:pt x="48" y="8"/>
                  </a:cubicBezTo>
                  <a:cubicBezTo>
                    <a:pt x="47" y="8"/>
                    <a:pt x="47" y="9"/>
                    <a:pt x="46" y="9"/>
                  </a:cubicBezTo>
                  <a:cubicBezTo>
                    <a:pt x="44" y="10"/>
                    <a:pt x="43" y="13"/>
                    <a:pt x="40" y="13"/>
                  </a:cubicBezTo>
                  <a:cubicBezTo>
                    <a:pt x="39" y="13"/>
                    <a:pt x="38" y="12"/>
                    <a:pt x="36" y="12"/>
                  </a:cubicBezTo>
                  <a:cubicBezTo>
                    <a:pt x="35" y="12"/>
                    <a:pt x="34" y="13"/>
                    <a:pt x="33" y="14"/>
                  </a:cubicBezTo>
                  <a:cubicBezTo>
                    <a:pt x="31" y="15"/>
                    <a:pt x="29" y="16"/>
                    <a:pt x="26" y="16"/>
                  </a:cubicBezTo>
                  <a:cubicBezTo>
                    <a:pt x="23" y="16"/>
                    <a:pt x="21" y="17"/>
                    <a:pt x="19" y="17"/>
                  </a:cubicBezTo>
                  <a:cubicBezTo>
                    <a:pt x="17" y="18"/>
                    <a:pt x="16" y="18"/>
                    <a:pt x="16" y="20"/>
                  </a:cubicBezTo>
                  <a:cubicBezTo>
                    <a:pt x="17" y="21"/>
                    <a:pt x="17" y="23"/>
                    <a:pt x="16" y="24"/>
                  </a:cubicBezTo>
                  <a:cubicBezTo>
                    <a:pt x="14" y="27"/>
                    <a:pt x="11" y="27"/>
                    <a:pt x="11" y="30"/>
                  </a:cubicBezTo>
                  <a:cubicBezTo>
                    <a:pt x="10" y="32"/>
                    <a:pt x="10" y="33"/>
                    <a:pt x="9" y="34"/>
                  </a:cubicBezTo>
                  <a:cubicBezTo>
                    <a:pt x="7" y="34"/>
                    <a:pt x="5" y="34"/>
                    <a:pt x="5" y="36"/>
                  </a:cubicBezTo>
                  <a:cubicBezTo>
                    <a:pt x="5" y="37"/>
                    <a:pt x="5" y="38"/>
                    <a:pt x="4" y="40"/>
                  </a:cubicBezTo>
                  <a:cubicBezTo>
                    <a:pt x="3" y="41"/>
                    <a:pt x="2" y="42"/>
                    <a:pt x="0" y="42"/>
                  </a:cubicBezTo>
                  <a:cubicBezTo>
                    <a:pt x="1" y="43"/>
                    <a:pt x="2" y="44"/>
                    <a:pt x="2" y="46"/>
                  </a:cubicBezTo>
                  <a:cubicBezTo>
                    <a:pt x="3" y="47"/>
                    <a:pt x="4" y="47"/>
                    <a:pt x="5" y="48"/>
                  </a:cubicBezTo>
                  <a:cubicBezTo>
                    <a:pt x="7" y="50"/>
                    <a:pt x="9" y="53"/>
                    <a:pt x="12" y="53"/>
                  </a:cubicBezTo>
                  <a:cubicBezTo>
                    <a:pt x="13" y="53"/>
                    <a:pt x="16" y="52"/>
                    <a:pt x="17" y="54"/>
                  </a:cubicBezTo>
                  <a:cubicBezTo>
                    <a:pt x="18" y="57"/>
                    <a:pt x="14" y="55"/>
                    <a:pt x="13" y="57"/>
                  </a:cubicBezTo>
                  <a:cubicBezTo>
                    <a:pt x="13" y="58"/>
                    <a:pt x="12" y="59"/>
                    <a:pt x="13" y="60"/>
                  </a:cubicBezTo>
                  <a:cubicBezTo>
                    <a:pt x="14" y="60"/>
                    <a:pt x="15" y="60"/>
                    <a:pt x="15" y="61"/>
                  </a:cubicBezTo>
                  <a:cubicBezTo>
                    <a:pt x="16" y="61"/>
                    <a:pt x="17" y="62"/>
                    <a:pt x="18" y="63"/>
                  </a:cubicBezTo>
                  <a:cubicBezTo>
                    <a:pt x="19" y="64"/>
                    <a:pt x="20" y="65"/>
                    <a:pt x="21" y="65"/>
                  </a:cubicBezTo>
                  <a:cubicBezTo>
                    <a:pt x="27" y="66"/>
                    <a:pt x="33" y="66"/>
                    <a:pt x="39" y="66"/>
                  </a:cubicBezTo>
                  <a:cubicBezTo>
                    <a:pt x="40" y="66"/>
                    <a:pt x="42" y="66"/>
                    <a:pt x="43" y="66"/>
                  </a:cubicBezTo>
                  <a:cubicBezTo>
                    <a:pt x="45" y="66"/>
                    <a:pt x="46" y="67"/>
                    <a:pt x="47" y="67"/>
                  </a:cubicBezTo>
                  <a:cubicBezTo>
                    <a:pt x="48" y="68"/>
                    <a:pt x="52" y="69"/>
                    <a:pt x="52" y="70"/>
                  </a:cubicBezTo>
                  <a:cubicBezTo>
                    <a:pt x="53" y="71"/>
                    <a:pt x="50" y="74"/>
                    <a:pt x="52" y="75"/>
                  </a:cubicBezTo>
                  <a:cubicBezTo>
                    <a:pt x="54" y="75"/>
                    <a:pt x="56" y="74"/>
                    <a:pt x="58" y="74"/>
                  </a:cubicBezTo>
                  <a:cubicBezTo>
                    <a:pt x="61" y="74"/>
                    <a:pt x="63" y="76"/>
                    <a:pt x="64" y="78"/>
                  </a:cubicBezTo>
                  <a:cubicBezTo>
                    <a:pt x="65" y="79"/>
                    <a:pt x="67" y="80"/>
                    <a:pt x="66" y="77"/>
                  </a:cubicBezTo>
                  <a:cubicBezTo>
                    <a:pt x="66" y="75"/>
                    <a:pt x="66" y="73"/>
                    <a:pt x="65" y="71"/>
                  </a:cubicBezTo>
                  <a:cubicBezTo>
                    <a:pt x="64" y="69"/>
                    <a:pt x="61" y="69"/>
                    <a:pt x="59" y="67"/>
                  </a:cubicBezTo>
                  <a:cubicBezTo>
                    <a:pt x="57" y="66"/>
                    <a:pt x="55" y="65"/>
                    <a:pt x="53" y="63"/>
                  </a:cubicBezTo>
                  <a:cubicBezTo>
                    <a:pt x="52" y="63"/>
                    <a:pt x="51" y="62"/>
                    <a:pt x="50" y="61"/>
                  </a:cubicBezTo>
                  <a:cubicBezTo>
                    <a:pt x="49" y="60"/>
                    <a:pt x="48" y="60"/>
                    <a:pt x="46" y="60"/>
                  </a:cubicBezTo>
                  <a:cubicBezTo>
                    <a:pt x="45" y="60"/>
                    <a:pt x="41" y="58"/>
                    <a:pt x="41" y="57"/>
                  </a:cubicBezTo>
                  <a:cubicBezTo>
                    <a:pt x="41" y="56"/>
                    <a:pt x="44" y="56"/>
                    <a:pt x="45" y="56"/>
                  </a:cubicBezTo>
                  <a:cubicBezTo>
                    <a:pt x="46" y="56"/>
                    <a:pt x="48" y="55"/>
                    <a:pt x="47" y="53"/>
                  </a:cubicBezTo>
                  <a:cubicBezTo>
                    <a:pt x="46" y="51"/>
                    <a:pt x="44" y="49"/>
                    <a:pt x="47" y="48"/>
                  </a:cubicBezTo>
                  <a:cubicBezTo>
                    <a:pt x="50" y="48"/>
                    <a:pt x="50" y="48"/>
                    <a:pt x="51" y="51"/>
                  </a:cubicBezTo>
                  <a:cubicBezTo>
                    <a:pt x="52" y="52"/>
                    <a:pt x="55" y="52"/>
                    <a:pt x="54" y="50"/>
                  </a:cubicBezTo>
                  <a:cubicBezTo>
                    <a:pt x="53" y="49"/>
                    <a:pt x="52" y="48"/>
                    <a:pt x="51" y="48"/>
                  </a:cubicBezTo>
                  <a:cubicBezTo>
                    <a:pt x="50" y="47"/>
                    <a:pt x="50" y="46"/>
                    <a:pt x="49" y="45"/>
                  </a:cubicBezTo>
                  <a:cubicBezTo>
                    <a:pt x="49" y="44"/>
                    <a:pt x="48" y="43"/>
                    <a:pt x="47" y="42"/>
                  </a:cubicBezTo>
                  <a:cubicBezTo>
                    <a:pt x="46" y="41"/>
                    <a:pt x="45" y="40"/>
                    <a:pt x="45" y="39"/>
                  </a:cubicBezTo>
                  <a:cubicBezTo>
                    <a:pt x="44" y="36"/>
                    <a:pt x="42" y="34"/>
                    <a:pt x="42" y="32"/>
                  </a:cubicBezTo>
                  <a:cubicBezTo>
                    <a:pt x="41" y="29"/>
                    <a:pt x="43" y="27"/>
                    <a:pt x="43" y="24"/>
                  </a:cubicBezTo>
                  <a:cubicBezTo>
                    <a:pt x="44" y="23"/>
                    <a:pt x="45" y="22"/>
                    <a:pt x="47" y="21"/>
                  </a:cubicBezTo>
                  <a:cubicBezTo>
                    <a:pt x="49" y="20"/>
                    <a:pt x="48" y="24"/>
                    <a:pt x="48" y="25"/>
                  </a:cubicBezTo>
                  <a:cubicBezTo>
                    <a:pt x="48" y="27"/>
                    <a:pt x="52" y="27"/>
                    <a:pt x="54" y="28"/>
                  </a:cubicBezTo>
                  <a:cubicBezTo>
                    <a:pt x="54" y="28"/>
                    <a:pt x="54" y="29"/>
                    <a:pt x="54" y="30"/>
                  </a:cubicBezTo>
                  <a:cubicBezTo>
                    <a:pt x="54" y="32"/>
                    <a:pt x="54" y="33"/>
                    <a:pt x="55" y="34"/>
                  </a:cubicBezTo>
                  <a:cubicBezTo>
                    <a:pt x="57" y="36"/>
                    <a:pt x="59" y="36"/>
                    <a:pt x="61" y="36"/>
                  </a:cubicBezTo>
                  <a:cubicBezTo>
                    <a:pt x="62" y="36"/>
                    <a:pt x="60" y="35"/>
                    <a:pt x="60" y="35"/>
                  </a:cubicBezTo>
                  <a:cubicBezTo>
                    <a:pt x="59" y="34"/>
                    <a:pt x="58" y="33"/>
                    <a:pt x="57" y="32"/>
                  </a:cubicBezTo>
                  <a:cubicBezTo>
                    <a:pt x="56" y="30"/>
                    <a:pt x="59" y="29"/>
                    <a:pt x="60" y="30"/>
                  </a:cubicBezTo>
                  <a:cubicBezTo>
                    <a:pt x="62" y="31"/>
                    <a:pt x="62" y="33"/>
                    <a:pt x="64" y="34"/>
                  </a:cubicBezTo>
                  <a:cubicBezTo>
                    <a:pt x="64" y="34"/>
                    <a:pt x="65" y="34"/>
                    <a:pt x="65" y="34"/>
                  </a:cubicBezTo>
                  <a:cubicBezTo>
                    <a:pt x="66" y="34"/>
                    <a:pt x="65" y="33"/>
                    <a:pt x="64" y="32"/>
                  </a:cubicBezTo>
                  <a:cubicBezTo>
                    <a:pt x="63" y="31"/>
                    <a:pt x="61" y="29"/>
                    <a:pt x="63" y="28"/>
                  </a:cubicBezTo>
                  <a:cubicBezTo>
                    <a:pt x="65" y="27"/>
                    <a:pt x="68" y="30"/>
                    <a:pt x="69" y="30"/>
                  </a:cubicBezTo>
                  <a:cubicBezTo>
                    <a:pt x="70" y="31"/>
                    <a:pt x="71" y="31"/>
                    <a:pt x="72" y="31"/>
                  </a:cubicBezTo>
                  <a:cubicBezTo>
                    <a:pt x="73" y="31"/>
                    <a:pt x="73" y="30"/>
                    <a:pt x="72" y="30"/>
                  </a:cubicBezTo>
                  <a:cubicBezTo>
                    <a:pt x="71" y="29"/>
                    <a:pt x="69" y="29"/>
                    <a:pt x="68" y="28"/>
                  </a:cubicBezTo>
                  <a:cubicBezTo>
                    <a:pt x="67" y="27"/>
                    <a:pt x="65" y="26"/>
                    <a:pt x="65" y="25"/>
                  </a:cubicBezTo>
                  <a:cubicBezTo>
                    <a:pt x="64" y="25"/>
                    <a:pt x="64" y="23"/>
                    <a:pt x="63" y="22"/>
                  </a:cubicBezTo>
                  <a:cubicBezTo>
                    <a:pt x="63" y="22"/>
                    <a:pt x="62" y="21"/>
                    <a:pt x="62" y="20"/>
                  </a:cubicBezTo>
                  <a:cubicBezTo>
                    <a:pt x="62" y="19"/>
                    <a:pt x="64" y="19"/>
                    <a:pt x="64" y="19"/>
                  </a:cubicBezTo>
                  <a:cubicBezTo>
                    <a:pt x="65" y="18"/>
                    <a:pt x="67" y="18"/>
                    <a:pt x="68" y="18"/>
                  </a:cubicBezTo>
                  <a:cubicBezTo>
                    <a:pt x="69" y="17"/>
                    <a:pt x="70" y="16"/>
                    <a:pt x="71" y="15"/>
                  </a:cubicBezTo>
                  <a:cubicBezTo>
                    <a:pt x="74" y="14"/>
                    <a:pt x="76" y="15"/>
                    <a:pt x="79" y="16"/>
                  </a:cubicBezTo>
                  <a:cubicBezTo>
                    <a:pt x="82" y="17"/>
                    <a:pt x="84" y="14"/>
                    <a:pt x="86" y="14"/>
                  </a:cubicBezTo>
                  <a:cubicBezTo>
                    <a:pt x="89" y="14"/>
                    <a:pt x="91" y="15"/>
                    <a:pt x="93" y="16"/>
                  </a:cubicBezTo>
                  <a:cubicBezTo>
                    <a:pt x="95" y="17"/>
                    <a:pt x="98" y="18"/>
                    <a:pt x="100" y="19"/>
                  </a:cubicBezTo>
                  <a:cubicBezTo>
                    <a:pt x="100" y="20"/>
                    <a:pt x="100" y="20"/>
                    <a:pt x="101" y="20"/>
                  </a:cubicBezTo>
                  <a:cubicBezTo>
                    <a:pt x="101" y="20"/>
                    <a:pt x="101" y="20"/>
                    <a:pt x="101" y="20"/>
                  </a:cubicBezTo>
                  <a:cubicBezTo>
                    <a:pt x="102" y="18"/>
                    <a:pt x="101" y="20"/>
                    <a:pt x="101" y="20"/>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90" name="Freeform 450">
              <a:extLst>
                <a:ext uri="{FF2B5EF4-FFF2-40B4-BE49-F238E27FC236}">
                  <a16:creationId xmlns:a16="http://schemas.microsoft.com/office/drawing/2014/main" id="{F831F76F-8EC9-AF0A-0D99-EE30044AAF1C}"/>
                </a:ext>
              </a:extLst>
            </p:cNvPr>
            <p:cNvSpPr/>
            <p:nvPr>
              <p:custDataLst>
                <p:tags r:id="rId264"/>
              </p:custDataLst>
            </p:nvPr>
          </p:nvSpPr>
          <p:spPr bwMode="auto">
            <a:xfrm>
              <a:off x="6391275" y="3309939"/>
              <a:ext cx="71437" cy="71438"/>
            </a:xfrm>
            <a:custGeom>
              <a:avLst/>
              <a:gdLst>
                <a:gd name="T0" fmla="*/ 30 w 39"/>
                <a:gd name="T1" fmla="*/ 17 h 38"/>
                <a:gd name="T2" fmla="*/ 34 w 39"/>
                <a:gd name="T3" fmla="*/ 20 h 38"/>
                <a:gd name="T4" fmla="*/ 39 w 39"/>
                <a:gd name="T5" fmla="*/ 17 h 38"/>
                <a:gd name="T6" fmla="*/ 35 w 39"/>
                <a:gd name="T7" fmla="*/ 14 h 38"/>
                <a:gd name="T8" fmla="*/ 31 w 39"/>
                <a:gd name="T9" fmla="*/ 9 h 38"/>
                <a:gd name="T10" fmla="*/ 25 w 39"/>
                <a:gd name="T11" fmla="*/ 6 h 38"/>
                <a:gd name="T12" fmla="*/ 22 w 39"/>
                <a:gd name="T13" fmla="*/ 4 h 38"/>
                <a:gd name="T14" fmla="*/ 19 w 39"/>
                <a:gd name="T15" fmla="*/ 2 h 38"/>
                <a:gd name="T16" fmla="*/ 15 w 39"/>
                <a:gd name="T17" fmla="*/ 1 h 38"/>
                <a:gd name="T18" fmla="*/ 12 w 39"/>
                <a:gd name="T19" fmla="*/ 1 h 38"/>
                <a:gd name="T20" fmla="*/ 4 w 39"/>
                <a:gd name="T21" fmla="*/ 5 h 38"/>
                <a:gd name="T22" fmla="*/ 2 w 39"/>
                <a:gd name="T23" fmla="*/ 10 h 38"/>
                <a:gd name="T24" fmla="*/ 4 w 39"/>
                <a:gd name="T25" fmla="*/ 12 h 38"/>
                <a:gd name="T26" fmla="*/ 7 w 39"/>
                <a:gd name="T27" fmla="*/ 15 h 38"/>
                <a:gd name="T28" fmla="*/ 8 w 39"/>
                <a:gd name="T29" fmla="*/ 18 h 38"/>
                <a:gd name="T30" fmla="*/ 7 w 39"/>
                <a:gd name="T31" fmla="*/ 21 h 38"/>
                <a:gd name="T32" fmla="*/ 8 w 39"/>
                <a:gd name="T33" fmla="*/ 25 h 38"/>
                <a:gd name="T34" fmla="*/ 9 w 39"/>
                <a:gd name="T35" fmla="*/ 28 h 38"/>
                <a:gd name="T36" fmla="*/ 13 w 39"/>
                <a:gd name="T37" fmla="*/ 26 h 38"/>
                <a:gd name="T38" fmla="*/ 17 w 39"/>
                <a:gd name="T39" fmla="*/ 25 h 38"/>
                <a:gd name="T40" fmla="*/ 17 w 39"/>
                <a:gd name="T41" fmla="*/ 28 h 38"/>
                <a:gd name="T42" fmla="*/ 19 w 39"/>
                <a:gd name="T43" fmla="*/ 29 h 38"/>
                <a:gd name="T44" fmla="*/ 21 w 39"/>
                <a:gd name="T45" fmla="*/ 34 h 38"/>
                <a:gd name="T46" fmla="*/ 23 w 39"/>
                <a:gd name="T47" fmla="*/ 32 h 38"/>
                <a:gd name="T48" fmla="*/ 27 w 39"/>
                <a:gd name="T49" fmla="*/ 31 h 38"/>
                <a:gd name="T50" fmla="*/ 29 w 39"/>
                <a:gd name="T51" fmla="*/ 33 h 38"/>
                <a:gd name="T52" fmla="*/ 31 w 39"/>
                <a:gd name="T53" fmla="*/ 35 h 38"/>
                <a:gd name="T54" fmla="*/ 33 w 39"/>
                <a:gd name="T55" fmla="*/ 35 h 38"/>
                <a:gd name="T56" fmla="*/ 33 w 39"/>
                <a:gd name="T57" fmla="*/ 33 h 38"/>
                <a:gd name="T58" fmla="*/ 33 w 39"/>
                <a:gd name="T59" fmla="*/ 29 h 38"/>
                <a:gd name="T60" fmla="*/ 31 w 39"/>
                <a:gd name="T61" fmla="*/ 26 h 38"/>
                <a:gd name="T62" fmla="*/ 30 w 39"/>
                <a:gd name="T63" fmla="*/ 22 h 38"/>
                <a:gd name="T64" fmla="*/ 27 w 39"/>
                <a:gd name="T65" fmla="*/ 18 h 38"/>
                <a:gd name="T66" fmla="*/ 29 w 39"/>
                <a:gd name="T67" fmla="*/ 16 h 38"/>
                <a:gd name="T68" fmla="*/ 30 w 39"/>
                <a:gd name="T69" fmla="*/ 18 h 38"/>
                <a:gd name="T70" fmla="*/ 30 w 39"/>
                <a:gd name="T71" fmla="*/ 17 h 38"/>
                <a:gd name="T72" fmla="*/ 30 w 39"/>
                <a:gd name="T73" fmla="*/ 1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38">
                  <a:moveTo>
                    <a:pt x="30" y="17"/>
                  </a:moveTo>
                  <a:cubicBezTo>
                    <a:pt x="31" y="19"/>
                    <a:pt x="32" y="20"/>
                    <a:pt x="34" y="20"/>
                  </a:cubicBezTo>
                  <a:cubicBezTo>
                    <a:pt x="36" y="20"/>
                    <a:pt x="39" y="19"/>
                    <a:pt x="39" y="17"/>
                  </a:cubicBezTo>
                  <a:cubicBezTo>
                    <a:pt x="38" y="15"/>
                    <a:pt x="36" y="15"/>
                    <a:pt x="35" y="14"/>
                  </a:cubicBezTo>
                  <a:cubicBezTo>
                    <a:pt x="33" y="13"/>
                    <a:pt x="33" y="10"/>
                    <a:pt x="31" y="9"/>
                  </a:cubicBezTo>
                  <a:cubicBezTo>
                    <a:pt x="29" y="9"/>
                    <a:pt x="27" y="7"/>
                    <a:pt x="25" y="6"/>
                  </a:cubicBezTo>
                  <a:cubicBezTo>
                    <a:pt x="24" y="5"/>
                    <a:pt x="23" y="5"/>
                    <a:pt x="22" y="4"/>
                  </a:cubicBezTo>
                  <a:cubicBezTo>
                    <a:pt x="21" y="3"/>
                    <a:pt x="20" y="2"/>
                    <a:pt x="19" y="2"/>
                  </a:cubicBezTo>
                  <a:cubicBezTo>
                    <a:pt x="18" y="1"/>
                    <a:pt x="16" y="1"/>
                    <a:pt x="15" y="1"/>
                  </a:cubicBezTo>
                  <a:cubicBezTo>
                    <a:pt x="14" y="0"/>
                    <a:pt x="13" y="0"/>
                    <a:pt x="12" y="1"/>
                  </a:cubicBezTo>
                  <a:cubicBezTo>
                    <a:pt x="9" y="2"/>
                    <a:pt x="6" y="4"/>
                    <a:pt x="4" y="5"/>
                  </a:cubicBezTo>
                  <a:cubicBezTo>
                    <a:pt x="2" y="7"/>
                    <a:pt x="0" y="7"/>
                    <a:pt x="2" y="10"/>
                  </a:cubicBezTo>
                  <a:cubicBezTo>
                    <a:pt x="2" y="11"/>
                    <a:pt x="3" y="12"/>
                    <a:pt x="4" y="12"/>
                  </a:cubicBezTo>
                  <a:cubicBezTo>
                    <a:pt x="5" y="13"/>
                    <a:pt x="6" y="13"/>
                    <a:pt x="7" y="15"/>
                  </a:cubicBezTo>
                  <a:cubicBezTo>
                    <a:pt x="7" y="16"/>
                    <a:pt x="8" y="17"/>
                    <a:pt x="8" y="18"/>
                  </a:cubicBezTo>
                  <a:cubicBezTo>
                    <a:pt x="9" y="19"/>
                    <a:pt x="8" y="20"/>
                    <a:pt x="7" y="21"/>
                  </a:cubicBezTo>
                  <a:cubicBezTo>
                    <a:pt x="7" y="23"/>
                    <a:pt x="7" y="24"/>
                    <a:pt x="8" y="25"/>
                  </a:cubicBezTo>
                  <a:cubicBezTo>
                    <a:pt x="8" y="26"/>
                    <a:pt x="9" y="28"/>
                    <a:pt x="9" y="28"/>
                  </a:cubicBezTo>
                  <a:cubicBezTo>
                    <a:pt x="10" y="29"/>
                    <a:pt x="12" y="27"/>
                    <a:pt x="13" y="26"/>
                  </a:cubicBezTo>
                  <a:cubicBezTo>
                    <a:pt x="13" y="26"/>
                    <a:pt x="16" y="24"/>
                    <a:pt x="17" y="25"/>
                  </a:cubicBezTo>
                  <a:cubicBezTo>
                    <a:pt x="18" y="26"/>
                    <a:pt x="17" y="27"/>
                    <a:pt x="17" y="28"/>
                  </a:cubicBezTo>
                  <a:cubicBezTo>
                    <a:pt x="18" y="29"/>
                    <a:pt x="19" y="29"/>
                    <a:pt x="19" y="29"/>
                  </a:cubicBezTo>
                  <a:cubicBezTo>
                    <a:pt x="21" y="31"/>
                    <a:pt x="20" y="33"/>
                    <a:pt x="21" y="34"/>
                  </a:cubicBezTo>
                  <a:cubicBezTo>
                    <a:pt x="22" y="36"/>
                    <a:pt x="23" y="33"/>
                    <a:pt x="23" y="32"/>
                  </a:cubicBezTo>
                  <a:cubicBezTo>
                    <a:pt x="24" y="30"/>
                    <a:pt x="25" y="30"/>
                    <a:pt x="27" y="31"/>
                  </a:cubicBezTo>
                  <a:cubicBezTo>
                    <a:pt x="27" y="32"/>
                    <a:pt x="28" y="32"/>
                    <a:pt x="29" y="33"/>
                  </a:cubicBezTo>
                  <a:cubicBezTo>
                    <a:pt x="29" y="34"/>
                    <a:pt x="30" y="34"/>
                    <a:pt x="31" y="35"/>
                  </a:cubicBezTo>
                  <a:cubicBezTo>
                    <a:pt x="32" y="36"/>
                    <a:pt x="34" y="38"/>
                    <a:pt x="33" y="35"/>
                  </a:cubicBezTo>
                  <a:cubicBezTo>
                    <a:pt x="33" y="34"/>
                    <a:pt x="33" y="34"/>
                    <a:pt x="33" y="33"/>
                  </a:cubicBezTo>
                  <a:cubicBezTo>
                    <a:pt x="33" y="32"/>
                    <a:pt x="33" y="30"/>
                    <a:pt x="33" y="29"/>
                  </a:cubicBezTo>
                  <a:cubicBezTo>
                    <a:pt x="33" y="28"/>
                    <a:pt x="32" y="27"/>
                    <a:pt x="31" y="26"/>
                  </a:cubicBezTo>
                  <a:cubicBezTo>
                    <a:pt x="30" y="25"/>
                    <a:pt x="30" y="24"/>
                    <a:pt x="30" y="22"/>
                  </a:cubicBezTo>
                  <a:cubicBezTo>
                    <a:pt x="30" y="21"/>
                    <a:pt x="27" y="20"/>
                    <a:pt x="27" y="18"/>
                  </a:cubicBezTo>
                  <a:cubicBezTo>
                    <a:pt x="26" y="16"/>
                    <a:pt x="28" y="15"/>
                    <a:pt x="29" y="16"/>
                  </a:cubicBezTo>
                  <a:cubicBezTo>
                    <a:pt x="29" y="16"/>
                    <a:pt x="30" y="17"/>
                    <a:pt x="30" y="18"/>
                  </a:cubicBezTo>
                  <a:cubicBezTo>
                    <a:pt x="30" y="17"/>
                    <a:pt x="30" y="17"/>
                    <a:pt x="30" y="17"/>
                  </a:cubicBezTo>
                  <a:cubicBezTo>
                    <a:pt x="30" y="18"/>
                    <a:pt x="30" y="17"/>
                    <a:pt x="30" y="17"/>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91" name="Freeform 456">
              <a:extLst>
                <a:ext uri="{FF2B5EF4-FFF2-40B4-BE49-F238E27FC236}">
                  <a16:creationId xmlns:a16="http://schemas.microsoft.com/office/drawing/2014/main" id="{449EFB21-AF1E-3143-97BA-9797546FAD0B}"/>
                </a:ext>
              </a:extLst>
            </p:cNvPr>
            <p:cNvSpPr/>
            <p:nvPr>
              <p:custDataLst>
                <p:tags r:id="rId265"/>
              </p:custDataLst>
            </p:nvPr>
          </p:nvSpPr>
          <p:spPr bwMode="auto">
            <a:xfrm>
              <a:off x="6445250" y="3379789"/>
              <a:ext cx="6350" cy="12700"/>
            </a:xfrm>
            <a:custGeom>
              <a:avLst/>
              <a:gdLst>
                <a:gd name="T0" fmla="*/ 1 w 4"/>
                <a:gd name="T1" fmla="*/ 2 h 7"/>
                <a:gd name="T2" fmla="*/ 1 w 4"/>
                <a:gd name="T3" fmla="*/ 6 h 7"/>
                <a:gd name="T4" fmla="*/ 3 w 4"/>
                <a:gd name="T5" fmla="*/ 6 h 7"/>
                <a:gd name="T6" fmla="*/ 1 w 4"/>
                <a:gd name="T7" fmla="*/ 2 h 7"/>
                <a:gd name="T8" fmla="*/ 1 w 4"/>
                <a:gd name="T9" fmla="*/ 2 h 7"/>
                <a:gd name="T10" fmla="*/ 1 w 4"/>
                <a:gd name="T11" fmla="*/ 2 h 7"/>
              </a:gdLst>
              <a:ahLst/>
              <a:cxnLst>
                <a:cxn ang="0">
                  <a:pos x="T0" y="T1"/>
                </a:cxn>
                <a:cxn ang="0">
                  <a:pos x="T2" y="T3"/>
                </a:cxn>
                <a:cxn ang="0">
                  <a:pos x="T4" y="T5"/>
                </a:cxn>
                <a:cxn ang="0">
                  <a:pos x="T6" y="T7"/>
                </a:cxn>
                <a:cxn ang="0">
                  <a:pos x="T8" y="T9"/>
                </a:cxn>
                <a:cxn ang="0">
                  <a:pos x="T10" y="T11"/>
                </a:cxn>
              </a:cxnLst>
              <a:rect l="0" t="0" r="r" b="b"/>
              <a:pathLst>
                <a:path w="4" h="7">
                  <a:moveTo>
                    <a:pt x="1" y="2"/>
                  </a:moveTo>
                  <a:cubicBezTo>
                    <a:pt x="0" y="3"/>
                    <a:pt x="0" y="5"/>
                    <a:pt x="1" y="6"/>
                  </a:cubicBezTo>
                  <a:cubicBezTo>
                    <a:pt x="2" y="6"/>
                    <a:pt x="4" y="7"/>
                    <a:pt x="3" y="6"/>
                  </a:cubicBezTo>
                  <a:cubicBezTo>
                    <a:pt x="3" y="5"/>
                    <a:pt x="2" y="0"/>
                    <a:pt x="1" y="2"/>
                  </a:cubicBezTo>
                  <a:cubicBezTo>
                    <a:pt x="1" y="2"/>
                    <a:pt x="1" y="2"/>
                    <a:pt x="1" y="2"/>
                  </a:cubicBezTo>
                  <a:cubicBezTo>
                    <a:pt x="0" y="3"/>
                    <a:pt x="1" y="2"/>
                    <a:pt x="1" y="2"/>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92" name="Freeform 462">
              <a:extLst>
                <a:ext uri="{FF2B5EF4-FFF2-40B4-BE49-F238E27FC236}">
                  <a16:creationId xmlns:a16="http://schemas.microsoft.com/office/drawing/2014/main" id="{7C447638-0C79-87F2-4365-12E60F8D98EE}"/>
                </a:ext>
              </a:extLst>
            </p:cNvPr>
            <p:cNvSpPr/>
            <p:nvPr>
              <p:custDataLst>
                <p:tags r:id="rId266"/>
              </p:custDataLst>
            </p:nvPr>
          </p:nvSpPr>
          <p:spPr bwMode="auto">
            <a:xfrm>
              <a:off x="6451600" y="3284539"/>
              <a:ext cx="38100" cy="26988"/>
            </a:xfrm>
            <a:custGeom>
              <a:avLst/>
              <a:gdLst>
                <a:gd name="T0" fmla="*/ 5 w 20"/>
                <a:gd name="T1" fmla="*/ 2 h 15"/>
                <a:gd name="T2" fmla="*/ 2 w 20"/>
                <a:gd name="T3" fmla="*/ 0 h 15"/>
                <a:gd name="T4" fmla="*/ 0 w 20"/>
                <a:gd name="T5" fmla="*/ 2 h 15"/>
                <a:gd name="T6" fmla="*/ 2 w 20"/>
                <a:gd name="T7" fmla="*/ 4 h 15"/>
                <a:gd name="T8" fmla="*/ 5 w 20"/>
                <a:gd name="T9" fmla="*/ 7 h 15"/>
                <a:gd name="T10" fmla="*/ 7 w 20"/>
                <a:gd name="T11" fmla="*/ 10 h 15"/>
                <a:gd name="T12" fmla="*/ 9 w 20"/>
                <a:gd name="T13" fmla="*/ 12 h 15"/>
                <a:gd name="T14" fmla="*/ 13 w 20"/>
                <a:gd name="T15" fmla="*/ 12 h 15"/>
                <a:gd name="T16" fmla="*/ 16 w 20"/>
                <a:gd name="T17" fmla="*/ 13 h 15"/>
                <a:gd name="T18" fmla="*/ 18 w 20"/>
                <a:gd name="T19" fmla="*/ 15 h 15"/>
                <a:gd name="T20" fmla="*/ 20 w 20"/>
                <a:gd name="T21" fmla="*/ 13 h 15"/>
                <a:gd name="T22" fmla="*/ 18 w 20"/>
                <a:gd name="T23" fmla="*/ 11 h 15"/>
                <a:gd name="T24" fmla="*/ 17 w 20"/>
                <a:gd name="T25" fmla="*/ 7 h 15"/>
                <a:gd name="T26" fmla="*/ 15 w 20"/>
                <a:gd name="T27" fmla="*/ 7 h 15"/>
                <a:gd name="T28" fmla="*/ 11 w 20"/>
                <a:gd name="T29" fmla="*/ 6 h 15"/>
                <a:gd name="T30" fmla="*/ 7 w 20"/>
                <a:gd name="T31" fmla="*/ 3 h 15"/>
                <a:gd name="T32" fmla="*/ 5 w 20"/>
                <a:gd name="T33" fmla="*/ 1 h 15"/>
                <a:gd name="T34" fmla="*/ 5 w 20"/>
                <a:gd name="T35" fmla="*/ 2 h 15"/>
                <a:gd name="T36" fmla="*/ 5 w 20"/>
                <a:gd name="T3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15">
                  <a:moveTo>
                    <a:pt x="5" y="2"/>
                  </a:moveTo>
                  <a:cubicBezTo>
                    <a:pt x="5" y="1"/>
                    <a:pt x="3" y="0"/>
                    <a:pt x="2" y="0"/>
                  </a:cubicBezTo>
                  <a:cubicBezTo>
                    <a:pt x="2" y="1"/>
                    <a:pt x="0" y="1"/>
                    <a:pt x="0" y="2"/>
                  </a:cubicBezTo>
                  <a:cubicBezTo>
                    <a:pt x="0" y="3"/>
                    <a:pt x="2" y="3"/>
                    <a:pt x="2" y="4"/>
                  </a:cubicBezTo>
                  <a:cubicBezTo>
                    <a:pt x="3" y="5"/>
                    <a:pt x="4" y="6"/>
                    <a:pt x="5" y="7"/>
                  </a:cubicBezTo>
                  <a:cubicBezTo>
                    <a:pt x="6" y="8"/>
                    <a:pt x="6" y="9"/>
                    <a:pt x="7" y="10"/>
                  </a:cubicBezTo>
                  <a:cubicBezTo>
                    <a:pt x="8" y="10"/>
                    <a:pt x="8" y="12"/>
                    <a:pt x="9" y="12"/>
                  </a:cubicBezTo>
                  <a:cubicBezTo>
                    <a:pt x="11" y="12"/>
                    <a:pt x="12" y="12"/>
                    <a:pt x="13" y="12"/>
                  </a:cubicBezTo>
                  <a:cubicBezTo>
                    <a:pt x="14" y="12"/>
                    <a:pt x="15" y="12"/>
                    <a:pt x="16" y="13"/>
                  </a:cubicBezTo>
                  <a:cubicBezTo>
                    <a:pt x="17" y="13"/>
                    <a:pt x="17" y="14"/>
                    <a:pt x="18" y="15"/>
                  </a:cubicBezTo>
                  <a:cubicBezTo>
                    <a:pt x="19" y="15"/>
                    <a:pt x="20" y="14"/>
                    <a:pt x="20" y="13"/>
                  </a:cubicBezTo>
                  <a:cubicBezTo>
                    <a:pt x="19" y="12"/>
                    <a:pt x="18" y="12"/>
                    <a:pt x="18" y="11"/>
                  </a:cubicBezTo>
                  <a:cubicBezTo>
                    <a:pt x="17" y="10"/>
                    <a:pt x="18" y="8"/>
                    <a:pt x="17" y="7"/>
                  </a:cubicBezTo>
                  <a:cubicBezTo>
                    <a:pt x="17" y="7"/>
                    <a:pt x="16" y="7"/>
                    <a:pt x="15" y="7"/>
                  </a:cubicBezTo>
                  <a:cubicBezTo>
                    <a:pt x="14" y="8"/>
                    <a:pt x="12" y="7"/>
                    <a:pt x="11" y="6"/>
                  </a:cubicBezTo>
                  <a:cubicBezTo>
                    <a:pt x="10" y="5"/>
                    <a:pt x="9" y="4"/>
                    <a:pt x="7" y="3"/>
                  </a:cubicBezTo>
                  <a:cubicBezTo>
                    <a:pt x="6" y="3"/>
                    <a:pt x="5" y="2"/>
                    <a:pt x="5" y="1"/>
                  </a:cubicBezTo>
                  <a:cubicBezTo>
                    <a:pt x="5" y="1"/>
                    <a:pt x="5" y="1"/>
                    <a:pt x="5" y="2"/>
                  </a:cubicBezTo>
                  <a:cubicBezTo>
                    <a:pt x="4" y="0"/>
                    <a:pt x="5" y="2"/>
                    <a:pt x="5" y="2"/>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93" name="Freeform 469">
              <a:extLst>
                <a:ext uri="{FF2B5EF4-FFF2-40B4-BE49-F238E27FC236}">
                  <a16:creationId xmlns:a16="http://schemas.microsoft.com/office/drawing/2014/main" id="{54CABC50-F1C9-F6F1-7A1E-B4BB47B50CBB}"/>
                </a:ext>
              </a:extLst>
            </p:cNvPr>
            <p:cNvSpPr/>
            <p:nvPr>
              <p:custDataLst>
                <p:tags r:id="rId267"/>
              </p:custDataLst>
            </p:nvPr>
          </p:nvSpPr>
          <p:spPr bwMode="auto">
            <a:xfrm>
              <a:off x="6464300" y="3409951"/>
              <a:ext cx="87312" cy="22225"/>
            </a:xfrm>
            <a:custGeom>
              <a:avLst/>
              <a:gdLst>
                <a:gd name="T0" fmla="*/ 23 w 47"/>
                <a:gd name="T1" fmla="*/ 12 h 12"/>
                <a:gd name="T2" fmla="*/ 31 w 47"/>
                <a:gd name="T3" fmla="*/ 11 h 12"/>
                <a:gd name="T4" fmla="*/ 35 w 47"/>
                <a:gd name="T5" fmla="*/ 11 h 12"/>
                <a:gd name="T6" fmla="*/ 39 w 47"/>
                <a:gd name="T7" fmla="*/ 10 h 12"/>
                <a:gd name="T8" fmla="*/ 45 w 47"/>
                <a:gd name="T9" fmla="*/ 10 h 12"/>
                <a:gd name="T10" fmla="*/ 47 w 47"/>
                <a:gd name="T11" fmla="*/ 7 h 12"/>
                <a:gd name="T12" fmla="*/ 42 w 47"/>
                <a:gd name="T13" fmla="*/ 8 h 12"/>
                <a:gd name="T14" fmla="*/ 39 w 47"/>
                <a:gd name="T15" fmla="*/ 8 h 12"/>
                <a:gd name="T16" fmla="*/ 37 w 47"/>
                <a:gd name="T17" fmla="*/ 6 h 12"/>
                <a:gd name="T18" fmla="*/ 34 w 47"/>
                <a:gd name="T19" fmla="*/ 5 h 12"/>
                <a:gd name="T20" fmla="*/ 31 w 47"/>
                <a:gd name="T21" fmla="*/ 5 h 12"/>
                <a:gd name="T22" fmla="*/ 28 w 47"/>
                <a:gd name="T23" fmla="*/ 3 h 12"/>
                <a:gd name="T24" fmla="*/ 24 w 47"/>
                <a:gd name="T25" fmla="*/ 3 h 12"/>
                <a:gd name="T26" fmla="*/ 16 w 47"/>
                <a:gd name="T27" fmla="*/ 4 h 12"/>
                <a:gd name="T28" fmla="*/ 13 w 47"/>
                <a:gd name="T29" fmla="*/ 3 h 12"/>
                <a:gd name="T30" fmla="*/ 10 w 47"/>
                <a:gd name="T31" fmla="*/ 2 h 12"/>
                <a:gd name="T32" fmla="*/ 6 w 47"/>
                <a:gd name="T33" fmla="*/ 0 h 12"/>
                <a:gd name="T34" fmla="*/ 3 w 47"/>
                <a:gd name="T35" fmla="*/ 1 h 12"/>
                <a:gd name="T36" fmla="*/ 2 w 47"/>
                <a:gd name="T37" fmla="*/ 5 h 12"/>
                <a:gd name="T38" fmla="*/ 6 w 47"/>
                <a:gd name="T39" fmla="*/ 5 h 12"/>
                <a:gd name="T40" fmla="*/ 9 w 47"/>
                <a:gd name="T41" fmla="*/ 5 h 12"/>
                <a:gd name="T42" fmla="*/ 13 w 47"/>
                <a:gd name="T43" fmla="*/ 7 h 12"/>
                <a:gd name="T44" fmla="*/ 19 w 47"/>
                <a:gd name="T45" fmla="*/ 8 h 12"/>
                <a:gd name="T46" fmla="*/ 21 w 47"/>
                <a:gd name="T47" fmla="*/ 9 h 12"/>
                <a:gd name="T48" fmla="*/ 22 w 47"/>
                <a:gd name="T49" fmla="*/ 12 h 12"/>
                <a:gd name="T50" fmla="*/ 23 w 47"/>
                <a:gd name="T51" fmla="*/ 12 h 12"/>
                <a:gd name="T52" fmla="*/ 23 w 47"/>
                <a:gd name="T53" fmla="*/ 12 h 12"/>
                <a:gd name="T54" fmla="*/ 23 w 47"/>
                <a:gd name="T5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7" h="12">
                  <a:moveTo>
                    <a:pt x="23" y="12"/>
                  </a:moveTo>
                  <a:cubicBezTo>
                    <a:pt x="25" y="12"/>
                    <a:pt x="28" y="11"/>
                    <a:pt x="31" y="11"/>
                  </a:cubicBezTo>
                  <a:cubicBezTo>
                    <a:pt x="32" y="11"/>
                    <a:pt x="33" y="11"/>
                    <a:pt x="35" y="11"/>
                  </a:cubicBezTo>
                  <a:cubicBezTo>
                    <a:pt x="36" y="11"/>
                    <a:pt x="37" y="10"/>
                    <a:pt x="39" y="10"/>
                  </a:cubicBezTo>
                  <a:cubicBezTo>
                    <a:pt x="41" y="10"/>
                    <a:pt x="43" y="11"/>
                    <a:pt x="45" y="10"/>
                  </a:cubicBezTo>
                  <a:cubicBezTo>
                    <a:pt x="46" y="10"/>
                    <a:pt x="47" y="8"/>
                    <a:pt x="47" y="7"/>
                  </a:cubicBezTo>
                  <a:cubicBezTo>
                    <a:pt x="47" y="5"/>
                    <a:pt x="43" y="8"/>
                    <a:pt x="42" y="8"/>
                  </a:cubicBezTo>
                  <a:cubicBezTo>
                    <a:pt x="41" y="8"/>
                    <a:pt x="40" y="8"/>
                    <a:pt x="39" y="8"/>
                  </a:cubicBezTo>
                  <a:cubicBezTo>
                    <a:pt x="38" y="8"/>
                    <a:pt x="38" y="7"/>
                    <a:pt x="37" y="6"/>
                  </a:cubicBezTo>
                  <a:cubicBezTo>
                    <a:pt x="37" y="5"/>
                    <a:pt x="35" y="5"/>
                    <a:pt x="34" y="5"/>
                  </a:cubicBezTo>
                  <a:cubicBezTo>
                    <a:pt x="33" y="6"/>
                    <a:pt x="32" y="6"/>
                    <a:pt x="31" y="5"/>
                  </a:cubicBezTo>
                  <a:cubicBezTo>
                    <a:pt x="30" y="5"/>
                    <a:pt x="29" y="3"/>
                    <a:pt x="28" y="3"/>
                  </a:cubicBezTo>
                  <a:cubicBezTo>
                    <a:pt x="27" y="3"/>
                    <a:pt x="26" y="3"/>
                    <a:pt x="24" y="3"/>
                  </a:cubicBezTo>
                  <a:cubicBezTo>
                    <a:pt x="22" y="3"/>
                    <a:pt x="19" y="5"/>
                    <a:pt x="16" y="4"/>
                  </a:cubicBezTo>
                  <a:cubicBezTo>
                    <a:pt x="15" y="4"/>
                    <a:pt x="14" y="4"/>
                    <a:pt x="13" y="3"/>
                  </a:cubicBezTo>
                  <a:cubicBezTo>
                    <a:pt x="12" y="2"/>
                    <a:pt x="11" y="2"/>
                    <a:pt x="10" y="2"/>
                  </a:cubicBezTo>
                  <a:cubicBezTo>
                    <a:pt x="9" y="1"/>
                    <a:pt x="8" y="0"/>
                    <a:pt x="6" y="0"/>
                  </a:cubicBezTo>
                  <a:cubicBezTo>
                    <a:pt x="5" y="0"/>
                    <a:pt x="4" y="0"/>
                    <a:pt x="3" y="1"/>
                  </a:cubicBezTo>
                  <a:cubicBezTo>
                    <a:pt x="2" y="1"/>
                    <a:pt x="0" y="4"/>
                    <a:pt x="2" y="5"/>
                  </a:cubicBezTo>
                  <a:cubicBezTo>
                    <a:pt x="3" y="5"/>
                    <a:pt x="5" y="5"/>
                    <a:pt x="6" y="5"/>
                  </a:cubicBezTo>
                  <a:cubicBezTo>
                    <a:pt x="7" y="5"/>
                    <a:pt x="8" y="5"/>
                    <a:pt x="9" y="5"/>
                  </a:cubicBezTo>
                  <a:cubicBezTo>
                    <a:pt x="11" y="6"/>
                    <a:pt x="11" y="7"/>
                    <a:pt x="13" y="7"/>
                  </a:cubicBezTo>
                  <a:cubicBezTo>
                    <a:pt x="15" y="7"/>
                    <a:pt x="17" y="8"/>
                    <a:pt x="19" y="8"/>
                  </a:cubicBezTo>
                  <a:cubicBezTo>
                    <a:pt x="20" y="8"/>
                    <a:pt x="21" y="9"/>
                    <a:pt x="21" y="9"/>
                  </a:cubicBezTo>
                  <a:cubicBezTo>
                    <a:pt x="22" y="10"/>
                    <a:pt x="21" y="11"/>
                    <a:pt x="22" y="12"/>
                  </a:cubicBezTo>
                  <a:cubicBezTo>
                    <a:pt x="22" y="12"/>
                    <a:pt x="23" y="12"/>
                    <a:pt x="23" y="12"/>
                  </a:cubicBezTo>
                  <a:cubicBezTo>
                    <a:pt x="23" y="12"/>
                    <a:pt x="23" y="12"/>
                    <a:pt x="23" y="12"/>
                  </a:cubicBezTo>
                  <a:cubicBezTo>
                    <a:pt x="24" y="12"/>
                    <a:pt x="23" y="12"/>
                    <a:pt x="23" y="12"/>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grpSp>
      <p:sp>
        <p:nvSpPr>
          <p:cNvPr id="194" name="Freeform 501">
            <a:extLst>
              <a:ext uri="{FF2B5EF4-FFF2-40B4-BE49-F238E27FC236}">
                <a16:creationId xmlns:a16="http://schemas.microsoft.com/office/drawing/2014/main" id="{1645F733-83EA-EDC5-DC69-6EA126FAA6FC}"/>
              </a:ext>
            </a:extLst>
          </p:cNvPr>
          <p:cNvSpPr/>
          <p:nvPr>
            <p:custDataLst>
              <p:tags r:id="rId115"/>
            </p:custDataLst>
          </p:nvPr>
        </p:nvSpPr>
        <p:spPr bwMode="auto">
          <a:xfrm>
            <a:off x="5475294" y="3501024"/>
            <a:ext cx="26028" cy="9011"/>
          </a:xfrm>
          <a:custGeom>
            <a:avLst/>
            <a:gdLst>
              <a:gd name="T0" fmla="*/ 17 w 22"/>
              <a:gd name="T1" fmla="*/ 2 h 8"/>
              <a:gd name="T2" fmla="*/ 12 w 22"/>
              <a:gd name="T3" fmla="*/ 1 h 8"/>
              <a:gd name="T4" fmla="*/ 6 w 22"/>
              <a:gd name="T5" fmla="*/ 2 h 8"/>
              <a:gd name="T6" fmla="*/ 2 w 22"/>
              <a:gd name="T7" fmla="*/ 3 h 8"/>
              <a:gd name="T8" fmla="*/ 6 w 22"/>
              <a:gd name="T9" fmla="*/ 7 h 8"/>
              <a:gd name="T10" fmla="*/ 12 w 22"/>
              <a:gd name="T11" fmla="*/ 7 h 8"/>
              <a:gd name="T12" fmla="*/ 18 w 22"/>
              <a:gd name="T13" fmla="*/ 5 h 8"/>
              <a:gd name="T14" fmla="*/ 16 w 22"/>
              <a:gd name="T15" fmla="*/ 2 h 8"/>
              <a:gd name="T16" fmla="*/ 17 w 22"/>
              <a:gd name="T17" fmla="*/ 2 h 8"/>
              <a:gd name="T18" fmla="*/ 17 w 22"/>
              <a:gd name="T19"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8">
                <a:moveTo>
                  <a:pt x="17" y="2"/>
                </a:moveTo>
                <a:cubicBezTo>
                  <a:pt x="15" y="2"/>
                  <a:pt x="14" y="0"/>
                  <a:pt x="12" y="1"/>
                </a:cubicBezTo>
                <a:cubicBezTo>
                  <a:pt x="10" y="2"/>
                  <a:pt x="8" y="3"/>
                  <a:pt x="6" y="2"/>
                </a:cubicBezTo>
                <a:cubicBezTo>
                  <a:pt x="5" y="1"/>
                  <a:pt x="3" y="1"/>
                  <a:pt x="2" y="3"/>
                </a:cubicBezTo>
                <a:cubicBezTo>
                  <a:pt x="0" y="4"/>
                  <a:pt x="5" y="6"/>
                  <a:pt x="6" y="7"/>
                </a:cubicBezTo>
                <a:cubicBezTo>
                  <a:pt x="8" y="8"/>
                  <a:pt x="10" y="7"/>
                  <a:pt x="12" y="7"/>
                </a:cubicBezTo>
                <a:cubicBezTo>
                  <a:pt x="14" y="6"/>
                  <a:pt x="16" y="6"/>
                  <a:pt x="18" y="5"/>
                </a:cubicBezTo>
                <a:cubicBezTo>
                  <a:pt x="22" y="3"/>
                  <a:pt x="17" y="3"/>
                  <a:pt x="16" y="2"/>
                </a:cubicBezTo>
                <a:cubicBezTo>
                  <a:pt x="16" y="2"/>
                  <a:pt x="16" y="2"/>
                  <a:pt x="17" y="2"/>
                </a:cubicBezTo>
                <a:cubicBezTo>
                  <a:pt x="15" y="2"/>
                  <a:pt x="17" y="2"/>
                  <a:pt x="17" y="2"/>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195" name="Freeform 504">
            <a:extLst>
              <a:ext uri="{FF2B5EF4-FFF2-40B4-BE49-F238E27FC236}">
                <a16:creationId xmlns:a16="http://schemas.microsoft.com/office/drawing/2014/main" id="{5215627D-C74E-9390-20BC-EC23301F5FBA}"/>
              </a:ext>
            </a:extLst>
          </p:cNvPr>
          <p:cNvSpPr/>
          <p:nvPr>
            <p:custDataLst>
              <p:tags r:id="rId116"/>
            </p:custDataLst>
          </p:nvPr>
        </p:nvSpPr>
        <p:spPr bwMode="auto">
          <a:xfrm>
            <a:off x="5580408" y="3339848"/>
            <a:ext cx="10011" cy="9011"/>
          </a:xfrm>
          <a:custGeom>
            <a:avLst/>
            <a:gdLst>
              <a:gd name="T0" fmla="*/ 6 w 8"/>
              <a:gd name="T1" fmla="*/ 0 h 8"/>
              <a:gd name="T2" fmla="*/ 5 w 8"/>
              <a:gd name="T3" fmla="*/ 2 h 8"/>
              <a:gd name="T4" fmla="*/ 3 w 8"/>
              <a:gd name="T5" fmla="*/ 4 h 8"/>
              <a:gd name="T6" fmla="*/ 1 w 8"/>
              <a:gd name="T7" fmla="*/ 8 h 8"/>
              <a:gd name="T8" fmla="*/ 5 w 8"/>
              <a:gd name="T9" fmla="*/ 5 h 8"/>
              <a:gd name="T10" fmla="*/ 6 w 8"/>
              <a:gd name="T11" fmla="*/ 0 h 8"/>
              <a:gd name="T12" fmla="*/ 6 w 8"/>
              <a:gd name="T13" fmla="*/ 0 h 8"/>
              <a:gd name="T14" fmla="*/ 6 w 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6" y="0"/>
                </a:moveTo>
                <a:cubicBezTo>
                  <a:pt x="5" y="0"/>
                  <a:pt x="5" y="1"/>
                  <a:pt x="5" y="2"/>
                </a:cubicBezTo>
                <a:cubicBezTo>
                  <a:pt x="4" y="3"/>
                  <a:pt x="3" y="3"/>
                  <a:pt x="3" y="4"/>
                </a:cubicBezTo>
                <a:cubicBezTo>
                  <a:pt x="3" y="5"/>
                  <a:pt x="0" y="8"/>
                  <a:pt x="1" y="8"/>
                </a:cubicBezTo>
                <a:cubicBezTo>
                  <a:pt x="3" y="8"/>
                  <a:pt x="4" y="6"/>
                  <a:pt x="5" y="5"/>
                </a:cubicBezTo>
                <a:cubicBezTo>
                  <a:pt x="6" y="4"/>
                  <a:pt x="8" y="0"/>
                  <a:pt x="6" y="0"/>
                </a:cubicBezTo>
                <a:cubicBezTo>
                  <a:pt x="6" y="0"/>
                  <a:pt x="6" y="0"/>
                  <a:pt x="6" y="0"/>
                </a:cubicBezTo>
                <a:cubicBezTo>
                  <a:pt x="6" y="0"/>
                  <a:pt x="6" y="0"/>
                  <a:pt x="6" y="0"/>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96" name="Freeform 505">
            <a:extLst>
              <a:ext uri="{FF2B5EF4-FFF2-40B4-BE49-F238E27FC236}">
                <a16:creationId xmlns:a16="http://schemas.microsoft.com/office/drawing/2014/main" id="{6CA241F7-3FC3-4C45-805E-0BC36EABE075}"/>
              </a:ext>
            </a:extLst>
          </p:cNvPr>
          <p:cNvSpPr/>
          <p:nvPr>
            <p:custDataLst>
              <p:tags r:id="rId117"/>
            </p:custDataLst>
          </p:nvPr>
        </p:nvSpPr>
        <p:spPr bwMode="auto">
          <a:xfrm>
            <a:off x="5530354" y="3218717"/>
            <a:ext cx="8009" cy="17018"/>
          </a:xfrm>
          <a:custGeom>
            <a:avLst/>
            <a:gdLst>
              <a:gd name="T0" fmla="*/ 4 w 7"/>
              <a:gd name="T1" fmla="*/ 1 h 14"/>
              <a:gd name="T2" fmla="*/ 1 w 7"/>
              <a:gd name="T3" fmla="*/ 4 h 14"/>
              <a:gd name="T4" fmla="*/ 0 w 7"/>
              <a:gd name="T5" fmla="*/ 8 h 14"/>
              <a:gd name="T6" fmla="*/ 4 w 7"/>
              <a:gd name="T7" fmla="*/ 14 h 14"/>
              <a:gd name="T8" fmla="*/ 6 w 7"/>
              <a:gd name="T9" fmla="*/ 9 h 14"/>
              <a:gd name="T10" fmla="*/ 6 w 7"/>
              <a:gd name="T11" fmla="*/ 5 h 14"/>
              <a:gd name="T12" fmla="*/ 6 w 7"/>
              <a:gd name="T13" fmla="*/ 1 h 14"/>
              <a:gd name="T14" fmla="*/ 4 w 7"/>
              <a:gd name="T15" fmla="*/ 1 h 14"/>
              <a:gd name="T16" fmla="*/ 4 w 7"/>
              <a:gd name="T17" fmla="*/ 1 h 14"/>
              <a:gd name="T18" fmla="*/ 4 w 7"/>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4">
                <a:moveTo>
                  <a:pt x="4" y="1"/>
                </a:moveTo>
                <a:cubicBezTo>
                  <a:pt x="3" y="2"/>
                  <a:pt x="2" y="3"/>
                  <a:pt x="1" y="4"/>
                </a:cubicBezTo>
                <a:cubicBezTo>
                  <a:pt x="0" y="5"/>
                  <a:pt x="0" y="6"/>
                  <a:pt x="0" y="8"/>
                </a:cubicBezTo>
                <a:cubicBezTo>
                  <a:pt x="1" y="10"/>
                  <a:pt x="2" y="12"/>
                  <a:pt x="4" y="14"/>
                </a:cubicBezTo>
                <a:cubicBezTo>
                  <a:pt x="4" y="12"/>
                  <a:pt x="5" y="11"/>
                  <a:pt x="6" y="9"/>
                </a:cubicBezTo>
                <a:cubicBezTo>
                  <a:pt x="7" y="7"/>
                  <a:pt x="6" y="6"/>
                  <a:pt x="6" y="5"/>
                </a:cubicBezTo>
                <a:cubicBezTo>
                  <a:pt x="6" y="4"/>
                  <a:pt x="7" y="2"/>
                  <a:pt x="6" y="1"/>
                </a:cubicBezTo>
                <a:cubicBezTo>
                  <a:pt x="6" y="0"/>
                  <a:pt x="4" y="1"/>
                  <a:pt x="4" y="1"/>
                </a:cubicBezTo>
                <a:cubicBezTo>
                  <a:pt x="4" y="1"/>
                  <a:pt x="4" y="1"/>
                  <a:pt x="4" y="1"/>
                </a:cubicBezTo>
                <a:cubicBezTo>
                  <a:pt x="3" y="2"/>
                  <a:pt x="4" y="1"/>
                  <a:pt x="4" y="1"/>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197" name="Freeform 506">
            <a:extLst>
              <a:ext uri="{FF2B5EF4-FFF2-40B4-BE49-F238E27FC236}">
                <a16:creationId xmlns:a16="http://schemas.microsoft.com/office/drawing/2014/main" id="{71C0D032-0EBD-00B6-C48D-658C75C664C9}"/>
              </a:ext>
            </a:extLst>
          </p:cNvPr>
          <p:cNvSpPr/>
          <p:nvPr>
            <p:custDataLst>
              <p:tags r:id="rId118"/>
            </p:custDataLst>
          </p:nvPr>
        </p:nvSpPr>
        <p:spPr bwMode="auto">
          <a:xfrm>
            <a:off x="5530354" y="3243744"/>
            <a:ext cx="11012" cy="14015"/>
          </a:xfrm>
          <a:custGeom>
            <a:avLst/>
            <a:gdLst>
              <a:gd name="T0" fmla="*/ 1 w 9"/>
              <a:gd name="T1" fmla="*/ 1 h 12"/>
              <a:gd name="T2" fmla="*/ 3 w 9"/>
              <a:gd name="T3" fmla="*/ 9 h 12"/>
              <a:gd name="T4" fmla="*/ 9 w 9"/>
              <a:gd name="T5" fmla="*/ 10 h 12"/>
              <a:gd name="T6" fmla="*/ 5 w 9"/>
              <a:gd name="T7" fmla="*/ 3 h 12"/>
              <a:gd name="T8" fmla="*/ 3 w 9"/>
              <a:gd name="T9" fmla="*/ 0 h 12"/>
              <a:gd name="T10" fmla="*/ 1 w 9"/>
              <a:gd name="T11" fmla="*/ 1 h 12"/>
              <a:gd name="T12" fmla="*/ 1 w 9"/>
              <a:gd name="T13" fmla="*/ 1 h 12"/>
              <a:gd name="T14" fmla="*/ 1 w 9"/>
              <a:gd name="T15" fmla="*/ 1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2">
                <a:moveTo>
                  <a:pt x="1" y="1"/>
                </a:moveTo>
                <a:cubicBezTo>
                  <a:pt x="0" y="4"/>
                  <a:pt x="1" y="7"/>
                  <a:pt x="3" y="9"/>
                </a:cubicBezTo>
                <a:cubicBezTo>
                  <a:pt x="4" y="12"/>
                  <a:pt x="6" y="11"/>
                  <a:pt x="9" y="10"/>
                </a:cubicBezTo>
                <a:cubicBezTo>
                  <a:pt x="7" y="8"/>
                  <a:pt x="6" y="5"/>
                  <a:pt x="5" y="3"/>
                </a:cubicBezTo>
                <a:cubicBezTo>
                  <a:pt x="5" y="2"/>
                  <a:pt x="5" y="0"/>
                  <a:pt x="3" y="0"/>
                </a:cubicBezTo>
                <a:cubicBezTo>
                  <a:pt x="2" y="0"/>
                  <a:pt x="1" y="0"/>
                  <a:pt x="1" y="1"/>
                </a:cubicBezTo>
                <a:cubicBezTo>
                  <a:pt x="1" y="1"/>
                  <a:pt x="1" y="1"/>
                  <a:pt x="1" y="1"/>
                </a:cubicBezTo>
                <a:cubicBezTo>
                  <a:pt x="0" y="4"/>
                  <a:pt x="1" y="1"/>
                  <a:pt x="1" y="1"/>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198" name="Freeform 516">
            <a:extLst>
              <a:ext uri="{FF2B5EF4-FFF2-40B4-BE49-F238E27FC236}">
                <a16:creationId xmlns:a16="http://schemas.microsoft.com/office/drawing/2014/main" id="{6F520627-E5A4-D4F7-8439-763F687E5219}"/>
              </a:ext>
            </a:extLst>
          </p:cNvPr>
          <p:cNvSpPr/>
          <p:nvPr>
            <p:custDataLst>
              <p:tags r:id="rId119"/>
            </p:custDataLst>
          </p:nvPr>
        </p:nvSpPr>
        <p:spPr bwMode="auto">
          <a:xfrm>
            <a:off x="5231028" y="3515039"/>
            <a:ext cx="205222" cy="271295"/>
          </a:xfrm>
          <a:custGeom>
            <a:avLst/>
            <a:gdLst>
              <a:gd name="T0" fmla="*/ 169 w 175"/>
              <a:gd name="T1" fmla="*/ 2 h 232"/>
              <a:gd name="T2" fmla="*/ 161 w 175"/>
              <a:gd name="T3" fmla="*/ 6 h 232"/>
              <a:gd name="T4" fmla="*/ 146 w 175"/>
              <a:gd name="T5" fmla="*/ 11 h 232"/>
              <a:gd name="T6" fmla="*/ 131 w 175"/>
              <a:gd name="T7" fmla="*/ 15 h 232"/>
              <a:gd name="T8" fmla="*/ 113 w 175"/>
              <a:gd name="T9" fmla="*/ 15 h 232"/>
              <a:gd name="T10" fmla="*/ 96 w 175"/>
              <a:gd name="T11" fmla="*/ 21 h 232"/>
              <a:gd name="T12" fmla="*/ 80 w 175"/>
              <a:gd name="T13" fmla="*/ 22 h 232"/>
              <a:gd name="T14" fmla="*/ 70 w 175"/>
              <a:gd name="T15" fmla="*/ 27 h 232"/>
              <a:gd name="T16" fmla="*/ 57 w 175"/>
              <a:gd name="T17" fmla="*/ 27 h 232"/>
              <a:gd name="T18" fmla="*/ 50 w 175"/>
              <a:gd name="T19" fmla="*/ 24 h 232"/>
              <a:gd name="T20" fmla="*/ 44 w 175"/>
              <a:gd name="T21" fmla="*/ 18 h 232"/>
              <a:gd name="T22" fmla="*/ 34 w 175"/>
              <a:gd name="T23" fmla="*/ 18 h 232"/>
              <a:gd name="T24" fmla="*/ 32 w 175"/>
              <a:gd name="T25" fmla="*/ 31 h 232"/>
              <a:gd name="T26" fmla="*/ 50 w 175"/>
              <a:gd name="T27" fmla="*/ 51 h 232"/>
              <a:gd name="T28" fmla="*/ 85 w 175"/>
              <a:gd name="T29" fmla="*/ 63 h 232"/>
              <a:gd name="T30" fmla="*/ 103 w 175"/>
              <a:gd name="T31" fmla="*/ 69 h 232"/>
              <a:gd name="T32" fmla="*/ 117 w 175"/>
              <a:gd name="T33" fmla="*/ 73 h 232"/>
              <a:gd name="T34" fmla="*/ 111 w 175"/>
              <a:gd name="T35" fmla="*/ 79 h 232"/>
              <a:gd name="T36" fmla="*/ 77 w 175"/>
              <a:gd name="T37" fmla="*/ 114 h 232"/>
              <a:gd name="T38" fmla="*/ 46 w 175"/>
              <a:gd name="T39" fmla="*/ 125 h 232"/>
              <a:gd name="T40" fmla="*/ 24 w 175"/>
              <a:gd name="T41" fmla="*/ 136 h 232"/>
              <a:gd name="T42" fmla="*/ 5 w 175"/>
              <a:gd name="T43" fmla="*/ 153 h 232"/>
              <a:gd name="T44" fmla="*/ 0 w 175"/>
              <a:gd name="T45" fmla="*/ 169 h 232"/>
              <a:gd name="T46" fmla="*/ 1 w 175"/>
              <a:gd name="T47" fmla="*/ 220 h 232"/>
              <a:gd name="T48" fmla="*/ 9 w 175"/>
              <a:gd name="T49" fmla="*/ 232 h 232"/>
              <a:gd name="T50" fmla="*/ 14 w 175"/>
              <a:gd name="T51" fmla="*/ 222 h 232"/>
              <a:gd name="T52" fmla="*/ 23 w 175"/>
              <a:gd name="T53" fmla="*/ 214 h 232"/>
              <a:gd name="T54" fmla="*/ 41 w 175"/>
              <a:gd name="T55" fmla="*/ 196 h 232"/>
              <a:gd name="T56" fmla="*/ 70 w 175"/>
              <a:gd name="T57" fmla="*/ 174 h 232"/>
              <a:gd name="T58" fmla="*/ 111 w 175"/>
              <a:gd name="T59" fmla="*/ 138 h 232"/>
              <a:gd name="T60" fmla="*/ 132 w 175"/>
              <a:gd name="T61" fmla="*/ 110 h 232"/>
              <a:gd name="T62" fmla="*/ 147 w 175"/>
              <a:gd name="T63" fmla="*/ 76 h 232"/>
              <a:gd name="T64" fmla="*/ 165 w 175"/>
              <a:gd name="T65" fmla="*/ 47 h 232"/>
              <a:gd name="T66" fmla="*/ 168 w 175"/>
              <a:gd name="T67" fmla="*/ 30 h 232"/>
              <a:gd name="T68" fmla="*/ 172 w 175"/>
              <a:gd name="T69" fmla="*/ 18 h 232"/>
              <a:gd name="T70" fmla="*/ 173 w 175"/>
              <a:gd name="T71" fmla="*/ 8 h 232"/>
              <a:gd name="T72" fmla="*/ 171 w 175"/>
              <a:gd name="T73" fmla="*/ 3 h 232"/>
              <a:gd name="T74" fmla="*/ 172 w 175"/>
              <a:gd name="T75"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5" h="231">
                <a:moveTo>
                  <a:pt x="172" y="3"/>
                </a:moveTo>
                <a:cubicBezTo>
                  <a:pt x="171" y="3"/>
                  <a:pt x="170" y="3"/>
                  <a:pt x="169" y="2"/>
                </a:cubicBezTo>
                <a:cubicBezTo>
                  <a:pt x="168" y="2"/>
                  <a:pt x="167" y="0"/>
                  <a:pt x="166" y="1"/>
                </a:cubicBezTo>
                <a:cubicBezTo>
                  <a:pt x="164" y="2"/>
                  <a:pt x="164" y="5"/>
                  <a:pt x="161" y="6"/>
                </a:cubicBezTo>
                <a:cubicBezTo>
                  <a:pt x="159" y="6"/>
                  <a:pt x="156" y="6"/>
                  <a:pt x="154" y="7"/>
                </a:cubicBezTo>
                <a:cubicBezTo>
                  <a:pt x="151" y="8"/>
                  <a:pt x="149" y="10"/>
                  <a:pt x="146" y="11"/>
                </a:cubicBezTo>
                <a:cubicBezTo>
                  <a:pt x="144" y="12"/>
                  <a:pt x="141" y="11"/>
                  <a:pt x="139" y="12"/>
                </a:cubicBezTo>
                <a:cubicBezTo>
                  <a:pt x="136" y="13"/>
                  <a:pt x="134" y="14"/>
                  <a:pt x="131" y="15"/>
                </a:cubicBezTo>
                <a:cubicBezTo>
                  <a:pt x="128" y="15"/>
                  <a:pt x="125" y="16"/>
                  <a:pt x="122" y="16"/>
                </a:cubicBezTo>
                <a:cubicBezTo>
                  <a:pt x="119" y="15"/>
                  <a:pt x="116" y="15"/>
                  <a:pt x="113" y="15"/>
                </a:cubicBezTo>
                <a:cubicBezTo>
                  <a:pt x="109" y="15"/>
                  <a:pt x="107" y="16"/>
                  <a:pt x="105" y="17"/>
                </a:cubicBezTo>
                <a:cubicBezTo>
                  <a:pt x="102" y="19"/>
                  <a:pt x="99" y="20"/>
                  <a:pt x="96" y="21"/>
                </a:cubicBezTo>
                <a:cubicBezTo>
                  <a:pt x="93" y="23"/>
                  <a:pt x="91" y="24"/>
                  <a:pt x="88" y="23"/>
                </a:cubicBezTo>
                <a:cubicBezTo>
                  <a:pt x="85" y="23"/>
                  <a:pt x="83" y="20"/>
                  <a:pt x="80" y="22"/>
                </a:cubicBezTo>
                <a:cubicBezTo>
                  <a:pt x="78" y="22"/>
                  <a:pt x="75" y="23"/>
                  <a:pt x="73" y="25"/>
                </a:cubicBezTo>
                <a:cubicBezTo>
                  <a:pt x="72" y="25"/>
                  <a:pt x="72" y="26"/>
                  <a:pt x="70" y="27"/>
                </a:cubicBezTo>
                <a:cubicBezTo>
                  <a:pt x="69" y="27"/>
                  <a:pt x="67" y="27"/>
                  <a:pt x="66" y="28"/>
                </a:cubicBezTo>
                <a:cubicBezTo>
                  <a:pt x="63" y="28"/>
                  <a:pt x="60" y="28"/>
                  <a:pt x="57" y="27"/>
                </a:cubicBezTo>
                <a:cubicBezTo>
                  <a:pt x="56" y="27"/>
                  <a:pt x="54" y="28"/>
                  <a:pt x="53" y="27"/>
                </a:cubicBezTo>
                <a:cubicBezTo>
                  <a:pt x="52" y="27"/>
                  <a:pt x="51" y="25"/>
                  <a:pt x="50" y="24"/>
                </a:cubicBezTo>
                <a:cubicBezTo>
                  <a:pt x="50" y="23"/>
                  <a:pt x="49" y="22"/>
                  <a:pt x="48" y="21"/>
                </a:cubicBezTo>
                <a:cubicBezTo>
                  <a:pt x="47" y="20"/>
                  <a:pt x="46" y="19"/>
                  <a:pt x="44" y="18"/>
                </a:cubicBezTo>
                <a:cubicBezTo>
                  <a:pt x="41" y="16"/>
                  <a:pt x="41" y="13"/>
                  <a:pt x="40" y="11"/>
                </a:cubicBezTo>
                <a:cubicBezTo>
                  <a:pt x="38" y="13"/>
                  <a:pt x="36" y="15"/>
                  <a:pt x="34" y="18"/>
                </a:cubicBezTo>
                <a:cubicBezTo>
                  <a:pt x="33" y="20"/>
                  <a:pt x="31" y="22"/>
                  <a:pt x="30" y="24"/>
                </a:cubicBezTo>
                <a:cubicBezTo>
                  <a:pt x="29" y="27"/>
                  <a:pt x="31" y="29"/>
                  <a:pt x="32" y="31"/>
                </a:cubicBezTo>
                <a:cubicBezTo>
                  <a:pt x="34" y="34"/>
                  <a:pt x="35" y="36"/>
                  <a:pt x="37" y="39"/>
                </a:cubicBezTo>
                <a:cubicBezTo>
                  <a:pt x="41" y="44"/>
                  <a:pt x="45" y="47"/>
                  <a:pt x="50" y="51"/>
                </a:cubicBezTo>
                <a:cubicBezTo>
                  <a:pt x="55" y="55"/>
                  <a:pt x="61" y="56"/>
                  <a:pt x="67" y="57"/>
                </a:cubicBezTo>
                <a:cubicBezTo>
                  <a:pt x="73" y="59"/>
                  <a:pt x="79" y="61"/>
                  <a:pt x="85" y="63"/>
                </a:cubicBezTo>
                <a:cubicBezTo>
                  <a:pt x="88" y="64"/>
                  <a:pt x="91" y="66"/>
                  <a:pt x="94" y="67"/>
                </a:cubicBezTo>
                <a:cubicBezTo>
                  <a:pt x="97" y="68"/>
                  <a:pt x="100" y="69"/>
                  <a:pt x="103" y="69"/>
                </a:cubicBezTo>
                <a:cubicBezTo>
                  <a:pt x="106" y="69"/>
                  <a:pt x="109" y="69"/>
                  <a:pt x="112" y="69"/>
                </a:cubicBezTo>
                <a:cubicBezTo>
                  <a:pt x="114" y="69"/>
                  <a:pt x="118" y="70"/>
                  <a:pt x="117" y="73"/>
                </a:cubicBezTo>
                <a:cubicBezTo>
                  <a:pt x="117" y="74"/>
                  <a:pt x="115" y="75"/>
                  <a:pt x="115" y="76"/>
                </a:cubicBezTo>
                <a:cubicBezTo>
                  <a:pt x="114" y="77"/>
                  <a:pt x="112" y="78"/>
                  <a:pt x="111" y="79"/>
                </a:cubicBezTo>
                <a:cubicBezTo>
                  <a:pt x="109" y="81"/>
                  <a:pt x="107" y="84"/>
                  <a:pt x="104" y="86"/>
                </a:cubicBezTo>
                <a:cubicBezTo>
                  <a:pt x="95" y="95"/>
                  <a:pt x="86" y="105"/>
                  <a:pt x="77" y="114"/>
                </a:cubicBezTo>
                <a:cubicBezTo>
                  <a:pt x="73" y="118"/>
                  <a:pt x="69" y="122"/>
                  <a:pt x="64" y="124"/>
                </a:cubicBezTo>
                <a:cubicBezTo>
                  <a:pt x="58" y="125"/>
                  <a:pt x="52" y="123"/>
                  <a:pt x="46" y="125"/>
                </a:cubicBezTo>
                <a:cubicBezTo>
                  <a:pt x="40" y="127"/>
                  <a:pt x="36" y="132"/>
                  <a:pt x="31" y="134"/>
                </a:cubicBezTo>
                <a:cubicBezTo>
                  <a:pt x="29" y="136"/>
                  <a:pt x="26" y="136"/>
                  <a:pt x="24" y="136"/>
                </a:cubicBezTo>
                <a:cubicBezTo>
                  <a:pt x="20" y="135"/>
                  <a:pt x="19" y="137"/>
                  <a:pt x="16" y="139"/>
                </a:cubicBezTo>
                <a:cubicBezTo>
                  <a:pt x="12" y="143"/>
                  <a:pt x="9" y="149"/>
                  <a:pt x="5" y="153"/>
                </a:cubicBezTo>
                <a:cubicBezTo>
                  <a:pt x="4" y="155"/>
                  <a:pt x="1" y="157"/>
                  <a:pt x="1" y="159"/>
                </a:cubicBezTo>
                <a:cubicBezTo>
                  <a:pt x="0" y="163"/>
                  <a:pt x="0" y="166"/>
                  <a:pt x="0" y="169"/>
                </a:cubicBezTo>
                <a:cubicBezTo>
                  <a:pt x="0" y="181"/>
                  <a:pt x="0" y="192"/>
                  <a:pt x="1" y="203"/>
                </a:cubicBezTo>
                <a:cubicBezTo>
                  <a:pt x="1" y="209"/>
                  <a:pt x="1" y="214"/>
                  <a:pt x="1" y="220"/>
                </a:cubicBezTo>
                <a:cubicBezTo>
                  <a:pt x="1" y="222"/>
                  <a:pt x="3" y="224"/>
                  <a:pt x="4" y="225"/>
                </a:cubicBezTo>
                <a:cubicBezTo>
                  <a:pt x="6" y="228"/>
                  <a:pt x="7" y="230"/>
                  <a:pt x="9" y="232"/>
                </a:cubicBezTo>
                <a:cubicBezTo>
                  <a:pt x="10" y="230"/>
                  <a:pt x="12" y="228"/>
                  <a:pt x="13" y="226"/>
                </a:cubicBezTo>
                <a:cubicBezTo>
                  <a:pt x="14" y="225"/>
                  <a:pt x="14" y="223"/>
                  <a:pt x="14" y="222"/>
                </a:cubicBezTo>
                <a:cubicBezTo>
                  <a:pt x="15" y="221"/>
                  <a:pt x="16" y="220"/>
                  <a:pt x="17" y="219"/>
                </a:cubicBezTo>
                <a:cubicBezTo>
                  <a:pt x="19" y="218"/>
                  <a:pt x="21" y="216"/>
                  <a:pt x="23" y="214"/>
                </a:cubicBezTo>
                <a:cubicBezTo>
                  <a:pt x="25" y="212"/>
                  <a:pt x="26" y="209"/>
                  <a:pt x="28" y="207"/>
                </a:cubicBezTo>
                <a:cubicBezTo>
                  <a:pt x="32" y="203"/>
                  <a:pt x="37" y="200"/>
                  <a:pt x="41" y="196"/>
                </a:cubicBezTo>
                <a:cubicBezTo>
                  <a:pt x="46" y="192"/>
                  <a:pt x="50" y="189"/>
                  <a:pt x="55" y="185"/>
                </a:cubicBezTo>
                <a:cubicBezTo>
                  <a:pt x="60" y="181"/>
                  <a:pt x="65" y="177"/>
                  <a:pt x="70" y="174"/>
                </a:cubicBezTo>
                <a:cubicBezTo>
                  <a:pt x="75" y="170"/>
                  <a:pt x="79" y="166"/>
                  <a:pt x="84" y="163"/>
                </a:cubicBezTo>
                <a:cubicBezTo>
                  <a:pt x="94" y="155"/>
                  <a:pt x="104" y="147"/>
                  <a:pt x="111" y="138"/>
                </a:cubicBezTo>
                <a:cubicBezTo>
                  <a:pt x="115" y="134"/>
                  <a:pt x="119" y="130"/>
                  <a:pt x="122" y="125"/>
                </a:cubicBezTo>
                <a:cubicBezTo>
                  <a:pt x="126" y="120"/>
                  <a:pt x="128" y="115"/>
                  <a:pt x="132" y="110"/>
                </a:cubicBezTo>
                <a:cubicBezTo>
                  <a:pt x="135" y="105"/>
                  <a:pt x="138" y="99"/>
                  <a:pt x="141" y="93"/>
                </a:cubicBezTo>
                <a:cubicBezTo>
                  <a:pt x="143" y="88"/>
                  <a:pt x="145" y="82"/>
                  <a:pt x="147" y="76"/>
                </a:cubicBezTo>
                <a:cubicBezTo>
                  <a:pt x="150" y="71"/>
                  <a:pt x="154" y="67"/>
                  <a:pt x="157" y="62"/>
                </a:cubicBezTo>
                <a:cubicBezTo>
                  <a:pt x="160" y="58"/>
                  <a:pt x="163" y="52"/>
                  <a:pt x="165" y="47"/>
                </a:cubicBezTo>
                <a:cubicBezTo>
                  <a:pt x="166" y="44"/>
                  <a:pt x="167" y="41"/>
                  <a:pt x="167" y="38"/>
                </a:cubicBezTo>
                <a:cubicBezTo>
                  <a:pt x="167" y="36"/>
                  <a:pt x="167" y="32"/>
                  <a:pt x="168" y="30"/>
                </a:cubicBezTo>
                <a:cubicBezTo>
                  <a:pt x="169" y="28"/>
                  <a:pt x="171" y="27"/>
                  <a:pt x="172" y="26"/>
                </a:cubicBezTo>
                <a:cubicBezTo>
                  <a:pt x="174" y="24"/>
                  <a:pt x="172" y="20"/>
                  <a:pt x="172" y="18"/>
                </a:cubicBezTo>
                <a:cubicBezTo>
                  <a:pt x="172" y="16"/>
                  <a:pt x="171" y="14"/>
                  <a:pt x="171" y="12"/>
                </a:cubicBezTo>
                <a:cubicBezTo>
                  <a:pt x="171" y="11"/>
                  <a:pt x="173" y="9"/>
                  <a:pt x="173" y="8"/>
                </a:cubicBezTo>
                <a:cubicBezTo>
                  <a:pt x="174" y="7"/>
                  <a:pt x="175" y="5"/>
                  <a:pt x="174" y="4"/>
                </a:cubicBezTo>
                <a:cubicBezTo>
                  <a:pt x="173" y="3"/>
                  <a:pt x="172" y="3"/>
                  <a:pt x="171" y="3"/>
                </a:cubicBezTo>
                <a:cubicBezTo>
                  <a:pt x="172" y="3"/>
                  <a:pt x="172" y="3"/>
                  <a:pt x="172" y="3"/>
                </a:cubicBezTo>
                <a:cubicBezTo>
                  <a:pt x="171" y="3"/>
                  <a:pt x="172" y="3"/>
                  <a:pt x="172" y="3"/>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199" name="Freeform 518">
            <a:extLst>
              <a:ext uri="{FF2B5EF4-FFF2-40B4-BE49-F238E27FC236}">
                <a16:creationId xmlns:a16="http://schemas.microsoft.com/office/drawing/2014/main" id="{F74A9115-6892-1868-F741-69B58F68E3EF}"/>
              </a:ext>
            </a:extLst>
          </p:cNvPr>
          <p:cNvSpPr/>
          <p:nvPr>
            <p:custDataLst>
              <p:tags r:id="rId120"/>
            </p:custDataLst>
          </p:nvPr>
        </p:nvSpPr>
        <p:spPr bwMode="auto">
          <a:xfrm>
            <a:off x="5265065" y="3375887"/>
            <a:ext cx="206224" cy="128139"/>
          </a:xfrm>
          <a:custGeom>
            <a:avLst/>
            <a:gdLst>
              <a:gd name="T0" fmla="*/ 176 w 176"/>
              <a:gd name="T1" fmla="*/ 40 h 110"/>
              <a:gd name="T2" fmla="*/ 159 w 176"/>
              <a:gd name="T3" fmla="*/ 4 h 110"/>
              <a:gd name="T4" fmla="*/ 158 w 176"/>
              <a:gd name="T5" fmla="*/ 0 h 110"/>
              <a:gd name="T6" fmla="*/ 157 w 176"/>
              <a:gd name="T7" fmla="*/ 0 h 110"/>
              <a:gd name="T8" fmla="*/ 152 w 176"/>
              <a:gd name="T9" fmla="*/ 1 h 110"/>
              <a:gd name="T10" fmla="*/ 134 w 176"/>
              <a:gd name="T11" fmla="*/ 3 h 110"/>
              <a:gd name="T12" fmla="*/ 114 w 176"/>
              <a:gd name="T13" fmla="*/ 6 h 110"/>
              <a:gd name="T14" fmla="*/ 106 w 176"/>
              <a:gd name="T15" fmla="*/ 8 h 110"/>
              <a:gd name="T16" fmla="*/ 98 w 176"/>
              <a:gd name="T17" fmla="*/ 12 h 110"/>
              <a:gd name="T18" fmla="*/ 92 w 176"/>
              <a:gd name="T19" fmla="*/ 16 h 110"/>
              <a:gd name="T20" fmla="*/ 87 w 176"/>
              <a:gd name="T21" fmla="*/ 25 h 110"/>
              <a:gd name="T22" fmla="*/ 75 w 176"/>
              <a:gd name="T23" fmla="*/ 34 h 110"/>
              <a:gd name="T24" fmla="*/ 68 w 176"/>
              <a:gd name="T25" fmla="*/ 32 h 110"/>
              <a:gd name="T26" fmla="*/ 67 w 176"/>
              <a:gd name="T27" fmla="*/ 30 h 110"/>
              <a:gd name="T28" fmla="*/ 62 w 176"/>
              <a:gd name="T29" fmla="*/ 29 h 110"/>
              <a:gd name="T30" fmla="*/ 43 w 176"/>
              <a:gd name="T31" fmla="*/ 28 h 110"/>
              <a:gd name="T32" fmla="*/ 24 w 176"/>
              <a:gd name="T33" fmla="*/ 29 h 110"/>
              <a:gd name="T34" fmla="*/ 17 w 176"/>
              <a:gd name="T35" fmla="*/ 28 h 110"/>
              <a:gd name="T36" fmla="*/ 11 w 176"/>
              <a:gd name="T37" fmla="*/ 27 h 110"/>
              <a:gd name="T38" fmla="*/ 9 w 176"/>
              <a:gd name="T39" fmla="*/ 34 h 110"/>
              <a:gd name="T40" fmla="*/ 8 w 176"/>
              <a:gd name="T41" fmla="*/ 41 h 110"/>
              <a:gd name="T42" fmla="*/ 1 w 176"/>
              <a:gd name="T43" fmla="*/ 46 h 110"/>
              <a:gd name="T44" fmla="*/ 1 w 176"/>
              <a:gd name="T45" fmla="*/ 48 h 110"/>
              <a:gd name="T46" fmla="*/ 1 w 176"/>
              <a:gd name="T47" fmla="*/ 50 h 110"/>
              <a:gd name="T48" fmla="*/ 1 w 176"/>
              <a:gd name="T49" fmla="*/ 55 h 110"/>
              <a:gd name="T50" fmla="*/ 1 w 176"/>
              <a:gd name="T51" fmla="*/ 64 h 110"/>
              <a:gd name="T52" fmla="*/ 3 w 176"/>
              <a:gd name="T53" fmla="*/ 73 h 110"/>
              <a:gd name="T54" fmla="*/ 5 w 176"/>
              <a:gd name="T55" fmla="*/ 82 h 110"/>
              <a:gd name="T56" fmla="*/ 6 w 176"/>
              <a:gd name="T57" fmla="*/ 85 h 110"/>
              <a:gd name="T58" fmla="*/ 8 w 176"/>
              <a:gd name="T59" fmla="*/ 88 h 110"/>
              <a:gd name="T60" fmla="*/ 10 w 176"/>
              <a:gd name="T61" fmla="*/ 94 h 110"/>
              <a:gd name="T62" fmla="*/ 9 w 176"/>
              <a:gd name="T63" fmla="*/ 102 h 110"/>
              <a:gd name="T64" fmla="*/ 10 w 176"/>
              <a:gd name="T65" fmla="*/ 104 h 110"/>
              <a:gd name="T66" fmla="*/ 12 w 176"/>
              <a:gd name="T67" fmla="*/ 107 h 110"/>
              <a:gd name="T68" fmla="*/ 15 w 176"/>
              <a:gd name="T69" fmla="*/ 108 h 110"/>
              <a:gd name="T70" fmla="*/ 20 w 176"/>
              <a:gd name="T71" fmla="*/ 109 h 110"/>
              <a:gd name="T72" fmla="*/ 29 w 176"/>
              <a:gd name="T73" fmla="*/ 109 h 110"/>
              <a:gd name="T74" fmla="*/ 35 w 176"/>
              <a:gd name="T75" fmla="*/ 107 h 110"/>
              <a:gd name="T76" fmla="*/ 41 w 176"/>
              <a:gd name="T77" fmla="*/ 105 h 110"/>
              <a:gd name="T78" fmla="*/ 47 w 176"/>
              <a:gd name="T79" fmla="*/ 99 h 110"/>
              <a:gd name="T80" fmla="*/ 63 w 176"/>
              <a:gd name="T81" fmla="*/ 95 h 110"/>
              <a:gd name="T82" fmla="*/ 72 w 176"/>
              <a:gd name="T83" fmla="*/ 93 h 110"/>
              <a:gd name="T84" fmla="*/ 81 w 176"/>
              <a:gd name="T85" fmla="*/ 90 h 110"/>
              <a:gd name="T86" fmla="*/ 87 w 176"/>
              <a:gd name="T87" fmla="*/ 86 h 110"/>
              <a:gd name="T88" fmla="*/ 95 w 176"/>
              <a:gd name="T89" fmla="*/ 85 h 110"/>
              <a:gd name="T90" fmla="*/ 102 w 176"/>
              <a:gd name="T91" fmla="*/ 84 h 110"/>
              <a:gd name="T92" fmla="*/ 108 w 176"/>
              <a:gd name="T93" fmla="*/ 78 h 110"/>
              <a:gd name="T94" fmla="*/ 116 w 176"/>
              <a:gd name="T95" fmla="*/ 73 h 110"/>
              <a:gd name="T96" fmla="*/ 126 w 176"/>
              <a:gd name="T97" fmla="*/ 70 h 110"/>
              <a:gd name="T98" fmla="*/ 148 w 176"/>
              <a:gd name="T99" fmla="*/ 64 h 110"/>
              <a:gd name="T100" fmla="*/ 158 w 176"/>
              <a:gd name="T101" fmla="*/ 59 h 110"/>
              <a:gd name="T102" fmla="*/ 161 w 176"/>
              <a:gd name="T103" fmla="*/ 57 h 110"/>
              <a:gd name="T104" fmla="*/ 161 w 176"/>
              <a:gd name="T105" fmla="*/ 52 h 110"/>
              <a:gd name="T106" fmla="*/ 163 w 176"/>
              <a:gd name="T107" fmla="*/ 48 h 110"/>
              <a:gd name="T108" fmla="*/ 166 w 176"/>
              <a:gd name="T109" fmla="*/ 44 h 110"/>
              <a:gd name="T110" fmla="*/ 171 w 176"/>
              <a:gd name="T111" fmla="*/ 42 h 110"/>
              <a:gd name="T112" fmla="*/ 176 w 176"/>
              <a:gd name="T113" fmla="*/ 40 h 110"/>
              <a:gd name="T114" fmla="*/ 176 w 176"/>
              <a:gd name="T115" fmla="*/ 4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6" h="110">
                <a:moveTo>
                  <a:pt x="176" y="40"/>
                </a:moveTo>
                <a:cubicBezTo>
                  <a:pt x="170" y="28"/>
                  <a:pt x="165" y="16"/>
                  <a:pt x="159" y="4"/>
                </a:cubicBezTo>
                <a:cubicBezTo>
                  <a:pt x="159" y="3"/>
                  <a:pt x="158" y="1"/>
                  <a:pt x="158" y="0"/>
                </a:cubicBezTo>
                <a:cubicBezTo>
                  <a:pt x="158" y="0"/>
                  <a:pt x="157" y="0"/>
                  <a:pt x="157" y="0"/>
                </a:cubicBezTo>
                <a:cubicBezTo>
                  <a:pt x="155" y="0"/>
                  <a:pt x="154" y="1"/>
                  <a:pt x="152" y="1"/>
                </a:cubicBezTo>
                <a:cubicBezTo>
                  <a:pt x="146" y="2"/>
                  <a:pt x="140" y="3"/>
                  <a:pt x="134" y="3"/>
                </a:cubicBezTo>
                <a:cubicBezTo>
                  <a:pt x="127" y="4"/>
                  <a:pt x="121" y="5"/>
                  <a:pt x="114" y="6"/>
                </a:cubicBezTo>
                <a:cubicBezTo>
                  <a:pt x="111" y="6"/>
                  <a:pt x="109" y="6"/>
                  <a:pt x="106" y="8"/>
                </a:cubicBezTo>
                <a:cubicBezTo>
                  <a:pt x="103" y="9"/>
                  <a:pt x="101" y="10"/>
                  <a:pt x="98" y="12"/>
                </a:cubicBezTo>
                <a:cubicBezTo>
                  <a:pt x="96" y="13"/>
                  <a:pt x="94" y="14"/>
                  <a:pt x="92" y="16"/>
                </a:cubicBezTo>
                <a:cubicBezTo>
                  <a:pt x="90" y="19"/>
                  <a:pt x="88" y="22"/>
                  <a:pt x="87" y="25"/>
                </a:cubicBezTo>
                <a:cubicBezTo>
                  <a:pt x="84" y="29"/>
                  <a:pt x="81" y="35"/>
                  <a:pt x="75" y="34"/>
                </a:cubicBezTo>
                <a:cubicBezTo>
                  <a:pt x="73" y="34"/>
                  <a:pt x="70" y="35"/>
                  <a:pt x="68" y="32"/>
                </a:cubicBezTo>
                <a:cubicBezTo>
                  <a:pt x="68" y="31"/>
                  <a:pt x="67" y="31"/>
                  <a:pt x="67" y="30"/>
                </a:cubicBezTo>
                <a:cubicBezTo>
                  <a:pt x="65" y="29"/>
                  <a:pt x="64" y="29"/>
                  <a:pt x="62" y="29"/>
                </a:cubicBezTo>
                <a:cubicBezTo>
                  <a:pt x="56" y="28"/>
                  <a:pt x="49" y="28"/>
                  <a:pt x="43" y="28"/>
                </a:cubicBezTo>
                <a:cubicBezTo>
                  <a:pt x="36" y="27"/>
                  <a:pt x="30" y="29"/>
                  <a:pt x="24" y="29"/>
                </a:cubicBezTo>
                <a:cubicBezTo>
                  <a:pt x="21" y="29"/>
                  <a:pt x="19" y="29"/>
                  <a:pt x="17" y="28"/>
                </a:cubicBezTo>
                <a:cubicBezTo>
                  <a:pt x="15" y="27"/>
                  <a:pt x="13" y="26"/>
                  <a:pt x="11" y="27"/>
                </a:cubicBezTo>
                <a:cubicBezTo>
                  <a:pt x="9" y="28"/>
                  <a:pt x="9" y="32"/>
                  <a:pt x="9" y="34"/>
                </a:cubicBezTo>
                <a:cubicBezTo>
                  <a:pt x="9" y="36"/>
                  <a:pt x="10" y="39"/>
                  <a:pt x="8" y="41"/>
                </a:cubicBezTo>
                <a:cubicBezTo>
                  <a:pt x="7" y="44"/>
                  <a:pt x="4" y="45"/>
                  <a:pt x="1" y="46"/>
                </a:cubicBezTo>
                <a:cubicBezTo>
                  <a:pt x="0" y="46"/>
                  <a:pt x="1" y="47"/>
                  <a:pt x="1" y="48"/>
                </a:cubicBezTo>
                <a:cubicBezTo>
                  <a:pt x="1" y="49"/>
                  <a:pt x="1" y="49"/>
                  <a:pt x="1" y="50"/>
                </a:cubicBezTo>
                <a:cubicBezTo>
                  <a:pt x="1" y="52"/>
                  <a:pt x="1" y="53"/>
                  <a:pt x="1" y="55"/>
                </a:cubicBezTo>
                <a:cubicBezTo>
                  <a:pt x="1" y="58"/>
                  <a:pt x="1" y="61"/>
                  <a:pt x="1" y="64"/>
                </a:cubicBezTo>
                <a:cubicBezTo>
                  <a:pt x="1" y="67"/>
                  <a:pt x="2" y="70"/>
                  <a:pt x="3" y="73"/>
                </a:cubicBezTo>
                <a:cubicBezTo>
                  <a:pt x="4" y="76"/>
                  <a:pt x="5" y="79"/>
                  <a:pt x="5" y="82"/>
                </a:cubicBezTo>
                <a:cubicBezTo>
                  <a:pt x="5" y="83"/>
                  <a:pt x="5" y="84"/>
                  <a:pt x="6" y="85"/>
                </a:cubicBezTo>
                <a:cubicBezTo>
                  <a:pt x="6" y="86"/>
                  <a:pt x="7" y="87"/>
                  <a:pt x="8" y="88"/>
                </a:cubicBezTo>
                <a:cubicBezTo>
                  <a:pt x="10" y="90"/>
                  <a:pt x="10" y="92"/>
                  <a:pt x="10" y="94"/>
                </a:cubicBezTo>
                <a:cubicBezTo>
                  <a:pt x="9" y="97"/>
                  <a:pt x="8" y="99"/>
                  <a:pt x="9" y="102"/>
                </a:cubicBezTo>
                <a:cubicBezTo>
                  <a:pt x="9" y="103"/>
                  <a:pt x="10" y="103"/>
                  <a:pt x="10" y="104"/>
                </a:cubicBezTo>
                <a:cubicBezTo>
                  <a:pt x="11" y="105"/>
                  <a:pt x="11" y="106"/>
                  <a:pt x="12" y="107"/>
                </a:cubicBezTo>
                <a:cubicBezTo>
                  <a:pt x="13" y="108"/>
                  <a:pt x="14" y="108"/>
                  <a:pt x="15" y="108"/>
                </a:cubicBezTo>
                <a:cubicBezTo>
                  <a:pt x="17" y="108"/>
                  <a:pt x="19" y="108"/>
                  <a:pt x="20" y="109"/>
                </a:cubicBezTo>
                <a:cubicBezTo>
                  <a:pt x="23" y="109"/>
                  <a:pt x="26" y="110"/>
                  <a:pt x="29" y="109"/>
                </a:cubicBezTo>
                <a:cubicBezTo>
                  <a:pt x="31" y="109"/>
                  <a:pt x="33" y="106"/>
                  <a:pt x="35" y="107"/>
                </a:cubicBezTo>
                <a:cubicBezTo>
                  <a:pt x="38" y="107"/>
                  <a:pt x="39" y="106"/>
                  <a:pt x="41" y="105"/>
                </a:cubicBezTo>
                <a:cubicBezTo>
                  <a:pt x="43" y="103"/>
                  <a:pt x="45" y="101"/>
                  <a:pt x="47" y="99"/>
                </a:cubicBezTo>
                <a:cubicBezTo>
                  <a:pt x="52" y="96"/>
                  <a:pt x="58" y="95"/>
                  <a:pt x="63" y="95"/>
                </a:cubicBezTo>
                <a:cubicBezTo>
                  <a:pt x="66" y="94"/>
                  <a:pt x="69" y="94"/>
                  <a:pt x="72" y="93"/>
                </a:cubicBezTo>
                <a:cubicBezTo>
                  <a:pt x="75" y="93"/>
                  <a:pt x="78" y="92"/>
                  <a:pt x="81" y="90"/>
                </a:cubicBezTo>
                <a:cubicBezTo>
                  <a:pt x="83" y="89"/>
                  <a:pt x="85" y="87"/>
                  <a:pt x="87" y="86"/>
                </a:cubicBezTo>
                <a:cubicBezTo>
                  <a:pt x="90" y="84"/>
                  <a:pt x="92" y="85"/>
                  <a:pt x="95" y="85"/>
                </a:cubicBezTo>
                <a:cubicBezTo>
                  <a:pt x="98" y="85"/>
                  <a:pt x="100" y="85"/>
                  <a:pt x="102" y="84"/>
                </a:cubicBezTo>
                <a:cubicBezTo>
                  <a:pt x="104" y="82"/>
                  <a:pt x="106" y="80"/>
                  <a:pt x="108" y="78"/>
                </a:cubicBezTo>
                <a:cubicBezTo>
                  <a:pt x="110" y="75"/>
                  <a:pt x="113" y="74"/>
                  <a:pt x="116" y="73"/>
                </a:cubicBezTo>
                <a:cubicBezTo>
                  <a:pt x="119" y="73"/>
                  <a:pt x="123" y="71"/>
                  <a:pt x="126" y="70"/>
                </a:cubicBezTo>
                <a:cubicBezTo>
                  <a:pt x="133" y="68"/>
                  <a:pt x="141" y="66"/>
                  <a:pt x="148" y="64"/>
                </a:cubicBezTo>
                <a:cubicBezTo>
                  <a:pt x="151" y="62"/>
                  <a:pt x="155" y="61"/>
                  <a:pt x="158" y="59"/>
                </a:cubicBezTo>
                <a:cubicBezTo>
                  <a:pt x="159" y="59"/>
                  <a:pt x="161" y="58"/>
                  <a:pt x="161" y="57"/>
                </a:cubicBezTo>
                <a:cubicBezTo>
                  <a:pt x="162" y="55"/>
                  <a:pt x="161" y="54"/>
                  <a:pt x="161" y="52"/>
                </a:cubicBezTo>
                <a:cubicBezTo>
                  <a:pt x="161" y="51"/>
                  <a:pt x="162" y="50"/>
                  <a:pt x="163" y="48"/>
                </a:cubicBezTo>
                <a:cubicBezTo>
                  <a:pt x="164" y="47"/>
                  <a:pt x="165" y="45"/>
                  <a:pt x="166" y="44"/>
                </a:cubicBezTo>
                <a:cubicBezTo>
                  <a:pt x="167" y="43"/>
                  <a:pt x="169" y="43"/>
                  <a:pt x="171" y="42"/>
                </a:cubicBezTo>
                <a:cubicBezTo>
                  <a:pt x="172" y="42"/>
                  <a:pt x="174" y="41"/>
                  <a:pt x="176" y="40"/>
                </a:cubicBezTo>
                <a:cubicBezTo>
                  <a:pt x="170" y="27"/>
                  <a:pt x="176" y="40"/>
                  <a:pt x="176" y="40"/>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00" name="Freeform 520">
            <a:extLst>
              <a:ext uri="{FF2B5EF4-FFF2-40B4-BE49-F238E27FC236}">
                <a16:creationId xmlns:a16="http://schemas.microsoft.com/office/drawing/2014/main" id="{3B96F11C-ADCC-8F2C-A2D9-5F4B20D38978}"/>
              </a:ext>
            </a:extLst>
          </p:cNvPr>
          <p:cNvSpPr/>
          <p:nvPr>
            <p:custDataLst>
              <p:tags r:id="rId121"/>
            </p:custDataLst>
          </p:nvPr>
        </p:nvSpPr>
        <p:spPr bwMode="auto">
          <a:xfrm>
            <a:off x="5450266" y="3510033"/>
            <a:ext cx="7008" cy="5006"/>
          </a:xfrm>
          <a:custGeom>
            <a:avLst/>
            <a:gdLst>
              <a:gd name="T0" fmla="*/ 4 w 6"/>
              <a:gd name="T1" fmla="*/ 2 h 4"/>
              <a:gd name="T2" fmla="*/ 1 w 6"/>
              <a:gd name="T3" fmla="*/ 2 h 4"/>
              <a:gd name="T4" fmla="*/ 3 w 6"/>
              <a:gd name="T5" fmla="*/ 3 h 4"/>
              <a:gd name="T6" fmla="*/ 5 w 6"/>
              <a:gd name="T7" fmla="*/ 4 h 4"/>
              <a:gd name="T8" fmla="*/ 5 w 6"/>
              <a:gd name="T9" fmla="*/ 3 h 4"/>
              <a:gd name="T10" fmla="*/ 3 w 6"/>
              <a:gd name="T11" fmla="*/ 1 h 4"/>
              <a:gd name="T12" fmla="*/ 4 w 6"/>
              <a:gd name="T13" fmla="*/ 2 h 4"/>
              <a:gd name="T14" fmla="*/ 4 w 6"/>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4" y="2"/>
                </a:moveTo>
                <a:cubicBezTo>
                  <a:pt x="3" y="1"/>
                  <a:pt x="0" y="0"/>
                  <a:pt x="1" y="2"/>
                </a:cubicBezTo>
                <a:cubicBezTo>
                  <a:pt x="1" y="3"/>
                  <a:pt x="3" y="2"/>
                  <a:pt x="3" y="3"/>
                </a:cubicBezTo>
                <a:cubicBezTo>
                  <a:pt x="4" y="3"/>
                  <a:pt x="4" y="4"/>
                  <a:pt x="5" y="4"/>
                </a:cubicBezTo>
                <a:cubicBezTo>
                  <a:pt x="5" y="4"/>
                  <a:pt x="6" y="3"/>
                  <a:pt x="5" y="3"/>
                </a:cubicBezTo>
                <a:cubicBezTo>
                  <a:pt x="5" y="2"/>
                  <a:pt x="4" y="1"/>
                  <a:pt x="3" y="1"/>
                </a:cubicBezTo>
                <a:cubicBezTo>
                  <a:pt x="3" y="1"/>
                  <a:pt x="4" y="1"/>
                  <a:pt x="4" y="2"/>
                </a:cubicBezTo>
                <a:cubicBezTo>
                  <a:pt x="3" y="1"/>
                  <a:pt x="4" y="2"/>
                  <a:pt x="4" y="2"/>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01" name="Freeform 521">
            <a:extLst>
              <a:ext uri="{FF2B5EF4-FFF2-40B4-BE49-F238E27FC236}">
                <a16:creationId xmlns:a16="http://schemas.microsoft.com/office/drawing/2014/main" id="{6FAC1FAA-8966-B673-C50F-68C4E084027C}"/>
              </a:ext>
            </a:extLst>
          </p:cNvPr>
          <p:cNvSpPr/>
          <p:nvPr>
            <p:custDataLst>
              <p:tags r:id="rId122"/>
            </p:custDataLst>
          </p:nvPr>
        </p:nvSpPr>
        <p:spPr bwMode="auto">
          <a:xfrm>
            <a:off x="4154859" y="3009489"/>
            <a:ext cx="238259" cy="181197"/>
          </a:xfrm>
          <a:custGeom>
            <a:avLst/>
            <a:gdLst>
              <a:gd name="T0" fmla="*/ 75 w 204"/>
              <a:gd name="T1" fmla="*/ 136 h 155"/>
              <a:gd name="T2" fmla="*/ 84 w 204"/>
              <a:gd name="T3" fmla="*/ 128 h 155"/>
              <a:gd name="T4" fmla="*/ 100 w 204"/>
              <a:gd name="T5" fmla="*/ 120 h 155"/>
              <a:gd name="T6" fmla="*/ 113 w 204"/>
              <a:gd name="T7" fmla="*/ 115 h 155"/>
              <a:gd name="T8" fmla="*/ 129 w 204"/>
              <a:gd name="T9" fmla="*/ 113 h 155"/>
              <a:gd name="T10" fmla="*/ 157 w 204"/>
              <a:gd name="T11" fmla="*/ 95 h 155"/>
              <a:gd name="T12" fmla="*/ 158 w 204"/>
              <a:gd name="T13" fmla="*/ 91 h 155"/>
              <a:gd name="T14" fmla="*/ 157 w 204"/>
              <a:gd name="T15" fmla="*/ 85 h 155"/>
              <a:gd name="T16" fmla="*/ 166 w 204"/>
              <a:gd name="T17" fmla="*/ 79 h 155"/>
              <a:gd name="T18" fmla="*/ 175 w 204"/>
              <a:gd name="T19" fmla="*/ 73 h 155"/>
              <a:gd name="T20" fmla="*/ 187 w 204"/>
              <a:gd name="T21" fmla="*/ 71 h 155"/>
              <a:gd name="T22" fmla="*/ 200 w 204"/>
              <a:gd name="T23" fmla="*/ 72 h 155"/>
              <a:gd name="T24" fmla="*/ 202 w 204"/>
              <a:gd name="T25" fmla="*/ 64 h 155"/>
              <a:gd name="T26" fmla="*/ 196 w 204"/>
              <a:gd name="T27" fmla="*/ 52 h 155"/>
              <a:gd name="T28" fmla="*/ 193 w 204"/>
              <a:gd name="T29" fmla="*/ 36 h 155"/>
              <a:gd name="T30" fmla="*/ 191 w 204"/>
              <a:gd name="T31" fmla="*/ 26 h 155"/>
              <a:gd name="T32" fmla="*/ 186 w 204"/>
              <a:gd name="T33" fmla="*/ 17 h 155"/>
              <a:gd name="T34" fmla="*/ 180 w 204"/>
              <a:gd name="T35" fmla="*/ 14 h 155"/>
              <a:gd name="T36" fmla="*/ 172 w 204"/>
              <a:gd name="T37" fmla="*/ 11 h 155"/>
              <a:gd name="T38" fmla="*/ 162 w 204"/>
              <a:gd name="T39" fmla="*/ 14 h 155"/>
              <a:gd name="T40" fmla="*/ 143 w 204"/>
              <a:gd name="T41" fmla="*/ 14 h 155"/>
              <a:gd name="T42" fmla="*/ 132 w 204"/>
              <a:gd name="T43" fmla="*/ 2 h 155"/>
              <a:gd name="T44" fmla="*/ 122 w 204"/>
              <a:gd name="T45" fmla="*/ 5 h 155"/>
              <a:gd name="T46" fmla="*/ 116 w 204"/>
              <a:gd name="T47" fmla="*/ 20 h 155"/>
              <a:gd name="T48" fmla="*/ 100 w 204"/>
              <a:gd name="T49" fmla="*/ 41 h 155"/>
              <a:gd name="T50" fmla="*/ 92 w 204"/>
              <a:gd name="T51" fmla="*/ 44 h 155"/>
              <a:gd name="T52" fmla="*/ 77 w 204"/>
              <a:gd name="T53" fmla="*/ 53 h 155"/>
              <a:gd name="T54" fmla="*/ 63 w 204"/>
              <a:gd name="T55" fmla="*/ 71 h 155"/>
              <a:gd name="T56" fmla="*/ 56 w 204"/>
              <a:gd name="T57" fmla="*/ 93 h 155"/>
              <a:gd name="T58" fmla="*/ 60 w 204"/>
              <a:gd name="T59" fmla="*/ 106 h 155"/>
              <a:gd name="T60" fmla="*/ 48 w 204"/>
              <a:gd name="T61" fmla="*/ 125 h 155"/>
              <a:gd name="T62" fmla="*/ 20 w 204"/>
              <a:gd name="T63" fmla="*/ 146 h 155"/>
              <a:gd name="T64" fmla="*/ 3 w 204"/>
              <a:gd name="T65" fmla="*/ 151 h 155"/>
              <a:gd name="T66" fmla="*/ 52 w 204"/>
              <a:gd name="T67" fmla="*/ 154 h 155"/>
              <a:gd name="T68" fmla="*/ 71 w 204"/>
              <a:gd name="T69" fmla="*/ 154 h 155"/>
              <a:gd name="T70" fmla="*/ 74 w 204"/>
              <a:gd name="T71" fmla="*/ 138 h 155"/>
              <a:gd name="T72" fmla="*/ 74 w 204"/>
              <a:gd name="T73" fmla="*/ 14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4" h="155">
                <a:moveTo>
                  <a:pt x="74" y="140"/>
                </a:moveTo>
                <a:cubicBezTo>
                  <a:pt x="74" y="139"/>
                  <a:pt x="74" y="137"/>
                  <a:pt x="75" y="136"/>
                </a:cubicBezTo>
                <a:cubicBezTo>
                  <a:pt x="75" y="135"/>
                  <a:pt x="76" y="134"/>
                  <a:pt x="77" y="134"/>
                </a:cubicBezTo>
                <a:cubicBezTo>
                  <a:pt x="79" y="132"/>
                  <a:pt x="82" y="130"/>
                  <a:pt x="84" y="128"/>
                </a:cubicBezTo>
                <a:cubicBezTo>
                  <a:pt x="87" y="127"/>
                  <a:pt x="89" y="125"/>
                  <a:pt x="91" y="123"/>
                </a:cubicBezTo>
                <a:cubicBezTo>
                  <a:pt x="94" y="122"/>
                  <a:pt x="97" y="121"/>
                  <a:pt x="100" y="120"/>
                </a:cubicBezTo>
                <a:cubicBezTo>
                  <a:pt x="103" y="120"/>
                  <a:pt x="105" y="120"/>
                  <a:pt x="108" y="119"/>
                </a:cubicBezTo>
                <a:cubicBezTo>
                  <a:pt x="111" y="119"/>
                  <a:pt x="111" y="117"/>
                  <a:pt x="113" y="115"/>
                </a:cubicBezTo>
                <a:cubicBezTo>
                  <a:pt x="115" y="114"/>
                  <a:pt x="118" y="115"/>
                  <a:pt x="120" y="115"/>
                </a:cubicBezTo>
                <a:cubicBezTo>
                  <a:pt x="123" y="115"/>
                  <a:pt x="127" y="115"/>
                  <a:pt x="129" y="113"/>
                </a:cubicBezTo>
                <a:cubicBezTo>
                  <a:pt x="133" y="110"/>
                  <a:pt x="136" y="105"/>
                  <a:pt x="141" y="102"/>
                </a:cubicBezTo>
                <a:cubicBezTo>
                  <a:pt x="146" y="100"/>
                  <a:pt x="152" y="98"/>
                  <a:pt x="157" y="95"/>
                </a:cubicBezTo>
                <a:cubicBezTo>
                  <a:pt x="158" y="95"/>
                  <a:pt x="159" y="94"/>
                  <a:pt x="159" y="93"/>
                </a:cubicBezTo>
                <a:cubicBezTo>
                  <a:pt x="160" y="92"/>
                  <a:pt x="158" y="92"/>
                  <a:pt x="158" y="91"/>
                </a:cubicBezTo>
                <a:cubicBezTo>
                  <a:pt x="158" y="90"/>
                  <a:pt x="158" y="89"/>
                  <a:pt x="158" y="88"/>
                </a:cubicBezTo>
                <a:cubicBezTo>
                  <a:pt x="159" y="86"/>
                  <a:pt x="157" y="86"/>
                  <a:pt x="157" y="85"/>
                </a:cubicBezTo>
                <a:cubicBezTo>
                  <a:pt x="156" y="83"/>
                  <a:pt x="156" y="80"/>
                  <a:pt x="158" y="80"/>
                </a:cubicBezTo>
                <a:cubicBezTo>
                  <a:pt x="161" y="79"/>
                  <a:pt x="164" y="80"/>
                  <a:pt x="166" y="79"/>
                </a:cubicBezTo>
                <a:cubicBezTo>
                  <a:pt x="169" y="79"/>
                  <a:pt x="171" y="77"/>
                  <a:pt x="172" y="75"/>
                </a:cubicBezTo>
                <a:cubicBezTo>
                  <a:pt x="173" y="74"/>
                  <a:pt x="174" y="73"/>
                  <a:pt x="175" y="73"/>
                </a:cubicBezTo>
                <a:cubicBezTo>
                  <a:pt x="176" y="72"/>
                  <a:pt x="177" y="72"/>
                  <a:pt x="179" y="72"/>
                </a:cubicBezTo>
                <a:cubicBezTo>
                  <a:pt x="182" y="72"/>
                  <a:pt x="184" y="71"/>
                  <a:pt x="187" y="71"/>
                </a:cubicBezTo>
                <a:cubicBezTo>
                  <a:pt x="191" y="72"/>
                  <a:pt x="194" y="72"/>
                  <a:pt x="197" y="73"/>
                </a:cubicBezTo>
                <a:cubicBezTo>
                  <a:pt x="198" y="73"/>
                  <a:pt x="200" y="73"/>
                  <a:pt x="200" y="72"/>
                </a:cubicBezTo>
                <a:cubicBezTo>
                  <a:pt x="201" y="72"/>
                  <a:pt x="201" y="71"/>
                  <a:pt x="201" y="70"/>
                </a:cubicBezTo>
                <a:cubicBezTo>
                  <a:pt x="201" y="68"/>
                  <a:pt x="204" y="66"/>
                  <a:pt x="202" y="64"/>
                </a:cubicBezTo>
                <a:cubicBezTo>
                  <a:pt x="201" y="62"/>
                  <a:pt x="199" y="61"/>
                  <a:pt x="198" y="59"/>
                </a:cubicBezTo>
                <a:cubicBezTo>
                  <a:pt x="198" y="57"/>
                  <a:pt x="197" y="54"/>
                  <a:pt x="196" y="52"/>
                </a:cubicBezTo>
                <a:cubicBezTo>
                  <a:pt x="195" y="49"/>
                  <a:pt x="193" y="47"/>
                  <a:pt x="193" y="45"/>
                </a:cubicBezTo>
                <a:cubicBezTo>
                  <a:pt x="192" y="41"/>
                  <a:pt x="193" y="39"/>
                  <a:pt x="193" y="36"/>
                </a:cubicBezTo>
                <a:cubicBezTo>
                  <a:pt x="194" y="34"/>
                  <a:pt x="194" y="30"/>
                  <a:pt x="193" y="28"/>
                </a:cubicBezTo>
                <a:cubicBezTo>
                  <a:pt x="192" y="28"/>
                  <a:pt x="192" y="27"/>
                  <a:pt x="191" y="26"/>
                </a:cubicBezTo>
                <a:cubicBezTo>
                  <a:pt x="190" y="24"/>
                  <a:pt x="192" y="24"/>
                  <a:pt x="191" y="22"/>
                </a:cubicBezTo>
                <a:cubicBezTo>
                  <a:pt x="191" y="20"/>
                  <a:pt x="188" y="18"/>
                  <a:pt x="186" y="17"/>
                </a:cubicBezTo>
                <a:cubicBezTo>
                  <a:pt x="186" y="16"/>
                  <a:pt x="185" y="16"/>
                  <a:pt x="184" y="16"/>
                </a:cubicBezTo>
                <a:cubicBezTo>
                  <a:pt x="182" y="15"/>
                  <a:pt x="181" y="15"/>
                  <a:pt x="180" y="14"/>
                </a:cubicBezTo>
                <a:cubicBezTo>
                  <a:pt x="178" y="14"/>
                  <a:pt x="175" y="16"/>
                  <a:pt x="174" y="14"/>
                </a:cubicBezTo>
                <a:cubicBezTo>
                  <a:pt x="173" y="13"/>
                  <a:pt x="173" y="12"/>
                  <a:pt x="172" y="11"/>
                </a:cubicBezTo>
                <a:cubicBezTo>
                  <a:pt x="172" y="10"/>
                  <a:pt x="170" y="11"/>
                  <a:pt x="169" y="11"/>
                </a:cubicBezTo>
                <a:cubicBezTo>
                  <a:pt x="167" y="12"/>
                  <a:pt x="164" y="13"/>
                  <a:pt x="162" y="14"/>
                </a:cubicBezTo>
                <a:cubicBezTo>
                  <a:pt x="158" y="15"/>
                  <a:pt x="155" y="15"/>
                  <a:pt x="152" y="15"/>
                </a:cubicBezTo>
                <a:cubicBezTo>
                  <a:pt x="149" y="15"/>
                  <a:pt x="146" y="15"/>
                  <a:pt x="143" y="14"/>
                </a:cubicBezTo>
                <a:cubicBezTo>
                  <a:pt x="140" y="13"/>
                  <a:pt x="138" y="11"/>
                  <a:pt x="136" y="9"/>
                </a:cubicBezTo>
                <a:cubicBezTo>
                  <a:pt x="135" y="7"/>
                  <a:pt x="134" y="4"/>
                  <a:pt x="132" y="2"/>
                </a:cubicBezTo>
                <a:cubicBezTo>
                  <a:pt x="131" y="0"/>
                  <a:pt x="129" y="2"/>
                  <a:pt x="127" y="2"/>
                </a:cubicBezTo>
                <a:cubicBezTo>
                  <a:pt x="125" y="3"/>
                  <a:pt x="123" y="3"/>
                  <a:pt x="122" y="5"/>
                </a:cubicBezTo>
                <a:cubicBezTo>
                  <a:pt x="121" y="8"/>
                  <a:pt x="120" y="11"/>
                  <a:pt x="119" y="14"/>
                </a:cubicBezTo>
                <a:cubicBezTo>
                  <a:pt x="119" y="16"/>
                  <a:pt x="117" y="18"/>
                  <a:pt x="116" y="20"/>
                </a:cubicBezTo>
                <a:cubicBezTo>
                  <a:pt x="114" y="23"/>
                  <a:pt x="113" y="26"/>
                  <a:pt x="112" y="28"/>
                </a:cubicBezTo>
                <a:cubicBezTo>
                  <a:pt x="109" y="34"/>
                  <a:pt x="105" y="38"/>
                  <a:pt x="100" y="41"/>
                </a:cubicBezTo>
                <a:cubicBezTo>
                  <a:pt x="99" y="42"/>
                  <a:pt x="98" y="42"/>
                  <a:pt x="96" y="43"/>
                </a:cubicBezTo>
                <a:cubicBezTo>
                  <a:pt x="95" y="43"/>
                  <a:pt x="94" y="44"/>
                  <a:pt x="92" y="44"/>
                </a:cubicBezTo>
                <a:cubicBezTo>
                  <a:pt x="90" y="46"/>
                  <a:pt x="87" y="47"/>
                  <a:pt x="84" y="49"/>
                </a:cubicBezTo>
                <a:cubicBezTo>
                  <a:pt x="82" y="50"/>
                  <a:pt x="79" y="51"/>
                  <a:pt x="77" y="53"/>
                </a:cubicBezTo>
                <a:cubicBezTo>
                  <a:pt x="75" y="54"/>
                  <a:pt x="74" y="57"/>
                  <a:pt x="71" y="59"/>
                </a:cubicBezTo>
                <a:cubicBezTo>
                  <a:pt x="67" y="63"/>
                  <a:pt x="63" y="65"/>
                  <a:pt x="63" y="71"/>
                </a:cubicBezTo>
                <a:cubicBezTo>
                  <a:pt x="63" y="77"/>
                  <a:pt x="59" y="80"/>
                  <a:pt x="57" y="85"/>
                </a:cubicBezTo>
                <a:cubicBezTo>
                  <a:pt x="55" y="87"/>
                  <a:pt x="56" y="90"/>
                  <a:pt x="56" y="93"/>
                </a:cubicBezTo>
                <a:cubicBezTo>
                  <a:pt x="56" y="96"/>
                  <a:pt x="56" y="98"/>
                  <a:pt x="56" y="101"/>
                </a:cubicBezTo>
                <a:cubicBezTo>
                  <a:pt x="56" y="104"/>
                  <a:pt x="59" y="104"/>
                  <a:pt x="60" y="106"/>
                </a:cubicBezTo>
                <a:cubicBezTo>
                  <a:pt x="60" y="108"/>
                  <a:pt x="59" y="111"/>
                  <a:pt x="58" y="113"/>
                </a:cubicBezTo>
                <a:cubicBezTo>
                  <a:pt x="55" y="117"/>
                  <a:pt x="52" y="121"/>
                  <a:pt x="48" y="125"/>
                </a:cubicBezTo>
                <a:cubicBezTo>
                  <a:pt x="45" y="130"/>
                  <a:pt x="40" y="133"/>
                  <a:pt x="35" y="136"/>
                </a:cubicBezTo>
                <a:cubicBezTo>
                  <a:pt x="31" y="139"/>
                  <a:pt x="26" y="144"/>
                  <a:pt x="20" y="146"/>
                </a:cubicBezTo>
                <a:cubicBezTo>
                  <a:pt x="18" y="147"/>
                  <a:pt x="15" y="148"/>
                  <a:pt x="12" y="148"/>
                </a:cubicBezTo>
                <a:cubicBezTo>
                  <a:pt x="9" y="149"/>
                  <a:pt x="5" y="149"/>
                  <a:pt x="3" y="151"/>
                </a:cubicBezTo>
                <a:cubicBezTo>
                  <a:pt x="1" y="152"/>
                  <a:pt x="1" y="153"/>
                  <a:pt x="0" y="154"/>
                </a:cubicBezTo>
                <a:cubicBezTo>
                  <a:pt x="17" y="154"/>
                  <a:pt x="34" y="154"/>
                  <a:pt x="52" y="154"/>
                </a:cubicBezTo>
                <a:cubicBezTo>
                  <a:pt x="56" y="154"/>
                  <a:pt x="60" y="154"/>
                  <a:pt x="65" y="154"/>
                </a:cubicBezTo>
                <a:cubicBezTo>
                  <a:pt x="67" y="154"/>
                  <a:pt x="69" y="154"/>
                  <a:pt x="71" y="154"/>
                </a:cubicBezTo>
                <a:cubicBezTo>
                  <a:pt x="71" y="154"/>
                  <a:pt x="74" y="155"/>
                  <a:pt x="74" y="154"/>
                </a:cubicBezTo>
                <a:cubicBezTo>
                  <a:pt x="74" y="149"/>
                  <a:pt x="75" y="144"/>
                  <a:pt x="74" y="138"/>
                </a:cubicBezTo>
                <a:cubicBezTo>
                  <a:pt x="74" y="139"/>
                  <a:pt x="74" y="140"/>
                  <a:pt x="74" y="140"/>
                </a:cubicBezTo>
                <a:cubicBezTo>
                  <a:pt x="74" y="139"/>
                  <a:pt x="74" y="140"/>
                  <a:pt x="74" y="140"/>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02" name="Freeform 522">
            <a:extLst>
              <a:ext uri="{FF2B5EF4-FFF2-40B4-BE49-F238E27FC236}">
                <a16:creationId xmlns:a16="http://schemas.microsoft.com/office/drawing/2014/main" id="{513047AF-1803-8493-AF4A-D1874403B865}"/>
              </a:ext>
            </a:extLst>
          </p:cNvPr>
          <p:cNvSpPr/>
          <p:nvPr>
            <p:custDataLst>
              <p:tags r:id="rId123"/>
            </p:custDataLst>
          </p:nvPr>
        </p:nvSpPr>
        <p:spPr bwMode="auto">
          <a:xfrm>
            <a:off x="4077774" y="3193690"/>
            <a:ext cx="165179" cy="130141"/>
          </a:xfrm>
          <a:custGeom>
            <a:avLst/>
            <a:gdLst>
              <a:gd name="T0" fmla="*/ 55 w 141"/>
              <a:gd name="T1" fmla="*/ 18 h 112"/>
              <a:gd name="T2" fmla="*/ 43 w 141"/>
              <a:gd name="T3" fmla="*/ 27 h 112"/>
              <a:gd name="T4" fmla="*/ 40 w 141"/>
              <a:gd name="T5" fmla="*/ 34 h 112"/>
              <a:gd name="T6" fmla="*/ 37 w 141"/>
              <a:gd name="T7" fmla="*/ 41 h 112"/>
              <a:gd name="T8" fmla="*/ 37 w 141"/>
              <a:gd name="T9" fmla="*/ 45 h 112"/>
              <a:gd name="T10" fmla="*/ 35 w 141"/>
              <a:gd name="T11" fmla="*/ 48 h 112"/>
              <a:gd name="T12" fmla="*/ 32 w 141"/>
              <a:gd name="T13" fmla="*/ 56 h 112"/>
              <a:gd name="T14" fmla="*/ 26 w 141"/>
              <a:gd name="T15" fmla="*/ 62 h 112"/>
              <a:gd name="T16" fmla="*/ 20 w 141"/>
              <a:gd name="T17" fmla="*/ 67 h 112"/>
              <a:gd name="T18" fmla="*/ 18 w 141"/>
              <a:gd name="T19" fmla="*/ 70 h 112"/>
              <a:gd name="T20" fmla="*/ 18 w 141"/>
              <a:gd name="T21" fmla="*/ 74 h 112"/>
              <a:gd name="T22" fmla="*/ 14 w 141"/>
              <a:gd name="T23" fmla="*/ 81 h 112"/>
              <a:gd name="T24" fmla="*/ 11 w 141"/>
              <a:gd name="T25" fmla="*/ 90 h 112"/>
              <a:gd name="T26" fmla="*/ 7 w 141"/>
              <a:gd name="T27" fmla="*/ 96 h 112"/>
              <a:gd name="T28" fmla="*/ 2 w 141"/>
              <a:gd name="T29" fmla="*/ 101 h 112"/>
              <a:gd name="T30" fmla="*/ 0 w 141"/>
              <a:gd name="T31" fmla="*/ 109 h 112"/>
              <a:gd name="T32" fmla="*/ 0 w 141"/>
              <a:gd name="T33" fmla="*/ 111 h 112"/>
              <a:gd name="T34" fmla="*/ 1 w 141"/>
              <a:gd name="T35" fmla="*/ 112 h 112"/>
              <a:gd name="T36" fmla="*/ 11 w 141"/>
              <a:gd name="T37" fmla="*/ 112 h 112"/>
              <a:gd name="T38" fmla="*/ 51 w 141"/>
              <a:gd name="T39" fmla="*/ 112 h 112"/>
              <a:gd name="T40" fmla="*/ 60 w 141"/>
              <a:gd name="T41" fmla="*/ 112 h 112"/>
              <a:gd name="T42" fmla="*/ 65 w 141"/>
              <a:gd name="T43" fmla="*/ 112 h 112"/>
              <a:gd name="T44" fmla="*/ 66 w 141"/>
              <a:gd name="T45" fmla="*/ 110 h 112"/>
              <a:gd name="T46" fmla="*/ 65 w 141"/>
              <a:gd name="T47" fmla="*/ 91 h 112"/>
              <a:gd name="T48" fmla="*/ 67 w 141"/>
              <a:gd name="T49" fmla="*/ 83 h 112"/>
              <a:gd name="T50" fmla="*/ 73 w 141"/>
              <a:gd name="T51" fmla="*/ 78 h 112"/>
              <a:gd name="T52" fmla="*/ 81 w 141"/>
              <a:gd name="T53" fmla="*/ 75 h 112"/>
              <a:gd name="T54" fmla="*/ 84 w 141"/>
              <a:gd name="T55" fmla="*/ 74 h 112"/>
              <a:gd name="T56" fmla="*/ 84 w 141"/>
              <a:gd name="T57" fmla="*/ 69 h 112"/>
              <a:gd name="T58" fmla="*/ 84 w 141"/>
              <a:gd name="T59" fmla="*/ 49 h 112"/>
              <a:gd name="T60" fmla="*/ 84 w 141"/>
              <a:gd name="T61" fmla="*/ 31 h 112"/>
              <a:gd name="T62" fmla="*/ 90 w 141"/>
              <a:gd name="T63" fmla="*/ 28 h 112"/>
              <a:gd name="T64" fmla="*/ 101 w 141"/>
              <a:gd name="T65" fmla="*/ 28 h 112"/>
              <a:gd name="T66" fmla="*/ 124 w 141"/>
              <a:gd name="T67" fmla="*/ 28 h 112"/>
              <a:gd name="T68" fmla="*/ 136 w 141"/>
              <a:gd name="T69" fmla="*/ 28 h 112"/>
              <a:gd name="T70" fmla="*/ 140 w 141"/>
              <a:gd name="T71" fmla="*/ 27 h 112"/>
              <a:gd name="T72" fmla="*/ 140 w 141"/>
              <a:gd name="T73" fmla="*/ 23 h 112"/>
              <a:gd name="T74" fmla="*/ 140 w 141"/>
              <a:gd name="T75" fmla="*/ 0 h 112"/>
              <a:gd name="T76" fmla="*/ 85 w 141"/>
              <a:gd name="T77" fmla="*/ 0 h 112"/>
              <a:gd name="T78" fmla="*/ 72 w 141"/>
              <a:gd name="T79" fmla="*/ 0 h 112"/>
              <a:gd name="T80" fmla="*/ 65 w 141"/>
              <a:gd name="T81" fmla="*/ 0 h 112"/>
              <a:gd name="T82" fmla="*/ 63 w 141"/>
              <a:gd name="T83" fmla="*/ 2 h 112"/>
              <a:gd name="T84" fmla="*/ 61 w 141"/>
              <a:gd name="T85" fmla="*/ 8 h 112"/>
              <a:gd name="T86" fmla="*/ 59 w 141"/>
              <a:gd name="T87" fmla="*/ 13 h 112"/>
              <a:gd name="T88" fmla="*/ 53 w 141"/>
              <a:gd name="T89" fmla="*/ 19 h 112"/>
              <a:gd name="T90" fmla="*/ 55 w 141"/>
              <a:gd name="T91" fmla="*/ 18 h 112"/>
              <a:gd name="T92" fmla="*/ 55 w 141"/>
              <a:gd name="T93" fmla="*/ 1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1" h="112">
                <a:moveTo>
                  <a:pt x="55" y="18"/>
                </a:moveTo>
                <a:cubicBezTo>
                  <a:pt x="51" y="20"/>
                  <a:pt x="44" y="22"/>
                  <a:pt x="43" y="27"/>
                </a:cubicBezTo>
                <a:cubicBezTo>
                  <a:pt x="42" y="30"/>
                  <a:pt x="41" y="31"/>
                  <a:pt x="40" y="34"/>
                </a:cubicBezTo>
                <a:cubicBezTo>
                  <a:pt x="38" y="36"/>
                  <a:pt x="37" y="38"/>
                  <a:pt x="37" y="41"/>
                </a:cubicBezTo>
                <a:cubicBezTo>
                  <a:pt x="37" y="42"/>
                  <a:pt x="37" y="44"/>
                  <a:pt x="37" y="45"/>
                </a:cubicBezTo>
                <a:cubicBezTo>
                  <a:pt x="37" y="46"/>
                  <a:pt x="36" y="47"/>
                  <a:pt x="35" y="48"/>
                </a:cubicBezTo>
                <a:cubicBezTo>
                  <a:pt x="34" y="51"/>
                  <a:pt x="34" y="54"/>
                  <a:pt x="32" y="56"/>
                </a:cubicBezTo>
                <a:cubicBezTo>
                  <a:pt x="30" y="58"/>
                  <a:pt x="28" y="60"/>
                  <a:pt x="26" y="62"/>
                </a:cubicBezTo>
                <a:cubicBezTo>
                  <a:pt x="24" y="64"/>
                  <a:pt x="22" y="66"/>
                  <a:pt x="20" y="67"/>
                </a:cubicBezTo>
                <a:cubicBezTo>
                  <a:pt x="19" y="68"/>
                  <a:pt x="18" y="69"/>
                  <a:pt x="18" y="70"/>
                </a:cubicBezTo>
                <a:cubicBezTo>
                  <a:pt x="18" y="71"/>
                  <a:pt x="18" y="72"/>
                  <a:pt x="18" y="74"/>
                </a:cubicBezTo>
                <a:cubicBezTo>
                  <a:pt x="18" y="77"/>
                  <a:pt x="15" y="79"/>
                  <a:pt x="14" y="81"/>
                </a:cubicBezTo>
                <a:cubicBezTo>
                  <a:pt x="13" y="84"/>
                  <a:pt x="12" y="87"/>
                  <a:pt x="11" y="90"/>
                </a:cubicBezTo>
                <a:cubicBezTo>
                  <a:pt x="11" y="92"/>
                  <a:pt x="9" y="94"/>
                  <a:pt x="7" y="96"/>
                </a:cubicBezTo>
                <a:cubicBezTo>
                  <a:pt x="5" y="98"/>
                  <a:pt x="3" y="99"/>
                  <a:pt x="2" y="101"/>
                </a:cubicBezTo>
                <a:cubicBezTo>
                  <a:pt x="1" y="104"/>
                  <a:pt x="0" y="106"/>
                  <a:pt x="0" y="109"/>
                </a:cubicBezTo>
                <a:cubicBezTo>
                  <a:pt x="0" y="110"/>
                  <a:pt x="0" y="110"/>
                  <a:pt x="0" y="111"/>
                </a:cubicBezTo>
                <a:cubicBezTo>
                  <a:pt x="0" y="112"/>
                  <a:pt x="0" y="112"/>
                  <a:pt x="1" y="112"/>
                </a:cubicBezTo>
                <a:cubicBezTo>
                  <a:pt x="4" y="112"/>
                  <a:pt x="8" y="112"/>
                  <a:pt x="11" y="112"/>
                </a:cubicBezTo>
                <a:cubicBezTo>
                  <a:pt x="24" y="112"/>
                  <a:pt x="38" y="112"/>
                  <a:pt x="51" y="112"/>
                </a:cubicBezTo>
                <a:cubicBezTo>
                  <a:pt x="54" y="112"/>
                  <a:pt x="57" y="112"/>
                  <a:pt x="60" y="112"/>
                </a:cubicBezTo>
                <a:cubicBezTo>
                  <a:pt x="62" y="112"/>
                  <a:pt x="63" y="112"/>
                  <a:pt x="65" y="112"/>
                </a:cubicBezTo>
                <a:cubicBezTo>
                  <a:pt x="67" y="112"/>
                  <a:pt x="66" y="111"/>
                  <a:pt x="66" y="110"/>
                </a:cubicBezTo>
                <a:cubicBezTo>
                  <a:pt x="66" y="103"/>
                  <a:pt x="65" y="97"/>
                  <a:pt x="65" y="91"/>
                </a:cubicBezTo>
                <a:cubicBezTo>
                  <a:pt x="65" y="88"/>
                  <a:pt x="65" y="85"/>
                  <a:pt x="67" y="83"/>
                </a:cubicBezTo>
                <a:cubicBezTo>
                  <a:pt x="69" y="81"/>
                  <a:pt x="71" y="79"/>
                  <a:pt x="73" y="78"/>
                </a:cubicBezTo>
                <a:cubicBezTo>
                  <a:pt x="76" y="77"/>
                  <a:pt x="79" y="76"/>
                  <a:pt x="81" y="75"/>
                </a:cubicBezTo>
                <a:cubicBezTo>
                  <a:pt x="82" y="75"/>
                  <a:pt x="83" y="74"/>
                  <a:pt x="84" y="74"/>
                </a:cubicBezTo>
                <a:cubicBezTo>
                  <a:pt x="85" y="73"/>
                  <a:pt x="84" y="70"/>
                  <a:pt x="84" y="69"/>
                </a:cubicBezTo>
                <a:cubicBezTo>
                  <a:pt x="84" y="62"/>
                  <a:pt x="84" y="56"/>
                  <a:pt x="84" y="49"/>
                </a:cubicBezTo>
                <a:cubicBezTo>
                  <a:pt x="84" y="43"/>
                  <a:pt x="84" y="37"/>
                  <a:pt x="84" y="31"/>
                </a:cubicBezTo>
                <a:cubicBezTo>
                  <a:pt x="84" y="28"/>
                  <a:pt x="87" y="28"/>
                  <a:pt x="90" y="28"/>
                </a:cubicBezTo>
                <a:cubicBezTo>
                  <a:pt x="93" y="28"/>
                  <a:pt x="97" y="28"/>
                  <a:pt x="101" y="28"/>
                </a:cubicBezTo>
                <a:cubicBezTo>
                  <a:pt x="109" y="28"/>
                  <a:pt x="116" y="28"/>
                  <a:pt x="124" y="28"/>
                </a:cubicBezTo>
                <a:cubicBezTo>
                  <a:pt x="128" y="28"/>
                  <a:pt x="132" y="28"/>
                  <a:pt x="136" y="28"/>
                </a:cubicBezTo>
                <a:cubicBezTo>
                  <a:pt x="137" y="28"/>
                  <a:pt x="139" y="28"/>
                  <a:pt x="140" y="27"/>
                </a:cubicBezTo>
                <a:cubicBezTo>
                  <a:pt x="141" y="26"/>
                  <a:pt x="140" y="24"/>
                  <a:pt x="140" y="23"/>
                </a:cubicBezTo>
                <a:cubicBezTo>
                  <a:pt x="140" y="15"/>
                  <a:pt x="140" y="7"/>
                  <a:pt x="140" y="0"/>
                </a:cubicBezTo>
                <a:cubicBezTo>
                  <a:pt x="122" y="0"/>
                  <a:pt x="104" y="0"/>
                  <a:pt x="85" y="0"/>
                </a:cubicBezTo>
                <a:cubicBezTo>
                  <a:pt x="81" y="0"/>
                  <a:pt x="77" y="0"/>
                  <a:pt x="72" y="0"/>
                </a:cubicBezTo>
                <a:cubicBezTo>
                  <a:pt x="70" y="0"/>
                  <a:pt x="68" y="0"/>
                  <a:pt x="65" y="0"/>
                </a:cubicBezTo>
                <a:cubicBezTo>
                  <a:pt x="64" y="0"/>
                  <a:pt x="63" y="1"/>
                  <a:pt x="63" y="2"/>
                </a:cubicBezTo>
                <a:cubicBezTo>
                  <a:pt x="62" y="4"/>
                  <a:pt x="62" y="6"/>
                  <a:pt x="61" y="8"/>
                </a:cubicBezTo>
                <a:cubicBezTo>
                  <a:pt x="61" y="9"/>
                  <a:pt x="60" y="11"/>
                  <a:pt x="59" y="13"/>
                </a:cubicBezTo>
                <a:cubicBezTo>
                  <a:pt x="58" y="16"/>
                  <a:pt x="56" y="18"/>
                  <a:pt x="53" y="19"/>
                </a:cubicBezTo>
                <a:cubicBezTo>
                  <a:pt x="54" y="19"/>
                  <a:pt x="54" y="18"/>
                  <a:pt x="55" y="18"/>
                </a:cubicBezTo>
                <a:cubicBezTo>
                  <a:pt x="52" y="20"/>
                  <a:pt x="55" y="18"/>
                  <a:pt x="55" y="18"/>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03" name="Freeform 523">
            <a:extLst>
              <a:ext uri="{FF2B5EF4-FFF2-40B4-BE49-F238E27FC236}">
                <a16:creationId xmlns:a16="http://schemas.microsoft.com/office/drawing/2014/main" id="{79BECE81-23DA-6AE6-A4A1-60090B4CD1DB}"/>
              </a:ext>
            </a:extLst>
          </p:cNvPr>
          <p:cNvSpPr/>
          <p:nvPr>
            <p:custDataLst>
              <p:tags r:id="rId124"/>
            </p:custDataLst>
          </p:nvPr>
        </p:nvSpPr>
        <p:spPr bwMode="auto">
          <a:xfrm>
            <a:off x="4210920" y="2525963"/>
            <a:ext cx="85092" cy="105115"/>
          </a:xfrm>
          <a:custGeom>
            <a:avLst/>
            <a:gdLst>
              <a:gd name="T0" fmla="*/ 11 w 73"/>
              <a:gd name="T1" fmla="*/ 80 h 90"/>
              <a:gd name="T2" fmla="*/ 11 w 73"/>
              <a:gd name="T3" fmla="*/ 82 h 90"/>
              <a:gd name="T4" fmla="*/ 6 w 73"/>
              <a:gd name="T5" fmla="*/ 85 h 90"/>
              <a:gd name="T6" fmla="*/ 10 w 73"/>
              <a:gd name="T7" fmla="*/ 85 h 90"/>
              <a:gd name="T8" fmla="*/ 12 w 73"/>
              <a:gd name="T9" fmla="*/ 89 h 90"/>
              <a:gd name="T10" fmla="*/ 26 w 73"/>
              <a:gd name="T11" fmla="*/ 86 h 90"/>
              <a:gd name="T12" fmla="*/ 32 w 73"/>
              <a:gd name="T13" fmla="*/ 80 h 90"/>
              <a:gd name="T14" fmla="*/ 42 w 73"/>
              <a:gd name="T15" fmla="*/ 77 h 90"/>
              <a:gd name="T16" fmla="*/ 55 w 73"/>
              <a:gd name="T17" fmla="*/ 74 h 90"/>
              <a:gd name="T18" fmla="*/ 59 w 73"/>
              <a:gd name="T19" fmla="*/ 73 h 90"/>
              <a:gd name="T20" fmla="*/ 64 w 73"/>
              <a:gd name="T21" fmla="*/ 73 h 90"/>
              <a:gd name="T22" fmla="*/ 64 w 73"/>
              <a:gd name="T23" fmla="*/ 70 h 90"/>
              <a:gd name="T24" fmla="*/ 69 w 73"/>
              <a:gd name="T25" fmla="*/ 66 h 90"/>
              <a:gd name="T26" fmla="*/ 72 w 73"/>
              <a:gd name="T27" fmla="*/ 58 h 90"/>
              <a:gd name="T28" fmla="*/ 72 w 73"/>
              <a:gd name="T29" fmla="*/ 53 h 90"/>
              <a:gd name="T30" fmla="*/ 71 w 73"/>
              <a:gd name="T31" fmla="*/ 46 h 90"/>
              <a:gd name="T32" fmla="*/ 71 w 73"/>
              <a:gd name="T33" fmla="*/ 42 h 90"/>
              <a:gd name="T34" fmla="*/ 67 w 73"/>
              <a:gd name="T35" fmla="*/ 37 h 90"/>
              <a:gd name="T36" fmla="*/ 69 w 73"/>
              <a:gd name="T37" fmla="*/ 32 h 90"/>
              <a:gd name="T38" fmla="*/ 58 w 73"/>
              <a:gd name="T39" fmla="*/ 26 h 90"/>
              <a:gd name="T40" fmla="*/ 52 w 73"/>
              <a:gd name="T41" fmla="*/ 27 h 90"/>
              <a:gd name="T42" fmla="*/ 41 w 73"/>
              <a:gd name="T43" fmla="*/ 17 h 90"/>
              <a:gd name="T44" fmla="*/ 46 w 73"/>
              <a:gd name="T45" fmla="*/ 13 h 90"/>
              <a:gd name="T46" fmla="*/ 51 w 73"/>
              <a:gd name="T47" fmla="*/ 7 h 90"/>
              <a:gd name="T48" fmla="*/ 55 w 73"/>
              <a:gd name="T49" fmla="*/ 3 h 90"/>
              <a:gd name="T50" fmla="*/ 48 w 73"/>
              <a:gd name="T51" fmla="*/ 6 h 90"/>
              <a:gd name="T52" fmla="*/ 41 w 73"/>
              <a:gd name="T53" fmla="*/ 4 h 90"/>
              <a:gd name="T54" fmla="*/ 35 w 73"/>
              <a:gd name="T55" fmla="*/ 5 h 90"/>
              <a:gd name="T56" fmla="*/ 28 w 73"/>
              <a:gd name="T57" fmla="*/ 14 h 90"/>
              <a:gd name="T58" fmla="*/ 32 w 73"/>
              <a:gd name="T59" fmla="*/ 16 h 90"/>
              <a:gd name="T60" fmla="*/ 37 w 73"/>
              <a:gd name="T61" fmla="*/ 20 h 90"/>
              <a:gd name="T62" fmla="*/ 31 w 73"/>
              <a:gd name="T63" fmla="*/ 26 h 90"/>
              <a:gd name="T64" fmla="*/ 18 w 73"/>
              <a:gd name="T65" fmla="*/ 27 h 90"/>
              <a:gd name="T66" fmla="*/ 8 w 73"/>
              <a:gd name="T67" fmla="*/ 25 h 90"/>
              <a:gd name="T68" fmla="*/ 7 w 73"/>
              <a:gd name="T69" fmla="*/ 28 h 90"/>
              <a:gd name="T70" fmla="*/ 10 w 73"/>
              <a:gd name="T71" fmla="*/ 34 h 90"/>
              <a:gd name="T72" fmla="*/ 11 w 73"/>
              <a:gd name="T73" fmla="*/ 36 h 90"/>
              <a:gd name="T74" fmla="*/ 10 w 73"/>
              <a:gd name="T75" fmla="*/ 41 h 90"/>
              <a:gd name="T76" fmla="*/ 7 w 73"/>
              <a:gd name="T77" fmla="*/ 42 h 90"/>
              <a:gd name="T78" fmla="*/ 6 w 73"/>
              <a:gd name="T79" fmla="*/ 45 h 90"/>
              <a:gd name="T80" fmla="*/ 13 w 73"/>
              <a:gd name="T81" fmla="*/ 48 h 90"/>
              <a:gd name="T82" fmla="*/ 18 w 73"/>
              <a:gd name="T83" fmla="*/ 49 h 90"/>
              <a:gd name="T84" fmla="*/ 24 w 73"/>
              <a:gd name="T85" fmla="*/ 49 h 90"/>
              <a:gd name="T86" fmla="*/ 20 w 73"/>
              <a:gd name="T87" fmla="*/ 51 h 90"/>
              <a:gd name="T88" fmla="*/ 15 w 73"/>
              <a:gd name="T89" fmla="*/ 57 h 90"/>
              <a:gd name="T90" fmla="*/ 23 w 73"/>
              <a:gd name="T91" fmla="*/ 60 h 90"/>
              <a:gd name="T92" fmla="*/ 22 w 73"/>
              <a:gd name="T93" fmla="*/ 64 h 90"/>
              <a:gd name="T94" fmla="*/ 17 w 73"/>
              <a:gd name="T95" fmla="*/ 65 h 90"/>
              <a:gd name="T96" fmla="*/ 8 w 73"/>
              <a:gd name="T97" fmla="*/ 69 h 90"/>
              <a:gd name="T98" fmla="*/ 9 w 73"/>
              <a:gd name="T99" fmla="*/ 74 h 90"/>
              <a:gd name="T100" fmla="*/ 3 w 73"/>
              <a:gd name="T101" fmla="*/ 80 h 90"/>
              <a:gd name="T102" fmla="*/ 2 w 73"/>
              <a:gd name="T103" fmla="*/ 8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3" h="90">
                <a:moveTo>
                  <a:pt x="2" y="80"/>
                </a:moveTo>
                <a:cubicBezTo>
                  <a:pt x="5" y="80"/>
                  <a:pt x="8" y="81"/>
                  <a:pt x="11" y="80"/>
                </a:cubicBezTo>
                <a:cubicBezTo>
                  <a:pt x="11" y="80"/>
                  <a:pt x="13" y="80"/>
                  <a:pt x="13" y="80"/>
                </a:cubicBezTo>
                <a:cubicBezTo>
                  <a:pt x="13" y="81"/>
                  <a:pt x="12" y="82"/>
                  <a:pt x="11" y="82"/>
                </a:cubicBezTo>
                <a:cubicBezTo>
                  <a:pt x="10" y="83"/>
                  <a:pt x="9" y="83"/>
                  <a:pt x="8" y="84"/>
                </a:cubicBezTo>
                <a:cubicBezTo>
                  <a:pt x="7" y="84"/>
                  <a:pt x="6" y="84"/>
                  <a:pt x="6" y="85"/>
                </a:cubicBezTo>
                <a:cubicBezTo>
                  <a:pt x="7" y="86"/>
                  <a:pt x="8" y="85"/>
                  <a:pt x="8" y="86"/>
                </a:cubicBezTo>
                <a:cubicBezTo>
                  <a:pt x="9" y="86"/>
                  <a:pt x="10" y="85"/>
                  <a:pt x="10" y="85"/>
                </a:cubicBezTo>
                <a:cubicBezTo>
                  <a:pt x="11" y="84"/>
                  <a:pt x="13" y="86"/>
                  <a:pt x="12" y="86"/>
                </a:cubicBezTo>
                <a:cubicBezTo>
                  <a:pt x="10" y="87"/>
                  <a:pt x="9" y="89"/>
                  <a:pt x="12" y="89"/>
                </a:cubicBezTo>
                <a:cubicBezTo>
                  <a:pt x="14" y="90"/>
                  <a:pt x="16" y="89"/>
                  <a:pt x="18" y="88"/>
                </a:cubicBezTo>
                <a:cubicBezTo>
                  <a:pt x="21" y="86"/>
                  <a:pt x="24" y="87"/>
                  <a:pt x="26" y="86"/>
                </a:cubicBezTo>
                <a:cubicBezTo>
                  <a:pt x="28" y="86"/>
                  <a:pt x="31" y="85"/>
                  <a:pt x="31" y="83"/>
                </a:cubicBezTo>
                <a:cubicBezTo>
                  <a:pt x="32" y="81"/>
                  <a:pt x="29" y="78"/>
                  <a:pt x="32" y="80"/>
                </a:cubicBezTo>
                <a:cubicBezTo>
                  <a:pt x="33" y="80"/>
                  <a:pt x="35" y="82"/>
                  <a:pt x="37" y="82"/>
                </a:cubicBezTo>
                <a:cubicBezTo>
                  <a:pt x="39" y="81"/>
                  <a:pt x="40" y="78"/>
                  <a:pt x="42" y="77"/>
                </a:cubicBezTo>
                <a:cubicBezTo>
                  <a:pt x="44" y="76"/>
                  <a:pt x="47" y="74"/>
                  <a:pt x="49" y="75"/>
                </a:cubicBezTo>
                <a:cubicBezTo>
                  <a:pt x="51" y="75"/>
                  <a:pt x="54" y="76"/>
                  <a:pt x="55" y="74"/>
                </a:cubicBezTo>
                <a:cubicBezTo>
                  <a:pt x="56" y="70"/>
                  <a:pt x="56" y="74"/>
                  <a:pt x="57" y="74"/>
                </a:cubicBezTo>
                <a:cubicBezTo>
                  <a:pt x="58" y="74"/>
                  <a:pt x="58" y="73"/>
                  <a:pt x="59" y="73"/>
                </a:cubicBezTo>
                <a:cubicBezTo>
                  <a:pt x="59" y="72"/>
                  <a:pt x="60" y="72"/>
                  <a:pt x="61" y="72"/>
                </a:cubicBezTo>
                <a:cubicBezTo>
                  <a:pt x="62" y="72"/>
                  <a:pt x="63" y="72"/>
                  <a:pt x="64" y="73"/>
                </a:cubicBezTo>
                <a:cubicBezTo>
                  <a:pt x="64" y="74"/>
                  <a:pt x="65" y="75"/>
                  <a:pt x="66" y="74"/>
                </a:cubicBezTo>
                <a:cubicBezTo>
                  <a:pt x="68" y="74"/>
                  <a:pt x="64" y="71"/>
                  <a:pt x="64" y="70"/>
                </a:cubicBezTo>
                <a:cubicBezTo>
                  <a:pt x="64" y="70"/>
                  <a:pt x="65" y="69"/>
                  <a:pt x="66" y="69"/>
                </a:cubicBezTo>
                <a:cubicBezTo>
                  <a:pt x="67" y="68"/>
                  <a:pt x="68" y="68"/>
                  <a:pt x="69" y="66"/>
                </a:cubicBezTo>
                <a:cubicBezTo>
                  <a:pt x="69" y="65"/>
                  <a:pt x="69" y="64"/>
                  <a:pt x="70" y="62"/>
                </a:cubicBezTo>
                <a:cubicBezTo>
                  <a:pt x="70" y="61"/>
                  <a:pt x="71" y="59"/>
                  <a:pt x="72" y="58"/>
                </a:cubicBezTo>
                <a:cubicBezTo>
                  <a:pt x="72" y="57"/>
                  <a:pt x="73" y="55"/>
                  <a:pt x="73" y="54"/>
                </a:cubicBezTo>
                <a:cubicBezTo>
                  <a:pt x="73" y="54"/>
                  <a:pt x="72" y="53"/>
                  <a:pt x="72" y="53"/>
                </a:cubicBezTo>
                <a:cubicBezTo>
                  <a:pt x="72" y="52"/>
                  <a:pt x="72" y="51"/>
                  <a:pt x="72" y="51"/>
                </a:cubicBezTo>
                <a:cubicBezTo>
                  <a:pt x="71" y="49"/>
                  <a:pt x="71" y="48"/>
                  <a:pt x="71" y="46"/>
                </a:cubicBezTo>
                <a:cubicBezTo>
                  <a:pt x="71" y="46"/>
                  <a:pt x="71" y="45"/>
                  <a:pt x="71" y="44"/>
                </a:cubicBezTo>
                <a:cubicBezTo>
                  <a:pt x="71" y="43"/>
                  <a:pt x="71" y="42"/>
                  <a:pt x="71" y="42"/>
                </a:cubicBezTo>
                <a:cubicBezTo>
                  <a:pt x="71" y="41"/>
                  <a:pt x="71" y="40"/>
                  <a:pt x="70" y="39"/>
                </a:cubicBezTo>
                <a:cubicBezTo>
                  <a:pt x="70" y="38"/>
                  <a:pt x="68" y="38"/>
                  <a:pt x="67" y="37"/>
                </a:cubicBezTo>
                <a:cubicBezTo>
                  <a:pt x="66" y="37"/>
                  <a:pt x="67" y="36"/>
                  <a:pt x="67" y="35"/>
                </a:cubicBezTo>
                <a:cubicBezTo>
                  <a:pt x="67" y="33"/>
                  <a:pt x="68" y="32"/>
                  <a:pt x="69" y="32"/>
                </a:cubicBezTo>
                <a:cubicBezTo>
                  <a:pt x="67" y="30"/>
                  <a:pt x="65" y="31"/>
                  <a:pt x="63" y="30"/>
                </a:cubicBezTo>
                <a:cubicBezTo>
                  <a:pt x="60" y="30"/>
                  <a:pt x="61" y="27"/>
                  <a:pt x="58" y="26"/>
                </a:cubicBezTo>
                <a:cubicBezTo>
                  <a:pt x="57" y="26"/>
                  <a:pt x="56" y="25"/>
                  <a:pt x="55" y="25"/>
                </a:cubicBezTo>
                <a:cubicBezTo>
                  <a:pt x="54" y="25"/>
                  <a:pt x="53" y="27"/>
                  <a:pt x="52" y="27"/>
                </a:cubicBezTo>
                <a:cubicBezTo>
                  <a:pt x="50" y="29"/>
                  <a:pt x="47" y="28"/>
                  <a:pt x="44" y="28"/>
                </a:cubicBezTo>
                <a:cubicBezTo>
                  <a:pt x="40" y="26"/>
                  <a:pt x="37" y="21"/>
                  <a:pt x="41" y="17"/>
                </a:cubicBezTo>
                <a:cubicBezTo>
                  <a:pt x="42" y="16"/>
                  <a:pt x="43" y="15"/>
                  <a:pt x="44" y="14"/>
                </a:cubicBezTo>
                <a:cubicBezTo>
                  <a:pt x="45" y="14"/>
                  <a:pt x="46" y="14"/>
                  <a:pt x="46" y="13"/>
                </a:cubicBezTo>
                <a:cubicBezTo>
                  <a:pt x="47" y="12"/>
                  <a:pt x="47" y="10"/>
                  <a:pt x="47" y="10"/>
                </a:cubicBezTo>
                <a:cubicBezTo>
                  <a:pt x="48" y="8"/>
                  <a:pt x="49" y="8"/>
                  <a:pt x="51" y="7"/>
                </a:cubicBezTo>
                <a:cubicBezTo>
                  <a:pt x="51" y="6"/>
                  <a:pt x="52" y="6"/>
                  <a:pt x="53" y="5"/>
                </a:cubicBezTo>
                <a:cubicBezTo>
                  <a:pt x="53" y="5"/>
                  <a:pt x="55" y="4"/>
                  <a:pt x="55" y="3"/>
                </a:cubicBezTo>
                <a:cubicBezTo>
                  <a:pt x="54" y="1"/>
                  <a:pt x="50" y="0"/>
                  <a:pt x="49" y="1"/>
                </a:cubicBezTo>
                <a:cubicBezTo>
                  <a:pt x="48" y="3"/>
                  <a:pt x="48" y="4"/>
                  <a:pt x="48" y="6"/>
                </a:cubicBezTo>
                <a:cubicBezTo>
                  <a:pt x="48" y="9"/>
                  <a:pt x="45" y="8"/>
                  <a:pt x="44" y="6"/>
                </a:cubicBezTo>
                <a:cubicBezTo>
                  <a:pt x="43" y="5"/>
                  <a:pt x="42" y="4"/>
                  <a:pt x="41" y="4"/>
                </a:cubicBezTo>
                <a:cubicBezTo>
                  <a:pt x="40" y="4"/>
                  <a:pt x="39" y="5"/>
                  <a:pt x="38" y="5"/>
                </a:cubicBezTo>
                <a:cubicBezTo>
                  <a:pt x="37" y="5"/>
                  <a:pt x="36" y="5"/>
                  <a:pt x="35" y="5"/>
                </a:cubicBezTo>
                <a:cubicBezTo>
                  <a:pt x="34" y="6"/>
                  <a:pt x="33" y="7"/>
                  <a:pt x="33" y="8"/>
                </a:cubicBezTo>
                <a:cubicBezTo>
                  <a:pt x="32" y="11"/>
                  <a:pt x="30" y="13"/>
                  <a:pt x="28" y="14"/>
                </a:cubicBezTo>
                <a:cubicBezTo>
                  <a:pt x="25" y="16"/>
                  <a:pt x="28" y="15"/>
                  <a:pt x="29" y="15"/>
                </a:cubicBezTo>
                <a:cubicBezTo>
                  <a:pt x="30" y="15"/>
                  <a:pt x="31" y="16"/>
                  <a:pt x="32" y="16"/>
                </a:cubicBezTo>
                <a:cubicBezTo>
                  <a:pt x="33" y="16"/>
                  <a:pt x="34" y="16"/>
                  <a:pt x="35" y="16"/>
                </a:cubicBezTo>
                <a:cubicBezTo>
                  <a:pt x="37" y="16"/>
                  <a:pt x="38" y="19"/>
                  <a:pt x="37" y="20"/>
                </a:cubicBezTo>
                <a:cubicBezTo>
                  <a:pt x="36" y="21"/>
                  <a:pt x="34" y="21"/>
                  <a:pt x="33" y="22"/>
                </a:cubicBezTo>
                <a:cubicBezTo>
                  <a:pt x="31" y="23"/>
                  <a:pt x="31" y="24"/>
                  <a:pt x="31" y="26"/>
                </a:cubicBezTo>
                <a:cubicBezTo>
                  <a:pt x="30" y="31"/>
                  <a:pt x="22" y="23"/>
                  <a:pt x="21" y="28"/>
                </a:cubicBezTo>
                <a:cubicBezTo>
                  <a:pt x="20" y="30"/>
                  <a:pt x="19" y="28"/>
                  <a:pt x="18" y="27"/>
                </a:cubicBezTo>
                <a:cubicBezTo>
                  <a:pt x="17" y="25"/>
                  <a:pt x="14" y="24"/>
                  <a:pt x="12" y="24"/>
                </a:cubicBezTo>
                <a:cubicBezTo>
                  <a:pt x="10" y="24"/>
                  <a:pt x="9" y="25"/>
                  <a:pt x="8" y="25"/>
                </a:cubicBezTo>
                <a:cubicBezTo>
                  <a:pt x="7" y="25"/>
                  <a:pt x="6" y="25"/>
                  <a:pt x="6" y="26"/>
                </a:cubicBezTo>
                <a:cubicBezTo>
                  <a:pt x="6" y="27"/>
                  <a:pt x="7" y="28"/>
                  <a:pt x="7" y="28"/>
                </a:cubicBezTo>
                <a:cubicBezTo>
                  <a:pt x="8" y="30"/>
                  <a:pt x="7" y="31"/>
                  <a:pt x="7" y="32"/>
                </a:cubicBezTo>
                <a:cubicBezTo>
                  <a:pt x="7" y="34"/>
                  <a:pt x="9" y="33"/>
                  <a:pt x="10" y="34"/>
                </a:cubicBezTo>
                <a:cubicBezTo>
                  <a:pt x="11" y="34"/>
                  <a:pt x="12" y="34"/>
                  <a:pt x="12" y="34"/>
                </a:cubicBezTo>
                <a:cubicBezTo>
                  <a:pt x="13" y="35"/>
                  <a:pt x="11" y="36"/>
                  <a:pt x="11" y="36"/>
                </a:cubicBezTo>
                <a:cubicBezTo>
                  <a:pt x="9" y="37"/>
                  <a:pt x="8" y="37"/>
                  <a:pt x="9" y="39"/>
                </a:cubicBezTo>
                <a:cubicBezTo>
                  <a:pt x="10" y="40"/>
                  <a:pt x="10" y="40"/>
                  <a:pt x="10" y="41"/>
                </a:cubicBezTo>
                <a:cubicBezTo>
                  <a:pt x="10" y="41"/>
                  <a:pt x="9" y="41"/>
                  <a:pt x="8" y="41"/>
                </a:cubicBezTo>
                <a:cubicBezTo>
                  <a:pt x="8" y="42"/>
                  <a:pt x="7" y="42"/>
                  <a:pt x="7" y="42"/>
                </a:cubicBezTo>
                <a:cubicBezTo>
                  <a:pt x="6" y="42"/>
                  <a:pt x="4" y="43"/>
                  <a:pt x="5" y="43"/>
                </a:cubicBezTo>
                <a:cubicBezTo>
                  <a:pt x="5" y="44"/>
                  <a:pt x="5" y="45"/>
                  <a:pt x="6" y="45"/>
                </a:cubicBezTo>
                <a:cubicBezTo>
                  <a:pt x="8" y="47"/>
                  <a:pt x="11" y="44"/>
                  <a:pt x="12" y="46"/>
                </a:cubicBezTo>
                <a:cubicBezTo>
                  <a:pt x="13" y="47"/>
                  <a:pt x="12" y="48"/>
                  <a:pt x="13" y="48"/>
                </a:cubicBezTo>
                <a:cubicBezTo>
                  <a:pt x="13" y="49"/>
                  <a:pt x="14" y="49"/>
                  <a:pt x="15" y="49"/>
                </a:cubicBezTo>
                <a:cubicBezTo>
                  <a:pt x="17" y="49"/>
                  <a:pt x="17" y="49"/>
                  <a:pt x="18" y="49"/>
                </a:cubicBezTo>
                <a:cubicBezTo>
                  <a:pt x="19" y="50"/>
                  <a:pt x="21" y="49"/>
                  <a:pt x="22" y="49"/>
                </a:cubicBezTo>
                <a:cubicBezTo>
                  <a:pt x="22" y="48"/>
                  <a:pt x="23" y="48"/>
                  <a:pt x="24" y="49"/>
                </a:cubicBezTo>
                <a:cubicBezTo>
                  <a:pt x="24" y="50"/>
                  <a:pt x="24" y="50"/>
                  <a:pt x="23" y="51"/>
                </a:cubicBezTo>
                <a:cubicBezTo>
                  <a:pt x="22" y="52"/>
                  <a:pt x="21" y="51"/>
                  <a:pt x="20" y="51"/>
                </a:cubicBezTo>
                <a:cubicBezTo>
                  <a:pt x="19" y="51"/>
                  <a:pt x="18" y="52"/>
                  <a:pt x="17" y="53"/>
                </a:cubicBezTo>
                <a:cubicBezTo>
                  <a:pt x="15" y="54"/>
                  <a:pt x="14" y="55"/>
                  <a:pt x="15" y="57"/>
                </a:cubicBezTo>
                <a:cubicBezTo>
                  <a:pt x="15" y="59"/>
                  <a:pt x="13" y="60"/>
                  <a:pt x="13" y="61"/>
                </a:cubicBezTo>
                <a:cubicBezTo>
                  <a:pt x="15" y="65"/>
                  <a:pt x="21" y="58"/>
                  <a:pt x="23" y="60"/>
                </a:cubicBezTo>
                <a:cubicBezTo>
                  <a:pt x="24" y="60"/>
                  <a:pt x="27" y="62"/>
                  <a:pt x="26" y="63"/>
                </a:cubicBezTo>
                <a:cubicBezTo>
                  <a:pt x="26" y="64"/>
                  <a:pt x="23" y="64"/>
                  <a:pt x="22" y="64"/>
                </a:cubicBezTo>
                <a:cubicBezTo>
                  <a:pt x="21" y="64"/>
                  <a:pt x="21" y="64"/>
                  <a:pt x="20" y="65"/>
                </a:cubicBezTo>
                <a:cubicBezTo>
                  <a:pt x="19" y="66"/>
                  <a:pt x="18" y="65"/>
                  <a:pt x="17" y="65"/>
                </a:cubicBezTo>
                <a:cubicBezTo>
                  <a:pt x="14" y="65"/>
                  <a:pt x="13" y="65"/>
                  <a:pt x="11" y="67"/>
                </a:cubicBezTo>
                <a:cubicBezTo>
                  <a:pt x="10" y="68"/>
                  <a:pt x="8" y="68"/>
                  <a:pt x="8" y="69"/>
                </a:cubicBezTo>
                <a:cubicBezTo>
                  <a:pt x="8" y="70"/>
                  <a:pt x="9" y="71"/>
                  <a:pt x="9" y="71"/>
                </a:cubicBezTo>
                <a:cubicBezTo>
                  <a:pt x="10" y="72"/>
                  <a:pt x="10" y="73"/>
                  <a:pt x="9" y="74"/>
                </a:cubicBezTo>
                <a:cubicBezTo>
                  <a:pt x="8" y="77"/>
                  <a:pt x="6" y="77"/>
                  <a:pt x="4" y="78"/>
                </a:cubicBezTo>
                <a:cubicBezTo>
                  <a:pt x="3" y="78"/>
                  <a:pt x="0" y="80"/>
                  <a:pt x="3" y="80"/>
                </a:cubicBezTo>
                <a:cubicBezTo>
                  <a:pt x="3" y="80"/>
                  <a:pt x="3" y="80"/>
                  <a:pt x="2" y="80"/>
                </a:cubicBezTo>
                <a:cubicBezTo>
                  <a:pt x="4" y="80"/>
                  <a:pt x="2" y="80"/>
                  <a:pt x="2" y="80"/>
                </a:cubicBezTo>
                <a:close/>
              </a:path>
            </a:pathLst>
          </a:custGeom>
          <a:solidFill>
            <a:srgbClr val="973B74"/>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204" name="Freeform 539">
            <a:extLst>
              <a:ext uri="{FF2B5EF4-FFF2-40B4-BE49-F238E27FC236}">
                <a16:creationId xmlns:a16="http://schemas.microsoft.com/office/drawing/2014/main" id="{E51BFEC5-AE09-45F9-7CE1-E121AF4A6F0F}"/>
              </a:ext>
            </a:extLst>
          </p:cNvPr>
          <p:cNvSpPr/>
          <p:nvPr>
            <p:custDataLst>
              <p:tags r:id="rId125"/>
            </p:custDataLst>
          </p:nvPr>
        </p:nvSpPr>
        <p:spPr bwMode="auto">
          <a:xfrm>
            <a:off x="5109897" y="3086573"/>
            <a:ext cx="12013" cy="25027"/>
          </a:xfrm>
          <a:custGeom>
            <a:avLst/>
            <a:gdLst>
              <a:gd name="T0" fmla="*/ 8 w 10"/>
              <a:gd name="T1" fmla="*/ 21 h 21"/>
              <a:gd name="T2" fmla="*/ 2 w 10"/>
              <a:gd name="T3" fmla="*/ 19 h 21"/>
              <a:gd name="T4" fmla="*/ 3 w 10"/>
              <a:gd name="T5" fmla="*/ 15 h 21"/>
              <a:gd name="T6" fmla="*/ 2 w 10"/>
              <a:gd name="T7" fmla="*/ 8 h 21"/>
              <a:gd name="T8" fmla="*/ 3 w 10"/>
              <a:gd name="T9" fmla="*/ 2 h 21"/>
              <a:gd name="T10" fmla="*/ 9 w 10"/>
              <a:gd name="T11" fmla="*/ 0 h 21"/>
              <a:gd name="T12" fmla="*/ 10 w 10"/>
              <a:gd name="T13" fmla="*/ 2 h 21"/>
              <a:gd name="T14" fmla="*/ 10 w 10"/>
              <a:gd name="T15" fmla="*/ 6 h 21"/>
              <a:gd name="T16" fmla="*/ 8 w 10"/>
              <a:gd name="T17" fmla="*/ 21 h 21"/>
              <a:gd name="T18" fmla="*/ 8 w 10"/>
              <a:gd name="T1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21">
                <a:moveTo>
                  <a:pt x="8" y="21"/>
                </a:moveTo>
                <a:cubicBezTo>
                  <a:pt x="6" y="21"/>
                  <a:pt x="4" y="21"/>
                  <a:pt x="2" y="19"/>
                </a:cubicBezTo>
                <a:cubicBezTo>
                  <a:pt x="0" y="18"/>
                  <a:pt x="3" y="16"/>
                  <a:pt x="3" y="15"/>
                </a:cubicBezTo>
                <a:cubicBezTo>
                  <a:pt x="4" y="13"/>
                  <a:pt x="2" y="10"/>
                  <a:pt x="2" y="8"/>
                </a:cubicBezTo>
                <a:cubicBezTo>
                  <a:pt x="1" y="6"/>
                  <a:pt x="1" y="4"/>
                  <a:pt x="3" y="2"/>
                </a:cubicBezTo>
                <a:cubicBezTo>
                  <a:pt x="4" y="0"/>
                  <a:pt x="7" y="0"/>
                  <a:pt x="9" y="0"/>
                </a:cubicBezTo>
                <a:cubicBezTo>
                  <a:pt x="10" y="1"/>
                  <a:pt x="10" y="1"/>
                  <a:pt x="10" y="2"/>
                </a:cubicBezTo>
                <a:cubicBezTo>
                  <a:pt x="10" y="3"/>
                  <a:pt x="10" y="5"/>
                  <a:pt x="10" y="6"/>
                </a:cubicBezTo>
                <a:cubicBezTo>
                  <a:pt x="10" y="11"/>
                  <a:pt x="9" y="16"/>
                  <a:pt x="8" y="21"/>
                </a:cubicBezTo>
                <a:cubicBezTo>
                  <a:pt x="6" y="21"/>
                  <a:pt x="8" y="21"/>
                  <a:pt x="8" y="21"/>
                </a:cubicBezTo>
                <a:close/>
              </a:path>
            </a:pathLst>
          </a:custGeom>
          <a:solidFill>
            <a:srgbClr val="E9CD49"/>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grpSp>
        <p:nvGrpSpPr>
          <p:cNvPr id="205" name="Group 204">
            <a:extLst>
              <a:ext uri="{FF2B5EF4-FFF2-40B4-BE49-F238E27FC236}">
                <a16:creationId xmlns:a16="http://schemas.microsoft.com/office/drawing/2014/main" id="{D347763D-07FD-6CEE-E36B-287179211899}"/>
              </a:ext>
            </a:extLst>
          </p:cNvPr>
          <p:cNvGrpSpPr/>
          <p:nvPr>
            <p:custDataLst>
              <p:tags r:id="rId126"/>
            </p:custDataLst>
          </p:nvPr>
        </p:nvGrpSpPr>
        <p:grpSpPr>
          <a:xfrm>
            <a:off x="2059581" y="1494843"/>
            <a:ext cx="6160697" cy="3494798"/>
            <a:chOff x="2465330" y="1526615"/>
            <a:chExt cx="7849719" cy="4452936"/>
          </a:xfrm>
        </p:grpSpPr>
        <p:sp>
          <p:nvSpPr>
            <p:cNvPr id="206" name="Freeform 6">
              <a:extLst>
                <a:ext uri="{FF2B5EF4-FFF2-40B4-BE49-F238E27FC236}">
                  <a16:creationId xmlns:a16="http://schemas.microsoft.com/office/drawing/2014/main" id="{0D3DE3C4-2D7B-C8ED-5485-6B9C0F98664C}"/>
                </a:ext>
              </a:extLst>
            </p:cNvPr>
            <p:cNvSpPr/>
            <p:nvPr>
              <p:custDataLst>
                <p:tags r:id="rId144"/>
              </p:custDataLst>
            </p:nvPr>
          </p:nvSpPr>
          <p:spPr bwMode="auto">
            <a:xfrm>
              <a:off x="3703887" y="4656808"/>
              <a:ext cx="304856" cy="339295"/>
            </a:xfrm>
            <a:custGeom>
              <a:avLst/>
              <a:gdLst>
                <a:gd name="T0" fmla="*/ 183 w 204"/>
                <a:gd name="T1" fmla="*/ 165 h 227"/>
                <a:gd name="T2" fmla="*/ 154 w 204"/>
                <a:gd name="T3" fmla="*/ 166 h 227"/>
                <a:gd name="T4" fmla="*/ 130 w 204"/>
                <a:gd name="T5" fmla="*/ 176 h 227"/>
                <a:gd name="T6" fmla="*/ 124 w 204"/>
                <a:gd name="T7" fmla="*/ 187 h 227"/>
                <a:gd name="T8" fmla="*/ 118 w 204"/>
                <a:gd name="T9" fmla="*/ 213 h 227"/>
                <a:gd name="T10" fmla="*/ 101 w 204"/>
                <a:gd name="T11" fmla="*/ 211 h 227"/>
                <a:gd name="T12" fmla="*/ 92 w 204"/>
                <a:gd name="T13" fmla="*/ 222 h 227"/>
                <a:gd name="T14" fmla="*/ 89 w 204"/>
                <a:gd name="T15" fmla="*/ 224 h 227"/>
                <a:gd name="T16" fmla="*/ 78 w 204"/>
                <a:gd name="T17" fmla="*/ 214 h 227"/>
                <a:gd name="T18" fmla="*/ 63 w 204"/>
                <a:gd name="T19" fmla="*/ 211 h 227"/>
                <a:gd name="T20" fmla="*/ 55 w 204"/>
                <a:gd name="T21" fmla="*/ 213 h 227"/>
                <a:gd name="T22" fmla="*/ 42 w 204"/>
                <a:gd name="T23" fmla="*/ 224 h 227"/>
                <a:gd name="T24" fmla="*/ 36 w 204"/>
                <a:gd name="T25" fmla="*/ 226 h 227"/>
                <a:gd name="T26" fmla="*/ 29 w 204"/>
                <a:gd name="T27" fmla="*/ 215 h 227"/>
                <a:gd name="T28" fmla="*/ 24 w 204"/>
                <a:gd name="T29" fmla="*/ 199 h 227"/>
                <a:gd name="T30" fmla="*/ 19 w 204"/>
                <a:gd name="T31" fmla="*/ 187 h 227"/>
                <a:gd name="T32" fmla="*/ 17 w 204"/>
                <a:gd name="T33" fmla="*/ 177 h 227"/>
                <a:gd name="T34" fmla="*/ 18 w 204"/>
                <a:gd name="T35" fmla="*/ 170 h 227"/>
                <a:gd name="T36" fmla="*/ 13 w 204"/>
                <a:gd name="T37" fmla="*/ 158 h 227"/>
                <a:gd name="T38" fmla="*/ 9 w 204"/>
                <a:gd name="T39" fmla="*/ 142 h 227"/>
                <a:gd name="T40" fmla="*/ 3 w 204"/>
                <a:gd name="T41" fmla="*/ 137 h 227"/>
                <a:gd name="T42" fmla="*/ 0 w 204"/>
                <a:gd name="T43" fmla="*/ 130 h 227"/>
                <a:gd name="T44" fmla="*/ 11 w 204"/>
                <a:gd name="T45" fmla="*/ 117 h 227"/>
                <a:gd name="T46" fmla="*/ 10 w 204"/>
                <a:gd name="T47" fmla="*/ 110 h 227"/>
                <a:gd name="T48" fmla="*/ 7 w 204"/>
                <a:gd name="T49" fmla="*/ 102 h 227"/>
                <a:gd name="T50" fmla="*/ 7 w 204"/>
                <a:gd name="T51" fmla="*/ 91 h 227"/>
                <a:gd name="T52" fmla="*/ 9 w 204"/>
                <a:gd name="T53" fmla="*/ 82 h 227"/>
                <a:gd name="T54" fmla="*/ 12 w 204"/>
                <a:gd name="T55" fmla="*/ 72 h 227"/>
                <a:gd name="T56" fmla="*/ 14 w 204"/>
                <a:gd name="T57" fmla="*/ 54 h 227"/>
                <a:gd name="T58" fmla="*/ 15 w 204"/>
                <a:gd name="T59" fmla="*/ 41 h 227"/>
                <a:gd name="T60" fmla="*/ 4 w 204"/>
                <a:gd name="T61" fmla="*/ 22 h 227"/>
                <a:gd name="T62" fmla="*/ 26 w 204"/>
                <a:gd name="T63" fmla="*/ 18 h 227"/>
                <a:gd name="T64" fmla="*/ 48 w 204"/>
                <a:gd name="T65" fmla="*/ 5 h 227"/>
                <a:gd name="T66" fmla="*/ 64 w 204"/>
                <a:gd name="T67" fmla="*/ 0 h 227"/>
                <a:gd name="T68" fmla="*/ 71 w 204"/>
                <a:gd name="T69" fmla="*/ 7 h 227"/>
                <a:gd name="T70" fmla="*/ 80 w 204"/>
                <a:gd name="T71" fmla="*/ 38 h 227"/>
                <a:gd name="T72" fmla="*/ 93 w 204"/>
                <a:gd name="T73" fmla="*/ 47 h 227"/>
                <a:gd name="T74" fmla="*/ 116 w 204"/>
                <a:gd name="T75" fmla="*/ 56 h 227"/>
                <a:gd name="T76" fmla="*/ 129 w 204"/>
                <a:gd name="T77" fmla="*/ 62 h 227"/>
                <a:gd name="T78" fmla="*/ 145 w 204"/>
                <a:gd name="T79" fmla="*/ 65 h 227"/>
                <a:gd name="T80" fmla="*/ 156 w 204"/>
                <a:gd name="T81" fmla="*/ 76 h 227"/>
                <a:gd name="T82" fmla="*/ 155 w 204"/>
                <a:gd name="T83" fmla="*/ 90 h 227"/>
                <a:gd name="T84" fmla="*/ 160 w 204"/>
                <a:gd name="T85" fmla="*/ 103 h 227"/>
                <a:gd name="T86" fmla="*/ 166 w 204"/>
                <a:gd name="T87" fmla="*/ 114 h 227"/>
                <a:gd name="T88" fmla="*/ 186 w 204"/>
                <a:gd name="T89" fmla="*/ 113 h 227"/>
                <a:gd name="T90" fmla="*/ 189 w 204"/>
                <a:gd name="T91" fmla="*/ 126 h 227"/>
                <a:gd name="T92" fmla="*/ 200 w 204"/>
                <a:gd name="T93" fmla="*/ 136 h 227"/>
                <a:gd name="T94" fmla="*/ 203 w 204"/>
                <a:gd name="T95" fmla="*/ 151 h 227"/>
                <a:gd name="T96" fmla="*/ 194 w 204"/>
                <a:gd name="T97" fmla="*/ 172 h 227"/>
                <a:gd name="T98" fmla="*/ 194 w 204"/>
                <a:gd name="T9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4" h="226">
                  <a:moveTo>
                    <a:pt x="194" y="172"/>
                  </a:moveTo>
                  <a:cubicBezTo>
                    <a:pt x="190" y="169"/>
                    <a:pt x="187" y="167"/>
                    <a:pt x="183" y="165"/>
                  </a:cubicBezTo>
                  <a:cubicBezTo>
                    <a:pt x="178" y="164"/>
                    <a:pt x="174" y="164"/>
                    <a:pt x="169" y="165"/>
                  </a:cubicBezTo>
                  <a:cubicBezTo>
                    <a:pt x="164" y="165"/>
                    <a:pt x="159" y="165"/>
                    <a:pt x="154" y="166"/>
                  </a:cubicBezTo>
                  <a:cubicBezTo>
                    <a:pt x="149" y="167"/>
                    <a:pt x="144" y="168"/>
                    <a:pt x="139" y="169"/>
                  </a:cubicBezTo>
                  <a:cubicBezTo>
                    <a:pt x="135" y="170"/>
                    <a:pt x="132" y="172"/>
                    <a:pt x="130" y="176"/>
                  </a:cubicBezTo>
                  <a:cubicBezTo>
                    <a:pt x="129" y="177"/>
                    <a:pt x="128" y="179"/>
                    <a:pt x="127" y="181"/>
                  </a:cubicBezTo>
                  <a:cubicBezTo>
                    <a:pt x="126" y="183"/>
                    <a:pt x="125" y="185"/>
                    <a:pt x="124" y="187"/>
                  </a:cubicBezTo>
                  <a:cubicBezTo>
                    <a:pt x="123" y="191"/>
                    <a:pt x="124" y="196"/>
                    <a:pt x="122" y="200"/>
                  </a:cubicBezTo>
                  <a:cubicBezTo>
                    <a:pt x="121" y="205"/>
                    <a:pt x="120" y="209"/>
                    <a:pt x="118" y="213"/>
                  </a:cubicBezTo>
                  <a:cubicBezTo>
                    <a:pt x="116" y="212"/>
                    <a:pt x="113" y="212"/>
                    <a:pt x="111" y="212"/>
                  </a:cubicBezTo>
                  <a:cubicBezTo>
                    <a:pt x="108" y="211"/>
                    <a:pt x="104" y="211"/>
                    <a:pt x="101" y="211"/>
                  </a:cubicBezTo>
                  <a:cubicBezTo>
                    <a:pt x="99" y="211"/>
                    <a:pt x="97" y="211"/>
                    <a:pt x="95" y="213"/>
                  </a:cubicBezTo>
                  <a:cubicBezTo>
                    <a:pt x="94" y="216"/>
                    <a:pt x="93" y="219"/>
                    <a:pt x="92" y="222"/>
                  </a:cubicBezTo>
                  <a:cubicBezTo>
                    <a:pt x="92" y="223"/>
                    <a:pt x="91" y="224"/>
                    <a:pt x="91" y="225"/>
                  </a:cubicBezTo>
                  <a:cubicBezTo>
                    <a:pt x="90" y="226"/>
                    <a:pt x="90" y="224"/>
                    <a:pt x="89" y="224"/>
                  </a:cubicBezTo>
                  <a:cubicBezTo>
                    <a:pt x="88" y="221"/>
                    <a:pt x="87" y="218"/>
                    <a:pt x="85" y="216"/>
                  </a:cubicBezTo>
                  <a:cubicBezTo>
                    <a:pt x="83" y="215"/>
                    <a:pt x="81" y="214"/>
                    <a:pt x="78" y="214"/>
                  </a:cubicBezTo>
                  <a:cubicBezTo>
                    <a:pt x="75" y="214"/>
                    <a:pt x="72" y="214"/>
                    <a:pt x="69" y="214"/>
                  </a:cubicBezTo>
                  <a:cubicBezTo>
                    <a:pt x="67" y="215"/>
                    <a:pt x="65" y="213"/>
                    <a:pt x="63" y="211"/>
                  </a:cubicBezTo>
                  <a:cubicBezTo>
                    <a:pt x="62" y="210"/>
                    <a:pt x="59" y="207"/>
                    <a:pt x="57" y="208"/>
                  </a:cubicBezTo>
                  <a:cubicBezTo>
                    <a:pt x="55" y="209"/>
                    <a:pt x="56" y="212"/>
                    <a:pt x="55" y="213"/>
                  </a:cubicBezTo>
                  <a:cubicBezTo>
                    <a:pt x="53" y="215"/>
                    <a:pt x="50" y="217"/>
                    <a:pt x="48" y="218"/>
                  </a:cubicBezTo>
                  <a:cubicBezTo>
                    <a:pt x="46" y="220"/>
                    <a:pt x="44" y="222"/>
                    <a:pt x="42" y="224"/>
                  </a:cubicBezTo>
                  <a:cubicBezTo>
                    <a:pt x="42" y="225"/>
                    <a:pt x="41" y="227"/>
                    <a:pt x="41" y="227"/>
                  </a:cubicBezTo>
                  <a:cubicBezTo>
                    <a:pt x="39" y="226"/>
                    <a:pt x="37" y="226"/>
                    <a:pt x="36" y="226"/>
                  </a:cubicBezTo>
                  <a:cubicBezTo>
                    <a:pt x="34" y="226"/>
                    <a:pt x="31" y="226"/>
                    <a:pt x="30" y="224"/>
                  </a:cubicBezTo>
                  <a:cubicBezTo>
                    <a:pt x="30" y="221"/>
                    <a:pt x="30" y="218"/>
                    <a:pt x="29" y="215"/>
                  </a:cubicBezTo>
                  <a:cubicBezTo>
                    <a:pt x="28" y="213"/>
                    <a:pt x="27" y="210"/>
                    <a:pt x="26" y="207"/>
                  </a:cubicBezTo>
                  <a:cubicBezTo>
                    <a:pt x="26" y="204"/>
                    <a:pt x="25" y="202"/>
                    <a:pt x="24" y="199"/>
                  </a:cubicBezTo>
                  <a:cubicBezTo>
                    <a:pt x="23" y="197"/>
                    <a:pt x="21" y="196"/>
                    <a:pt x="20" y="194"/>
                  </a:cubicBezTo>
                  <a:cubicBezTo>
                    <a:pt x="19" y="192"/>
                    <a:pt x="20" y="190"/>
                    <a:pt x="19" y="187"/>
                  </a:cubicBezTo>
                  <a:cubicBezTo>
                    <a:pt x="18" y="186"/>
                    <a:pt x="16" y="185"/>
                    <a:pt x="16" y="183"/>
                  </a:cubicBezTo>
                  <a:cubicBezTo>
                    <a:pt x="14" y="181"/>
                    <a:pt x="17" y="179"/>
                    <a:pt x="17" y="177"/>
                  </a:cubicBezTo>
                  <a:cubicBezTo>
                    <a:pt x="17" y="176"/>
                    <a:pt x="17" y="175"/>
                    <a:pt x="17" y="173"/>
                  </a:cubicBezTo>
                  <a:cubicBezTo>
                    <a:pt x="17" y="172"/>
                    <a:pt x="18" y="171"/>
                    <a:pt x="18" y="170"/>
                  </a:cubicBezTo>
                  <a:cubicBezTo>
                    <a:pt x="19" y="168"/>
                    <a:pt x="19" y="165"/>
                    <a:pt x="17" y="163"/>
                  </a:cubicBezTo>
                  <a:cubicBezTo>
                    <a:pt x="16" y="161"/>
                    <a:pt x="14" y="160"/>
                    <a:pt x="13" y="158"/>
                  </a:cubicBezTo>
                  <a:cubicBezTo>
                    <a:pt x="11" y="155"/>
                    <a:pt x="11" y="152"/>
                    <a:pt x="10" y="149"/>
                  </a:cubicBezTo>
                  <a:cubicBezTo>
                    <a:pt x="10" y="147"/>
                    <a:pt x="10" y="143"/>
                    <a:pt x="9" y="142"/>
                  </a:cubicBezTo>
                  <a:cubicBezTo>
                    <a:pt x="8" y="141"/>
                    <a:pt x="7" y="140"/>
                    <a:pt x="6" y="140"/>
                  </a:cubicBezTo>
                  <a:cubicBezTo>
                    <a:pt x="4" y="139"/>
                    <a:pt x="4" y="138"/>
                    <a:pt x="3" y="137"/>
                  </a:cubicBezTo>
                  <a:cubicBezTo>
                    <a:pt x="2" y="136"/>
                    <a:pt x="1" y="134"/>
                    <a:pt x="1" y="133"/>
                  </a:cubicBezTo>
                  <a:cubicBezTo>
                    <a:pt x="2" y="132"/>
                    <a:pt x="1" y="131"/>
                    <a:pt x="0" y="130"/>
                  </a:cubicBezTo>
                  <a:cubicBezTo>
                    <a:pt x="0" y="128"/>
                    <a:pt x="4" y="125"/>
                    <a:pt x="5" y="124"/>
                  </a:cubicBezTo>
                  <a:cubicBezTo>
                    <a:pt x="7" y="122"/>
                    <a:pt x="9" y="120"/>
                    <a:pt x="11" y="117"/>
                  </a:cubicBezTo>
                  <a:cubicBezTo>
                    <a:pt x="13" y="116"/>
                    <a:pt x="15" y="113"/>
                    <a:pt x="12" y="111"/>
                  </a:cubicBezTo>
                  <a:cubicBezTo>
                    <a:pt x="11" y="111"/>
                    <a:pt x="11" y="110"/>
                    <a:pt x="10" y="110"/>
                  </a:cubicBezTo>
                  <a:cubicBezTo>
                    <a:pt x="9" y="110"/>
                    <a:pt x="9" y="109"/>
                    <a:pt x="9" y="108"/>
                  </a:cubicBezTo>
                  <a:cubicBezTo>
                    <a:pt x="8" y="106"/>
                    <a:pt x="7" y="104"/>
                    <a:pt x="7" y="102"/>
                  </a:cubicBezTo>
                  <a:cubicBezTo>
                    <a:pt x="6" y="101"/>
                    <a:pt x="6" y="99"/>
                    <a:pt x="7" y="97"/>
                  </a:cubicBezTo>
                  <a:cubicBezTo>
                    <a:pt x="8" y="95"/>
                    <a:pt x="8" y="93"/>
                    <a:pt x="7" y="91"/>
                  </a:cubicBezTo>
                  <a:cubicBezTo>
                    <a:pt x="6" y="90"/>
                    <a:pt x="5" y="88"/>
                    <a:pt x="6" y="86"/>
                  </a:cubicBezTo>
                  <a:cubicBezTo>
                    <a:pt x="6" y="85"/>
                    <a:pt x="8" y="83"/>
                    <a:pt x="9" y="82"/>
                  </a:cubicBezTo>
                  <a:cubicBezTo>
                    <a:pt x="11" y="81"/>
                    <a:pt x="13" y="79"/>
                    <a:pt x="13" y="77"/>
                  </a:cubicBezTo>
                  <a:cubicBezTo>
                    <a:pt x="14" y="75"/>
                    <a:pt x="13" y="74"/>
                    <a:pt x="12" y="72"/>
                  </a:cubicBezTo>
                  <a:cubicBezTo>
                    <a:pt x="9" y="68"/>
                    <a:pt x="10" y="64"/>
                    <a:pt x="12" y="60"/>
                  </a:cubicBezTo>
                  <a:cubicBezTo>
                    <a:pt x="13" y="58"/>
                    <a:pt x="14" y="56"/>
                    <a:pt x="14" y="54"/>
                  </a:cubicBezTo>
                  <a:cubicBezTo>
                    <a:pt x="15" y="51"/>
                    <a:pt x="17" y="49"/>
                    <a:pt x="17" y="47"/>
                  </a:cubicBezTo>
                  <a:cubicBezTo>
                    <a:pt x="17" y="45"/>
                    <a:pt x="15" y="43"/>
                    <a:pt x="15" y="41"/>
                  </a:cubicBezTo>
                  <a:cubicBezTo>
                    <a:pt x="14" y="39"/>
                    <a:pt x="12" y="36"/>
                    <a:pt x="11" y="34"/>
                  </a:cubicBezTo>
                  <a:cubicBezTo>
                    <a:pt x="9" y="30"/>
                    <a:pt x="6" y="26"/>
                    <a:pt x="4" y="22"/>
                  </a:cubicBezTo>
                  <a:cubicBezTo>
                    <a:pt x="9" y="21"/>
                    <a:pt x="15" y="24"/>
                    <a:pt x="20" y="22"/>
                  </a:cubicBezTo>
                  <a:cubicBezTo>
                    <a:pt x="22" y="21"/>
                    <a:pt x="24" y="19"/>
                    <a:pt x="26" y="18"/>
                  </a:cubicBezTo>
                  <a:cubicBezTo>
                    <a:pt x="28" y="16"/>
                    <a:pt x="31" y="15"/>
                    <a:pt x="34" y="14"/>
                  </a:cubicBezTo>
                  <a:cubicBezTo>
                    <a:pt x="39" y="12"/>
                    <a:pt x="44" y="9"/>
                    <a:pt x="48" y="5"/>
                  </a:cubicBezTo>
                  <a:cubicBezTo>
                    <a:pt x="50" y="3"/>
                    <a:pt x="52" y="2"/>
                    <a:pt x="55" y="1"/>
                  </a:cubicBezTo>
                  <a:cubicBezTo>
                    <a:pt x="58" y="1"/>
                    <a:pt x="61" y="1"/>
                    <a:pt x="64" y="0"/>
                  </a:cubicBezTo>
                  <a:cubicBezTo>
                    <a:pt x="66" y="0"/>
                    <a:pt x="69" y="0"/>
                    <a:pt x="70" y="2"/>
                  </a:cubicBezTo>
                  <a:cubicBezTo>
                    <a:pt x="72" y="3"/>
                    <a:pt x="71" y="5"/>
                    <a:pt x="71" y="7"/>
                  </a:cubicBezTo>
                  <a:cubicBezTo>
                    <a:pt x="71" y="13"/>
                    <a:pt x="71" y="19"/>
                    <a:pt x="71" y="25"/>
                  </a:cubicBezTo>
                  <a:cubicBezTo>
                    <a:pt x="72" y="30"/>
                    <a:pt x="77" y="34"/>
                    <a:pt x="80" y="38"/>
                  </a:cubicBezTo>
                  <a:cubicBezTo>
                    <a:pt x="82" y="40"/>
                    <a:pt x="84" y="42"/>
                    <a:pt x="86" y="44"/>
                  </a:cubicBezTo>
                  <a:cubicBezTo>
                    <a:pt x="88" y="46"/>
                    <a:pt x="91" y="47"/>
                    <a:pt x="93" y="47"/>
                  </a:cubicBezTo>
                  <a:cubicBezTo>
                    <a:pt x="99" y="47"/>
                    <a:pt x="106" y="47"/>
                    <a:pt x="111" y="50"/>
                  </a:cubicBezTo>
                  <a:cubicBezTo>
                    <a:pt x="112" y="52"/>
                    <a:pt x="114" y="54"/>
                    <a:pt x="116" y="56"/>
                  </a:cubicBezTo>
                  <a:cubicBezTo>
                    <a:pt x="118" y="58"/>
                    <a:pt x="121" y="57"/>
                    <a:pt x="124" y="58"/>
                  </a:cubicBezTo>
                  <a:cubicBezTo>
                    <a:pt x="127" y="58"/>
                    <a:pt x="128" y="60"/>
                    <a:pt x="129" y="62"/>
                  </a:cubicBezTo>
                  <a:cubicBezTo>
                    <a:pt x="132" y="64"/>
                    <a:pt x="134" y="66"/>
                    <a:pt x="137" y="66"/>
                  </a:cubicBezTo>
                  <a:cubicBezTo>
                    <a:pt x="139" y="66"/>
                    <a:pt x="142" y="65"/>
                    <a:pt x="145" y="65"/>
                  </a:cubicBezTo>
                  <a:cubicBezTo>
                    <a:pt x="147" y="65"/>
                    <a:pt x="150" y="68"/>
                    <a:pt x="152" y="70"/>
                  </a:cubicBezTo>
                  <a:cubicBezTo>
                    <a:pt x="154" y="71"/>
                    <a:pt x="156" y="73"/>
                    <a:pt x="156" y="76"/>
                  </a:cubicBezTo>
                  <a:cubicBezTo>
                    <a:pt x="157" y="78"/>
                    <a:pt x="157" y="81"/>
                    <a:pt x="157" y="84"/>
                  </a:cubicBezTo>
                  <a:cubicBezTo>
                    <a:pt x="157" y="86"/>
                    <a:pt x="157" y="89"/>
                    <a:pt x="155" y="90"/>
                  </a:cubicBezTo>
                  <a:cubicBezTo>
                    <a:pt x="153" y="93"/>
                    <a:pt x="154" y="94"/>
                    <a:pt x="156" y="96"/>
                  </a:cubicBezTo>
                  <a:cubicBezTo>
                    <a:pt x="158" y="98"/>
                    <a:pt x="159" y="100"/>
                    <a:pt x="160" y="103"/>
                  </a:cubicBezTo>
                  <a:cubicBezTo>
                    <a:pt x="160" y="105"/>
                    <a:pt x="159" y="109"/>
                    <a:pt x="160" y="111"/>
                  </a:cubicBezTo>
                  <a:cubicBezTo>
                    <a:pt x="161" y="114"/>
                    <a:pt x="164" y="114"/>
                    <a:pt x="166" y="114"/>
                  </a:cubicBezTo>
                  <a:cubicBezTo>
                    <a:pt x="170" y="114"/>
                    <a:pt x="173" y="113"/>
                    <a:pt x="176" y="113"/>
                  </a:cubicBezTo>
                  <a:cubicBezTo>
                    <a:pt x="179" y="113"/>
                    <a:pt x="182" y="113"/>
                    <a:pt x="186" y="113"/>
                  </a:cubicBezTo>
                  <a:cubicBezTo>
                    <a:pt x="188" y="112"/>
                    <a:pt x="190" y="113"/>
                    <a:pt x="190" y="116"/>
                  </a:cubicBezTo>
                  <a:cubicBezTo>
                    <a:pt x="189" y="119"/>
                    <a:pt x="187" y="122"/>
                    <a:pt x="189" y="126"/>
                  </a:cubicBezTo>
                  <a:cubicBezTo>
                    <a:pt x="190" y="129"/>
                    <a:pt x="193" y="131"/>
                    <a:pt x="195" y="133"/>
                  </a:cubicBezTo>
                  <a:cubicBezTo>
                    <a:pt x="197" y="134"/>
                    <a:pt x="198" y="135"/>
                    <a:pt x="200" y="136"/>
                  </a:cubicBezTo>
                  <a:cubicBezTo>
                    <a:pt x="201" y="137"/>
                    <a:pt x="202" y="139"/>
                    <a:pt x="202" y="140"/>
                  </a:cubicBezTo>
                  <a:cubicBezTo>
                    <a:pt x="203" y="144"/>
                    <a:pt x="204" y="147"/>
                    <a:pt x="203" y="151"/>
                  </a:cubicBezTo>
                  <a:cubicBezTo>
                    <a:pt x="203" y="155"/>
                    <a:pt x="201" y="158"/>
                    <a:pt x="199" y="161"/>
                  </a:cubicBezTo>
                  <a:cubicBezTo>
                    <a:pt x="197" y="164"/>
                    <a:pt x="196" y="168"/>
                    <a:pt x="194" y="172"/>
                  </a:cubicBezTo>
                  <a:cubicBezTo>
                    <a:pt x="194" y="172"/>
                    <a:pt x="193" y="171"/>
                    <a:pt x="193" y="171"/>
                  </a:cubicBezTo>
                  <a:cubicBezTo>
                    <a:pt x="193" y="171"/>
                    <a:pt x="194" y="171"/>
                    <a:pt x="194" y="172"/>
                  </a:cubicBezTo>
                  <a:cubicBezTo>
                    <a:pt x="189" y="169"/>
                    <a:pt x="194" y="172"/>
                    <a:pt x="194" y="172"/>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07" name="Freeform 12">
              <a:extLst>
                <a:ext uri="{FF2B5EF4-FFF2-40B4-BE49-F238E27FC236}">
                  <a16:creationId xmlns:a16="http://schemas.microsoft.com/office/drawing/2014/main" id="{FC567CE8-7A09-3015-FCD7-0C6B9AF466AC}"/>
                </a:ext>
              </a:extLst>
            </p:cNvPr>
            <p:cNvSpPr/>
            <p:nvPr>
              <p:custDataLst>
                <p:tags r:id="rId145"/>
              </p:custDataLst>
            </p:nvPr>
          </p:nvSpPr>
          <p:spPr bwMode="auto">
            <a:xfrm>
              <a:off x="3131166" y="3951431"/>
              <a:ext cx="99492" cy="105871"/>
            </a:xfrm>
            <a:custGeom>
              <a:avLst/>
              <a:gdLst>
                <a:gd name="T0" fmla="*/ 58 w 67"/>
                <a:gd name="T1" fmla="*/ 34 h 71"/>
                <a:gd name="T2" fmla="*/ 62 w 67"/>
                <a:gd name="T3" fmla="*/ 36 h 71"/>
                <a:gd name="T4" fmla="*/ 64 w 67"/>
                <a:gd name="T5" fmla="*/ 35 h 71"/>
                <a:gd name="T6" fmla="*/ 67 w 67"/>
                <a:gd name="T7" fmla="*/ 35 h 71"/>
                <a:gd name="T8" fmla="*/ 61 w 67"/>
                <a:gd name="T9" fmla="*/ 41 h 71"/>
                <a:gd name="T10" fmla="*/ 55 w 67"/>
                <a:gd name="T11" fmla="*/ 46 h 71"/>
                <a:gd name="T12" fmla="*/ 52 w 67"/>
                <a:gd name="T13" fmla="*/ 52 h 71"/>
                <a:gd name="T14" fmla="*/ 51 w 67"/>
                <a:gd name="T15" fmla="*/ 55 h 71"/>
                <a:gd name="T16" fmla="*/ 49 w 67"/>
                <a:gd name="T17" fmla="*/ 58 h 71"/>
                <a:gd name="T18" fmla="*/ 36 w 67"/>
                <a:gd name="T19" fmla="*/ 69 h 71"/>
                <a:gd name="T20" fmla="*/ 33 w 67"/>
                <a:gd name="T21" fmla="*/ 70 h 71"/>
                <a:gd name="T22" fmla="*/ 30 w 67"/>
                <a:gd name="T23" fmla="*/ 69 h 71"/>
                <a:gd name="T24" fmla="*/ 21 w 67"/>
                <a:gd name="T25" fmla="*/ 68 h 71"/>
                <a:gd name="T26" fmla="*/ 14 w 67"/>
                <a:gd name="T27" fmla="*/ 68 h 71"/>
                <a:gd name="T28" fmla="*/ 7 w 67"/>
                <a:gd name="T29" fmla="*/ 63 h 71"/>
                <a:gd name="T30" fmla="*/ 3 w 67"/>
                <a:gd name="T31" fmla="*/ 61 h 71"/>
                <a:gd name="T32" fmla="*/ 0 w 67"/>
                <a:gd name="T33" fmla="*/ 58 h 71"/>
                <a:gd name="T34" fmla="*/ 2 w 67"/>
                <a:gd name="T35" fmla="*/ 56 h 71"/>
                <a:gd name="T36" fmla="*/ 3 w 67"/>
                <a:gd name="T37" fmla="*/ 51 h 71"/>
                <a:gd name="T38" fmla="*/ 5 w 67"/>
                <a:gd name="T39" fmla="*/ 43 h 71"/>
                <a:gd name="T40" fmla="*/ 8 w 67"/>
                <a:gd name="T41" fmla="*/ 34 h 71"/>
                <a:gd name="T42" fmla="*/ 14 w 67"/>
                <a:gd name="T43" fmla="*/ 32 h 71"/>
                <a:gd name="T44" fmla="*/ 23 w 67"/>
                <a:gd name="T45" fmla="*/ 32 h 71"/>
                <a:gd name="T46" fmla="*/ 31 w 67"/>
                <a:gd name="T47" fmla="*/ 30 h 71"/>
                <a:gd name="T48" fmla="*/ 28 w 67"/>
                <a:gd name="T49" fmla="*/ 22 h 71"/>
                <a:gd name="T50" fmla="*/ 20 w 67"/>
                <a:gd name="T51" fmla="*/ 15 h 71"/>
                <a:gd name="T52" fmla="*/ 17 w 67"/>
                <a:gd name="T53" fmla="*/ 10 h 71"/>
                <a:gd name="T54" fmla="*/ 22 w 67"/>
                <a:gd name="T55" fmla="*/ 5 h 71"/>
                <a:gd name="T56" fmla="*/ 22 w 67"/>
                <a:gd name="T57" fmla="*/ 3 h 71"/>
                <a:gd name="T58" fmla="*/ 22 w 67"/>
                <a:gd name="T59" fmla="*/ 1 h 71"/>
                <a:gd name="T60" fmla="*/ 25 w 67"/>
                <a:gd name="T61" fmla="*/ 1 h 71"/>
                <a:gd name="T62" fmla="*/ 50 w 67"/>
                <a:gd name="T63" fmla="*/ 0 h 71"/>
                <a:gd name="T64" fmla="*/ 50 w 67"/>
                <a:gd name="T65" fmla="*/ 24 h 71"/>
                <a:gd name="T66" fmla="*/ 50 w 67"/>
                <a:gd name="T67" fmla="*/ 29 h 71"/>
                <a:gd name="T68" fmla="*/ 51 w 67"/>
                <a:gd name="T69" fmla="*/ 34 h 71"/>
                <a:gd name="T70" fmla="*/ 54 w 67"/>
                <a:gd name="T71" fmla="*/ 34 h 71"/>
                <a:gd name="T72" fmla="*/ 57 w 67"/>
                <a:gd name="T73" fmla="*/ 34 h 71"/>
                <a:gd name="T74" fmla="*/ 58 w 67"/>
                <a:gd name="T75" fmla="*/ 35 h 71"/>
                <a:gd name="T76" fmla="*/ 58 w 67"/>
                <a:gd name="T77" fmla="*/ 34 h 71"/>
                <a:gd name="T78" fmla="*/ 58 w 67"/>
                <a:gd name="T79" fmla="*/ 3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 h="71">
                  <a:moveTo>
                    <a:pt x="58" y="34"/>
                  </a:moveTo>
                  <a:cubicBezTo>
                    <a:pt x="59" y="35"/>
                    <a:pt x="60" y="36"/>
                    <a:pt x="62" y="36"/>
                  </a:cubicBezTo>
                  <a:cubicBezTo>
                    <a:pt x="63" y="36"/>
                    <a:pt x="63" y="35"/>
                    <a:pt x="64" y="35"/>
                  </a:cubicBezTo>
                  <a:cubicBezTo>
                    <a:pt x="65" y="34"/>
                    <a:pt x="66" y="35"/>
                    <a:pt x="67" y="35"/>
                  </a:cubicBezTo>
                  <a:cubicBezTo>
                    <a:pt x="65" y="37"/>
                    <a:pt x="63" y="39"/>
                    <a:pt x="61" y="41"/>
                  </a:cubicBezTo>
                  <a:cubicBezTo>
                    <a:pt x="59" y="43"/>
                    <a:pt x="57" y="44"/>
                    <a:pt x="55" y="46"/>
                  </a:cubicBezTo>
                  <a:cubicBezTo>
                    <a:pt x="53" y="47"/>
                    <a:pt x="52" y="50"/>
                    <a:pt x="52" y="52"/>
                  </a:cubicBezTo>
                  <a:cubicBezTo>
                    <a:pt x="52" y="53"/>
                    <a:pt x="51" y="54"/>
                    <a:pt x="51" y="55"/>
                  </a:cubicBezTo>
                  <a:cubicBezTo>
                    <a:pt x="51" y="57"/>
                    <a:pt x="51" y="57"/>
                    <a:pt x="49" y="58"/>
                  </a:cubicBezTo>
                  <a:cubicBezTo>
                    <a:pt x="44" y="61"/>
                    <a:pt x="40" y="64"/>
                    <a:pt x="36" y="69"/>
                  </a:cubicBezTo>
                  <a:cubicBezTo>
                    <a:pt x="35" y="69"/>
                    <a:pt x="34" y="71"/>
                    <a:pt x="33" y="70"/>
                  </a:cubicBezTo>
                  <a:cubicBezTo>
                    <a:pt x="32" y="70"/>
                    <a:pt x="31" y="69"/>
                    <a:pt x="30" y="69"/>
                  </a:cubicBezTo>
                  <a:cubicBezTo>
                    <a:pt x="27" y="68"/>
                    <a:pt x="24" y="68"/>
                    <a:pt x="21" y="68"/>
                  </a:cubicBezTo>
                  <a:cubicBezTo>
                    <a:pt x="19" y="68"/>
                    <a:pt x="16" y="68"/>
                    <a:pt x="14" y="68"/>
                  </a:cubicBezTo>
                  <a:cubicBezTo>
                    <a:pt x="11" y="67"/>
                    <a:pt x="9" y="65"/>
                    <a:pt x="7" y="63"/>
                  </a:cubicBezTo>
                  <a:cubicBezTo>
                    <a:pt x="6" y="63"/>
                    <a:pt x="5" y="62"/>
                    <a:pt x="3" y="61"/>
                  </a:cubicBezTo>
                  <a:cubicBezTo>
                    <a:pt x="3" y="60"/>
                    <a:pt x="1" y="59"/>
                    <a:pt x="0" y="58"/>
                  </a:cubicBezTo>
                  <a:cubicBezTo>
                    <a:pt x="0" y="57"/>
                    <a:pt x="1" y="56"/>
                    <a:pt x="2" y="56"/>
                  </a:cubicBezTo>
                  <a:cubicBezTo>
                    <a:pt x="2" y="54"/>
                    <a:pt x="3" y="53"/>
                    <a:pt x="3" y="51"/>
                  </a:cubicBezTo>
                  <a:cubicBezTo>
                    <a:pt x="4" y="49"/>
                    <a:pt x="5" y="46"/>
                    <a:pt x="5" y="43"/>
                  </a:cubicBezTo>
                  <a:cubicBezTo>
                    <a:pt x="6" y="40"/>
                    <a:pt x="6" y="37"/>
                    <a:pt x="8" y="34"/>
                  </a:cubicBezTo>
                  <a:cubicBezTo>
                    <a:pt x="9" y="32"/>
                    <a:pt x="12" y="32"/>
                    <a:pt x="14" y="32"/>
                  </a:cubicBezTo>
                  <a:cubicBezTo>
                    <a:pt x="17" y="32"/>
                    <a:pt x="20" y="32"/>
                    <a:pt x="23" y="32"/>
                  </a:cubicBezTo>
                  <a:cubicBezTo>
                    <a:pt x="26" y="32"/>
                    <a:pt x="30" y="33"/>
                    <a:pt x="31" y="30"/>
                  </a:cubicBezTo>
                  <a:cubicBezTo>
                    <a:pt x="33" y="27"/>
                    <a:pt x="30" y="24"/>
                    <a:pt x="28" y="22"/>
                  </a:cubicBezTo>
                  <a:cubicBezTo>
                    <a:pt x="26" y="20"/>
                    <a:pt x="23" y="17"/>
                    <a:pt x="20" y="15"/>
                  </a:cubicBezTo>
                  <a:cubicBezTo>
                    <a:pt x="19" y="14"/>
                    <a:pt x="12" y="10"/>
                    <a:pt x="17" y="10"/>
                  </a:cubicBezTo>
                  <a:cubicBezTo>
                    <a:pt x="20" y="10"/>
                    <a:pt x="21" y="8"/>
                    <a:pt x="22" y="5"/>
                  </a:cubicBezTo>
                  <a:cubicBezTo>
                    <a:pt x="22" y="4"/>
                    <a:pt x="22" y="3"/>
                    <a:pt x="22" y="3"/>
                  </a:cubicBezTo>
                  <a:cubicBezTo>
                    <a:pt x="22" y="2"/>
                    <a:pt x="22" y="2"/>
                    <a:pt x="22" y="1"/>
                  </a:cubicBezTo>
                  <a:cubicBezTo>
                    <a:pt x="22" y="1"/>
                    <a:pt x="24" y="1"/>
                    <a:pt x="25" y="1"/>
                  </a:cubicBezTo>
                  <a:cubicBezTo>
                    <a:pt x="33" y="0"/>
                    <a:pt x="42" y="1"/>
                    <a:pt x="50" y="0"/>
                  </a:cubicBezTo>
                  <a:cubicBezTo>
                    <a:pt x="50" y="8"/>
                    <a:pt x="50" y="16"/>
                    <a:pt x="50" y="24"/>
                  </a:cubicBezTo>
                  <a:cubicBezTo>
                    <a:pt x="50" y="26"/>
                    <a:pt x="50" y="27"/>
                    <a:pt x="50" y="29"/>
                  </a:cubicBezTo>
                  <a:cubicBezTo>
                    <a:pt x="50" y="31"/>
                    <a:pt x="50" y="33"/>
                    <a:pt x="51" y="34"/>
                  </a:cubicBezTo>
                  <a:cubicBezTo>
                    <a:pt x="51" y="35"/>
                    <a:pt x="53" y="34"/>
                    <a:pt x="54" y="34"/>
                  </a:cubicBezTo>
                  <a:cubicBezTo>
                    <a:pt x="55" y="34"/>
                    <a:pt x="56" y="34"/>
                    <a:pt x="57" y="34"/>
                  </a:cubicBezTo>
                  <a:cubicBezTo>
                    <a:pt x="58" y="34"/>
                    <a:pt x="58" y="34"/>
                    <a:pt x="58" y="35"/>
                  </a:cubicBezTo>
                  <a:cubicBezTo>
                    <a:pt x="58" y="34"/>
                    <a:pt x="58" y="34"/>
                    <a:pt x="58" y="34"/>
                  </a:cubicBezTo>
                  <a:cubicBezTo>
                    <a:pt x="59" y="35"/>
                    <a:pt x="58" y="34"/>
                    <a:pt x="58" y="34"/>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08" name="Freeform 21">
              <a:extLst>
                <a:ext uri="{FF2B5EF4-FFF2-40B4-BE49-F238E27FC236}">
                  <a16:creationId xmlns:a16="http://schemas.microsoft.com/office/drawing/2014/main" id="{D5710CA5-5B98-5239-3E4F-D0A4C4EE6C28}"/>
                </a:ext>
              </a:extLst>
            </p:cNvPr>
            <p:cNvSpPr/>
            <p:nvPr>
              <p:custDataLst>
                <p:tags r:id="rId146"/>
              </p:custDataLst>
            </p:nvPr>
          </p:nvSpPr>
          <p:spPr bwMode="auto">
            <a:xfrm>
              <a:off x="4086551" y="4262664"/>
              <a:ext cx="71430" cy="89289"/>
            </a:xfrm>
            <a:custGeom>
              <a:avLst/>
              <a:gdLst>
                <a:gd name="T0" fmla="*/ 10 w 48"/>
                <a:gd name="T1" fmla="*/ 0 h 60"/>
                <a:gd name="T2" fmla="*/ 3 w 48"/>
                <a:gd name="T3" fmla="*/ 13 h 60"/>
                <a:gd name="T4" fmla="*/ 5 w 48"/>
                <a:gd name="T5" fmla="*/ 29 h 60"/>
                <a:gd name="T6" fmla="*/ 7 w 48"/>
                <a:gd name="T7" fmla="*/ 45 h 60"/>
                <a:gd name="T8" fmla="*/ 0 w 48"/>
                <a:gd name="T9" fmla="*/ 57 h 60"/>
                <a:gd name="T10" fmla="*/ 6 w 48"/>
                <a:gd name="T11" fmla="*/ 60 h 60"/>
                <a:gd name="T12" fmla="*/ 13 w 48"/>
                <a:gd name="T13" fmla="*/ 58 h 60"/>
                <a:gd name="T14" fmla="*/ 20 w 48"/>
                <a:gd name="T15" fmla="*/ 58 h 60"/>
                <a:gd name="T16" fmla="*/ 28 w 48"/>
                <a:gd name="T17" fmla="*/ 57 h 60"/>
                <a:gd name="T18" fmla="*/ 32 w 48"/>
                <a:gd name="T19" fmla="*/ 51 h 60"/>
                <a:gd name="T20" fmla="*/ 35 w 48"/>
                <a:gd name="T21" fmla="*/ 43 h 60"/>
                <a:gd name="T22" fmla="*/ 47 w 48"/>
                <a:gd name="T23" fmla="*/ 28 h 60"/>
                <a:gd name="T24" fmla="*/ 47 w 48"/>
                <a:gd name="T25" fmla="*/ 26 h 60"/>
                <a:gd name="T26" fmla="*/ 46 w 48"/>
                <a:gd name="T27" fmla="*/ 24 h 60"/>
                <a:gd name="T28" fmla="*/ 43 w 48"/>
                <a:gd name="T29" fmla="*/ 21 h 60"/>
                <a:gd name="T30" fmla="*/ 41 w 48"/>
                <a:gd name="T31" fmla="*/ 20 h 60"/>
                <a:gd name="T32" fmla="*/ 38 w 48"/>
                <a:gd name="T33" fmla="*/ 15 h 60"/>
                <a:gd name="T34" fmla="*/ 35 w 48"/>
                <a:gd name="T35" fmla="*/ 14 h 60"/>
                <a:gd name="T36" fmla="*/ 34 w 48"/>
                <a:gd name="T37" fmla="*/ 11 h 60"/>
                <a:gd name="T38" fmla="*/ 27 w 48"/>
                <a:gd name="T39" fmla="*/ 6 h 60"/>
                <a:gd name="T40" fmla="*/ 19 w 48"/>
                <a:gd name="T41" fmla="*/ 2 h 60"/>
                <a:gd name="T42" fmla="*/ 10 w 48"/>
                <a:gd name="T43" fmla="*/ 0 h 60"/>
                <a:gd name="T44" fmla="*/ 10 w 48"/>
                <a:gd name="T45" fmla="*/ 1 h 60"/>
                <a:gd name="T46" fmla="*/ 10 w 48"/>
                <a:gd name="T47" fmla="*/ 0 h 60"/>
                <a:gd name="T48" fmla="*/ 10 w 48"/>
                <a:gd name="T4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60">
                  <a:moveTo>
                    <a:pt x="10" y="0"/>
                  </a:moveTo>
                  <a:cubicBezTo>
                    <a:pt x="8" y="5"/>
                    <a:pt x="5" y="9"/>
                    <a:pt x="3" y="13"/>
                  </a:cubicBezTo>
                  <a:cubicBezTo>
                    <a:pt x="1" y="19"/>
                    <a:pt x="4" y="24"/>
                    <a:pt x="5" y="29"/>
                  </a:cubicBezTo>
                  <a:cubicBezTo>
                    <a:pt x="7" y="34"/>
                    <a:pt x="8" y="40"/>
                    <a:pt x="7" y="45"/>
                  </a:cubicBezTo>
                  <a:cubicBezTo>
                    <a:pt x="7" y="50"/>
                    <a:pt x="4" y="54"/>
                    <a:pt x="0" y="57"/>
                  </a:cubicBezTo>
                  <a:cubicBezTo>
                    <a:pt x="2" y="59"/>
                    <a:pt x="4" y="59"/>
                    <a:pt x="6" y="60"/>
                  </a:cubicBezTo>
                  <a:cubicBezTo>
                    <a:pt x="9" y="60"/>
                    <a:pt x="11" y="59"/>
                    <a:pt x="13" y="58"/>
                  </a:cubicBezTo>
                  <a:cubicBezTo>
                    <a:pt x="16" y="57"/>
                    <a:pt x="17" y="57"/>
                    <a:pt x="20" y="58"/>
                  </a:cubicBezTo>
                  <a:cubicBezTo>
                    <a:pt x="23" y="59"/>
                    <a:pt x="26" y="59"/>
                    <a:pt x="28" y="57"/>
                  </a:cubicBezTo>
                  <a:cubicBezTo>
                    <a:pt x="30" y="55"/>
                    <a:pt x="31" y="53"/>
                    <a:pt x="32" y="51"/>
                  </a:cubicBezTo>
                  <a:cubicBezTo>
                    <a:pt x="33" y="48"/>
                    <a:pt x="34" y="45"/>
                    <a:pt x="35" y="43"/>
                  </a:cubicBezTo>
                  <a:cubicBezTo>
                    <a:pt x="38" y="37"/>
                    <a:pt x="42" y="33"/>
                    <a:pt x="47" y="28"/>
                  </a:cubicBezTo>
                  <a:cubicBezTo>
                    <a:pt x="47" y="28"/>
                    <a:pt x="48" y="26"/>
                    <a:pt x="47" y="26"/>
                  </a:cubicBezTo>
                  <a:cubicBezTo>
                    <a:pt x="47" y="25"/>
                    <a:pt x="46" y="24"/>
                    <a:pt x="46" y="24"/>
                  </a:cubicBezTo>
                  <a:cubicBezTo>
                    <a:pt x="45" y="23"/>
                    <a:pt x="45" y="18"/>
                    <a:pt x="43" y="21"/>
                  </a:cubicBezTo>
                  <a:cubicBezTo>
                    <a:pt x="42" y="23"/>
                    <a:pt x="41" y="22"/>
                    <a:pt x="41" y="20"/>
                  </a:cubicBezTo>
                  <a:cubicBezTo>
                    <a:pt x="41" y="18"/>
                    <a:pt x="40" y="16"/>
                    <a:pt x="38" y="15"/>
                  </a:cubicBezTo>
                  <a:cubicBezTo>
                    <a:pt x="37" y="15"/>
                    <a:pt x="36" y="15"/>
                    <a:pt x="35" y="14"/>
                  </a:cubicBezTo>
                  <a:cubicBezTo>
                    <a:pt x="34" y="13"/>
                    <a:pt x="35" y="12"/>
                    <a:pt x="34" y="11"/>
                  </a:cubicBezTo>
                  <a:cubicBezTo>
                    <a:pt x="32" y="9"/>
                    <a:pt x="29" y="7"/>
                    <a:pt x="27" y="6"/>
                  </a:cubicBezTo>
                  <a:cubicBezTo>
                    <a:pt x="24" y="4"/>
                    <a:pt x="22" y="3"/>
                    <a:pt x="19" y="2"/>
                  </a:cubicBezTo>
                  <a:cubicBezTo>
                    <a:pt x="16" y="2"/>
                    <a:pt x="13" y="1"/>
                    <a:pt x="10" y="0"/>
                  </a:cubicBezTo>
                  <a:cubicBezTo>
                    <a:pt x="10" y="0"/>
                    <a:pt x="10" y="0"/>
                    <a:pt x="10" y="1"/>
                  </a:cubicBezTo>
                  <a:cubicBezTo>
                    <a:pt x="10" y="0"/>
                    <a:pt x="10" y="0"/>
                    <a:pt x="10" y="0"/>
                  </a:cubicBezTo>
                  <a:cubicBezTo>
                    <a:pt x="9" y="2"/>
                    <a:pt x="10" y="0"/>
                    <a:pt x="10" y="0"/>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grpSp>
          <p:nvGrpSpPr>
            <p:cNvPr id="209" name="Group 208">
              <a:extLst>
                <a:ext uri="{FF2B5EF4-FFF2-40B4-BE49-F238E27FC236}">
                  <a16:creationId xmlns:a16="http://schemas.microsoft.com/office/drawing/2014/main" id="{DD5E6B89-4576-0DCB-062A-3C99A4AD3B91}"/>
                </a:ext>
              </a:extLst>
            </p:cNvPr>
            <p:cNvGrpSpPr/>
            <p:nvPr>
              <p:custDataLst>
                <p:tags r:id="rId147"/>
              </p:custDataLst>
            </p:nvPr>
          </p:nvGrpSpPr>
          <p:grpSpPr>
            <a:xfrm>
              <a:off x="2465330" y="1526615"/>
              <a:ext cx="7849719" cy="4452936"/>
              <a:chOff x="2465330" y="1526615"/>
              <a:chExt cx="7849719" cy="4452936"/>
            </a:xfrm>
          </p:grpSpPr>
          <p:sp>
            <p:nvSpPr>
              <p:cNvPr id="210" name="Freeform 5">
                <a:extLst>
                  <a:ext uri="{FF2B5EF4-FFF2-40B4-BE49-F238E27FC236}">
                    <a16:creationId xmlns:a16="http://schemas.microsoft.com/office/drawing/2014/main" id="{D130CE19-A050-3158-DC93-96AEC6DE3C41}"/>
                  </a:ext>
                </a:extLst>
              </p:cNvPr>
              <p:cNvSpPr/>
              <p:nvPr>
                <p:custDataLst>
                  <p:tags r:id="rId148"/>
                </p:custDataLst>
              </p:nvPr>
            </p:nvSpPr>
            <p:spPr bwMode="auto">
              <a:xfrm>
                <a:off x="3881188" y="4904265"/>
                <a:ext cx="209190" cy="218119"/>
              </a:xfrm>
              <a:custGeom>
                <a:avLst/>
                <a:gdLst>
                  <a:gd name="T0" fmla="*/ 140 w 140"/>
                  <a:gd name="T1" fmla="*/ 84 h 146"/>
                  <a:gd name="T2" fmla="*/ 132 w 140"/>
                  <a:gd name="T3" fmla="*/ 82 h 146"/>
                  <a:gd name="T4" fmla="*/ 124 w 140"/>
                  <a:gd name="T5" fmla="*/ 83 h 146"/>
                  <a:gd name="T6" fmla="*/ 120 w 140"/>
                  <a:gd name="T7" fmla="*/ 78 h 146"/>
                  <a:gd name="T8" fmla="*/ 118 w 140"/>
                  <a:gd name="T9" fmla="*/ 68 h 146"/>
                  <a:gd name="T10" fmla="*/ 117 w 140"/>
                  <a:gd name="T11" fmla="*/ 59 h 146"/>
                  <a:gd name="T12" fmla="*/ 113 w 140"/>
                  <a:gd name="T13" fmla="*/ 54 h 146"/>
                  <a:gd name="T14" fmla="*/ 106 w 140"/>
                  <a:gd name="T15" fmla="*/ 51 h 146"/>
                  <a:gd name="T16" fmla="*/ 103 w 140"/>
                  <a:gd name="T17" fmla="*/ 52 h 146"/>
                  <a:gd name="T18" fmla="*/ 99 w 140"/>
                  <a:gd name="T19" fmla="*/ 53 h 146"/>
                  <a:gd name="T20" fmla="*/ 84 w 140"/>
                  <a:gd name="T21" fmla="*/ 51 h 146"/>
                  <a:gd name="T22" fmla="*/ 79 w 140"/>
                  <a:gd name="T23" fmla="*/ 50 h 146"/>
                  <a:gd name="T24" fmla="*/ 78 w 140"/>
                  <a:gd name="T25" fmla="*/ 43 h 146"/>
                  <a:gd name="T26" fmla="*/ 80 w 140"/>
                  <a:gd name="T27" fmla="*/ 34 h 146"/>
                  <a:gd name="T28" fmla="*/ 79 w 140"/>
                  <a:gd name="T29" fmla="*/ 25 h 146"/>
                  <a:gd name="T30" fmla="*/ 76 w 140"/>
                  <a:gd name="T31" fmla="*/ 16 h 146"/>
                  <a:gd name="T32" fmla="*/ 74 w 140"/>
                  <a:gd name="T33" fmla="*/ 12 h 146"/>
                  <a:gd name="T34" fmla="*/ 74 w 140"/>
                  <a:gd name="T35" fmla="*/ 8 h 146"/>
                  <a:gd name="T36" fmla="*/ 72 w 140"/>
                  <a:gd name="T37" fmla="*/ 6 h 146"/>
                  <a:gd name="T38" fmla="*/ 68 w 140"/>
                  <a:gd name="T39" fmla="*/ 4 h 146"/>
                  <a:gd name="T40" fmla="*/ 60 w 140"/>
                  <a:gd name="T41" fmla="*/ 1 h 146"/>
                  <a:gd name="T42" fmla="*/ 51 w 140"/>
                  <a:gd name="T43" fmla="*/ 1 h 146"/>
                  <a:gd name="T44" fmla="*/ 41 w 140"/>
                  <a:gd name="T45" fmla="*/ 2 h 146"/>
                  <a:gd name="T46" fmla="*/ 22 w 140"/>
                  <a:gd name="T47" fmla="*/ 5 h 146"/>
                  <a:gd name="T48" fmla="*/ 15 w 140"/>
                  <a:gd name="T49" fmla="*/ 8 h 146"/>
                  <a:gd name="T50" fmla="*/ 11 w 140"/>
                  <a:gd name="T51" fmla="*/ 15 h 146"/>
                  <a:gd name="T52" fmla="*/ 7 w 140"/>
                  <a:gd name="T53" fmla="*/ 22 h 146"/>
                  <a:gd name="T54" fmla="*/ 6 w 140"/>
                  <a:gd name="T55" fmla="*/ 31 h 146"/>
                  <a:gd name="T56" fmla="*/ 4 w 140"/>
                  <a:gd name="T57" fmla="*/ 39 h 146"/>
                  <a:gd name="T58" fmla="*/ 1 w 140"/>
                  <a:gd name="T59" fmla="*/ 47 h 146"/>
                  <a:gd name="T60" fmla="*/ 1 w 140"/>
                  <a:gd name="T61" fmla="*/ 49 h 146"/>
                  <a:gd name="T62" fmla="*/ 2 w 140"/>
                  <a:gd name="T63" fmla="*/ 51 h 146"/>
                  <a:gd name="T64" fmla="*/ 7 w 140"/>
                  <a:gd name="T65" fmla="*/ 57 h 146"/>
                  <a:gd name="T66" fmla="*/ 18 w 140"/>
                  <a:gd name="T67" fmla="*/ 70 h 146"/>
                  <a:gd name="T68" fmla="*/ 31 w 140"/>
                  <a:gd name="T69" fmla="*/ 80 h 146"/>
                  <a:gd name="T70" fmla="*/ 48 w 140"/>
                  <a:gd name="T71" fmla="*/ 84 h 146"/>
                  <a:gd name="T72" fmla="*/ 54 w 140"/>
                  <a:gd name="T73" fmla="*/ 89 h 146"/>
                  <a:gd name="T74" fmla="*/ 62 w 140"/>
                  <a:gd name="T75" fmla="*/ 94 h 146"/>
                  <a:gd name="T76" fmla="*/ 79 w 140"/>
                  <a:gd name="T77" fmla="*/ 102 h 146"/>
                  <a:gd name="T78" fmla="*/ 84 w 140"/>
                  <a:gd name="T79" fmla="*/ 115 h 146"/>
                  <a:gd name="T80" fmla="*/ 75 w 140"/>
                  <a:gd name="T81" fmla="*/ 128 h 146"/>
                  <a:gd name="T82" fmla="*/ 72 w 140"/>
                  <a:gd name="T83" fmla="*/ 135 h 146"/>
                  <a:gd name="T84" fmla="*/ 70 w 140"/>
                  <a:gd name="T85" fmla="*/ 141 h 146"/>
                  <a:gd name="T86" fmla="*/ 74 w 140"/>
                  <a:gd name="T87" fmla="*/ 141 h 146"/>
                  <a:gd name="T88" fmla="*/ 78 w 140"/>
                  <a:gd name="T89" fmla="*/ 141 h 146"/>
                  <a:gd name="T90" fmla="*/ 87 w 140"/>
                  <a:gd name="T91" fmla="*/ 142 h 146"/>
                  <a:gd name="T92" fmla="*/ 90 w 140"/>
                  <a:gd name="T93" fmla="*/ 144 h 146"/>
                  <a:gd name="T94" fmla="*/ 93 w 140"/>
                  <a:gd name="T95" fmla="*/ 144 h 146"/>
                  <a:gd name="T96" fmla="*/ 100 w 140"/>
                  <a:gd name="T97" fmla="*/ 144 h 146"/>
                  <a:gd name="T98" fmla="*/ 105 w 140"/>
                  <a:gd name="T99" fmla="*/ 145 h 146"/>
                  <a:gd name="T100" fmla="*/ 110 w 140"/>
                  <a:gd name="T101" fmla="*/ 145 h 146"/>
                  <a:gd name="T102" fmla="*/ 114 w 140"/>
                  <a:gd name="T103" fmla="*/ 143 h 146"/>
                  <a:gd name="T104" fmla="*/ 118 w 140"/>
                  <a:gd name="T105" fmla="*/ 142 h 146"/>
                  <a:gd name="T106" fmla="*/ 119 w 140"/>
                  <a:gd name="T107" fmla="*/ 140 h 146"/>
                  <a:gd name="T108" fmla="*/ 121 w 140"/>
                  <a:gd name="T109" fmla="*/ 137 h 146"/>
                  <a:gd name="T110" fmla="*/ 126 w 140"/>
                  <a:gd name="T111" fmla="*/ 132 h 146"/>
                  <a:gd name="T112" fmla="*/ 134 w 140"/>
                  <a:gd name="T113" fmla="*/ 124 h 146"/>
                  <a:gd name="T114" fmla="*/ 136 w 140"/>
                  <a:gd name="T115" fmla="*/ 111 h 146"/>
                  <a:gd name="T116" fmla="*/ 138 w 140"/>
                  <a:gd name="T117" fmla="*/ 97 h 146"/>
                  <a:gd name="T118" fmla="*/ 139 w 140"/>
                  <a:gd name="T119" fmla="*/ 91 h 146"/>
                  <a:gd name="T120" fmla="*/ 140 w 140"/>
                  <a:gd name="T121" fmla="*/ 84 h 146"/>
                  <a:gd name="T122" fmla="*/ 140 w 140"/>
                  <a:gd name="T123" fmla="*/ 84 h 146"/>
                  <a:gd name="T124" fmla="*/ 140 w 140"/>
                  <a:gd name="T125" fmla="*/ 8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0" h="146">
                    <a:moveTo>
                      <a:pt x="140" y="84"/>
                    </a:moveTo>
                    <a:cubicBezTo>
                      <a:pt x="138" y="83"/>
                      <a:pt x="135" y="82"/>
                      <a:pt x="132" y="82"/>
                    </a:cubicBezTo>
                    <a:cubicBezTo>
                      <a:pt x="129" y="83"/>
                      <a:pt x="126" y="84"/>
                      <a:pt x="124" y="83"/>
                    </a:cubicBezTo>
                    <a:cubicBezTo>
                      <a:pt x="121" y="82"/>
                      <a:pt x="121" y="80"/>
                      <a:pt x="120" y="78"/>
                    </a:cubicBezTo>
                    <a:cubicBezTo>
                      <a:pt x="119" y="75"/>
                      <a:pt x="119" y="71"/>
                      <a:pt x="118" y="68"/>
                    </a:cubicBezTo>
                    <a:cubicBezTo>
                      <a:pt x="118" y="65"/>
                      <a:pt x="117" y="62"/>
                      <a:pt x="117" y="59"/>
                    </a:cubicBezTo>
                    <a:cubicBezTo>
                      <a:pt x="116" y="57"/>
                      <a:pt x="116" y="54"/>
                      <a:pt x="113" y="54"/>
                    </a:cubicBezTo>
                    <a:cubicBezTo>
                      <a:pt x="110" y="54"/>
                      <a:pt x="109" y="52"/>
                      <a:pt x="106" y="51"/>
                    </a:cubicBezTo>
                    <a:cubicBezTo>
                      <a:pt x="105" y="51"/>
                      <a:pt x="104" y="51"/>
                      <a:pt x="103" y="52"/>
                    </a:cubicBezTo>
                    <a:cubicBezTo>
                      <a:pt x="102" y="53"/>
                      <a:pt x="101" y="53"/>
                      <a:pt x="99" y="53"/>
                    </a:cubicBezTo>
                    <a:cubicBezTo>
                      <a:pt x="94" y="54"/>
                      <a:pt x="89" y="51"/>
                      <a:pt x="84" y="51"/>
                    </a:cubicBezTo>
                    <a:cubicBezTo>
                      <a:pt x="82" y="51"/>
                      <a:pt x="80" y="51"/>
                      <a:pt x="79" y="50"/>
                    </a:cubicBezTo>
                    <a:cubicBezTo>
                      <a:pt x="77" y="48"/>
                      <a:pt x="77" y="45"/>
                      <a:pt x="78" y="43"/>
                    </a:cubicBezTo>
                    <a:cubicBezTo>
                      <a:pt x="78" y="40"/>
                      <a:pt x="79" y="37"/>
                      <a:pt x="80" y="34"/>
                    </a:cubicBezTo>
                    <a:cubicBezTo>
                      <a:pt x="80" y="31"/>
                      <a:pt x="80" y="28"/>
                      <a:pt x="79" y="25"/>
                    </a:cubicBezTo>
                    <a:cubicBezTo>
                      <a:pt x="78" y="22"/>
                      <a:pt x="77" y="19"/>
                      <a:pt x="76" y="16"/>
                    </a:cubicBezTo>
                    <a:cubicBezTo>
                      <a:pt x="75" y="15"/>
                      <a:pt x="75" y="14"/>
                      <a:pt x="74" y="12"/>
                    </a:cubicBezTo>
                    <a:cubicBezTo>
                      <a:pt x="74" y="11"/>
                      <a:pt x="74" y="9"/>
                      <a:pt x="74" y="8"/>
                    </a:cubicBezTo>
                    <a:cubicBezTo>
                      <a:pt x="74" y="7"/>
                      <a:pt x="72" y="6"/>
                      <a:pt x="72" y="6"/>
                    </a:cubicBezTo>
                    <a:cubicBezTo>
                      <a:pt x="70" y="5"/>
                      <a:pt x="69" y="5"/>
                      <a:pt x="68" y="4"/>
                    </a:cubicBezTo>
                    <a:cubicBezTo>
                      <a:pt x="66" y="3"/>
                      <a:pt x="63" y="1"/>
                      <a:pt x="60" y="1"/>
                    </a:cubicBezTo>
                    <a:cubicBezTo>
                      <a:pt x="57" y="0"/>
                      <a:pt x="54" y="0"/>
                      <a:pt x="51" y="1"/>
                    </a:cubicBezTo>
                    <a:cubicBezTo>
                      <a:pt x="48" y="1"/>
                      <a:pt x="45" y="1"/>
                      <a:pt x="41" y="2"/>
                    </a:cubicBezTo>
                    <a:cubicBezTo>
                      <a:pt x="35" y="2"/>
                      <a:pt x="29" y="3"/>
                      <a:pt x="22" y="5"/>
                    </a:cubicBezTo>
                    <a:cubicBezTo>
                      <a:pt x="20" y="5"/>
                      <a:pt x="17" y="6"/>
                      <a:pt x="15" y="8"/>
                    </a:cubicBezTo>
                    <a:cubicBezTo>
                      <a:pt x="13" y="10"/>
                      <a:pt x="12" y="12"/>
                      <a:pt x="11" y="15"/>
                    </a:cubicBezTo>
                    <a:cubicBezTo>
                      <a:pt x="9" y="17"/>
                      <a:pt x="8" y="19"/>
                      <a:pt x="7" y="22"/>
                    </a:cubicBezTo>
                    <a:cubicBezTo>
                      <a:pt x="6" y="25"/>
                      <a:pt x="7" y="28"/>
                      <a:pt x="6" y="31"/>
                    </a:cubicBezTo>
                    <a:cubicBezTo>
                      <a:pt x="6" y="34"/>
                      <a:pt x="5" y="36"/>
                      <a:pt x="4" y="39"/>
                    </a:cubicBezTo>
                    <a:cubicBezTo>
                      <a:pt x="3" y="42"/>
                      <a:pt x="3" y="45"/>
                      <a:pt x="1" y="47"/>
                    </a:cubicBezTo>
                    <a:cubicBezTo>
                      <a:pt x="1" y="48"/>
                      <a:pt x="0" y="49"/>
                      <a:pt x="1" y="49"/>
                    </a:cubicBezTo>
                    <a:cubicBezTo>
                      <a:pt x="1" y="50"/>
                      <a:pt x="2" y="51"/>
                      <a:pt x="2" y="51"/>
                    </a:cubicBezTo>
                    <a:cubicBezTo>
                      <a:pt x="4" y="53"/>
                      <a:pt x="5" y="55"/>
                      <a:pt x="7" y="57"/>
                    </a:cubicBezTo>
                    <a:cubicBezTo>
                      <a:pt x="11" y="61"/>
                      <a:pt x="14" y="66"/>
                      <a:pt x="18" y="70"/>
                    </a:cubicBezTo>
                    <a:cubicBezTo>
                      <a:pt x="22" y="74"/>
                      <a:pt x="26" y="78"/>
                      <a:pt x="31" y="80"/>
                    </a:cubicBezTo>
                    <a:cubicBezTo>
                      <a:pt x="37" y="81"/>
                      <a:pt x="43" y="81"/>
                      <a:pt x="48" y="84"/>
                    </a:cubicBezTo>
                    <a:cubicBezTo>
                      <a:pt x="50" y="86"/>
                      <a:pt x="52" y="88"/>
                      <a:pt x="54" y="89"/>
                    </a:cubicBezTo>
                    <a:cubicBezTo>
                      <a:pt x="57" y="91"/>
                      <a:pt x="59" y="93"/>
                      <a:pt x="62" y="94"/>
                    </a:cubicBezTo>
                    <a:cubicBezTo>
                      <a:pt x="68" y="97"/>
                      <a:pt x="74" y="99"/>
                      <a:pt x="79" y="102"/>
                    </a:cubicBezTo>
                    <a:cubicBezTo>
                      <a:pt x="83" y="105"/>
                      <a:pt x="88" y="110"/>
                      <a:pt x="84" y="115"/>
                    </a:cubicBezTo>
                    <a:cubicBezTo>
                      <a:pt x="81" y="119"/>
                      <a:pt x="77" y="122"/>
                      <a:pt x="75" y="128"/>
                    </a:cubicBezTo>
                    <a:cubicBezTo>
                      <a:pt x="75" y="131"/>
                      <a:pt x="73" y="132"/>
                      <a:pt x="72" y="135"/>
                    </a:cubicBezTo>
                    <a:cubicBezTo>
                      <a:pt x="71" y="136"/>
                      <a:pt x="68" y="141"/>
                      <a:pt x="70" y="141"/>
                    </a:cubicBezTo>
                    <a:cubicBezTo>
                      <a:pt x="71" y="142"/>
                      <a:pt x="73" y="141"/>
                      <a:pt x="74" y="141"/>
                    </a:cubicBezTo>
                    <a:cubicBezTo>
                      <a:pt x="75" y="141"/>
                      <a:pt x="77" y="141"/>
                      <a:pt x="78" y="141"/>
                    </a:cubicBezTo>
                    <a:cubicBezTo>
                      <a:pt x="81" y="141"/>
                      <a:pt x="84" y="141"/>
                      <a:pt x="87" y="142"/>
                    </a:cubicBezTo>
                    <a:cubicBezTo>
                      <a:pt x="88" y="142"/>
                      <a:pt x="90" y="142"/>
                      <a:pt x="90" y="144"/>
                    </a:cubicBezTo>
                    <a:cubicBezTo>
                      <a:pt x="90" y="144"/>
                      <a:pt x="93" y="144"/>
                      <a:pt x="93" y="144"/>
                    </a:cubicBezTo>
                    <a:cubicBezTo>
                      <a:pt x="95" y="144"/>
                      <a:pt x="97" y="144"/>
                      <a:pt x="100" y="144"/>
                    </a:cubicBezTo>
                    <a:cubicBezTo>
                      <a:pt x="102" y="144"/>
                      <a:pt x="103" y="144"/>
                      <a:pt x="105" y="145"/>
                    </a:cubicBezTo>
                    <a:cubicBezTo>
                      <a:pt x="107" y="146"/>
                      <a:pt x="108" y="146"/>
                      <a:pt x="110" y="145"/>
                    </a:cubicBezTo>
                    <a:cubicBezTo>
                      <a:pt x="111" y="144"/>
                      <a:pt x="113" y="143"/>
                      <a:pt x="114" y="143"/>
                    </a:cubicBezTo>
                    <a:cubicBezTo>
                      <a:pt x="116" y="143"/>
                      <a:pt x="117" y="143"/>
                      <a:pt x="118" y="142"/>
                    </a:cubicBezTo>
                    <a:cubicBezTo>
                      <a:pt x="119" y="142"/>
                      <a:pt x="119" y="141"/>
                      <a:pt x="119" y="140"/>
                    </a:cubicBezTo>
                    <a:cubicBezTo>
                      <a:pt x="119" y="139"/>
                      <a:pt x="120" y="138"/>
                      <a:pt x="121" y="137"/>
                    </a:cubicBezTo>
                    <a:cubicBezTo>
                      <a:pt x="123" y="136"/>
                      <a:pt x="125" y="134"/>
                      <a:pt x="126" y="132"/>
                    </a:cubicBezTo>
                    <a:cubicBezTo>
                      <a:pt x="130" y="130"/>
                      <a:pt x="132" y="128"/>
                      <a:pt x="134" y="124"/>
                    </a:cubicBezTo>
                    <a:cubicBezTo>
                      <a:pt x="135" y="119"/>
                      <a:pt x="135" y="115"/>
                      <a:pt x="136" y="111"/>
                    </a:cubicBezTo>
                    <a:cubicBezTo>
                      <a:pt x="137" y="106"/>
                      <a:pt x="138" y="102"/>
                      <a:pt x="138" y="97"/>
                    </a:cubicBezTo>
                    <a:cubicBezTo>
                      <a:pt x="138" y="95"/>
                      <a:pt x="138" y="93"/>
                      <a:pt x="139" y="91"/>
                    </a:cubicBezTo>
                    <a:cubicBezTo>
                      <a:pt x="139" y="90"/>
                      <a:pt x="140" y="84"/>
                      <a:pt x="140" y="84"/>
                    </a:cubicBezTo>
                    <a:cubicBezTo>
                      <a:pt x="140" y="84"/>
                      <a:pt x="140" y="84"/>
                      <a:pt x="140" y="84"/>
                    </a:cubicBezTo>
                    <a:cubicBezTo>
                      <a:pt x="138" y="83"/>
                      <a:pt x="140" y="84"/>
                      <a:pt x="140" y="84"/>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11" name="Freeform 9">
                <a:extLst>
                  <a:ext uri="{FF2B5EF4-FFF2-40B4-BE49-F238E27FC236}">
                    <a16:creationId xmlns:a16="http://schemas.microsoft.com/office/drawing/2014/main" id="{F5A66CD1-3C7E-8F97-A98E-DCCCAA19BDA5}"/>
                  </a:ext>
                </a:extLst>
              </p:cNvPr>
              <p:cNvSpPr>
                <a:spLocks noEditPoints="1"/>
              </p:cNvSpPr>
              <p:nvPr>
                <p:custDataLst>
                  <p:tags r:id="rId149"/>
                </p:custDataLst>
              </p:nvPr>
            </p:nvSpPr>
            <p:spPr bwMode="auto">
              <a:xfrm>
                <a:off x="2465330" y="3550909"/>
                <a:ext cx="804870" cy="483433"/>
              </a:xfrm>
              <a:custGeom>
                <a:avLst/>
                <a:gdLst>
                  <a:gd name="T0" fmla="*/ 326 w 540"/>
                  <a:gd name="T1" fmla="*/ 112 h 325"/>
                  <a:gd name="T2" fmla="*/ 298 w 540"/>
                  <a:gd name="T3" fmla="*/ 62 h 325"/>
                  <a:gd name="T4" fmla="*/ 243 w 540"/>
                  <a:gd name="T5" fmla="*/ 61 h 325"/>
                  <a:gd name="T6" fmla="*/ 202 w 540"/>
                  <a:gd name="T7" fmla="*/ 17 h 325"/>
                  <a:gd name="T8" fmla="*/ 175 w 540"/>
                  <a:gd name="T9" fmla="*/ 21 h 325"/>
                  <a:gd name="T10" fmla="*/ 90 w 540"/>
                  <a:gd name="T11" fmla="*/ 13 h 325"/>
                  <a:gd name="T12" fmla="*/ 52 w 540"/>
                  <a:gd name="T13" fmla="*/ 1 h 325"/>
                  <a:gd name="T14" fmla="*/ 41 w 540"/>
                  <a:gd name="T15" fmla="*/ 34 h 325"/>
                  <a:gd name="T16" fmla="*/ 57 w 540"/>
                  <a:gd name="T17" fmla="*/ 59 h 325"/>
                  <a:gd name="T18" fmla="*/ 74 w 540"/>
                  <a:gd name="T19" fmla="*/ 90 h 325"/>
                  <a:gd name="T20" fmla="*/ 71 w 540"/>
                  <a:gd name="T21" fmla="*/ 92 h 325"/>
                  <a:gd name="T22" fmla="*/ 82 w 540"/>
                  <a:gd name="T23" fmla="*/ 108 h 325"/>
                  <a:gd name="T24" fmla="*/ 108 w 540"/>
                  <a:gd name="T25" fmla="*/ 124 h 325"/>
                  <a:gd name="T26" fmla="*/ 112 w 540"/>
                  <a:gd name="T27" fmla="*/ 146 h 325"/>
                  <a:gd name="T28" fmla="*/ 146 w 540"/>
                  <a:gd name="T29" fmla="*/ 177 h 325"/>
                  <a:gd name="T30" fmla="*/ 143 w 540"/>
                  <a:gd name="T31" fmla="*/ 157 h 325"/>
                  <a:gd name="T32" fmla="*/ 125 w 540"/>
                  <a:gd name="T33" fmla="*/ 126 h 325"/>
                  <a:gd name="T34" fmla="*/ 111 w 540"/>
                  <a:gd name="T35" fmla="*/ 104 h 325"/>
                  <a:gd name="T36" fmla="*/ 82 w 540"/>
                  <a:gd name="T37" fmla="*/ 66 h 325"/>
                  <a:gd name="T38" fmla="*/ 62 w 540"/>
                  <a:gd name="T39" fmla="*/ 24 h 325"/>
                  <a:gd name="T40" fmla="*/ 85 w 540"/>
                  <a:gd name="T41" fmla="*/ 25 h 325"/>
                  <a:gd name="T42" fmla="*/ 100 w 540"/>
                  <a:gd name="T43" fmla="*/ 51 h 325"/>
                  <a:gd name="T44" fmla="*/ 133 w 540"/>
                  <a:gd name="T45" fmla="*/ 88 h 325"/>
                  <a:gd name="T46" fmla="*/ 147 w 540"/>
                  <a:gd name="T47" fmla="*/ 106 h 325"/>
                  <a:gd name="T48" fmla="*/ 155 w 540"/>
                  <a:gd name="T49" fmla="*/ 127 h 325"/>
                  <a:gd name="T50" fmla="*/ 180 w 540"/>
                  <a:gd name="T51" fmla="*/ 148 h 325"/>
                  <a:gd name="T52" fmla="*/ 201 w 540"/>
                  <a:gd name="T53" fmla="*/ 169 h 325"/>
                  <a:gd name="T54" fmla="*/ 224 w 540"/>
                  <a:gd name="T55" fmla="*/ 210 h 325"/>
                  <a:gd name="T56" fmla="*/ 225 w 540"/>
                  <a:gd name="T57" fmla="*/ 236 h 325"/>
                  <a:gd name="T58" fmla="*/ 261 w 540"/>
                  <a:gd name="T59" fmla="*/ 262 h 325"/>
                  <a:gd name="T60" fmla="*/ 314 w 540"/>
                  <a:gd name="T61" fmla="*/ 285 h 325"/>
                  <a:gd name="T62" fmla="*/ 370 w 540"/>
                  <a:gd name="T63" fmla="*/ 306 h 325"/>
                  <a:gd name="T64" fmla="*/ 407 w 540"/>
                  <a:gd name="T65" fmla="*/ 298 h 325"/>
                  <a:gd name="T66" fmla="*/ 451 w 540"/>
                  <a:gd name="T67" fmla="*/ 309 h 325"/>
                  <a:gd name="T68" fmla="*/ 464 w 540"/>
                  <a:gd name="T69" fmla="*/ 285 h 325"/>
                  <a:gd name="T70" fmla="*/ 501 w 540"/>
                  <a:gd name="T71" fmla="*/ 266 h 325"/>
                  <a:gd name="T72" fmla="*/ 519 w 540"/>
                  <a:gd name="T73" fmla="*/ 258 h 325"/>
                  <a:gd name="T74" fmla="*/ 525 w 540"/>
                  <a:gd name="T75" fmla="*/ 233 h 325"/>
                  <a:gd name="T76" fmla="*/ 526 w 540"/>
                  <a:gd name="T77" fmla="*/ 204 h 325"/>
                  <a:gd name="T78" fmla="*/ 489 w 540"/>
                  <a:gd name="T79" fmla="*/ 208 h 325"/>
                  <a:gd name="T80" fmla="*/ 463 w 540"/>
                  <a:gd name="T81" fmla="*/ 248 h 325"/>
                  <a:gd name="T82" fmla="*/ 448 w 540"/>
                  <a:gd name="T83" fmla="*/ 254 h 325"/>
                  <a:gd name="T84" fmla="*/ 403 w 540"/>
                  <a:gd name="T85" fmla="*/ 256 h 325"/>
                  <a:gd name="T86" fmla="*/ 377 w 540"/>
                  <a:gd name="T87" fmla="*/ 238 h 325"/>
                  <a:gd name="T88" fmla="*/ 357 w 540"/>
                  <a:gd name="T89" fmla="*/ 198 h 325"/>
                  <a:gd name="T90" fmla="*/ 356 w 540"/>
                  <a:gd name="T91" fmla="*/ 136 h 325"/>
                  <a:gd name="T92" fmla="*/ 361 w 540"/>
                  <a:gd name="T93" fmla="*/ 127 h 325"/>
                  <a:gd name="T94" fmla="*/ 89 w 540"/>
                  <a:gd name="T95" fmla="*/ 63 h 325"/>
                  <a:gd name="T96" fmla="*/ 54 w 540"/>
                  <a:gd name="T97" fmla="*/ 80 h 325"/>
                  <a:gd name="T98" fmla="*/ 101 w 540"/>
                  <a:gd name="T99" fmla="*/ 69 h 325"/>
                  <a:gd name="T100" fmla="*/ 101 w 540"/>
                  <a:gd name="T101" fmla="*/ 69 h 325"/>
                  <a:gd name="T102" fmla="*/ 2 w 540"/>
                  <a:gd name="T103" fmla="*/ 63 h 325"/>
                  <a:gd name="T104" fmla="*/ 45 w 540"/>
                  <a:gd name="T105" fmla="*/ 139 h 325"/>
                  <a:gd name="T106" fmla="*/ 63 w 540"/>
                  <a:gd name="T107" fmla="*/ 258 h 325"/>
                  <a:gd name="T108" fmla="*/ 126 w 540"/>
                  <a:gd name="T109" fmla="*/ 251 h 325"/>
                  <a:gd name="T110" fmla="*/ 203 w 540"/>
                  <a:gd name="T111" fmla="*/ 204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40" h="325">
                    <a:moveTo>
                      <a:pt x="361" y="127"/>
                    </a:moveTo>
                    <a:cubicBezTo>
                      <a:pt x="359" y="128"/>
                      <a:pt x="357" y="127"/>
                      <a:pt x="355" y="125"/>
                    </a:cubicBezTo>
                    <a:cubicBezTo>
                      <a:pt x="352" y="123"/>
                      <a:pt x="350" y="123"/>
                      <a:pt x="347" y="123"/>
                    </a:cubicBezTo>
                    <a:cubicBezTo>
                      <a:pt x="344" y="123"/>
                      <a:pt x="341" y="121"/>
                      <a:pt x="339" y="120"/>
                    </a:cubicBezTo>
                    <a:cubicBezTo>
                      <a:pt x="336" y="119"/>
                      <a:pt x="333" y="118"/>
                      <a:pt x="330" y="117"/>
                    </a:cubicBezTo>
                    <a:cubicBezTo>
                      <a:pt x="328" y="115"/>
                      <a:pt x="327" y="113"/>
                      <a:pt x="326" y="112"/>
                    </a:cubicBezTo>
                    <a:cubicBezTo>
                      <a:pt x="325" y="109"/>
                      <a:pt x="324" y="106"/>
                      <a:pt x="324" y="104"/>
                    </a:cubicBezTo>
                    <a:cubicBezTo>
                      <a:pt x="323" y="101"/>
                      <a:pt x="324" y="99"/>
                      <a:pt x="323" y="96"/>
                    </a:cubicBezTo>
                    <a:cubicBezTo>
                      <a:pt x="322" y="94"/>
                      <a:pt x="320" y="94"/>
                      <a:pt x="318" y="93"/>
                    </a:cubicBezTo>
                    <a:cubicBezTo>
                      <a:pt x="315" y="92"/>
                      <a:pt x="314" y="89"/>
                      <a:pt x="313" y="87"/>
                    </a:cubicBezTo>
                    <a:cubicBezTo>
                      <a:pt x="311" y="84"/>
                      <a:pt x="309" y="81"/>
                      <a:pt x="308" y="78"/>
                    </a:cubicBezTo>
                    <a:cubicBezTo>
                      <a:pt x="305" y="73"/>
                      <a:pt x="302" y="67"/>
                      <a:pt x="298" y="62"/>
                    </a:cubicBezTo>
                    <a:cubicBezTo>
                      <a:pt x="294" y="58"/>
                      <a:pt x="289" y="54"/>
                      <a:pt x="283" y="53"/>
                    </a:cubicBezTo>
                    <a:cubicBezTo>
                      <a:pt x="279" y="53"/>
                      <a:pt x="272" y="53"/>
                      <a:pt x="269" y="57"/>
                    </a:cubicBezTo>
                    <a:cubicBezTo>
                      <a:pt x="267" y="59"/>
                      <a:pt x="266" y="61"/>
                      <a:pt x="264" y="63"/>
                    </a:cubicBezTo>
                    <a:cubicBezTo>
                      <a:pt x="263" y="65"/>
                      <a:pt x="261" y="68"/>
                      <a:pt x="259" y="68"/>
                    </a:cubicBezTo>
                    <a:cubicBezTo>
                      <a:pt x="256" y="68"/>
                      <a:pt x="253" y="67"/>
                      <a:pt x="251" y="65"/>
                    </a:cubicBezTo>
                    <a:cubicBezTo>
                      <a:pt x="248" y="64"/>
                      <a:pt x="245" y="62"/>
                      <a:pt x="243" y="61"/>
                    </a:cubicBezTo>
                    <a:cubicBezTo>
                      <a:pt x="241" y="59"/>
                      <a:pt x="239" y="58"/>
                      <a:pt x="237" y="56"/>
                    </a:cubicBezTo>
                    <a:cubicBezTo>
                      <a:pt x="235" y="53"/>
                      <a:pt x="234" y="51"/>
                      <a:pt x="233" y="48"/>
                    </a:cubicBezTo>
                    <a:cubicBezTo>
                      <a:pt x="233" y="45"/>
                      <a:pt x="232" y="43"/>
                      <a:pt x="231" y="41"/>
                    </a:cubicBezTo>
                    <a:cubicBezTo>
                      <a:pt x="229" y="38"/>
                      <a:pt x="226" y="36"/>
                      <a:pt x="224" y="34"/>
                    </a:cubicBezTo>
                    <a:cubicBezTo>
                      <a:pt x="219" y="30"/>
                      <a:pt x="214" y="26"/>
                      <a:pt x="208" y="22"/>
                    </a:cubicBezTo>
                    <a:cubicBezTo>
                      <a:pt x="206" y="21"/>
                      <a:pt x="204" y="18"/>
                      <a:pt x="202" y="17"/>
                    </a:cubicBezTo>
                    <a:cubicBezTo>
                      <a:pt x="200" y="17"/>
                      <a:pt x="198" y="17"/>
                      <a:pt x="197" y="17"/>
                    </a:cubicBezTo>
                    <a:cubicBezTo>
                      <a:pt x="195" y="17"/>
                      <a:pt x="193" y="17"/>
                      <a:pt x="192" y="17"/>
                    </a:cubicBezTo>
                    <a:cubicBezTo>
                      <a:pt x="188" y="17"/>
                      <a:pt x="185" y="17"/>
                      <a:pt x="182" y="17"/>
                    </a:cubicBezTo>
                    <a:cubicBezTo>
                      <a:pt x="181" y="17"/>
                      <a:pt x="179" y="17"/>
                      <a:pt x="177" y="17"/>
                    </a:cubicBezTo>
                    <a:cubicBezTo>
                      <a:pt x="176" y="17"/>
                      <a:pt x="176" y="17"/>
                      <a:pt x="176" y="18"/>
                    </a:cubicBezTo>
                    <a:cubicBezTo>
                      <a:pt x="176" y="19"/>
                      <a:pt x="175" y="20"/>
                      <a:pt x="175" y="21"/>
                    </a:cubicBezTo>
                    <a:cubicBezTo>
                      <a:pt x="175" y="22"/>
                      <a:pt x="174" y="24"/>
                      <a:pt x="172" y="24"/>
                    </a:cubicBezTo>
                    <a:cubicBezTo>
                      <a:pt x="169" y="24"/>
                      <a:pt x="166" y="25"/>
                      <a:pt x="162" y="25"/>
                    </a:cubicBezTo>
                    <a:cubicBezTo>
                      <a:pt x="156" y="25"/>
                      <a:pt x="150" y="25"/>
                      <a:pt x="144" y="25"/>
                    </a:cubicBezTo>
                    <a:cubicBezTo>
                      <a:pt x="141" y="25"/>
                      <a:pt x="138" y="25"/>
                      <a:pt x="135" y="25"/>
                    </a:cubicBezTo>
                    <a:cubicBezTo>
                      <a:pt x="132" y="25"/>
                      <a:pt x="128" y="26"/>
                      <a:pt x="126" y="25"/>
                    </a:cubicBezTo>
                    <a:cubicBezTo>
                      <a:pt x="114" y="20"/>
                      <a:pt x="102" y="17"/>
                      <a:pt x="90" y="13"/>
                    </a:cubicBezTo>
                    <a:cubicBezTo>
                      <a:pt x="84" y="11"/>
                      <a:pt x="78" y="9"/>
                      <a:pt x="72" y="7"/>
                    </a:cubicBezTo>
                    <a:cubicBezTo>
                      <a:pt x="70" y="7"/>
                      <a:pt x="69" y="6"/>
                      <a:pt x="67" y="6"/>
                    </a:cubicBezTo>
                    <a:cubicBezTo>
                      <a:pt x="66" y="5"/>
                      <a:pt x="64" y="5"/>
                      <a:pt x="63" y="4"/>
                    </a:cubicBezTo>
                    <a:cubicBezTo>
                      <a:pt x="62" y="3"/>
                      <a:pt x="62" y="1"/>
                      <a:pt x="61" y="0"/>
                    </a:cubicBezTo>
                    <a:cubicBezTo>
                      <a:pt x="60" y="0"/>
                      <a:pt x="58" y="1"/>
                      <a:pt x="57" y="1"/>
                    </a:cubicBezTo>
                    <a:cubicBezTo>
                      <a:pt x="55" y="1"/>
                      <a:pt x="54" y="1"/>
                      <a:pt x="52" y="1"/>
                    </a:cubicBezTo>
                    <a:cubicBezTo>
                      <a:pt x="49" y="1"/>
                      <a:pt x="46" y="2"/>
                      <a:pt x="43" y="2"/>
                    </a:cubicBezTo>
                    <a:cubicBezTo>
                      <a:pt x="37" y="2"/>
                      <a:pt x="30" y="3"/>
                      <a:pt x="24" y="3"/>
                    </a:cubicBezTo>
                    <a:cubicBezTo>
                      <a:pt x="27" y="9"/>
                      <a:pt x="29" y="15"/>
                      <a:pt x="32" y="21"/>
                    </a:cubicBezTo>
                    <a:cubicBezTo>
                      <a:pt x="33" y="23"/>
                      <a:pt x="34" y="26"/>
                      <a:pt x="35" y="28"/>
                    </a:cubicBezTo>
                    <a:cubicBezTo>
                      <a:pt x="36" y="29"/>
                      <a:pt x="37" y="30"/>
                      <a:pt x="37" y="31"/>
                    </a:cubicBezTo>
                    <a:cubicBezTo>
                      <a:pt x="38" y="32"/>
                      <a:pt x="40" y="33"/>
                      <a:pt x="41" y="34"/>
                    </a:cubicBezTo>
                    <a:cubicBezTo>
                      <a:pt x="42" y="36"/>
                      <a:pt x="41" y="39"/>
                      <a:pt x="41" y="40"/>
                    </a:cubicBezTo>
                    <a:cubicBezTo>
                      <a:pt x="42" y="43"/>
                      <a:pt x="45" y="42"/>
                      <a:pt x="46" y="44"/>
                    </a:cubicBezTo>
                    <a:cubicBezTo>
                      <a:pt x="47" y="46"/>
                      <a:pt x="46" y="48"/>
                      <a:pt x="46" y="49"/>
                    </a:cubicBezTo>
                    <a:cubicBezTo>
                      <a:pt x="47" y="52"/>
                      <a:pt x="49" y="54"/>
                      <a:pt x="51" y="56"/>
                    </a:cubicBezTo>
                    <a:cubicBezTo>
                      <a:pt x="52" y="56"/>
                      <a:pt x="53" y="56"/>
                      <a:pt x="54" y="57"/>
                    </a:cubicBezTo>
                    <a:cubicBezTo>
                      <a:pt x="55" y="57"/>
                      <a:pt x="56" y="58"/>
                      <a:pt x="57" y="59"/>
                    </a:cubicBezTo>
                    <a:cubicBezTo>
                      <a:pt x="59" y="60"/>
                      <a:pt x="61" y="62"/>
                      <a:pt x="63" y="64"/>
                    </a:cubicBezTo>
                    <a:cubicBezTo>
                      <a:pt x="66" y="68"/>
                      <a:pt x="69" y="71"/>
                      <a:pt x="73" y="74"/>
                    </a:cubicBezTo>
                    <a:cubicBezTo>
                      <a:pt x="75" y="76"/>
                      <a:pt x="76" y="78"/>
                      <a:pt x="74" y="80"/>
                    </a:cubicBezTo>
                    <a:cubicBezTo>
                      <a:pt x="73" y="81"/>
                      <a:pt x="73" y="81"/>
                      <a:pt x="73" y="83"/>
                    </a:cubicBezTo>
                    <a:cubicBezTo>
                      <a:pt x="74" y="84"/>
                      <a:pt x="73" y="85"/>
                      <a:pt x="72" y="86"/>
                    </a:cubicBezTo>
                    <a:cubicBezTo>
                      <a:pt x="72" y="88"/>
                      <a:pt x="73" y="89"/>
                      <a:pt x="74" y="90"/>
                    </a:cubicBezTo>
                    <a:cubicBezTo>
                      <a:pt x="75" y="90"/>
                      <a:pt x="77" y="90"/>
                      <a:pt x="78" y="90"/>
                    </a:cubicBezTo>
                    <a:cubicBezTo>
                      <a:pt x="79" y="91"/>
                      <a:pt x="80" y="92"/>
                      <a:pt x="80" y="94"/>
                    </a:cubicBezTo>
                    <a:cubicBezTo>
                      <a:pt x="80" y="95"/>
                      <a:pt x="79" y="95"/>
                      <a:pt x="79" y="95"/>
                    </a:cubicBezTo>
                    <a:cubicBezTo>
                      <a:pt x="78" y="95"/>
                      <a:pt x="78" y="94"/>
                      <a:pt x="77" y="94"/>
                    </a:cubicBezTo>
                    <a:cubicBezTo>
                      <a:pt x="76" y="93"/>
                      <a:pt x="75" y="94"/>
                      <a:pt x="74" y="93"/>
                    </a:cubicBezTo>
                    <a:cubicBezTo>
                      <a:pt x="73" y="93"/>
                      <a:pt x="72" y="93"/>
                      <a:pt x="71" y="92"/>
                    </a:cubicBezTo>
                    <a:cubicBezTo>
                      <a:pt x="70" y="90"/>
                      <a:pt x="68" y="90"/>
                      <a:pt x="66" y="90"/>
                    </a:cubicBezTo>
                    <a:cubicBezTo>
                      <a:pt x="65" y="90"/>
                      <a:pt x="60" y="89"/>
                      <a:pt x="60" y="91"/>
                    </a:cubicBezTo>
                    <a:cubicBezTo>
                      <a:pt x="60" y="92"/>
                      <a:pt x="61" y="93"/>
                      <a:pt x="62" y="94"/>
                    </a:cubicBezTo>
                    <a:cubicBezTo>
                      <a:pt x="64" y="96"/>
                      <a:pt x="65" y="98"/>
                      <a:pt x="67" y="99"/>
                    </a:cubicBezTo>
                    <a:cubicBezTo>
                      <a:pt x="69" y="101"/>
                      <a:pt x="72" y="103"/>
                      <a:pt x="74" y="105"/>
                    </a:cubicBezTo>
                    <a:cubicBezTo>
                      <a:pt x="77" y="106"/>
                      <a:pt x="79" y="108"/>
                      <a:pt x="82" y="108"/>
                    </a:cubicBezTo>
                    <a:cubicBezTo>
                      <a:pt x="84" y="109"/>
                      <a:pt x="87" y="109"/>
                      <a:pt x="89" y="107"/>
                    </a:cubicBezTo>
                    <a:cubicBezTo>
                      <a:pt x="89" y="107"/>
                      <a:pt x="90" y="105"/>
                      <a:pt x="90" y="106"/>
                    </a:cubicBezTo>
                    <a:cubicBezTo>
                      <a:pt x="91" y="106"/>
                      <a:pt x="91" y="108"/>
                      <a:pt x="91" y="108"/>
                    </a:cubicBezTo>
                    <a:cubicBezTo>
                      <a:pt x="91" y="111"/>
                      <a:pt x="93" y="113"/>
                      <a:pt x="95" y="114"/>
                    </a:cubicBezTo>
                    <a:cubicBezTo>
                      <a:pt x="98" y="115"/>
                      <a:pt x="100" y="117"/>
                      <a:pt x="102" y="119"/>
                    </a:cubicBezTo>
                    <a:cubicBezTo>
                      <a:pt x="104" y="120"/>
                      <a:pt x="107" y="122"/>
                      <a:pt x="108" y="124"/>
                    </a:cubicBezTo>
                    <a:cubicBezTo>
                      <a:pt x="108" y="125"/>
                      <a:pt x="108" y="126"/>
                      <a:pt x="108" y="127"/>
                    </a:cubicBezTo>
                    <a:cubicBezTo>
                      <a:pt x="108" y="129"/>
                      <a:pt x="109" y="130"/>
                      <a:pt x="109" y="132"/>
                    </a:cubicBezTo>
                    <a:cubicBezTo>
                      <a:pt x="109" y="133"/>
                      <a:pt x="109" y="135"/>
                      <a:pt x="109" y="136"/>
                    </a:cubicBezTo>
                    <a:cubicBezTo>
                      <a:pt x="108" y="137"/>
                      <a:pt x="108" y="138"/>
                      <a:pt x="108" y="139"/>
                    </a:cubicBezTo>
                    <a:cubicBezTo>
                      <a:pt x="108" y="141"/>
                      <a:pt x="107" y="144"/>
                      <a:pt x="109" y="145"/>
                    </a:cubicBezTo>
                    <a:cubicBezTo>
                      <a:pt x="110" y="146"/>
                      <a:pt x="111" y="146"/>
                      <a:pt x="112" y="146"/>
                    </a:cubicBezTo>
                    <a:cubicBezTo>
                      <a:pt x="113" y="147"/>
                      <a:pt x="114" y="148"/>
                      <a:pt x="115" y="149"/>
                    </a:cubicBezTo>
                    <a:cubicBezTo>
                      <a:pt x="118" y="151"/>
                      <a:pt x="121" y="153"/>
                      <a:pt x="123" y="155"/>
                    </a:cubicBezTo>
                    <a:cubicBezTo>
                      <a:pt x="128" y="159"/>
                      <a:pt x="133" y="162"/>
                      <a:pt x="137" y="166"/>
                    </a:cubicBezTo>
                    <a:cubicBezTo>
                      <a:pt x="139" y="168"/>
                      <a:pt x="141" y="170"/>
                      <a:pt x="143" y="172"/>
                    </a:cubicBezTo>
                    <a:cubicBezTo>
                      <a:pt x="144" y="173"/>
                      <a:pt x="144" y="175"/>
                      <a:pt x="145" y="176"/>
                    </a:cubicBezTo>
                    <a:cubicBezTo>
                      <a:pt x="145" y="176"/>
                      <a:pt x="145" y="177"/>
                      <a:pt x="146" y="177"/>
                    </a:cubicBezTo>
                    <a:cubicBezTo>
                      <a:pt x="146" y="178"/>
                      <a:pt x="147" y="177"/>
                      <a:pt x="147" y="176"/>
                    </a:cubicBezTo>
                    <a:cubicBezTo>
                      <a:pt x="149" y="175"/>
                      <a:pt x="152" y="176"/>
                      <a:pt x="153" y="174"/>
                    </a:cubicBezTo>
                    <a:cubicBezTo>
                      <a:pt x="154" y="173"/>
                      <a:pt x="154" y="168"/>
                      <a:pt x="153" y="167"/>
                    </a:cubicBezTo>
                    <a:cubicBezTo>
                      <a:pt x="151" y="165"/>
                      <a:pt x="149" y="164"/>
                      <a:pt x="148" y="161"/>
                    </a:cubicBezTo>
                    <a:cubicBezTo>
                      <a:pt x="148" y="161"/>
                      <a:pt x="148" y="159"/>
                      <a:pt x="147" y="159"/>
                    </a:cubicBezTo>
                    <a:cubicBezTo>
                      <a:pt x="146" y="158"/>
                      <a:pt x="145" y="158"/>
                      <a:pt x="143" y="157"/>
                    </a:cubicBezTo>
                    <a:cubicBezTo>
                      <a:pt x="142" y="156"/>
                      <a:pt x="140" y="153"/>
                      <a:pt x="138" y="155"/>
                    </a:cubicBezTo>
                    <a:cubicBezTo>
                      <a:pt x="137" y="157"/>
                      <a:pt x="133" y="153"/>
                      <a:pt x="133" y="151"/>
                    </a:cubicBezTo>
                    <a:cubicBezTo>
                      <a:pt x="132" y="149"/>
                      <a:pt x="133" y="146"/>
                      <a:pt x="132" y="144"/>
                    </a:cubicBezTo>
                    <a:cubicBezTo>
                      <a:pt x="132" y="141"/>
                      <a:pt x="131" y="139"/>
                      <a:pt x="129" y="137"/>
                    </a:cubicBezTo>
                    <a:cubicBezTo>
                      <a:pt x="128" y="135"/>
                      <a:pt x="126" y="132"/>
                      <a:pt x="126" y="130"/>
                    </a:cubicBezTo>
                    <a:cubicBezTo>
                      <a:pt x="125" y="129"/>
                      <a:pt x="125" y="128"/>
                      <a:pt x="125" y="126"/>
                    </a:cubicBezTo>
                    <a:cubicBezTo>
                      <a:pt x="125" y="125"/>
                      <a:pt x="125" y="124"/>
                      <a:pt x="124" y="123"/>
                    </a:cubicBezTo>
                    <a:cubicBezTo>
                      <a:pt x="123" y="122"/>
                      <a:pt x="123" y="122"/>
                      <a:pt x="122" y="121"/>
                    </a:cubicBezTo>
                    <a:cubicBezTo>
                      <a:pt x="122" y="120"/>
                      <a:pt x="122" y="118"/>
                      <a:pt x="122" y="117"/>
                    </a:cubicBezTo>
                    <a:cubicBezTo>
                      <a:pt x="121" y="115"/>
                      <a:pt x="119" y="112"/>
                      <a:pt x="117" y="111"/>
                    </a:cubicBezTo>
                    <a:cubicBezTo>
                      <a:pt x="115" y="110"/>
                      <a:pt x="112" y="111"/>
                      <a:pt x="112" y="108"/>
                    </a:cubicBezTo>
                    <a:cubicBezTo>
                      <a:pt x="112" y="106"/>
                      <a:pt x="112" y="105"/>
                      <a:pt x="111" y="104"/>
                    </a:cubicBezTo>
                    <a:cubicBezTo>
                      <a:pt x="111" y="103"/>
                      <a:pt x="110" y="103"/>
                      <a:pt x="109" y="102"/>
                    </a:cubicBezTo>
                    <a:cubicBezTo>
                      <a:pt x="106" y="101"/>
                      <a:pt x="104" y="100"/>
                      <a:pt x="103" y="97"/>
                    </a:cubicBezTo>
                    <a:cubicBezTo>
                      <a:pt x="102" y="95"/>
                      <a:pt x="100" y="92"/>
                      <a:pt x="99" y="90"/>
                    </a:cubicBezTo>
                    <a:cubicBezTo>
                      <a:pt x="98" y="88"/>
                      <a:pt x="97" y="86"/>
                      <a:pt x="97" y="83"/>
                    </a:cubicBezTo>
                    <a:cubicBezTo>
                      <a:pt x="96" y="81"/>
                      <a:pt x="96" y="79"/>
                      <a:pt x="94" y="78"/>
                    </a:cubicBezTo>
                    <a:cubicBezTo>
                      <a:pt x="89" y="75"/>
                      <a:pt x="86" y="71"/>
                      <a:pt x="82" y="66"/>
                    </a:cubicBezTo>
                    <a:cubicBezTo>
                      <a:pt x="79" y="61"/>
                      <a:pt x="76" y="57"/>
                      <a:pt x="71" y="53"/>
                    </a:cubicBezTo>
                    <a:cubicBezTo>
                      <a:pt x="70" y="52"/>
                      <a:pt x="66" y="50"/>
                      <a:pt x="66" y="48"/>
                    </a:cubicBezTo>
                    <a:cubicBezTo>
                      <a:pt x="66" y="47"/>
                      <a:pt x="65" y="46"/>
                      <a:pt x="65" y="45"/>
                    </a:cubicBezTo>
                    <a:cubicBezTo>
                      <a:pt x="65" y="43"/>
                      <a:pt x="65" y="42"/>
                      <a:pt x="64" y="40"/>
                    </a:cubicBezTo>
                    <a:cubicBezTo>
                      <a:pt x="64" y="38"/>
                      <a:pt x="62" y="36"/>
                      <a:pt x="61" y="33"/>
                    </a:cubicBezTo>
                    <a:cubicBezTo>
                      <a:pt x="60" y="30"/>
                      <a:pt x="61" y="27"/>
                      <a:pt x="62" y="24"/>
                    </a:cubicBezTo>
                    <a:cubicBezTo>
                      <a:pt x="62" y="22"/>
                      <a:pt x="62" y="20"/>
                      <a:pt x="61" y="17"/>
                    </a:cubicBezTo>
                    <a:cubicBezTo>
                      <a:pt x="60" y="15"/>
                      <a:pt x="62" y="15"/>
                      <a:pt x="64" y="16"/>
                    </a:cubicBezTo>
                    <a:cubicBezTo>
                      <a:pt x="66" y="17"/>
                      <a:pt x="68" y="18"/>
                      <a:pt x="70" y="19"/>
                    </a:cubicBezTo>
                    <a:cubicBezTo>
                      <a:pt x="72" y="20"/>
                      <a:pt x="74" y="22"/>
                      <a:pt x="76" y="21"/>
                    </a:cubicBezTo>
                    <a:cubicBezTo>
                      <a:pt x="78" y="21"/>
                      <a:pt x="77" y="18"/>
                      <a:pt x="80" y="19"/>
                    </a:cubicBezTo>
                    <a:cubicBezTo>
                      <a:pt x="82" y="21"/>
                      <a:pt x="83" y="23"/>
                      <a:pt x="85" y="25"/>
                    </a:cubicBezTo>
                    <a:cubicBezTo>
                      <a:pt x="87" y="26"/>
                      <a:pt x="90" y="26"/>
                      <a:pt x="92" y="28"/>
                    </a:cubicBezTo>
                    <a:cubicBezTo>
                      <a:pt x="93" y="29"/>
                      <a:pt x="92" y="30"/>
                      <a:pt x="92" y="31"/>
                    </a:cubicBezTo>
                    <a:cubicBezTo>
                      <a:pt x="92" y="33"/>
                      <a:pt x="92" y="34"/>
                      <a:pt x="92" y="35"/>
                    </a:cubicBezTo>
                    <a:cubicBezTo>
                      <a:pt x="92" y="38"/>
                      <a:pt x="94" y="40"/>
                      <a:pt x="95" y="43"/>
                    </a:cubicBezTo>
                    <a:cubicBezTo>
                      <a:pt x="96" y="44"/>
                      <a:pt x="96" y="45"/>
                      <a:pt x="97" y="46"/>
                    </a:cubicBezTo>
                    <a:cubicBezTo>
                      <a:pt x="98" y="48"/>
                      <a:pt x="99" y="49"/>
                      <a:pt x="100" y="51"/>
                    </a:cubicBezTo>
                    <a:cubicBezTo>
                      <a:pt x="101" y="53"/>
                      <a:pt x="101" y="55"/>
                      <a:pt x="102" y="57"/>
                    </a:cubicBezTo>
                    <a:cubicBezTo>
                      <a:pt x="104" y="60"/>
                      <a:pt x="106" y="61"/>
                      <a:pt x="107" y="64"/>
                    </a:cubicBezTo>
                    <a:cubicBezTo>
                      <a:pt x="108" y="69"/>
                      <a:pt x="112" y="72"/>
                      <a:pt x="116" y="76"/>
                    </a:cubicBezTo>
                    <a:cubicBezTo>
                      <a:pt x="118" y="77"/>
                      <a:pt x="120" y="79"/>
                      <a:pt x="122" y="80"/>
                    </a:cubicBezTo>
                    <a:cubicBezTo>
                      <a:pt x="123" y="82"/>
                      <a:pt x="125" y="84"/>
                      <a:pt x="127" y="86"/>
                    </a:cubicBezTo>
                    <a:cubicBezTo>
                      <a:pt x="129" y="88"/>
                      <a:pt x="131" y="88"/>
                      <a:pt x="133" y="88"/>
                    </a:cubicBezTo>
                    <a:cubicBezTo>
                      <a:pt x="136" y="89"/>
                      <a:pt x="134" y="91"/>
                      <a:pt x="134" y="93"/>
                    </a:cubicBezTo>
                    <a:cubicBezTo>
                      <a:pt x="134" y="94"/>
                      <a:pt x="134" y="96"/>
                      <a:pt x="134" y="97"/>
                    </a:cubicBezTo>
                    <a:cubicBezTo>
                      <a:pt x="135" y="97"/>
                      <a:pt x="136" y="98"/>
                      <a:pt x="137" y="98"/>
                    </a:cubicBezTo>
                    <a:cubicBezTo>
                      <a:pt x="138" y="99"/>
                      <a:pt x="138" y="100"/>
                      <a:pt x="139" y="101"/>
                    </a:cubicBezTo>
                    <a:cubicBezTo>
                      <a:pt x="141" y="102"/>
                      <a:pt x="142" y="102"/>
                      <a:pt x="144" y="102"/>
                    </a:cubicBezTo>
                    <a:cubicBezTo>
                      <a:pt x="146" y="102"/>
                      <a:pt x="146" y="104"/>
                      <a:pt x="147" y="106"/>
                    </a:cubicBezTo>
                    <a:cubicBezTo>
                      <a:pt x="147" y="108"/>
                      <a:pt x="152" y="108"/>
                      <a:pt x="153" y="109"/>
                    </a:cubicBezTo>
                    <a:cubicBezTo>
                      <a:pt x="155" y="110"/>
                      <a:pt x="156" y="113"/>
                      <a:pt x="158" y="115"/>
                    </a:cubicBezTo>
                    <a:cubicBezTo>
                      <a:pt x="158" y="116"/>
                      <a:pt x="160" y="117"/>
                      <a:pt x="160" y="118"/>
                    </a:cubicBezTo>
                    <a:cubicBezTo>
                      <a:pt x="160" y="119"/>
                      <a:pt x="159" y="119"/>
                      <a:pt x="158" y="119"/>
                    </a:cubicBezTo>
                    <a:cubicBezTo>
                      <a:pt x="156" y="118"/>
                      <a:pt x="155" y="123"/>
                      <a:pt x="154" y="124"/>
                    </a:cubicBezTo>
                    <a:cubicBezTo>
                      <a:pt x="154" y="125"/>
                      <a:pt x="154" y="126"/>
                      <a:pt x="155" y="127"/>
                    </a:cubicBezTo>
                    <a:cubicBezTo>
                      <a:pt x="156" y="128"/>
                      <a:pt x="157" y="127"/>
                      <a:pt x="158" y="128"/>
                    </a:cubicBezTo>
                    <a:cubicBezTo>
                      <a:pt x="160" y="129"/>
                      <a:pt x="163" y="129"/>
                      <a:pt x="163" y="131"/>
                    </a:cubicBezTo>
                    <a:cubicBezTo>
                      <a:pt x="162" y="134"/>
                      <a:pt x="164" y="134"/>
                      <a:pt x="166" y="135"/>
                    </a:cubicBezTo>
                    <a:cubicBezTo>
                      <a:pt x="169" y="135"/>
                      <a:pt x="171" y="136"/>
                      <a:pt x="173" y="138"/>
                    </a:cubicBezTo>
                    <a:cubicBezTo>
                      <a:pt x="175" y="139"/>
                      <a:pt x="178" y="140"/>
                      <a:pt x="179" y="143"/>
                    </a:cubicBezTo>
                    <a:cubicBezTo>
                      <a:pt x="179" y="144"/>
                      <a:pt x="179" y="147"/>
                      <a:pt x="180" y="148"/>
                    </a:cubicBezTo>
                    <a:cubicBezTo>
                      <a:pt x="181" y="149"/>
                      <a:pt x="182" y="150"/>
                      <a:pt x="183" y="150"/>
                    </a:cubicBezTo>
                    <a:cubicBezTo>
                      <a:pt x="184" y="150"/>
                      <a:pt x="186" y="150"/>
                      <a:pt x="187" y="151"/>
                    </a:cubicBezTo>
                    <a:cubicBezTo>
                      <a:pt x="187" y="152"/>
                      <a:pt x="187" y="153"/>
                      <a:pt x="188" y="153"/>
                    </a:cubicBezTo>
                    <a:cubicBezTo>
                      <a:pt x="188" y="154"/>
                      <a:pt x="189" y="155"/>
                      <a:pt x="190" y="156"/>
                    </a:cubicBezTo>
                    <a:cubicBezTo>
                      <a:pt x="192" y="158"/>
                      <a:pt x="195" y="160"/>
                      <a:pt x="197" y="163"/>
                    </a:cubicBezTo>
                    <a:cubicBezTo>
                      <a:pt x="198" y="165"/>
                      <a:pt x="200" y="167"/>
                      <a:pt x="201" y="169"/>
                    </a:cubicBezTo>
                    <a:cubicBezTo>
                      <a:pt x="204" y="172"/>
                      <a:pt x="206" y="174"/>
                      <a:pt x="208" y="176"/>
                    </a:cubicBezTo>
                    <a:cubicBezTo>
                      <a:pt x="210" y="178"/>
                      <a:pt x="212" y="180"/>
                      <a:pt x="214" y="182"/>
                    </a:cubicBezTo>
                    <a:cubicBezTo>
                      <a:pt x="216" y="184"/>
                      <a:pt x="218" y="186"/>
                      <a:pt x="218" y="189"/>
                    </a:cubicBezTo>
                    <a:cubicBezTo>
                      <a:pt x="219" y="192"/>
                      <a:pt x="218" y="194"/>
                      <a:pt x="219" y="197"/>
                    </a:cubicBezTo>
                    <a:cubicBezTo>
                      <a:pt x="220" y="200"/>
                      <a:pt x="222" y="201"/>
                      <a:pt x="223" y="203"/>
                    </a:cubicBezTo>
                    <a:cubicBezTo>
                      <a:pt x="226" y="205"/>
                      <a:pt x="225" y="207"/>
                      <a:pt x="224" y="210"/>
                    </a:cubicBezTo>
                    <a:cubicBezTo>
                      <a:pt x="224" y="211"/>
                      <a:pt x="224" y="212"/>
                      <a:pt x="223" y="213"/>
                    </a:cubicBezTo>
                    <a:cubicBezTo>
                      <a:pt x="223" y="214"/>
                      <a:pt x="222" y="215"/>
                      <a:pt x="222" y="216"/>
                    </a:cubicBezTo>
                    <a:cubicBezTo>
                      <a:pt x="221" y="218"/>
                      <a:pt x="223" y="218"/>
                      <a:pt x="224" y="219"/>
                    </a:cubicBezTo>
                    <a:cubicBezTo>
                      <a:pt x="227" y="220"/>
                      <a:pt x="222" y="222"/>
                      <a:pt x="221" y="222"/>
                    </a:cubicBezTo>
                    <a:cubicBezTo>
                      <a:pt x="218" y="223"/>
                      <a:pt x="219" y="225"/>
                      <a:pt x="220" y="228"/>
                    </a:cubicBezTo>
                    <a:cubicBezTo>
                      <a:pt x="221" y="231"/>
                      <a:pt x="223" y="233"/>
                      <a:pt x="225" y="236"/>
                    </a:cubicBezTo>
                    <a:cubicBezTo>
                      <a:pt x="227" y="238"/>
                      <a:pt x="228" y="240"/>
                      <a:pt x="230" y="243"/>
                    </a:cubicBezTo>
                    <a:cubicBezTo>
                      <a:pt x="232" y="245"/>
                      <a:pt x="235" y="245"/>
                      <a:pt x="237" y="246"/>
                    </a:cubicBezTo>
                    <a:cubicBezTo>
                      <a:pt x="239" y="247"/>
                      <a:pt x="241" y="249"/>
                      <a:pt x="244" y="250"/>
                    </a:cubicBezTo>
                    <a:cubicBezTo>
                      <a:pt x="246" y="251"/>
                      <a:pt x="248" y="251"/>
                      <a:pt x="250" y="253"/>
                    </a:cubicBezTo>
                    <a:cubicBezTo>
                      <a:pt x="252" y="255"/>
                      <a:pt x="252" y="257"/>
                      <a:pt x="254" y="259"/>
                    </a:cubicBezTo>
                    <a:cubicBezTo>
                      <a:pt x="256" y="261"/>
                      <a:pt x="259" y="261"/>
                      <a:pt x="261" y="262"/>
                    </a:cubicBezTo>
                    <a:cubicBezTo>
                      <a:pt x="264" y="263"/>
                      <a:pt x="266" y="265"/>
                      <a:pt x="269" y="266"/>
                    </a:cubicBezTo>
                    <a:cubicBezTo>
                      <a:pt x="271" y="267"/>
                      <a:pt x="274" y="268"/>
                      <a:pt x="277" y="267"/>
                    </a:cubicBezTo>
                    <a:cubicBezTo>
                      <a:pt x="280" y="267"/>
                      <a:pt x="281" y="266"/>
                      <a:pt x="283" y="268"/>
                    </a:cubicBezTo>
                    <a:cubicBezTo>
                      <a:pt x="285" y="271"/>
                      <a:pt x="287" y="272"/>
                      <a:pt x="290" y="274"/>
                    </a:cubicBezTo>
                    <a:cubicBezTo>
                      <a:pt x="295" y="277"/>
                      <a:pt x="300" y="281"/>
                      <a:pt x="306" y="283"/>
                    </a:cubicBezTo>
                    <a:cubicBezTo>
                      <a:pt x="309" y="284"/>
                      <a:pt x="311" y="284"/>
                      <a:pt x="314" y="285"/>
                    </a:cubicBezTo>
                    <a:cubicBezTo>
                      <a:pt x="316" y="287"/>
                      <a:pt x="318" y="288"/>
                      <a:pt x="321" y="289"/>
                    </a:cubicBezTo>
                    <a:cubicBezTo>
                      <a:pt x="327" y="290"/>
                      <a:pt x="333" y="289"/>
                      <a:pt x="337" y="294"/>
                    </a:cubicBezTo>
                    <a:cubicBezTo>
                      <a:pt x="339" y="296"/>
                      <a:pt x="340" y="296"/>
                      <a:pt x="343" y="297"/>
                    </a:cubicBezTo>
                    <a:cubicBezTo>
                      <a:pt x="346" y="297"/>
                      <a:pt x="348" y="299"/>
                      <a:pt x="350" y="300"/>
                    </a:cubicBezTo>
                    <a:cubicBezTo>
                      <a:pt x="354" y="303"/>
                      <a:pt x="359" y="301"/>
                      <a:pt x="364" y="303"/>
                    </a:cubicBezTo>
                    <a:cubicBezTo>
                      <a:pt x="366" y="304"/>
                      <a:pt x="368" y="305"/>
                      <a:pt x="370" y="306"/>
                    </a:cubicBezTo>
                    <a:cubicBezTo>
                      <a:pt x="372" y="307"/>
                      <a:pt x="374" y="307"/>
                      <a:pt x="377" y="306"/>
                    </a:cubicBezTo>
                    <a:cubicBezTo>
                      <a:pt x="382" y="305"/>
                      <a:pt x="386" y="303"/>
                      <a:pt x="391" y="301"/>
                    </a:cubicBezTo>
                    <a:cubicBezTo>
                      <a:pt x="393" y="300"/>
                      <a:pt x="395" y="299"/>
                      <a:pt x="397" y="298"/>
                    </a:cubicBezTo>
                    <a:cubicBezTo>
                      <a:pt x="398" y="298"/>
                      <a:pt x="399" y="297"/>
                      <a:pt x="400" y="296"/>
                    </a:cubicBezTo>
                    <a:cubicBezTo>
                      <a:pt x="400" y="296"/>
                      <a:pt x="401" y="295"/>
                      <a:pt x="402" y="295"/>
                    </a:cubicBezTo>
                    <a:cubicBezTo>
                      <a:pt x="404" y="295"/>
                      <a:pt x="405" y="297"/>
                      <a:pt x="407" y="298"/>
                    </a:cubicBezTo>
                    <a:cubicBezTo>
                      <a:pt x="408" y="298"/>
                      <a:pt x="409" y="297"/>
                      <a:pt x="409" y="297"/>
                    </a:cubicBezTo>
                    <a:cubicBezTo>
                      <a:pt x="411" y="297"/>
                      <a:pt x="412" y="297"/>
                      <a:pt x="413" y="298"/>
                    </a:cubicBezTo>
                    <a:cubicBezTo>
                      <a:pt x="418" y="299"/>
                      <a:pt x="421" y="303"/>
                      <a:pt x="425" y="306"/>
                    </a:cubicBezTo>
                    <a:cubicBezTo>
                      <a:pt x="429" y="309"/>
                      <a:pt x="433" y="311"/>
                      <a:pt x="437" y="314"/>
                    </a:cubicBezTo>
                    <a:cubicBezTo>
                      <a:pt x="440" y="317"/>
                      <a:pt x="442" y="322"/>
                      <a:pt x="446" y="325"/>
                    </a:cubicBezTo>
                    <a:cubicBezTo>
                      <a:pt x="449" y="320"/>
                      <a:pt x="449" y="315"/>
                      <a:pt x="451" y="309"/>
                    </a:cubicBezTo>
                    <a:cubicBezTo>
                      <a:pt x="451" y="307"/>
                      <a:pt x="452" y="304"/>
                      <a:pt x="453" y="302"/>
                    </a:cubicBezTo>
                    <a:cubicBezTo>
                      <a:pt x="454" y="300"/>
                      <a:pt x="456" y="300"/>
                      <a:pt x="458" y="299"/>
                    </a:cubicBezTo>
                    <a:cubicBezTo>
                      <a:pt x="463" y="298"/>
                      <a:pt x="468" y="299"/>
                      <a:pt x="473" y="299"/>
                    </a:cubicBezTo>
                    <a:cubicBezTo>
                      <a:pt x="475" y="299"/>
                      <a:pt x="477" y="299"/>
                      <a:pt x="476" y="296"/>
                    </a:cubicBezTo>
                    <a:cubicBezTo>
                      <a:pt x="476" y="294"/>
                      <a:pt x="473" y="292"/>
                      <a:pt x="471" y="291"/>
                    </a:cubicBezTo>
                    <a:cubicBezTo>
                      <a:pt x="469" y="289"/>
                      <a:pt x="467" y="287"/>
                      <a:pt x="464" y="285"/>
                    </a:cubicBezTo>
                    <a:cubicBezTo>
                      <a:pt x="463" y="284"/>
                      <a:pt x="459" y="282"/>
                      <a:pt x="460" y="279"/>
                    </a:cubicBezTo>
                    <a:cubicBezTo>
                      <a:pt x="460" y="277"/>
                      <a:pt x="463" y="276"/>
                      <a:pt x="464" y="276"/>
                    </a:cubicBezTo>
                    <a:cubicBezTo>
                      <a:pt x="467" y="276"/>
                      <a:pt x="467" y="273"/>
                      <a:pt x="467" y="271"/>
                    </a:cubicBezTo>
                    <a:cubicBezTo>
                      <a:pt x="467" y="267"/>
                      <a:pt x="474" y="268"/>
                      <a:pt x="477" y="268"/>
                    </a:cubicBezTo>
                    <a:cubicBezTo>
                      <a:pt x="483" y="267"/>
                      <a:pt x="490" y="267"/>
                      <a:pt x="496" y="267"/>
                    </a:cubicBezTo>
                    <a:cubicBezTo>
                      <a:pt x="497" y="267"/>
                      <a:pt x="499" y="267"/>
                      <a:pt x="501" y="266"/>
                    </a:cubicBezTo>
                    <a:cubicBezTo>
                      <a:pt x="502" y="265"/>
                      <a:pt x="504" y="263"/>
                      <a:pt x="505" y="261"/>
                    </a:cubicBezTo>
                    <a:cubicBezTo>
                      <a:pt x="507" y="260"/>
                      <a:pt x="508" y="258"/>
                      <a:pt x="510" y="257"/>
                    </a:cubicBezTo>
                    <a:cubicBezTo>
                      <a:pt x="512" y="257"/>
                      <a:pt x="514" y="257"/>
                      <a:pt x="516" y="257"/>
                    </a:cubicBezTo>
                    <a:cubicBezTo>
                      <a:pt x="516" y="257"/>
                      <a:pt x="516" y="251"/>
                      <a:pt x="518" y="252"/>
                    </a:cubicBezTo>
                    <a:cubicBezTo>
                      <a:pt x="519" y="252"/>
                      <a:pt x="518" y="255"/>
                      <a:pt x="518" y="256"/>
                    </a:cubicBezTo>
                    <a:cubicBezTo>
                      <a:pt x="518" y="256"/>
                      <a:pt x="518" y="258"/>
                      <a:pt x="519" y="258"/>
                    </a:cubicBezTo>
                    <a:cubicBezTo>
                      <a:pt x="520" y="258"/>
                      <a:pt x="521" y="258"/>
                      <a:pt x="522" y="259"/>
                    </a:cubicBezTo>
                    <a:cubicBezTo>
                      <a:pt x="522" y="256"/>
                      <a:pt x="523" y="253"/>
                      <a:pt x="524" y="251"/>
                    </a:cubicBezTo>
                    <a:cubicBezTo>
                      <a:pt x="525" y="250"/>
                      <a:pt x="526" y="249"/>
                      <a:pt x="526" y="248"/>
                    </a:cubicBezTo>
                    <a:cubicBezTo>
                      <a:pt x="527" y="247"/>
                      <a:pt x="527" y="246"/>
                      <a:pt x="527" y="244"/>
                    </a:cubicBezTo>
                    <a:cubicBezTo>
                      <a:pt x="526" y="242"/>
                      <a:pt x="528" y="240"/>
                      <a:pt x="526" y="238"/>
                    </a:cubicBezTo>
                    <a:cubicBezTo>
                      <a:pt x="526" y="237"/>
                      <a:pt x="522" y="234"/>
                      <a:pt x="525" y="233"/>
                    </a:cubicBezTo>
                    <a:cubicBezTo>
                      <a:pt x="526" y="232"/>
                      <a:pt x="528" y="233"/>
                      <a:pt x="528" y="231"/>
                    </a:cubicBezTo>
                    <a:cubicBezTo>
                      <a:pt x="529" y="230"/>
                      <a:pt x="528" y="228"/>
                      <a:pt x="528" y="227"/>
                    </a:cubicBezTo>
                    <a:cubicBezTo>
                      <a:pt x="528" y="222"/>
                      <a:pt x="534" y="220"/>
                      <a:pt x="537" y="217"/>
                    </a:cubicBezTo>
                    <a:cubicBezTo>
                      <a:pt x="540" y="212"/>
                      <a:pt x="540" y="207"/>
                      <a:pt x="536" y="203"/>
                    </a:cubicBezTo>
                    <a:cubicBezTo>
                      <a:pt x="535" y="201"/>
                      <a:pt x="532" y="203"/>
                      <a:pt x="530" y="204"/>
                    </a:cubicBezTo>
                    <a:cubicBezTo>
                      <a:pt x="529" y="204"/>
                      <a:pt x="527" y="204"/>
                      <a:pt x="526" y="204"/>
                    </a:cubicBezTo>
                    <a:cubicBezTo>
                      <a:pt x="525" y="204"/>
                      <a:pt x="524" y="203"/>
                      <a:pt x="522" y="203"/>
                    </a:cubicBezTo>
                    <a:cubicBezTo>
                      <a:pt x="520" y="202"/>
                      <a:pt x="517" y="202"/>
                      <a:pt x="514" y="202"/>
                    </a:cubicBezTo>
                    <a:cubicBezTo>
                      <a:pt x="513" y="203"/>
                      <a:pt x="511" y="203"/>
                      <a:pt x="510" y="203"/>
                    </a:cubicBezTo>
                    <a:cubicBezTo>
                      <a:pt x="509" y="203"/>
                      <a:pt x="507" y="204"/>
                      <a:pt x="506" y="205"/>
                    </a:cubicBezTo>
                    <a:cubicBezTo>
                      <a:pt x="503" y="206"/>
                      <a:pt x="501" y="206"/>
                      <a:pt x="498" y="206"/>
                    </a:cubicBezTo>
                    <a:cubicBezTo>
                      <a:pt x="495" y="207"/>
                      <a:pt x="492" y="207"/>
                      <a:pt x="489" y="208"/>
                    </a:cubicBezTo>
                    <a:cubicBezTo>
                      <a:pt x="484" y="209"/>
                      <a:pt x="478" y="212"/>
                      <a:pt x="478" y="217"/>
                    </a:cubicBezTo>
                    <a:cubicBezTo>
                      <a:pt x="477" y="220"/>
                      <a:pt x="476" y="223"/>
                      <a:pt x="477" y="225"/>
                    </a:cubicBezTo>
                    <a:cubicBezTo>
                      <a:pt x="477" y="228"/>
                      <a:pt x="477" y="230"/>
                      <a:pt x="475" y="232"/>
                    </a:cubicBezTo>
                    <a:cubicBezTo>
                      <a:pt x="473" y="234"/>
                      <a:pt x="471" y="235"/>
                      <a:pt x="472" y="237"/>
                    </a:cubicBezTo>
                    <a:cubicBezTo>
                      <a:pt x="472" y="240"/>
                      <a:pt x="473" y="242"/>
                      <a:pt x="470" y="244"/>
                    </a:cubicBezTo>
                    <a:cubicBezTo>
                      <a:pt x="467" y="245"/>
                      <a:pt x="465" y="246"/>
                      <a:pt x="463" y="248"/>
                    </a:cubicBezTo>
                    <a:cubicBezTo>
                      <a:pt x="463" y="250"/>
                      <a:pt x="463" y="251"/>
                      <a:pt x="463" y="252"/>
                    </a:cubicBezTo>
                    <a:cubicBezTo>
                      <a:pt x="463" y="253"/>
                      <a:pt x="464" y="254"/>
                      <a:pt x="463" y="255"/>
                    </a:cubicBezTo>
                    <a:cubicBezTo>
                      <a:pt x="462" y="256"/>
                      <a:pt x="461" y="256"/>
                      <a:pt x="461" y="256"/>
                    </a:cubicBezTo>
                    <a:cubicBezTo>
                      <a:pt x="460" y="257"/>
                      <a:pt x="459" y="257"/>
                      <a:pt x="457" y="258"/>
                    </a:cubicBezTo>
                    <a:cubicBezTo>
                      <a:pt x="455" y="259"/>
                      <a:pt x="453" y="259"/>
                      <a:pt x="452" y="256"/>
                    </a:cubicBezTo>
                    <a:cubicBezTo>
                      <a:pt x="452" y="254"/>
                      <a:pt x="450" y="254"/>
                      <a:pt x="448" y="254"/>
                    </a:cubicBezTo>
                    <a:cubicBezTo>
                      <a:pt x="445" y="255"/>
                      <a:pt x="442" y="255"/>
                      <a:pt x="439" y="256"/>
                    </a:cubicBezTo>
                    <a:cubicBezTo>
                      <a:pt x="438" y="257"/>
                      <a:pt x="438" y="257"/>
                      <a:pt x="437" y="258"/>
                    </a:cubicBezTo>
                    <a:cubicBezTo>
                      <a:pt x="436" y="258"/>
                      <a:pt x="434" y="258"/>
                      <a:pt x="433" y="258"/>
                    </a:cubicBezTo>
                    <a:cubicBezTo>
                      <a:pt x="430" y="258"/>
                      <a:pt x="428" y="259"/>
                      <a:pt x="424" y="260"/>
                    </a:cubicBezTo>
                    <a:cubicBezTo>
                      <a:pt x="420" y="262"/>
                      <a:pt x="413" y="263"/>
                      <a:pt x="408" y="261"/>
                    </a:cubicBezTo>
                    <a:cubicBezTo>
                      <a:pt x="406" y="260"/>
                      <a:pt x="405" y="258"/>
                      <a:pt x="403" y="256"/>
                    </a:cubicBezTo>
                    <a:cubicBezTo>
                      <a:pt x="401" y="255"/>
                      <a:pt x="398" y="254"/>
                      <a:pt x="395" y="254"/>
                    </a:cubicBezTo>
                    <a:cubicBezTo>
                      <a:pt x="393" y="253"/>
                      <a:pt x="390" y="253"/>
                      <a:pt x="388" y="254"/>
                    </a:cubicBezTo>
                    <a:cubicBezTo>
                      <a:pt x="387" y="254"/>
                      <a:pt x="382" y="258"/>
                      <a:pt x="382" y="256"/>
                    </a:cubicBezTo>
                    <a:cubicBezTo>
                      <a:pt x="382" y="253"/>
                      <a:pt x="383" y="250"/>
                      <a:pt x="382" y="248"/>
                    </a:cubicBezTo>
                    <a:cubicBezTo>
                      <a:pt x="381" y="245"/>
                      <a:pt x="378" y="244"/>
                      <a:pt x="377" y="241"/>
                    </a:cubicBezTo>
                    <a:cubicBezTo>
                      <a:pt x="377" y="240"/>
                      <a:pt x="377" y="239"/>
                      <a:pt x="377" y="238"/>
                    </a:cubicBezTo>
                    <a:cubicBezTo>
                      <a:pt x="376" y="236"/>
                      <a:pt x="376" y="235"/>
                      <a:pt x="375" y="234"/>
                    </a:cubicBezTo>
                    <a:cubicBezTo>
                      <a:pt x="374" y="232"/>
                      <a:pt x="372" y="229"/>
                      <a:pt x="370" y="227"/>
                    </a:cubicBezTo>
                    <a:cubicBezTo>
                      <a:pt x="368" y="225"/>
                      <a:pt x="367" y="223"/>
                      <a:pt x="365" y="221"/>
                    </a:cubicBezTo>
                    <a:cubicBezTo>
                      <a:pt x="363" y="218"/>
                      <a:pt x="362" y="216"/>
                      <a:pt x="361" y="213"/>
                    </a:cubicBezTo>
                    <a:cubicBezTo>
                      <a:pt x="360" y="211"/>
                      <a:pt x="359" y="208"/>
                      <a:pt x="359" y="206"/>
                    </a:cubicBezTo>
                    <a:cubicBezTo>
                      <a:pt x="359" y="203"/>
                      <a:pt x="358" y="201"/>
                      <a:pt x="357" y="198"/>
                    </a:cubicBezTo>
                    <a:cubicBezTo>
                      <a:pt x="353" y="193"/>
                      <a:pt x="351" y="188"/>
                      <a:pt x="352" y="182"/>
                    </a:cubicBezTo>
                    <a:cubicBezTo>
                      <a:pt x="352" y="179"/>
                      <a:pt x="352" y="176"/>
                      <a:pt x="353" y="173"/>
                    </a:cubicBezTo>
                    <a:cubicBezTo>
                      <a:pt x="353" y="170"/>
                      <a:pt x="354" y="166"/>
                      <a:pt x="354" y="163"/>
                    </a:cubicBezTo>
                    <a:cubicBezTo>
                      <a:pt x="354" y="158"/>
                      <a:pt x="351" y="152"/>
                      <a:pt x="353" y="147"/>
                    </a:cubicBezTo>
                    <a:cubicBezTo>
                      <a:pt x="354" y="144"/>
                      <a:pt x="354" y="142"/>
                      <a:pt x="354" y="139"/>
                    </a:cubicBezTo>
                    <a:cubicBezTo>
                      <a:pt x="353" y="137"/>
                      <a:pt x="353" y="135"/>
                      <a:pt x="356" y="136"/>
                    </a:cubicBezTo>
                    <a:cubicBezTo>
                      <a:pt x="356" y="135"/>
                      <a:pt x="356" y="133"/>
                      <a:pt x="357" y="133"/>
                    </a:cubicBezTo>
                    <a:cubicBezTo>
                      <a:pt x="357" y="132"/>
                      <a:pt x="358" y="132"/>
                      <a:pt x="359" y="132"/>
                    </a:cubicBezTo>
                    <a:cubicBezTo>
                      <a:pt x="361" y="132"/>
                      <a:pt x="361" y="129"/>
                      <a:pt x="361" y="127"/>
                    </a:cubicBezTo>
                    <a:cubicBezTo>
                      <a:pt x="361" y="127"/>
                      <a:pt x="361" y="127"/>
                      <a:pt x="361" y="127"/>
                    </a:cubicBezTo>
                    <a:cubicBezTo>
                      <a:pt x="361" y="127"/>
                      <a:pt x="361" y="127"/>
                      <a:pt x="361" y="127"/>
                    </a:cubicBezTo>
                    <a:cubicBezTo>
                      <a:pt x="360" y="127"/>
                      <a:pt x="361" y="127"/>
                      <a:pt x="361" y="127"/>
                    </a:cubicBezTo>
                    <a:close/>
                    <a:moveTo>
                      <a:pt x="84" y="58"/>
                    </a:moveTo>
                    <a:cubicBezTo>
                      <a:pt x="84" y="60"/>
                      <a:pt x="82" y="61"/>
                      <a:pt x="84" y="62"/>
                    </a:cubicBezTo>
                    <a:cubicBezTo>
                      <a:pt x="85" y="63"/>
                      <a:pt x="87" y="64"/>
                      <a:pt x="88" y="65"/>
                    </a:cubicBezTo>
                    <a:cubicBezTo>
                      <a:pt x="89" y="66"/>
                      <a:pt x="89" y="67"/>
                      <a:pt x="90" y="67"/>
                    </a:cubicBezTo>
                    <a:cubicBezTo>
                      <a:pt x="91" y="68"/>
                      <a:pt x="91" y="67"/>
                      <a:pt x="91" y="66"/>
                    </a:cubicBezTo>
                    <a:cubicBezTo>
                      <a:pt x="91" y="65"/>
                      <a:pt x="90" y="63"/>
                      <a:pt x="89" y="63"/>
                    </a:cubicBezTo>
                    <a:cubicBezTo>
                      <a:pt x="88" y="63"/>
                      <a:pt x="87" y="61"/>
                      <a:pt x="86" y="60"/>
                    </a:cubicBezTo>
                    <a:cubicBezTo>
                      <a:pt x="86" y="59"/>
                      <a:pt x="85" y="58"/>
                      <a:pt x="85" y="58"/>
                    </a:cubicBezTo>
                    <a:cubicBezTo>
                      <a:pt x="84" y="57"/>
                      <a:pt x="84" y="59"/>
                      <a:pt x="84" y="59"/>
                    </a:cubicBezTo>
                    <a:cubicBezTo>
                      <a:pt x="84" y="59"/>
                      <a:pt x="84" y="58"/>
                      <a:pt x="84" y="58"/>
                    </a:cubicBezTo>
                    <a:cubicBezTo>
                      <a:pt x="84" y="59"/>
                      <a:pt x="84" y="58"/>
                      <a:pt x="84" y="58"/>
                    </a:cubicBezTo>
                    <a:close/>
                    <a:moveTo>
                      <a:pt x="54" y="80"/>
                    </a:moveTo>
                    <a:cubicBezTo>
                      <a:pt x="54" y="81"/>
                      <a:pt x="51" y="81"/>
                      <a:pt x="52" y="82"/>
                    </a:cubicBezTo>
                    <a:cubicBezTo>
                      <a:pt x="52" y="83"/>
                      <a:pt x="53" y="85"/>
                      <a:pt x="54" y="85"/>
                    </a:cubicBezTo>
                    <a:cubicBezTo>
                      <a:pt x="55" y="86"/>
                      <a:pt x="58" y="77"/>
                      <a:pt x="54" y="81"/>
                    </a:cubicBezTo>
                    <a:cubicBezTo>
                      <a:pt x="54" y="81"/>
                      <a:pt x="54" y="81"/>
                      <a:pt x="54" y="80"/>
                    </a:cubicBezTo>
                    <a:cubicBezTo>
                      <a:pt x="54" y="81"/>
                      <a:pt x="54" y="80"/>
                      <a:pt x="54" y="80"/>
                    </a:cubicBezTo>
                    <a:close/>
                    <a:moveTo>
                      <a:pt x="101" y="69"/>
                    </a:moveTo>
                    <a:cubicBezTo>
                      <a:pt x="101" y="70"/>
                      <a:pt x="102" y="71"/>
                      <a:pt x="103" y="71"/>
                    </a:cubicBezTo>
                    <a:cubicBezTo>
                      <a:pt x="105" y="72"/>
                      <a:pt x="105" y="70"/>
                      <a:pt x="105" y="69"/>
                    </a:cubicBezTo>
                    <a:cubicBezTo>
                      <a:pt x="105" y="68"/>
                      <a:pt x="104" y="65"/>
                      <a:pt x="103" y="66"/>
                    </a:cubicBezTo>
                    <a:cubicBezTo>
                      <a:pt x="101" y="67"/>
                      <a:pt x="101" y="68"/>
                      <a:pt x="101" y="70"/>
                    </a:cubicBezTo>
                    <a:cubicBezTo>
                      <a:pt x="101" y="69"/>
                      <a:pt x="101" y="69"/>
                      <a:pt x="101" y="69"/>
                    </a:cubicBezTo>
                    <a:cubicBezTo>
                      <a:pt x="101" y="70"/>
                      <a:pt x="101" y="69"/>
                      <a:pt x="101" y="69"/>
                    </a:cubicBezTo>
                    <a:close/>
                    <a:moveTo>
                      <a:pt x="2" y="63"/>
                    </a:moveTo>
                    <a:cubicBezTo>
                      <a:pt x="0" y="65"/>
                      <a:pt x="0" y="66"/>
                      <a:pt x="2" y="68"/>
                    </a:cubicBezTo>
                    <a:cubicBezTo>
                      <a:pt x="3" y="69"/>
                      <a:pt x="5" y="71"/>
                      <a:pt x="5" y="69"/>
                    </a:cubicBezTo>
                    <a:cubicBezTo>
                      <a:pt x="5" y="67"/>
                      <a:pt x="4" y="60"/>
                      <a:pt x="2" y="63"/>
                    </a:cubicBezTo>
                    <a:cubicBezTo>
                      <a:pt x="2" y="63"/>
                      <a:pt x="2" y="63"/>
                      <a:pt x="2" y="63"/>
                    </a:cubicBezTo>
                    <a:cubicBezTo>
                      <a:pt x="1" y="64"/>
                      <a:pt x="2" y="63"/>
                      <a:pt x="2" y="63"/>
                    </a:cubicBezTo>
                    <a:close/>
                    <a:moveTo>
                      <a:pt x="45" y="139"/>
                    </a:moveTo>
                    <a:cubicBezTo>
                      <a:pt x="44" y="140"/>
                      <a:pt x="43" y="142"/>
                      <a:pt x="44" y="143"/>
                    </a:cubicBezTo>
                    <a:cubicBezTo>
                      <a:pt x="46" y="144"/>
                      <a:pt x="48" y="143"/>
                      <a:pt x="48" y="141"/>
                    </a:cubicBezTo>
                    <a:cubicBezTo>
                      <a:pt x="48" y="140"/>
                      <a:pt x="47" y="139"/>
                      <a:pt x="46" y="138"/>
                    </a:cubicBezTo>
                    <a:cubicBezTo>
                      <a:pt x="45" y="138"/>
                      <a:pt x="45" y="140"/>
                      <a:pt x="44" y="141"/>
                    </a:cubicBezTo>
                    <a:cubicBezTo>
                      <a:pt x="45" y="140"/>
                      <a:pt x="45" y="140"/>
                      <a:pt x="45" y="139"/>
                    </a:cubicBezTo>
                    <a:cubicBezTo>
                      <a:pt x="45" y="140"/>
                      <a:pt x="45" y="139"/>
                      <a:pt x="45" y="139"/>
                    </a:cubicBezTo>
                    <a:close/>
                    <a:moveTo>
                      <a:pt x="63" y="258"/>
                    </a:moveTo>
                    <a:cubicBezTo>
                      <a:pt x="63" y="255"/>
                      <a:pt x="66" y="259"/>
                      <a:pt x="66" y="261"/>
                    </a:cubicBezTo>
                    <a:cubicBezTo>
                      <a:pt x="65" y="263"/>
                      <a:pt x="63" y="261"/>
                      <a:pt x="63" y="260"/>
                    </a:cubicBezTo>
                    <a:cubicBezTo>
                      <a:pt x="62" y="259"/>
                      <a:pt x="63" y="258"/>
                      <a:pt x="63" y="257"/>
                    </a:cubicBezTo>
                    <a:cubicBezTo>
                      <a:pt x="63" y="257"/>
                      <a:pt x="63" y="258"/>
                      <a:pt x="63" y="258"/>
                    </a:cubicBezTo>
                    <a:cubicBezTo>
                      <a:pt x="63" y="255"/>
                      <a:pt x="63" y="258"/>
                      <a:pt x="63" y="258"/>
                    </a:cubicBezTo>
                    <a:close/>
                    <a:moveTo>
                      <a:pt x="126" y="251"/>
                    </a:moveTo>
                    <a:cubicBezTo>
                      <a:pt x="126" y="247"/>
                      <a:pt x="131" y="253"/>
                      <a:pt x="129" y="254"/>
                    </a:cubicBezTo>
                    <a:cubicBezTo>
                      <a:pt x="128" y="254"/>
                      <a:pt x="127" y="254"/>
                      <a:pt x="126" y="253"/>
                    </a:cubicBezTo>
                    <a:cubicBezTo>
                      <a:pt x="126" y="252"/>
                      <a:pt x="126" y="251"/>
                      <a:pt x="126" y="250"/>
                    </a:cubicBezTo>
                    <a:cubicBezTo>
                      <a:pt x="126" y="250"/>
                      <a:pt x="126" y="251"/>
                      <a:pt x="126" y="251"/>
                    </a:cubicBezTo>
                    <a:cubicBezTo>
                      <a:pt x="126" y="250"/>
                      <a:pt x="126" y="251"/>
                      <a:pt x="126" y="251"/>
                    </a:cubicBezTo>
                    <a:close/>
                    <a:moveTo>
                      <a:pt x="200" y="198"/>
                    </a:moveTo>
                    <a:cubicBezTo>
                      <a:pt x="200" y="198"/>
                      <a:pt x="200" y="198"/>
                      <a:pt x="201" y="198"/>
                    </a:cubicBezTo>
                    <a:cubicBezTo>
                      <a:pt x="201" y="199"/>
                      <a:pt x="201" y="200"/>
                      <a:pt x="202" y="200"/>
                    </a:cubicBezTo>
                    <a:cubicBezTo>
                      <a:pt x="202" y="201"/>
                      <a:pt x="203" y="201"/>
                      <a:pt x="203" y="202"/>
                    </a:cubicBezTo>
                    <a:cubicBezTo>
                      <a:pt x="203" y="202"/>
                      <a:pt x="204" y="204"/>
                      <a:pt x="203" y="204"/>
                    </a:cubicBezTo>
                    <a:cubicBezTo>
                      <a:pt x="200" y="203"/>
                      <a:pt x="199" y="199"/>
                      <a:pt x="200" y="198"/>
                    </a:cubicBezTo>
                    <a:cubicBezTo>
                      <a:pt x="200" y="198"/>
                      <a:pt x="200" y="198"/>
                      <a:pt x="200" y="198"/>
                    </a:cubicBezTo>
                    <a:cubicBezTo>
                      <a:pt x="200" y="198"/>
                      <a:pt x="200" y="198"/>
                      <a:pt x="200" y="198"/>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12" name="Freeform 11">
                <a:extLst>
                  <a:ext uri="{FF2B5EF4-FFF2-40B4-BE49-F238E27FC236}">
                    <a16:creationId xmlns:a16="http://schemas.microsoft.com/office/drawing/2014/main" id="{83D90D3A-1423-3790-53E6-1BF50F3E6943}"/>
                  </a:ext>
                </a:extLst>
              </p:cNvPr>
              <p:cNvSpPr/>
              <p:nvPr>
                <p:custDataLst>
                  <p:tags r:id="rId150"/>
                </p:custDataLst>
              </p:nvPr>
            </p:nvSpPr>
            <p:spPr bwMode="auto">
              <a:xfrm>
                <a:off x="3207699" y="3936124"/>
                <a:ext cx="28062" cy="63777"/>
              </a:xfrm>
              <a:custGeom>
                <a:avLst/>
                <a:gdLst>
                  <a:gd name="T0" fmla="*/ 18 w 19"/>
                  <a:gd name="T1" fmla="*/ 1 h 43"/>
                  <a:gd name="T2" fmla="*/ 18 w 19"/>
                  <a:gd name="T3" fmla="*/ 7 h 43"/>
                  <a:gd name="T4" fmla="*/ 17 w 19"/>
                  <a:gd name="T5" fmla="*/ 15 h 43"/>
                  <a:gd name="T6" fmla="*/ 16 w 19"/>
                  <a:gd name="T7" fmla="*/ 21 h 43"/>
                  <a:gd name="T8" fmla="*/ 17 w 19"/>
                  <a:gd name="T9" fmla="*/ 28 h 43"/>
                  <a:gd name="T10" fmla="*/ 9 w 19"/>
                  <a:gd name="T11" fmla="*/ 38 h 43"/>
                  <a:gd name="T12" fmla="*/ 7 w 19"/>
                  <a:gd name="T13" fmla="*/ 41 h 43"/>
                  <a:gd name="T14" fmla="*/ 4 w 19"/>
                  <a:gd name="T15" fmla="*/ 42 h 43"/>
                  <a:gd name="T16" fmla="*/ 0 w 19"/>
                  <a:gd name="T17" fmla="*/ 42 h 43"/>
                  <a:gd name="T18" fmla="*/ 1 w 19"/>
                  <a:gd name="T19" fmla="*/ 28 h 43"/>
                  <a:gd name="T20" fmla="*/ 1 w 19"/>
                  <a:gd name="T21" fmla="*/ 12 h 43"/>
                  <a:gd name="T22" fmla="*/ 2 w 19"/>
                  <a:gd name="T23" fmla="*/ 10 h 43"/>
                  <a:gd name="T24" fmla="*/ 5 w 19"/>
                  <a:gd name="T25" fmla="*/ 9 h 43"/>
                  <a:gd name="T26" fmla="*/ 9 w 19"/>
                  <a:gd name="T27" fmla="*/ 4 h 43"/>
                  <a:gd name="T28" fmla="*/ 14 w 19"/>
                  <a:gd name="T29" fmla="*/ 0 h 43"/>
                  <a:gd name="T30" fmla="*/ 18 w 19"/>
                  <a:gd name="T31" fmla="*/ 1 h 43"/>
                  <a:gd name="T32" fmla="*/ 18 w 19"/>
                  <a:gd name="T33" fmla="*/ 1 h 43"/>
                  <a:gd name="T34" fmla="*/ 18 w 19"/>
                  <a:gd name="T35" fmla="*/ 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43">
                    <a:moveTo>
                      <a:pt x="18" y="1"/>
                    </a:moveTo>
                    <a:cubicBezTo>
                      <a:pt x="18" y="3"/>
                      <a:pt x="18" y="5"/>
                      <a:pt x="18" y="7"/>
                    </a:cubicBezTo>
                    <a:cubicBezTo>
                      <a:pt x="18" y="10"/>
                      <a:pt x="18" y="12"/>
                      <a:pt x="17" y="15"/>
                    </a:cubicBezTo>
                    <a:cubicBezTo>
                      <a:pt x="16" y="17"/>
                      <a:pt x="16" y="19"/>
                      <a:pt x="16" y="21"/>
                    </a:cubicBezTo>
                    <a:cubicBezTo>
                      <a:pt x="16" y="24"/>
                      <a:pt x="17" y="26"/>
                      <a:pt x="17" y="28"/>
                    </a:cubicBezTo>
                    <a:cubicBezTo>
                      <a:pt x="16" y="33"/>
                      <a:pt x="11" y="35"/>
                      <a:pt x="9" y="38"/>
                    </a:cubicBezTo>
                    <a:cubicBezTo>
                      <a:pt x="8" y="39"/>
                      <a:pt x="7" y="40"/>
                      <a:pt x="7" y="41"/>
                    </a:cubicBezTo>
                    <a:cubicBezTo>
                      <a:pt x="7" y="42"/>
                      <a:pt x="5" y="42"/>
                      <a:pt x="4" y="42"/>
                    </a:cubicBezTo>
                    <a:cubicBezTo>
                      <a:pt x="3" y="42"/>
                      <a:pt x="1" y="43"/>
                      <a:pt x="0" y="42"/>
                    </a:cubicBezTo>
                    <a:cubicBezTo>
                      <a:pt x="0" y="37"/>
                      <a:pt x="1" y="32"/>
                      <a:pt x="1" y="28"/>
                    </a:cubicBezTo>
                    <a:cubicBezTo>
                      <a:pt x="1" y="22"/>
                      <a:pt x="1" y="17"/>
                      <a:pt x="1" y="12"/>
                    </a:cubicBezTo>
                    <a:cubicBezTo>
                      <a:pt x="1" y="11"/>
                      <a:pt x="1" y="10"/>
                      <a:pt x="2" y="10"/>
                    </a:cubicBezTo>
                    <a:cubicBezTo>
                      <a:pt x="3" y="10"/>
                      <a:pt x="4" y="9"/>
                      <a:pt x="5" y="9"/>
                    </a:cubicBezTo>
                    <a:cubicBezTo>
                      <a:pt x="6" y="7"/>
                      <a:pt x="8" y="5"/>
                      <a:pt x="9" y="4"/>
                    </a:cubicBezTo>
                    <a:cubicBezTo>
                      <a:pt x="11" y="2"/>
                      <a:pt x="12" y="0"/>
                      <a:pt x="14" y="0"/>
                    </a:cubicBezTo>
                    <a:cubicBezTo>
                      <a:pt x="15" y="0"/>
                      <a:pt x="19" y="0"/>
                      <a:pt x="18" y="1"/>
                    </a:cubicBezTo>
                    <a:cubicBezTo>
                      <a:pt x="18" y="1"/>
                      <a:pt x="18" y="1"/>
                      <a:pt x="18" y="1"/>
                    </a:cubicBezTo>
                    <a:cubicBezTo>
                      <a:pt x="18" y="4"/>
                      <a:pt x="18" y="1"/>
                      <a:pt x="18" y="1"/>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13" name="Freeform 13">
                <a:extLst>
                  <a:ext uri="{FF2B5EF4-FFF2-40B4-BE49-F238E27FC236}">
                    <a16:creationId xmlns:a16="http://schemas.microsoft.com/office/drawing/2014/main" id="{2E5012D1-5A0C-AF65-2B32-ACF9D0467B7D}"/>
                  </a:ext>
                </a:extLst>
              </p:cNvPr>
              <p:cNvSpPr/>
              <p:nvPr>
                <p:custDataLst>
                  <p:tags r:id="rId151"/>
                </p:custDataLst>
              </p:nvPr>
            </p:nvSpPr>
            <p:spPr bwMode="auto">
              <a:xfrm>
                <a:off x="3210250" y="3997351"/>
                <a:ext cx="145412" cy="79084"/>
              </a:xfrm>
              <a:custGeom>
                <a:avLst/>
                <a:gdLst>
                  <a:gd name="T0" fmla="*/ 17 w 98"/>
                  <a:gd name="T1" fmla="*/ 4 h 53"/>
                  <a:gd name="T2" fmla="*/ 25 w 98"/>
                  <a:gd name="T3" fmla="*/ 2 h 53"/>
                  <a:gd name="T4" fmla="*/ 33 w 98"/>
                  <a:gd name="T5" fmla="*/ 4 h 53"/>
                  <a:gd name="T6" fmla="*/ 41 w 98"/>
                  <a:gd name="T7" fmla="*/ 4 h 53"/>
                  <a:gd name="T8" fmla="*/ 45 w 98"/>
                  <a:gd name="T9" fmla="*/ 4 h 53"/>
                  <a:gd name="T10" fmla="*/ 49 w 98"/>
                  <a:gd name="T11" fmla="*/ 2 h 53"/>
                  <a:gd name="T12" fmla="*/ 53 w 98"/>
                  <a:gd name="T13" fmla="*/ 1 h 53"/>
                  <a:gd name="T14" fmla="*/ 57 w 98"/>
                  <a:gd name="T15" fmla="*/ 1 h 53"/>
                  <a:gd name="T16" fmla="*/ 66 w 98"/>
                  <a:gd name="T17" fmla="*/ 1 h 53"/>
                  <a:gd name="T18" fmla="*/ 74 w 98"/>
                  <a:gd name="T19" fmla="*/ 3 h 53"/>
                  <a:gd name="T20" fmla="*/ 82 w 98"/>
                  <a:gd name="T21" fmla="*/ 5 h 53"/>
                  <a:gd name="T22" fmla="*/ 87 w 98"/>
                  <a:gd name="T23" fmla="*/ 8 h 53"/>
                  <a:gd name="T24" fmla="*/ 88 w 98"/>
                  <a:gd name="T25" fmla="*/ 10 h 53"/>
                  <a:gd name="T26" fmla="*/ 88 w 98"/>
                  <a:gd name="T27" fmla="*/ 12 h 53"/>
                  <a:gd name="T28" fmla="*/ 93 w 98"/>
                  <a:gd name="T29" fmla="*/ 16 h 53"/>
                  <a:gd name="T30" fmla="*/ 96 w 98"/>
                  <a:gd name="T31" fmla="*/ 17 h 53"/>
                  <a:gd name="T32" fmla="*/ 97 w 98"/>
                  <a:gd name="T33" fmla="*/ 19 h 53"/>
                  <a:gd name="T34" fmla="*/ 93 w 98"/>
                  <a:gd name="T35" fmla="*/ 21 h 53"/>
                  <a:gd name="T36" fmla="*/ 85 w 98"/>
                  <a:gd name="T37" fmla="*/ 23 h 53"/>
                  <a:gd name="T38" fmla="*/ 78 w 98"/>
                  <a:gd name="T39" fmla="*/ 22 h 53"/>
                  <a:gd name="T40" fmla="*/ 71 w 98"/>
                  <a:gd name="T41" fmla="*/ 21 h 53"/>
                  <a:gd name="T42" fmla="*/ 67 w 98"/>
                  <a:gd name="T43" fmla="*/ 26 h 53"/>
                  <a:gd name="T44" fmla="*/ 67 w 98"/>
                  <a:gd name="T45" fmla="*/ 29 h 53"/>
                  <a:gd name="T46" fmla="*/ 65 w 98"/>
                  <a:gd name="T47" fmla="*/ 32 h 53"/>
                  <a:gd name="T48" fmla="*/ 58 w 98"/>
                  <a:gd name="T49" fmla="*/ 37 h 53"/>
                  <a:gd name="T50" fmla="*/ 52 w 98"/>
                  <a:gd name="T51" fmla="*/ 34 h 53"/>
                  <a:gd name="T52" fmla="*/ 47 w 98"/>
                  <a:gd name="T53" fmla="*/ 38 h 53"/>
                  <a:gd name="T54" fmla="*/ 41 w 98"/>
                  <a:gd name="T55" fmla="*/ 38 h 53"/>
                  <a:gd name="T56" fmla="*/ 38 w 98"/>
                  <a:gd name="T57" fmla="*/ 43 h 53"/>
                  <a:gd name="T58" fmla="*/ 39 w 98"/>
                  <a:gd name="T59" fmla="*/ 46 h 53"/>
                  <a:gd name="T60" fmla="*/ 37 w 98"/>
                  <a:gd name="T61" fmla="*/ 49 h 53"/>
                  <a:gd name="T62" fmla="*/ 30 w 98"/>
                  <a:gd name="T63" fmla="*/ 52 h 53"/>
                  <a:gd name="T64" fmla="*/ 28 w 98"/>
                  <a:gd name="T65" fmla="*/ 50 h 53"/>
                  <a:gd name="T66" fmla="*/ 28 w 98"/>
                  <a:gd name="T67" fmla="*/ 48 h 53"/>
                  <a:gd name="T68" fmla="*/ 26 w 98"/>
                  <a:gd name="T69" fmla="*/ 45 h 53"/>
                  <a:gd name="T70" fmla="*/ 25 w 98"/>
                  <a:gd name="T71" fmla="*/ 44 h 53"/>
                  <a:gd name="T72" fmla="*/ 24 w 98"/>
                  <a:gd name="T73" fmla="*/ 42 h 53"/>
                  <a:gd name="T74" fmla="*/ 24 w 98"/>
                  <a:gd name="T75" fmla="*/ 39 h 53"/>
                  <a:gd name="T76" fmla="*/ 22 w 98"/>
                  <a:gd name="T77" fmla="*/ 37 h 53"/>
                  <a:gd name="T78" fmla="*/ 18 w 98"/>
                  <a:gd name="T79" fmla="*/ 35 h 53"/>
                  <a:gd name="T80" fmla="*/ 10 w 98"/>
                  <a:gd name="T81" fmla="*/ 36 h 53"/>
                  <a:gd name="T82" fmla="*/ 4 w 98"/>
                  <a:gd name="T83" fmla="*/ 31 h 53"/>
                  <a:gd name="T84" fmla="*/ 1 w 98"/>
                  <a:gd name="T85" fmla="*/ 27 h 53"/>
                  <a:gd name="T86" fmla="*/ 1 w 98"/>
                  <a:gd name="T87" fmla="*/ 23 h 53"/>
                  <a:gd name="T88" fmla="*/ 2 w 98"/>
                  <a:gd name="T89" fmla="*/ 17 h 53"/>
                  <a:gd name="T90" fmla="*/ 7 w 98"/>
                  <a:gd name="T91" fmla="*/ 13 h 53"/>
                  <a:gd name="T92" fmla="*/ 13 w 98"/>
                  <a:gd name="T93" fmla="*/ 8 h 53"/>
                  <a:gd name="T94" fmla="*/ 18 w 98"/>
                  <a:gd name="T95" fmla="*/ 4 h 53"/>
                  <a:gd name="T96" fmla="*/ 17 w 98"/>
                  <a:gd name="T97" fmla="*/ 4 h 53"/>
                  <a:gd name="T98" fmla="*/ 17 w 98"/>
                  <a:gd name="T99" fmla="*/ 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8" h="52">
                    <a:moveTo>
                      <a:pt x="17" y="4"/>
                    </a:moveTo>
                    <a:cubicBezTo>
                      <a:pt x="20" y="4"/>
                      <a:pt x="22" y="3"/>
                      <a:pt x="25" y="2"/>
                    </a:cubicBezTo>
                    <a:cubicBezTo>
                      <a:pt x="28" y="2"/>
                      <a:pt x="30" y="3"/>
                      <a:pt x="33" y="4"/>
                    </a:cubicBezTo>
                    <a:cubicBezTo>
                      <a:pt x="36" y="4"/>
                      <a:pt x="39" y="5"/>
                      <a:pt x="41" y="4"/>
                    </a:cubicBezTo>
                    <a:cubicBezTo>
                      <a:pt x="42" y="4"/>
                      <a:pt x="44" y="4"/>
                      <a:pt x="45" y="4"/>
                    </a:cubicBezTo>
                    <a:cubicBezTo>
                      <a:pt x="46" y="3"/>
                      <a:pt x="47" y="3"/>
                      <a:pt x="49" y="2"/>
                    </a:cubicBezTo>
                    <a:cubicBezTo>
                      <a:pt x="50" y="2"/>
                      <a:pt x="51" y="2"/>
                      <a:pt x="53" y="1"/>
                    </a:cubicBezTo>
                    <a:cubicBezTo>
                      <a:pt x="54" y="1"/>
                      <a:pt x="55" y="1"/>
                      <a:pt x="57" y="1"/>
                    </a:cubicBezTo>
                    <a:cubicBezTo>
                      <a:pt x="60" y="1"/>
                      <a:pt x="63" y="2"/>
                      <a:pt x="66" y="1"/>
                    </a:cubicBezTo>
                    <a:cubicBezTo>
                      <a:pt x="69" y="0"/>
                      <a:pt x="71" y="1"/>
                      <a:pt x="74" y="3"/>
                    </a:cubicBezTo>
                    <a:cubicBezTo>
                      <a:pt x="76" y="4"/>
                      <a:pt x="79" y="4"/>
                      <a:pt x="82" y="5"/>
                    </a:cubicBezTo>
                    <a:cubicBezTo>
                      <a:pt x="84" y="5"/>
                      <a:pt x="85" y="7"/>
                      <a:pt x="87" y="8"/>
                    </a:cubicBezTo>
                    <a:cubicBezTo>
                      <a:pt x="88" y="8"/>
                      <a:pt x="89" y="9"/>
                      <a:pt x="88" y="10"/>
                    </a:cubicBezTo>
                    <a:cubicBezTo>
                      <a:pt x="88" y="11"/>
                      <a:pt x="87" y="11"/>
                      <a:pt x="88" y="12"/>
                    </a:cubicBezTo>
                    <a:cubicBezTo>
                      <a:pt x="89" y="14"/>
                      <a:pt x="92" y="15"/>
                      <a:pt x="93" y="16"/>
                    </a:cubicBezTo>
                    <a:cubicBezTo>
                      <a:pt x="95" y="16"/>
                      <a:pt x="96" y="16"/>
                      <a:pt x="96" y="17"/>
                    </a:cubicBezTo>
                    <a:cubicBezTo>
                      <a:pt x="97" y="18"/>
                      <a:pt x="98" y="19"/>
                      <a:pt x="97" y="19"/>
                    </a:cubicBezTo>
                    <a:cubicBezTo>
                      <a:pt x="96" y="20"/>
                      <a:pt x="94" y="20"/>
                      <a:pt x="93" y="21"/>
                    </a:cubicBezTo>
                    <a:cubicBezTo>
                      <a:pt x="90" y="21"/>
                      <a:pt x="88" y="22"/>
                      <a:pt x="85" y="23"/>
                    </a:cubicBezTo>
                    <a:cubicBezTo>
                      <a:pt x="82" y="24"/>
                      <a:pt x="80" y="24"/>
                      <a:pt x="78" y="22"/>
                    </a:cubicBezTo>
                    <a:cubicBezTo>
                      <a:pt x="76" y="21"/>
                      <a:pt x="74" y="19"/>
                      <a:pt x="71" y="21"/>
                    </a:cubicBezTo>
                    <a:cubicBezTo>
                      <a:pt x="70" y="22"/>
                      <a:pt x="67" y="24"/>
                      <a:pt x="67" y="26"/>
                    </a:cubicBezTo>
                    <a:cubicBezTo>
                      <a:pt x="66" y="27"/>
                      <a:pt x="66" y="28"/>
                      <a:pt x="67" y="29"/>
                    </a:cubicBezTo>
                    <a:cubicBezTo>
                      <a:pt x="67" y="31"/>
                      <a:pt x="66" y="31"/>
                      <a:pt x="65" y="32"/>
                    </a:cubicBezTo>
                    <a:cubicBezTo>
                      <a:pt x="63" y="34"/>
                      <a:pt x="60" y="36"/>
                      <a:pt x="58" y="37"/>
                    </a:cubicBezTo>
                    <a:cubicBezTo>
                      <a:pt x="56" y="38"/>
                      <a:pt x="54" y="34"/>
                      <a:pt x="52" y="34"/>
                    </a:cubicBezTo>
                    <a:cubicBezTo>
                      <a:pt x="50" y="34"/>
                      <a:pt x="49" y="37"/>
                      <a:pt x="47" y="38"/>
                    </a:cubicBezTo>
                    <a:cubicBezTo>
                      <a:pt x="46" y="39"/>
                      <a:pt x="43" y="38"/>
                      <a:pt x="41" y="38"/>
                    </a:cubicBezTo>
                    <a:cubicBezTo>
                      <a:pt x="38" y="38"/>
                      <a:pt x="38" y="40"/>
                      <a:pt x="38" y="43"/>
                    </a:cubicBezTo>
                    <a:cubicBezTo>
                      <a:pt x="39" y="44"/>
                      <a:pt x="39" y="45"/>
                      <a:pt x="39" y="46"/>
                    </a:cubicBezTo>
                    <a:cubicBezTo>
                      <a:pt x="39" y="47"/>
                      <a:pt x="38" y="48"/>
                      <a:pt x="37" y="49"/>
                    </a:cubicBezTo>
                    <a:cubicBezTo>
                      <a:pt x="35" y="51"/>
                      <a:pt x="33" y="53"/>
                      <a:pt x="30" y="52"/>
                    </a:cubicBezTo>
                    <a:cubicBezTo>
                      <a:pt x="29" y="51"/>
                      <a:pt x="29" y="50"/>
                      <a:pt x="28" y="50"/>
                    </a:cubicBezTo>
                    <a:cubicBezTo>
                      <a:pt x="27" y="49"/>
                      <a:pt x="27" y="48"/>
                      <a:pt x="28" y="48"/>
                    </a:cubicBezTo>
                    <a:cubicBezTo>
                      <a:pt x="29" y="45"/>
                      <a:pt x="28" y="45"/>
                      <a:pt x="26" y="45"/>
                    </a:cubicBezTo>
                    <a:cubicBezTo>
                      <a:pt x="25" y="45"/>
                      <a:pt x="25" y="45"/>
                      <a:pt x="25" y="44"/>
                    </a:cubicBezTo>
                    <a:cubicBezTo>
                      <a:pt x="24" y="44"/>
                      <a:pt x="24" y="43"/>
                      <a:pt x="24" y="42"/>
                    </a:cubicBezTo>
                    <a:cubicBezTo>
                      <a:pt x="24" y="41"/>
                      <a:pt x="24" y="40"/>
                      <a:pt x="24" y="39"/>
                    </a:cubicBezTo>
                    <a:cubicBezTo>
                      <a:pt x="24" y="38"/>
                      <a:pt x="23" y="37"/>
                      <a:pt x="22" y="37"/>
                    </a:cubicBezTo>
                    <a:cubicBezTo>
                      <a:pt x="21" y="36"/>
                      <a:pt x="20" y="35"/>
                      <a:pt x="18" y="35"/>
                    </a:cubicBezTo>
                    <a:cubicBezTo>
                      <a:pt x="16" y="35"/>
                      <a:pt x="13" y="37"/>
                      <a:pt x="10" y="36"/>
                    </a:cubicBezTo>
                    <a:cubicBezTo>
                      <a:pt x="8" y="35"/>
                      <a:pt x="6" y="32"/>
                      <a:pt x="4" y="31"/>
                    </a:cubicBezTo>
                    <a:cubicBezTo>
                      <a:pt x="3" y="30"/>
                      <a:pt x="2" y="29"/>
                      <a:pt x="1" y="27"/>
                    </a:cubicBezTo>
                    <a:cubicBezTo>
                      <a:pt x="0" y="26"/>
                      <a:pt x="0" y="25"/>
                      <a:pt x="1" y="23"/>
                    </a:cubicBezTo>
                    <a:cubicBezTo>
                      <a:pt x="1" y="21"/>
                      <a:pt x="1" y="19"/>
                      <a:pt x="2" y="17"/>
                    </a:cubicBezTo>
                    <a:cubicBezTo>
                      <a:pt x="4" y="16"/>
                      <a:pt x="6" y="15"/>
                      <a:pt x="7" y="13"/>
                    </a:cubicBezTo>
                    <a:cubicBezTo>
                      <a:pt x="9" y="12"/>
                      <a:pt x="11" y="10"/>
                      <a:pt x="13" y="8"/>
                    </a:cubicBezTo>
                    <a:cubicBezTo>
                      <a:pt x="14" y="7"/>
                      <a:pt x="16" y="4"/>
                      <a:pt x="18" y="4"/>
                    </a:cubicBezTo>
                    <a:cubicBezTo>
                      <a:pt x="18" y="4"/>
                      <a:pt x="17" y="4"/>
                      <a:pt x="17" y="4"/>
                    </a:cubicBezTo>
                    <a:cubicBezTo>
                      <a:pt x="20" y="4"/>
                      <a:pt x="17" y="4"/>
                      <a:pt x="17" y="4"/>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14" name="Freeform 14">
                <a:extLst>
                  <a:ext uri="{FF2B5EF4-FFF2-40B4-BE49-F238E27FC236}">
                    <a16:creationId xmlns:a16="http://schemas.microsoft.com/office/drawing/2014/main" id="{9B0C1C9E-0894-C1C2-EC38-5C40AB456E29}"/>
                  </a:ext>
                </a:extLst>
              </p:cNvPr>
              <p:cNvSpPr/>
              <p:nvPr>
                <p:custDataLst>
                  <p:tags r:id="rId152"/>
                </p:custDataLst>
              </p:nvPr>
            </p:nvSpPr>
            <p:spPr bwMode="auto">
              <a:xfrm>
                <a:off x="3244690" y="4029239"/>
                <a:ext cx="116075" cy="103319"/>
              </a:xfrm>
              <a:custGeom>
                <a:avLst/>
                <a:gdLst>
                  <a:gd name="T0" fmla="*/ 75 w 78"/>
                  <a:gd name="T1" fmla="*/ 0 h 70"/>
                  <a:gd name="T2" fmla="*/ 77 w 78"/>
                  <a:gd name="T3" fmla="*/ 8 h 70"/>
                  <a:gd name="T4" fmla="*/ 76 w 78"/>
                  <a:gd name="T5" fmla="*/ 17 h 70"/>
                  <a:gd name="T6" fmla="*/ 73 w 78"/>
                  <a:gd name="T7" fmla="*/ 24 h 70"/>
                  <a:gd name="T8" fmla="*/ 72 w 78"/>
                  <a:gd name="T9" fmla="*/ 32 h 70"/>
                  <a:gd name="T10" fmla="*/ 70 w 78"/>
                  <a:gd name="T11" fmla="*/ 39 h 70"/>
                  <a:gd name="T12" fmla="*/ 69 w 78"/>
                  <a:gd name="T13" fmla="*/ 41 h 70"/>
                  <a:gd name="T14" fmla="*/ 69 w 78"/>
                  <a:gd name="T15" fmla="*/ 46 h 70"/>
                  <a:gd name="T16" fmla="*/ 68 w 78"/>
                  <a:gd name="T17" fmla="*/ 49 h 70"/>
                  <a:gd name="T18" fmla="*/ 68 w 78"/>
                  <a:gd name="T19" fmla="*/ 52 h 70"/>
                  <a:gd name="T20" fmla="*/ 69 w 78"/>
                  <a:gd name="T21" fmla="*/ 59 h 70"/>
                  <a:gd name="T22" fmla="*/ 68 w 78"/>
                  <a:gd name="T23" fmla="*/ 65 h 70"/>
                  <a:gd name="T24" fmla="*/ 69 w 78"/>
                  <a:gd name="T25" fmla="*/ 67 h 70"/>
                  <a:gd name="T26" fmla="*/ 67 w 78"/>
                  <a:gd name="T27" fmla="*/ 68 h 70"/>
                  <a:gd name="T28" fmla="*/ 63 w 78"/>
                  <a:gd name="T29" fmla="*/ 70 h 70"/>
                  <a:gd name="T30" fmla="*/ 56 w 78"/>
                  <a:gd name="T31" fmla="*/ 66 h 70"/>
                  <a:gd name="T32" fmla="*/ 48 w 78"/>
                  <a:gd name="T33" fmla="*/ 67 h 70"/>
                  <a:gd name="T34" fmla="*/ 40 w 78"/>
                  <a:gd name="T35" fmla="*/ 64 h 70"/>
                  <a:gd name="T36" fmla="*/ 37 w 78"/>
                  <a:gd name="T37" fmla="*/ 63 h 70"/>
                  <a:gd name="T38" fmla="*/ 33 w 78"/>
                  <a:gd name="T39" fmla="*/ 63 h 70"/>
                  <a:gd name="T40" fmla="*/ 30 w 78"/>
                  <a:gd name="T41" fmla="*/ 61 h 70"/>
                  <a:gd name="T42" fmla="*/ 27 w 78"/>
                  <a:gd name="T43" fmla="*/ 58 h 70"/>
                  <a:gd name="T44" fmla="*/ 20 w 78"/>
                  <a:gd name="T45" fmla="*/ 53 h 70"/>
                  <a:gd name="T46" fmla="*/ 17 w 78"/>
                  <a:gd name="T47" fmla="*/ 46 h 70"/>
                  <a:gd name="T48" fmla="*/ 11 w 78"/>
                  <a:gd name="T49" fmla="*/ 41 h 70"/>
                  <a:gd name="T50" fmla="*/ 2 w 78"/>
                  <a:gd name="T51" fmla="*/ 32 h 70"/>
                  <a:gd name="T52" fmla="*/ 9 w 78"/>
                  <a:gd name="T53" fmla="*/ 33 h 70"/>
                  <a:gd name="T54" fmla="*/ 15 w 78"/>
                  <a:gd name="T55" fmla="*/ 30 h 70"/>
                  <a:gd name="T56" fmla="*/ 18 w 78"/>
                  <a:gd name="T57" fmla="*/ 24 h 70"/>
                  <a:gd name="T58" fmla="*/ 19 w 78"/>
                  <a:gd name="T59" fmla="*/ 19 h 70"/>
                  <a:gd name="T60" fmla="*/ 23 w 78"/>
                  <a:gd name="T61" fmla="*/ 20 h 70"/>
                  <a:gd name="T62" fmla="*/ 28 w 78"/>
                  <a:gd name="T63" fmla="*/ 16 h 70"/>
                  <a:gd name="T64" fmla="*/ 33 w 78"/>
                  <a:gd name="T65" fmla="*/ 18 h 70"/>
                  <a:gd name="T66" fmla="*/ 41 w 78"/>
                  <a:gd name="T67" fmla="*/ 15 h 70"/>
                  <a:gd name="T68" fmla="*/ 46 w 78"/>
                  <a:gd name="T69" fmla="*/ 9 h 70"/>
                  <a:gd name="T70" fmla="*/ 46 w 78"/>
                  <a:gd name="T71" fmla="*/ 6 h 70"/>
                  <a:gd name="T72" fmla="*/ 48 w 78"/>
                  <a:gd name="T73" fmla="*/ 3 h 70"/>
                  <a:gd name="T74" fmla="*/ 50 w 78"/>
                  <a:gd name="T75" fmla="*/ 1 h 70"/>
                  <a:gd name="T76" fmla="*/ 53 w 78"/>
                  <a:gd name="T77" fmla="*/ 3 h 70"/>
                  <a:gd name="T78" fmla="*/ 61 w 78"/>
                  <a:gd name="T79" fmla="*/ 4 h 70"/>
                  <a:gd name="T80" fmla="*/ 75 w 78"/>
                  <a:gd name="T81" fmla="*/ 0 h 70"/>
                  <a:gd name="T82" fmla="*/ 75 w 78"/>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 h="70">
                    <a:moveTo>
                      <a:pt x="75" y="0"/>
                    </a:moveTo>
                    <a:cubicBezTo>
                      <a:pt x="76" y="3"/>
                      <a:pt x="77" y="5"/>
                      <a:pt x="77" y="8"/>
                    </a:cubicBezTo>
                    <a:cubicBezTo>
                      <a:pt x="78" y="11"/>
                      <a:pt x="77" y="14"/>
                      <a:pt x="76" y="17"/>
                    </a:cubicBezTo>
                    <a:cubicBezTo>
                      <a:pt x="75" y="19"/>
                      <a:pt x="74" y="22"/>
                      <a:pt x="73" y="24"/>
                    </a:cubicBezTo>
                    <a:cubicBezTo>
                      <a:pt x="71" y="27"/>
                      <a:pt x="72" y="29"/>
                      <a:pt x="72" y="32"/>
                    </a:cubicBezTo>
                    <a:cubicBezTo>
                      <a:pt x="72" y="35"/>
                      <a:pt x="72" y="37"/>
                      <a:pt x="70" y="39"/>
                    </a:cubicBezTo>
                    <a:cubicBezTo>
                      <a:pt x="70" y="40"/>
                      <a:pt x="69" y="40"/>
                      <a:pt x="69" y="41"/>
                    </a:cubicBezTo>
                    <a:cubicBezTo>
                      <a:pt x="69" y="43"/>
                      <a:pt x="70" y="44"/>
                      <a:pt x="69" y="46"/>
                    </a:cubicBezTo>
                    <a:cubicBezTo>
                      <a:pt x="69" y="47"/>
                      <a:pt x="68" y="48"/>
                      <a:pt x="68" y="49"/>
                    </a:cubicBezTo>
                    <a:cubicBezTo>
                      <a:pt x="68" y="50"/>
                      <a:pt x="68" y="51"/>
                      <a:pt x="68" y="52"/>
                    </a:cubicBezTo>
                    <a:cubicBezTo>
                      <a:pt x="69" y="55"/>
                      <a:pt x="71" y="57"/>
                      <a:pt x="69" y="59"/>
                    </a:cubicBezTo>
                    <a:cubicBezTo>
                      <a:pt x="68" y="61"/>
                      <a:pt x="67" y="63"/>
                      <a:pt x="68" y="65"/>
                    </a:cubicBezTo>
                    <a:cubicBezTo>
                      <a:pt x="68" y="66"/>
                      <a:pt x="69" y="66"/>
                      <a:pt x="69" y="67"/>
                    </a:cubicBezTo>
                    <a:cubicBezTo>
                      <a:pt x="68" y="67"/>
                      <a:pt x="68" y="68"/>
                      <a:pt x="67" y="68"/>
                    </a:cubicBezTo>
                    <a:cubicBezTo>
                      <a:pt x="66" y="69"/>
                      <a:pt x="65" y="70"/>
                      <a:pt x="63" y="70"/>
                    </a:cubicBezTo>
                    <a:cubicBezTo>
                      <a:pt x="61" y="69"/>
                      <a:pt x="59" y="66"/>
                      <a:pt x="56" y="66"/>
                    </a:cubicBezTo>
                    <a:cubicBezTo>
                      <a:pt x="53" y="65"/>
                      <a:pt x="51" y="67"/>
                      <a:pt x="48" y="67"/>
                    </a:cubicBezTo>
                    <a:cubicBezTo>
                      <a:pt x="45" y="67"/>
                      <a:pt x="43" y="65"/>
                      <a:pt x="40" y="64"/>
                    </a:cubicBezTo>
                    <a:cubicBezTo>
                      <a:pt x="39" y="64"/>
                      <a:pt x="38" y="63"/>
                      <a:pt x="37" y="63"/>
                    </a:cubicBezTo>
                    <a:cubicBezTo>
                      <a:pt x="35" y="63"/>
                      <a:pt x="34" y="63"/>
                      <a:pt x="33" y="63"/>
                    </a:cubicBezTo>
                    <a:cubicBezTo>
                      <a:pt x="32" y="63"/>
                      <a:pt x="31" y="61"/>
                      <a:pt x="30" y="61"/>
                    </a:cubicBezTo>
                    <a:cubicBezTo>
                      <a:pt x="29" y="60"/>
                      <a:pt x="28" y="59"/>
                      <a:pt x="27" y="58"/>
                    </a:cubicBezTo>
                    <a:cubicBezTo>
                      <a:pt x="25" y="57"/>
                      <a:pt x="21" y="55"/>
                      <a:pt x="20" y="53"/>
                    </a:cubicBezTo>
                    <a:cubicBezTo>
                      <a:pt x="19" y="50"/>
                      <a:pt x="18" y="48"/>
                      <a:pt x="17" y="46"/>
                    </a:cubicBezTo>
                    <a:cubicBezTo>
                      <a:pt x="15" y="44"/>
                      <a:pt x="13" y="43"/>
                      <a:pt x="11" y="41"/>
                    </a:cubicBezTo>
                    <a:cubicBezTo>
                      <a:pt x="9" y="40"/>
                      <a:pt x="0" y="36"/>
                      <a:pt x="2" y="32"/>
                    </a:cubicBezTo>
                    <a:cubicBezTo>
                      <a:pt x="2" y="30"/>
                      <a:pt x="7" y="33"/>
                      <a:pt x="9" y="33"/>
                    </a:cubicBezTo>
                    <a:cubicBezTo>
                      <a:pt x="11" y="33"/>
                      <a:pt x="14" y="32"/>
                      <a:pt x="15" y="30"/>
                    </a:cubicBezTo>
                    <a:cubicBezTo>
                      <a:pt x="17" y="28"/>
                      <a:pt x="19" y="27"/>
                      <a:pt x="18" y="24"/>
                    </a:cubicBezTo>
                    <a:cubicBezTo>
                      <a:pt x="18" y="23"/>
                      <a:pt x="16" y="19"/>
                      <a:pt x="19" y="19"/>
                    </a:cubicBezTo>
                    <a:cubicBezTo>
                      <a:pt x="20" y="19"/>
                      <a:pt x="21" y="20"/>
                      <a:pt x="23" y="20"/>
                    </a:cubicBezTo>
                    <a:cubicBezTo>
                      <a:pt x="25" y="20"/>
                      <a:pt x="27" y="17"/>
                      <a:pt x="28" y="16"/>
                    </a:cubicBezTo>
                    <a:cubicBezTo>
                      <a:pt x="30" y="15"/>
                      <a:pt x="32" y="18"/>
                      <a:pt x="33" y="18"/>
                    </a:cubicBezTo>
                    <a:cubicBezTo>
                      <a:pt x="36" y="19"/>
                      <a:pt x="39" y="16"/>
                      <a:pt x="41" y="15"/>
                    </a:cubicBezTo>
                    <a:cubicBezTo>
                      <a:pt x="43" y="13"/>
                      <a:pt x="45" y="12"/>
                      <a:pt x="46" y="9"/>
                    </a:cubicBezTo>
                    <a:cubicBezTo>
                      <a:pt x="46" y="8"/>
                      <a:pt x="46" y="7"/>
                      <a:pt x="46" y="6"/>
                    </a:cubicBezTo>
                    <a:cubicBezTo>
                      <a:pt x="46" y="5"/>
                      <a:pt x="47" y="4"/>
                      <a:pt x="48" y="3"/>
                    </a:cubicBezTo>
                    <a:cubicBezTo>
                      <a:pt x="49" y="2"/>
                      <a:pt x="49" y="1"/>
                      <a:pt x="50" y="1"/>
                    </a:cubicBezTo>
                    <a:cubicBezTo>
                      <a:pt x="51" y="1"/>
                      <a:pt x="52" y="2"/>
                      <a:pt x="53" y="3"/>
                    </a:cubicBezTo>
                    <a:cubicBezTo>
                      <a:pt x="56" y="4"/>
                      <a:pt x="58" y="5"/>
                      <a:pt x="61" y="4"/>
                    </a:cubicBezTo>
                    <a:cubicBezTo>
                      <a:pt x="65" y="3"/>
                      <a:pt x="70" y="2"/>
                      <a:pt x="75" y="0"/>
                    </a:cubicBezTo>
                    <a:cubicBezTo>
                      <a:pt x="75" y="2"/>
                      <a:pt x="75" y="0"/>
                      <a:pt x="75" y="0"/>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15" name="Freeform 15">
                <a:extLst>
                  <a:ext uri="{FF2B5EF4-FFF2-40B4-BE49-F238E27FC236}">
                    <a16:creationId xmlns:a16="http://schemas.microsoft.com/office/drawing/2014/main" id="{24A1FC47-7BA4-01E0-7373-88726A7BAD54}"/>
                  </a:ext>
                </a:extLst>
              </p:cNvPr>
              <p:cNvSpPr/>
              <p:nvPr>
                <p:custDataLst>
                  <p:tags r:id="rId153"/>
                </p:custDataLst>
              </p:nvPr>
            </p:nvSpPr>
            <p:spPr bwMode="auto">
              <a:xfrm>
                <a:off x="3291885" y="4126180"/>
                <a:ext cx="79084" cy="76533"/>
              </a:xfrm>
              <a:custGeom>
                <a:avLst/>
                <a:gdLst>
                  <a:gd name="T0" fmla="*/ 38 w 53"/>
                  <a:gd name="T1" fmla="*/ 4 h 52"/>
                  <a:gd name="T2" fmla="*/ 31 w 53"/>
                  <a:gd name="T3" fmla="*/ 7 h 52"/>
                  <a:gd name="T4" fmla="*/ 24 w 53"/>
                  <a:gd name="T5" fmla="*/ 3 h 52"/>
                  <a:gd name="T6" fmla="*/ 17 w 53"/>
                  <a:gd name="T7" fmla="*/ 4 h 52"/>
                  <a:gd name="T8" fmla="*/ 10 w 53"/>
                  <a:gd name="T9" fmla="*/ 2 h 52"/>
                  <a:gd name="T10" fmla="*/ 3 w 53"/>
                  <a:gd name="T11" fmla="*/ 0 h 52"/>
                  <a:gd name="T12" fmla="*/ 1 w 53"/>
                  <a:gd name="T13" fmla="*/ 2 h 52"/>
                  <a:gd name="T14" fmla="*/ 3 w 53"/>
                  <a:gd name="T15" fmla="*/ 5 h 52"/>
                  <a:gd name="T16" fmla="*/ 3 w 53"/>
                  <a:gd name="T17" fmla="*/ 10 h 52"/>
                  <a:gd name="T18" fmla="*/ 2 w 53"/>
                  <a:gd name="T19" fmla="*/ 14 h 52"/>
                  <a:gd name="T20" fmla="*/ 5 w 53"/>
                  <a:gd name="T21" fmla="*/ 20 h 52"/>
                  <a:gd name="T22" fmla="*/ 10 w 53"/>
                  <a:gd name="T23" fmla="*/ 22 h 52"/>
                  <a:gd name="T24" fmla="*/ 14 w 53"/>
                  <a:gd name="T25" fmla="*/ 25 h 52"/>
                  <a:gd name="T26" fmla="*/ 16 w 53"/>
                  <a:gd name="T27" fmla="*/ 22 h 52"/>
                  <a:gd name="T28" fmla="*/ 14 w 53"/>
                  <a:gd name="T29" fmla="*/ 20 h 52"/>
                  <a:gd name="T30" fmla="*/ 12 w 53"/>
                  <a:gd name="T31" fmla="*/ 18 h 52"/>
                  <a:gd name="T32" fmla="*/ 10 w 53"/>
                  <a:gd name="T33" fmla="*/ 17 h 52"/>
                  <a:gd name="T34" fmla="*/ 9 w 53"/>
                  <a:gd name="T35" fmla="*/ 14 h 52"/>
                  <a:gd name="T36" fmla="*/ 12 w 53"/>
                  <a:gd name="T37" fmla="*/ 15 h 52"/>
                  <a:gd name="T38" fmla="*/ 15 w 53"/>
                  <a:gd name="T39" fmla="*/ 16 h 52"/>
                  <a:gd name="T40" fmla="*/ 20 w 53"/>
                  <a:gd name="T41" fmla="*/ 22 h 52"/>
                  <a:gd name="T42" fmla="*/ 21 w 53"/>
                  <a:gd name="T43" fmla="*/ 25 h 52"/>
                  <a:gd name="T44" fmla="*/ 25 w 53"/>
                  <a:gd name="T45" fmla="*/ 26 h 52"/>
                  <a:gd name="T46" fmla="*/ 34 w 53"/>
                  <a:gd name="T47" fmla="*/ 32 h 52"/>
                  <a:gd name="T48" fmla="*/ 38 w 53"/>
                  <a:gd name="T49" fmla="*/ 37 h 52"/>
                  <a:gd name="T50" fmla="*/ 39 w 53"/>
                  <a:gd name="T51" fmla="*/ 44 h 52"/>
                  <a:gd name="T52" fmla="*/ 41 w 53"/>
                  <a:gd name="T53" fmla="*/ 43 h 52"/>
                  <a:gd name="T54" fmla="*/ 41 w 53"/>
                  <a:gd name="T55" fmla="*/ 41 h 52"/>
                  <a:gd name="T56" fmla="*/ 44 w 53"/>
                  <a:gd name="T57" fmla="*/ 40 h 52"/>
                  <a:gd name="T58" fmla="*/ 48 w 53"/>
                  <a:gd name="T59" fmla="*/ 45 h 52"/>
                  <a:gd name="T60" fmla="*/ 49 w 53"/>
                  <a:gd name="T61" fmla="*/ 52 h 52"/>
                  <a:gd name="T62" fmla="*/ 50 w 53"/>
                  <a:gd name="T63" fmla="*/ 42 h 52"/>
                  <a:gd name="T64" fmla="*/ 53 w 53"/>
                  <a:gd name="T65" fmla="*/ 37 h 52"/>
                  <a:gd name="T66" fmla="*/ 49 w 53"/>
                  <a:gd name="T67" fmla="*/ 31 h 52"/>
                  <a:gd name="T68" fmla="*/ 53 w 53"/>
                  <a:gd name="T69" fmla="*/ 24 h 52"/>
                  <a:gd name="T70" fmla="*/ 49 w 53"/>
                  <a:gd name="T71" fmla="*/ 19 h 52"/>
                  <a:gd name="T72" fmla="*/ 45 w 53"/>
                  <a:gd name="T73" fmla="*/ 15 h 52"/>
                  <a:gd name="T74" fmla="*/ 41 w 53"/>
                  <a:gd name="T75" fmla="*/ 10 h 52"/>
                  <a:gd name="T76" fmla="*/ 38 w 53"/>
                  <a:gd name="T77" fmla="*/ 4 h 52"/>
                  <a:gd name="T78" fmla="*/ 37 w 53"/>
                  <a:gd name="T79" fmla="*/ 4 h 52"/>
                  <a:gd name="T80" fmla="*/ 38 w 53"/>
                  <a:gd name="T81" fmla="*/ 4 h 52"/>
                  <a:gd name="T82" fmla="*/ 38 w 53"/>
                  <a:gd name="T83"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 h="52">
                    <a:moveTo>
                      <a:pt x="38" y="4"/>
                    </a:moveTo>
                    <a:cubicBezTo>
                      <a:pt x="36" y="5"/>
                      <a:pt x="34" y="7"/>
                      <a:pt x="31" y="7"/>
                    </a:cubicBezTo>
                    <a:cubicBezTo>
                      <a:pt x="28" y="6"/>
                      <a:pt x="26" y="4"/>
                      <a:pt x="24" y="3"/>
                    </a:cubicBezTo>
                    <a:cubicBezTo>
                      <a:pt x="22" y="2"/>
                      <a:pt x="19" y="4"/>
                      <a:pt x="17" y="4"/>
                    </a:cubicBezTo>
                    <a:cubicBezTo>
                      <a:pt x="14" y="5"/>
                      <a:pt x="12" y="3"/>
                      <a:pt x="10" y="2"/>
                    </a:cubicBezTo>
                    <a:cubicBezTo>
                      <a:pt x="8" y="1"/>
                      <a:pt x="5" y="0"/>
                      <a:pt x="3" y="0"/>
                    </a:cubicBezTo>
                    <a:cubicBezTo>
                      <a:pt x="2" y="0"/>
                      <a:pt x="1" y="1"/>
                      <a:pt x="1" y="2"/>
                    </a:cubicBezTo>
                    <a:cubicBezTo>
                      <a:pt x="1" y="3"/>
                      <a:pt x="2" y="4"/>
                      <a:pt x="3" y="5"/>
                    </a:cubicBezTo>
                    <a:cubicBezTo>
                      <a:pt x="4" y="6"/>
                      <a:pt x="5" y="10"/>
                      <a:pt x="3" y="10"/>
                    </a:cubicBezTo>
                    <a:cubicBezTo>
                      <a:pt x="0" y="9"/>
                      <a:pt x="1" y="13"/>
                      <a:pt x="2" y="14"/>
                    </a:cubicBezTo>
                    <a:cubicBezTo>
                      <a:pt x="3" y="16"/>
                      <a:pt x="3" y="19"/>
                      <a:pt x="5" y="20"/>
                    </a:cubicBezTo>
                    <a:cubicBezTo>
                      <a:pt x="6" y="21"/>
                      <a:pt x="8" y="21"/>
                      <a:pt x="10" y="22"/>
                    </a:cubicBezTo>
                    <a:cubicBezTo>
                      <a:pt x="11" y="23"/>
                      <a:pt x="12" y="26"/>
                      <a:pt x="14" y="25"/>
                    </a:cubicBezTo>
                    <a:cubicBezTo>
                      <a:pt x="14" y="24"/>
                      <a:pt x="17" y="23"/>
                      <a:pt x="16" y="22"/>
                    </a:cubicBezTo>
                    <a:cubicBezTo>
                      <a:pt x="16" y="21"/>
                      <a:pt x="15" y="21"/>
                      <a:pt x="14" y="20"/>
                    </a:cubicBezTo>
                    <a:cubicBezTo>
                      <a:pt x="14" y="20"/>
                      <a:pt x="13" y="18"/>
                      <a:pt x="12" y="18"/>
                    </a:cubicBezTo>
                    <a:cubicBezTo>
                      <a:pt x="12" y="17"/>
                      <a:pt x="10" y="17"/>
                      <a:pt x="10" y="17"/>
                    </a:cubicBezTo>
                    <a:cubicBezTo>
                      <a:pt x="9" y="16"/>
                      <a:pt x="9" y="15"/>
                      <a:pt x="9" y="14"/>
                    </a:cubicBezTo>
                    <a:cubicBezTo>
                      <a:pt x="10" y="13"/>
                      <a:pt x="11" y="15"/>
                      <a:pt x="12" y="15"/>
                    </a:cubicBezTo>
                    <a:cubicBezTo>
                      <a:pt x="13" y="15"/>
                      <a:pt x="14" y="16"/>
                      <a:pt x="15" y="16"/>
                    </a:cubicBezTo>
                    <a:cubicBezTo>
                      <a:pt x="18" y="17"/>
                      <a:pt x="20" y="19"/>
                      <a:pt x="20" y="22"/>
                    </a:cubicBezTo>
                    <a:cubicBezTo>
                      <a:pt x="20" y="23"/>
                      <a:pt x="20" y="24"/>
                      <a:pt x="21" y="25"/>
                    </a:cubicBezTo>
                    <a:cubicBezTo>
                      <a:pt x="23" y="25"/>
                      <a:pt x="24" y="26"/>
                      <a:pt x="25" y="26"/>
                    </a:cubicBezTo>
                    <a:cubicBezTo>
                      <a:pt x="29" y="28"/>
                      <a:pt x="32" y="30"/>
                      <a:pt x="34" y="32"/>
                    </a:cubicBezTo>
                    <a:cubicBezTo>
                      <a:pt x="36" y="33"/>
                      <a:pt x="39" y="35"/>
                      <a:pt x="38" y="37"/>
                    </a:cubicBezTo>
                    <a:cubicBezTo>
                      <a:pt x="37" y="40"/>
                      <a:pt x="36" y="43"/>
                      <a:pt x="39" y="44"/>
                    </a:cubicBezTo>
                    <a:cubicBezTo>
                      <a:pt x="40" y="45"/>
                      <a:pt x="42" y="46"/>
                      <a:pt x="41" y="43"/>
                    </a:cubicBezTo>
                    <a:cubicBezTo>
                      <a:pt x="41" y="43"/>
                      <a:pt x="41" y="42"/>
                      <a:pt x="41" y="41"/>
                    </a:cubicBezTo>
                    <a:cubicBezTo>
                      <a:pt x="41" y="40"/>
                      <a:pt x="43" y="40"/>
                      <a:pt x="44" y="40"/>
                    </a:cubicBezTo>
                    <a:cubicBezTo>
                      <a:pt x="46" y="41"/>
                      <a:pt x="48" y="42"/>
                      <a:pt x="48" y="45"/>
                    </a:cubicBezTo>
                    <a:cubicBezTo>
                      <a:pt x="48" y="47"/>
                      <a:pt x="46" y="51"/>
                      <a:pt x="49" y="52"/>
                    </a:cubicBezTo>
                    <a:cubicBezTo>
                      <a:pt x="49" y="48"/>
                      <a:pt x="49" y="45"/>
                      <a:pt x="50" y="42"/>
                    </a:cubicBezTo>
                    <a:cubicBezTo>
                      <a:pt x="50" y="41"/>
                      <a:pt x="52" y="37"/>
                      <a:pt x="53" y="37"/>
                    </a:cubicBezTo>
                    <a:cubicBezTo>
                      <a:pt x="50" y="37"/>
                      <a:pt x="48" y="34"/>
                      <a:pt x="49" y="31"/>
                    </a:cubicBezTo>
                    <a:cubicBezTo>
                      <a:pt x="49" y="28"/>
                      <a:pt x="50" y="25"/>
                      <a:pt x="53" y="24"/>
                    </a:cubicBezTo>
                    <a:cubicBezTo>
                      <a:pt x="52" y="22"/>
                      <a:pt x="50" y="21"/>
                      <a:pt x="49" y="19"/>
                    </a:cubicBezTo>
                    <a:cubicBezTo>
                      <a:pt x="47" y="18"/>
                      <a:pt x="46" y="16"/>
                      <a:pt x="45" y="15"/>
                    </a:cubicBezTo>
                    <a:cubicBezTo>
                      <a:pt x="43" y="13"/>
                      <a:pt x="42" y="12"/>
                      <a:pt x="41" y="10"/>
                    </a:cubicBezTo>
                    <a:cubicBezTo>
                      <a:pt x="40" y="8"/>
                      <a:pt x="39" y="5"/>
                      <a:pt x="38" y="4"/>
                    </a:cubicBezTo>
                    <a:cubicBezTo>
                      <a:pt x="38" y="4"/>
                      <a:pt x="37" y="4"/>
                      <a:pt x="37" y="4"/>
                    </a:cubicBezTo>
                    <a:cubicBezTo>
                      <a:pt x="38" y="4"/>
                      <a:pt x="38" y="4"/>
                      <a:pt x="38" y="4"/>
                    </a:cubicBezTo>
                    <a:cubicBezTo>
                      <a:pt x="37" y="5"/>
                      <a:pt x="38" y="4"/>
                      <a:pt x="38" y="4"/>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16" name="Freeform 16">
                <a:extLst>
                  <a:ext uri="{FF2B5EF4-FFF2-40B4-BE49-F238E27FC236}">
                    <a16:creationId xmlns:a16="http://schemas.microsoft.com/office/drawing/2014/main" id="{ACD56081-7008-FB9D-19D9-E5DA1FF25D2C}"/>
                  </a:ext>
                </a:extLst>
              </p:cNvPr>
              <p:cNvSpPr/>
              <p:nvPr>
                <p:custDataLst>
                  <p:tags r:id="rId154"/>
                </p:custDataLst>
              </p:nvPr>
            </p:nvSpPr>
            <p:spPr bwMode="auto">
              <a:xfrm>
                <a:off x="3367143" y="4163172"/>
                <a:ext cx="144137" cy="61226"/>
              </a:xfrm>
              <a:custGeom>
                <a:avLst/>
                <a:gdLst>
                  <a:gd name="T0" fmla="*/ 5 w 97"/>
                  <a:gd name="T1" fmla="*/ 0 h 41"/>
                  <a:gd name="T2" fmla="*/ 10 w 97"/>
                  <a:gd name="T3" fmla="*/ 5 h 41"/>
                  <a:gd name="T4" fmla="*/ 13 w 97"/>
                  <a:gd name="T5" fmla="*/ 4 h 41"/>
                  <a:gd name="T6" fmla="*/ 15 w 97"/>
                  <a:gd name="T7" fmla="*/ 6 h 41"/>
                  <a:gd name="T8" fmla="*/ 13 w 97"/>
                  <a:gd name="T9" fmla="*/ 8 h 41"/>
                  <a:gd name="T10" fmla="*/ 13 w 97"/>
                  <a:gd name="T11" fmla="*/ 10 h 41"/>
                  <a:gd name="T12" fmla="*/ 18 w 97"/>
                  <a:gd name="T13" fmla="*/ 11 h 41"/>
                  <a:gd name="T14" fmla="*/ 19 w 97"/>
                  <a:gd name="T15" fmla="*/ 9 h 41"/>
                  <a:gd name="T16" fmla="*/ 22 w 97"/>
                  <a:gd name="T17" fmla="*/ 10 h 41"/>
                  <a:gd name="T18" fmla="*/ 30 w 97"/>
                  <a:gd name="T19" fmla="*/ 14 h 41"/>
                  <a:gd name="T20" fmla="*/ 38 w 97"/>
                  <a:gd name="T21" fmla="*/ 12 h 41"/>
                  <a:gd name="T22" fmla="*/ 46 w 97"/>
                  <a:gd name="T23" fmla="*/ 8 h 41"/>
                  <a:gd name="T24" fmla="*/ 52 w 97"/>
                  <a:gd name="T25" fmla="*/ 4 h 41"/>
                  <a:gd name="T26" fmla="*/ 60 w 97"/>
                  <a:gd name="T27" fmla="*/ 1 h 41"/>
                  <a:gd name="T28" fmla="*/ 77 w 97"/>
                  <a:gd name="T29" fmla="*/ 5 h 41"/>
                  <a:gd name="T30" fmla="*/ 84 w 97"/>
                  <a:gd name="T31" fmla="*/ 8 h 41"/>
                  <a:gd name="T32" fmla="*/ 91 w 97"/>
                  <a:gd name="T33" fmla="*/ 14 h 41"/>
                  <a:gd name="T34" fmla="*/ 93 w 97"/>
                  <a:gd name="T35" fmla="*/ 17 h 41"/>
                  <a:gd name="T36" fmla="*/ 93 w 97"/>
                  <a:gd name="T37" fmla="*/ 21 h 41"/>
                  <a:gd name="T38" fmla="*/ 95 w 97"/>
                  <a:gd name="T39" fmla="*/ 24 h 41"/>
                  <a:gd name="T40" fmla="*/ 97 w 97"/>
                  <a:gd name="T41" fmla="*/ 28 h 41"/>
                  <a:gd name="T42" fmla="*/ 93 w 97"/>
                  <a:gd name="T43" fmla="*/ 32 h 41"/>
                  <a:gd name="T44" fmla="*/ 89 w 97"/>
                  <a:gd name="T45" fmla="*/ 32 h 41"/>
                  <a:gd name="T46" fmla="*/ 84 w 97"/>
                  <a:gd name="T47" fmla="*/ 39 h 41"/>
                  <a:gd name="T48" fmla="*/ 79 w 97"/>
                  <a:gd name="T49" fmla="*/ 33 h 41"/>
                  <a:gd name="T50" fmla="*/ 77 w 97"/>
                  <a:gd name="T51" fmla="*/ 26 h 41"/>
                  <a:gd name="T52" fmla="*/ 83 w 97"/>
                  <a:gd name="T53" fmla="*/ 23 h 41"/>
                  <a:gd name="T54" fmla="*/ 87 w 97"/>
                  <a:gd name="T55" fmla="*/ 25 h 41"/>
                  <a:gd name="T56" fmla="*/ 85 w 97"/>
                  <a:gd name="T57" fmla="*/ 21 h 41"/>
                  <a:gd name="T58" fmla="*/ 83 w 97"/>
                  <a:gd name="T59" fmla="*/ 19 h 41"/>
                  <a:gd name="T60" fmla="*/ 78 w 97"/>
                  <a:gd name="T61" fmla="*/ 19 h 41"/>
                  <a:gd name="T62" fmla="*/ 73 w 97"/>
                  <a:gd name="T63" fmla="*/ 16 h 41"/>
                  <a:gd name="T64" fmla="*/ 71 w 97"/>
                  <a:gd name="T65" fmla="*/ 14 h 41"/>
                  <a:gd name="T66" fmla="*/ 68 w 97"/>
                  <a:gd name="T67" fmla="*/ 11 h 41"/>
                  <a:gd name="T68" fmla="*/ 62 w 97"/>
                  <a:gd name="T69" fmla="*/ 9 h 41"/>
                  <a:gd name="T70" fmla="*/ 58 w 97"/>
                  <a:gd name="T71" fmla="*/ 11 h 41"/>
                  <a:gd name="T72" fmla="*/ 54 w 97"/>
                  <a:gd name="T73" fmla="*/ 13 h 41"/>
                  <a:gd name="T74" fmla="*/ 52 w 97"/>
                  <a:gd name="T75" fmla="*/ 19 h 41"/>
                  <a:gd name="T76" fmla="*/ 45 w 97"/>
                  <a:gd name="T77" fmla="*/ 22 h 41"/>
                  <a:gd name="T78" fmla="*/ 41 w 97"/>
                  <a:gd name="T79" fmla="*/ 27 h 41"/>
                  <a:gd name="T80" fmla="*/ 47 w 97"/>
                  <a:gd name="T81" fmla="*/ 32 h 41"/>
                  <a:gd name="T82" fmla="*/ 40 w 97"/>
                  <a:gd name="T83" fmla="*/ 40 h 41"/>
                  <a:gd name="T84" fmla="*/ 33 w 97"/>
                  <a:gd name="T85" fmla="*/ 37 h 41"/>
                  <a:gd name="T86" fmla="*/ 32 w 97"/>
                  <a:gd name="T87" fmla="*/ 29 h 41"/>
                  <a:gd name="T88" fmla="*/ 29 w 97"/>
                  <a:gd name="T89" fmla="*/ 30 h 41"/>
                  <a:gd name="T90" fmla="*/ 29 w 97"/>
                  <a:gd name="T91" fmla="*/ 33 h 41"/>
                  <a:gd name="T92" fmla="*/ 24 w 97"/>
                  <a:gd name="T93" fmla="*/ 31 h 41"/>
                  <a:gd name="T94" fmla="*/ 20 w 97"/>
                  <a:gd name="T95" fmla="*/ 25 h 41"/>
                  <a:gd name="T96" fmla="*/ 16 w 97"/>
                  <a:gd name="T97" fmla="*/ 24 h 41"/>
                  <a:gd name="T98" fmla="*/ 14 w 97"/>
                  <a:gd name="T99" fmla="*/ 24 h 41"/>
                  <a:gd name="T100" fmla="*/ 13 w 97"/>
                  <a:gd name="T101" fmla="*/ 23 h 41"/>
                  <a:gd name="T102" fmla="*/ 7 w 97"/>
                  <a:gd name="T103" fmla="*/ 22 h 41"/>
                  <a:gd name="T104" fmla="*/ 3 w 97"/>
                  <a:gd name="T105" fmla="*/ 23 h 41"/>
                  <a:gd name="T106" fmla="*/ 1 w 97"/>
                  <a:gd name="T107" fmla="*/ 27 h 41"/>
                  <a:gd name="T108" fmla="*/ 3 w 97"/>
                  <a:gd name="T109" fmla="*/ 16 h 41"/>
                  <a:gd name="T110" fmla="*/ 4 w 97"/>
                  <a:gd name="T111" fmla="*/ 10 h 41"/>
                  <a:gd name="T112" fmla="*/ 2 w 97"/>
                  <a:gd name="T113" fmla="*/ 3 h 41"/>
                  <a:gd name="T114" fmla="*/ 3 w 97"/>
                  <a:gd name="T115" fmla="*/ 1 h 41"/>
                  <a:gd name="T116" fmla="*/ 6 w 97"/>
                  <a:gd name="T117" fmla="*/ 1 h 41"/>
                  <a:gd name="T118" fmla="*/ 5 w 97"/>
                  <a:gd name="T119" fmla="*/ 0 h 41"/>
                  <a:gd name="T120" fmla="*/ 5 w 97"/>
                  <a:gd name="T12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7" h="41">
                    <a:moveTo>
                      <a:pt x="5" y="0"/>
                    </a:moveTo>
                    <a:cubicBezTo>
                      <a:pt x="6" y="1"/>
                      <a:pt x="8" y="5"/>
                      <a:pt x="10" y="5"/>
                    </a:cubicBezTo>
                    <a:cubicBezTo>
                      <a:pt x="11" y="4"/>
                      <a:pt x="11" y="4"/>
                      <a:pt x="13" y="4"/>
                    </a:cubicBezTo>
                    <a:cubicBezTo>
                      <a:pt x="13" y="4"/>
                      <a:pt x="15" y="5"/>
                      <a:pt x="15" y="6"/>
                    </a:cubicBezTo>
                    <a:cubicBezTo>
                      <a:pt x="15" y="7"/>
                      <a:pt x="13" y="7"/>
                      <a:pt x="13" y="8"/>
                    </a:cubicBezTo>
                    <a:cubicBezTo>
                      <a:pt x="13" y="9"/>
                      <a:pt x="13" y="10"/>
                      <a:pt x="13" y="10"/>
                    </a:cubicBezTo>
                    <a:cubicBezTo>
                      <a:pt x="14" y="12"/>
                      <a:pt x="17" y="12"/>
                      <a:pt x="18" y="11"/>
                    </a:cubicBezTo>
                    <a:cubicBezTo>
                      <a:pt x="18" y="11"/>
                      <a:pt x="18" y="10"/>
                      <a:pt x="19" y="9"/>
                    </a:cubicBezTo>
                    <a:cubicBezTo>
                      <a:pt x="20" y="9"/>
                      <a:pt x="21" y="9"/>
                      <a:pt x="22" y="10"/>
                    </a:cubicBezTo>
                    <a:cubicBezTo>
                      <a:pt x="25" y="11"/>
                      <a:pt x="27" y="13"/>
                      <a:pt x="30" y="14"/>
                    </a:cubicBezTo>
                    <a:cubicBezTo>
                      <a:pt x="32" y="14"/>
                      <a:pt x="35" y="13"/>
                      <a:pt x="38" y="12"/>
                    </a:cubicBezTo>
                    <a:cubicBezTo>
                      <a:pt x="41" y="10"/>
                      <a:pt x="43" y="9"/>
                      <a:pt x="46" y="8"/>
                    </a:cubicBezTo>
                    <a:cubicBezTo>
                      <a:pt x="49" y="8"/>
                      <a:pt x="50" y="5"/>
                      <a:pt x="52" y="4"/>
                    </a:cubicBezTo>
                    <a:cubicBezTo>
                      <a:pt x="55" y="2"/>
                      <a:pt x="57" y="1"/>
                      <a:pt x="60" y="1"/>
                    </a:cubicBezTo>
                    <a:cubicBezTo>
                      <a:pt x="66" y="0"/>
                      <a:pt x="72" y="3"/>
                      <a:pt x="77" y="5"/>
                    </a:cubicBezTo>
                    <a:cubicBezTo>
                      <a:pt x="79" y="7"/>
                      <a:pt x="82" y="7"/>
                      <a:pt x="84" y="8"/>
                    </a:cubicBezTo>
                    <a:cubicBezTo>
                      <a:pt x="87" y="10"/>
                      <a:pt x="89" y="12"/>
                      <a:pt x="91" y="14"/>
                    </a:cubicBezTo>
                    <a:cubicBezTo>
                      <a:pt x="92" y="14"/>
                      <a:pt x="93" y="15"/>
                      <a:pt x="93" y="17"/>
                    </a:cubicBezTo>
                    <a:cubicBezTo>
                      <a:pt x="93" y="18"/>
                      <a:pt x="93" y="19"/>
                      <a:pt x="93" y="21"/>
                    </a:cubicBezTo>
                    <a:cubicBezTo>
                      <a:pt x="94" y="22"/>
                      <a:pt x="94" y="23"/>
                      <a:pt x="95" y="24"/>
                    </a:cubicBezTo>
                    <a:cubicBezTo>
                      <a:pt x="96" y="25"/>
                      <a:pt x="97" y="27"/>
                      <a:pt x="97" y="28"/>
                    </a:cubicBezTo>
                    <a:cubicBezTo>
                      <a:pt x="97" y="30"/>
                      <a:pt x="94" y="31"/>
                      <a:pt x="93" y="32"/>
                    </a:cubicBezTo>
                    <a:cubicBezTo>
                      <a:pt x="91" y="33"/>
                      <a:pt x="90" y="32"/>
                      <a:pt x="89" y="32"/>
                    </a:cubicBezTo>
                    <a:cubicBezTo>
                      <a:pt x="86" y="33"/>
                      <a:pt x="85" y="37"/>
                      <a:pt x="84" y="39"/>
                    </a:cubicBezTo>
                    <a:cubicBezTo>
                      <a:pt x="82" y="37"/>
                      <a:pt x="80" y="35"/>
                      <a:pt x="79" y="33"/>
                    </a:cubicBezTo>
                    <a:cubicBezTo>
                      <a:pt x="78" y="31"/>
                      <a:pt x="76" y="28"/>
                      <a:pt x="77" y="26"/>
                    </a:cubicBezTo>
                    <a:cubicBezTo>
                      <a:pt x="78" y="24"/>
                      <a:pt x="81" y="22"/>
                      <a:pt x="83" y="23"/>
                    </a:cubicBezTo>
                    <a:cubicBezTo>
                      <a:pt x="83" y="24"/>
                      <a:pt x="86" y="26"/>
                      <a:pt x="87" y="25"/>
                    </a:cubicBezTo>
                    <a:cubicBezTo>
                      <a:pt x="88" y="24"/>
                      <a:pt x="86" y="22"/>
                      <a:pt x="85" y="21"/>
                    </a:cubicBezTo>
                    <a:cubicBezTo>
                      <a:pt x="84" y="20"/>
                      <a:pt x="84" y="19"/>
                      <a:pt x="83" y="19"/>
                    </a:cubicBezTo>
                    <a:cubicBezTo>
                      <a:pt x="81" y="19"/>
                      <a:pt x="80" y="19"/>
                      <a:pt x="78" y="19"/>
                    </a:cubicBezTo>
                    <a:cubicBezTo>
                      <a:pt x="76" y="19"/>
                      <a:pt x="74" y="17"/>
                      <a:pt x="73" y="16"/>
                    </a:cubicBezTo>
                    <a:cubicBezTo>
                      <a:pt x="73" y="14"/>
                      <a:pt x="72" y="14"/>
                      <a:pt x="71" y="14"/>
                    </a:cubicBezTo>
                    <a:cubicBezTo>
                      <a:pt x="69" y="13"/>
                      <a:pt x="69" y="12"/>
                      <a:pt x="68" y="11"/>
                    </a:cubicBezTo>
                    <a:cubicBezTo>
                      <a:pt x="66" y="8"/>
                      <a:pt x="64" y="9"/>
                      <a:pt x="62" y="9"/>
                    </a:cubicBezTo>
                    <a:cubicBezTo>
                      <a:pt x="60" y="10"/>
                      <a:pt x="59" y="10"/>
                      <a:pt x="58" y="11"/>
                    </a:cubicBezTo>
                    <a:cubicBezTo>
                      <a:pt x="57" y="12"/>
                      <a:pt x="55" y="12"/>
                      <a:pt x="54" y="13"/>
                    </a:cubicBezTo>
                    <a:cubicBezTo>
                      <a:pt x="53" y="14"/>
                      <a:pt x="54" y="17"/>
                      <a:pt x="52" y="19"/>
                    </a:cubicBezTo>
                    <a:cubicBezTo>
                      <a:pt x="50" y="21"/>
                      <a:pt x="47" y="21"/>
                      <a:pt x="45" y="22"/>
                    </a:cubicBezTo>
                    <a:cubicBezTo>
                      <a:pt x="42" y="23"/>
                      <a:pt x="41" y="24"/>
                      <a:pt x="41" y="27"/>
                    </a:cubicBezTo>
                    <a:cubicBezTo>
                      <a:pt x="42" y="30"/>
                      <a:pt x="45" y="30"/>
                      <a:pt x="47" y="32"/>
                    </a:cubicBezTo>
                    <a:cubicBezTo>
                      <a:pt x="51" y="37"/>
                      <a:pt x="43" y="38"/>
                      <a:pt x="40" y="40"/>
                    </a:cubicBezTo>
                    <a:cubicBezTo>
                      <a:pt x="38" y="41"/>
                      <a:pt x="33" y="41"/>
                      <a:pt x="33" y="37"/>
                    </a:cubicBezTo>
                    <a:cubicBezTo>
                      <a:pt x="33" y="35"/>
                      <a:pt x="34" y="31"/>
                      <a:pt x="32" y="29"/>
                    </a:cubicBezTo>
                    <a:cubicBezTo>
                      <a:pt x="31" y="29"/>
                      <a:pt x="30" y="29"/>
                      <a:pt x="29" y="30"/>
                    </a:cubicBezTo>
                    <a:cubicBezTo>
                      <a:pt x="29" y="31"/>
                      <a:pt x="30" y="32"/>
                      <a:pt x="29" y="33"/>
                    </a:cubicBezTo>
                    <a:cubicBezTo>
                      <a:pt x="29" y="36"/>
                      <a:pt x="24" y="33"/>
                      <a:pt x="24" y="31"/>
                    </a:cubicBezTo>
                    <a:cubicBezTo>
                      <a:pt x="23" y="29"/>
                      <a:pt x="22" y="26"/>
                      <a:pt x="20" y="25"/>
                    </a:cubicBezTo>
                    <a:cubicBezTo>
                      <a:pt x="19" y="24"/>
                      <a:pt x="18" y="24"/>
                      <a:pt x="16" y="24"/>
                    </a:cubicBezTo>
                    <a:cubicBezTo>
                      <a:pt x="15" y="25"/>
                      <a:pt x="15" y="26"/>
                      <a:pt x="14" y="24"/>
                    </a:cubicBezTo>
                    <a:cubicBezTo>
                      <a:pt x="13" y="24"/>
                      <a:pt x="13" y="23"/>
                      <a:pt x="13" y="23"/>
                    </a:cubicBezTo>
                    <a:cubicBezTo>
                      <a:pt x="11" y="22"/>
                      <a:pt x="9" y="23"/>
                      <a:pt x="7" y="22"/>
                    </a:cubicBezTo>
                    <a:cubicBezTo>
                      <a:pt x="6" y="22"/>
                      <a:pt x="4" y="22"/>
                      <a:pt x="3" y="23"/>
                    </a:cubicBezTo>
                    <a:cubicBezTo>
                      <a:pt x="2" y="24"/>
                      <a:pt x="2" y="26"/>
                      <a:pt x="1" y="27"/>
                    </a:cubicBezTo>
                    <a:cubicBezTo>
                      <a:pt x="1" y="23"/>
                      <a:pt x="1" y="19"/>
                      <a:pt x="3" y="16"/>
                    </a:cubicBezTo>
                    <a:cubicBezTo>
                      <a:pt x="4" y="14"/>
                      <a:pt x="7" y="11"/>
                      <a:pt x="4" y="10"/>
                    </a:cubicBezTo>
                    <a:cubicBezTo>
                      <a:pt x="1" y="9"/>
                      <a:pt x="0" y="6"/>
                      <a:pt x="2" y="3"/>
                    </a:cubicBezTo>
                    <a:cubicBezTo>
                      <a:pt x="2" y="2"/>
                      <a:pt x="2" y="1"/>
                      <a:pt x="3" y="1"/>
                    </a:cubicBezTo>
                    <a:cubicBezTo>
                      <a:pt x="5" y="0"/>
                      <a:pt x="5" y="1"/>
                      <a:pt x="6" y="1"/>
                    </a:cubicBezTo>
                    <a:cubicBezTo>
                      <a:pt x="6" y="1"/>
                      <a:pt x="5" y="1"/>
                      <a:pt x="5" y="0"/>
                    </a:cubicBezTo>
                    <a:cubicBezTo>
                      <a:pt x="6" y="1"/>
                      <a:pt x="5" y="0"/>
                      <a:pt x="5" y="0"/>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17" name="Freeform 17">
                <a:extLst>
                  <a:ext uri="{FF2B5EF4-FFF2-40B4-BE49-F238E27FC236}">
                    <a16:creationId xmlns:a16="http://schemas.microsoft.com/office/drawing/2014/main" id="{FFD71531-65FE-41E1-D207-36DE054DAC8C}"/>
                  </a:ext>
                </a:extLst>
              </p:cNvPr>
              <p:cNvSpPr/>
              <p:nvPr>
                <p:custDataLst>
                  <p:tags r:id="rId155"/>
                </p:custDataLst>
              </p:nvPr>
            </p:nvSpPr>
            <p:spPr bwMode="auto">
              <a:xfrm>
                <a:off x="3469186" y="4090465"/>
                <a:ext cx="293376" cy="423482"/>
              </a:xfrm>
              <a:custGeom>
                <a:avLst/>
                <a:gdLst>
                  <a:gd name="T0" fmla="*/ 23 w 197"/>
                  <a:gd name="T1" fmla="*/ 84 h 285"/>
                  <a:gd name="T2" fmla="*/ 17 w 197"/>
                  <a:gd name="T3" fmla="*/ 89 h 285"/>
                  <a:gd name="T4" fmla="*/ 24 w 197"/>
                  <a:gd name="T5" fmla="*/ 98 h 285"/>
                  <a:gd name="T6" fmla="*/ 26 w 197"/>
                  <a:gd name="T7" fmla="*/ 112 h 285"/>
                  <a:gd name="T8" fmla="*/ 26 w 197"/>
                  <a:gd name="T9" fmla="*/ 125 h 285"/>
                  <a:gd name="T10" fmla="*/ 30 w 197"/>
                  <a:gd name="T11" fmla="*/ 147 h 285"/>
                  <a:gd name="T12" fmla="*/ 20 w 197"/>
                  <a:gd name="T13" fmla="*/ 165 h 285"/>
                  <a:gd name="T14" fmla="*/ 5 w 197"/>
                  <a:gd name="T15" fmla="*/ 174 h 285"/>
                  <a:gd name="T16" fmla="*/ 14 w 197"/>
                  <a:gd name="T17" fmla="*/ 196 h 285"/>
                  <a:gd name="T18" fmla="*/ 32 w 197"/>
                  <a:gd name="T19" fmla="*/ 207 h 285"/>
                  <a:gd name="T20" fmla="*/ 63 w 197"/>
                  <a:gd name="T21" fmla="*/ 214 h 285"/>
                  <a:gd name="T22" fmla="*/ 82 w 197"/>
                  <a:gd name="T23" fmla="*/ 232 h 285"/>
                  <a:gd name="T24" fmla="*/ 94 w 197"/>
                  <a:gd name="T25" fmla="*/ 244 h 285"/>
                  <a:gd name="T26" fmla="*/ 109 w 197"/>
                  <a:gd name="T27" fmla="*/ 255 h 285"/>
                  <a:gd name="T28" fmla="*/ 125 w 197"/>
                  <a:gd name="T29" fmla="*/ 252 h 285"/>
                  <a:gd name="T30" fmla="*/ 146 w 197"/>
                  <a:gd name="T31" fmla="*/ 257 h 285"/>
                  <a:gd name="T32" fmla="*/ 144 w 197"/>
                  <a:gd name="T33" fmla="*/ 271 h 285"/>
                  <a:gd name="T34" fmla="*/ 147 w 197"/>
                  <a:gd name="T35" fmla="*/ 279 h 285"/>
                  <a:gd name="T36" fmla="*/ 156 w 197"/>
                  <a:gd name="T37" fmla="*/ 258 h 285"/>
                  <a:gd name="T38" fmla="*/ 152 w 197"/>
                  <a:gd name="T39" fmla="*/ 219 h 285"/>
                  <a:gd name="T40" fmla="*/ 149 w 197"/>
                  <a:gd name="T41" fmla="*/ 205 h 285"/>
                  <a:gd name="T42" fmla="*/ 164 w 197"/>
                  <a:gd name="T43" fmla="*/ 201 h 285"/>
                  <a:gd name="T44" fmla="*/ 153 w 197"/>
                  <a:gd name="T45" fmla="*/ 192 h 285"/>
                  <a:gd name="T46" fmla="*/ 174 w 197"/>
                  <a:gd name="T47" fmla="*/ 183 h 285"/>
                  <a:gd name="T48" fmla="*/ 184 w 197"/>
                  <a:gd name="T49" fmla="*/ 180 h 285"/>
                  <a:gd name="T50" fmla="*/ 193 w 197"/>
                  <a:gd name="T51" fmla="*/ 170 h 285"/>
                  <a:gd name="T52" fmla="*/ 190 w 197"/>
                  <a:gd name="T53" fmla="*/ 161 h 285"/>
                  <a:gd name="T54" fmla="*/ 186 w 197"/>
                  <a:gd name="T55" fmla="*/ 127 h 285"/>
                  <a:gd name="T56" fmla="*/ 191 w 197"/>
                  <a:gd name="T57" fmla="*/ 108 h 285"/>
                  <a:gd name="T58" fmla="*/ 165 w 197"/>
                  <a:gd name="T59" fmla="*/ 110 h 285"/>
                  <a:gd name="T60" fmla="*/ 139 w 197"/>
                  <a:gd name="T61" fmla="*/ 94 h 285"/>
                  <a:gd name="T62" fmla="*/ 115 w 197"/>
                  <a:gd name="T63" fmla="*/ 92 h 285"/>
                  <a:gd name="T64" fmla="*/ 108 w 197"/>
                  <a:gd name="T65" fmla="*/ 80 h 285"/>
                  <a:gd name="T66" fmla="*/ 101 w 197"/>
                  <a:gd name="T67" fmla="*/ 58 h 285"/>
                  <a:gd name="T68" fmla="*/ 98 w 197"/>
                  <a:gd name="T69" fmla="*/ 47 h 285"/>
                  <a:gd name="T70" fmla="*/ 106 w 197"/>
                  <a:gd name="T71" fmla="*/ 24 h 285"/>
                  <a:gd name="T72" fmla="*/ 116 w 197"/>
                  <a:gd name="T73" fmla="*/ 14 h 285"/>
                  <a:gd name="T74" fmla="*/ 129 w 197"/>
                  <a:gd name="T75" fmla="*/ 2 h 285"/>
                  <a:gd name="T76" fmla="*/ 110 w 197"/>
                  <a:gd name="T77" fmla="*/ 10 h 285"/>
                  <a:gd name="T78" fmla="*/ 83 w 197"/>
                  <a:gd name="T79" fmla="*/ 20 h 285"/>
                  <a:gd name="T80" fmla="*/ 73 w 197"/>
                  <a:gd name="T81" fmla="*/ 28 h 285"/>
                  <a:gd name="T82" fmla="*/ 58 w 197"/>
                  <a:gd name="T83" fmla="*/ 33 h 285"/>
                  <a:gd name="T84" fmla="*/ 54 w 197"/>
                  <a:gd name="T85" fmla="*/ 47 h 285"/>
                  <a:gd name="T86" fmla="*/ 48 w 197"/>
                  <a:gd name="T87" fmla="*/ 54 h 285"/>
                  <a:gd name="T88" fmla="*/ 34 w 197"/>
                  <a:gd name="T89" fmla="*/ 66 h 285"/>
                  <a:gd name="T90" fmla="*/ 32 w 197"/>
                  <a:gd name="T91" fmla="*/ 72 h 285"/>
                  <a:gd name="T92" fmla="*/ 26 w 197"/>
                  <a:gd name="T93" fmla="*/ 67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7" h="285">
                    <a:moveTo>
                      <a:pt x="26" y="67"/>
                    </a:moveTo>
                    <a:cubicBezTo>
                      <a:pt x="26" y="72"/>
                      <a:pt x="33" y="76"/>
                      <a:pt x="29" y="80"/>
                    </a:cubicBezTo>
                    <a:cubicBezTo>
                      <a:pt x="27" y="82"/>
                      <a:pt x="25" y="84"/>
                      <a:pt x="23" y="84"/>
                    </a:cubicBezTo>
                    <a:cubicBezTo>
                      <a:pt x="22" y="84"/>
                      <a:pt x="22" y="84"/>
                      <a:pt x="21" y="84"/>
                    </a:cubicBezTo>
                    <a:cubicBezTo>
                      <a:pt x="20" y="83"/>
                      <a:pt x="19" y="84"/>
                      <a:pt x="18" y="85"/>
                    </a:cubicBezTo>
                    <a:cubicBezTo>
                      <a:pt x="18" y="86"/>
                      <a:pt x="17" y="87"/>
                      <a:pt x="17" y="89"/>
                    </a:cubicBezTo>
                    <a:cubicBezTo>
                      <a:pt x="17" y="89"/>
                      <a:pt x="16" y="90"/>
                      <a:pt x="17" y="90"/>
                    </a:cubicBezTo>
                    <a:cubicBezTo>
                      <a:pt x="18" y="91"/>
                      <a:pt x="18" y="91"/>
                      <a:pt x="18" y="92"/>
                    </a:cubicBezTo>
                    <a:cubicBezTo>
                      <a:pt x="20" y="94"/>
                      <a:pt x="22" y="96"/>
                      <a:pt x="24" y="98"/>
                    </a:cubicBezTo>
                    <a:cubicBezTo>
                      <a:pt x="26" y="100"/>
                      <a:pt x="25" y="103"/>
                      <a:pt x="25" y="105"/>
                    </a:cubicBezTo>
                    <a:cubicBezTo>
                      <a:pt x="24" y="106"/>
                      <a:pt x="24" y="107"/>
                      <a:pt x="24" y="108"/>
                    </a:cubicBezTo>
                    <a:cubicBezTo>
                      <a:pt x="24" y="110"/>
                      <a:pt x="25" y="110"/>
                      <a:pt x="26" y="112"/>
                    </a:cubicBezTo>
                    <a:cubicBezTo>
                      <a:pt x="27" y="114"/>
                      <a:pt x="27" y="116"/>
                      <a:pt x="26" y="118"/>
                    </a:cubicBezTo>
                    <a:cubicBezTo>
                      <a:pt x="25" y="119"/>
                      <a:pt x="24" y="120"/>
                      <a:pt x="24" y="121"/>
                    </a:cubicBezTo>
                    <a:cubicBezTo>
                      <a:pt x="24" y="122"/>
                      <a:pt x="25" y="123"/>
                      <a:pt x="26" y="125"/>
                    </a:cubicBezTo>
                    <a:cubicBezTo>
                      <a:pt x="27" y="127"/>
                      <a:pt x="26" y="130"/>
                      <a:pt x="26" y="133"/>
                    </a:cubicBezTo>
                    <a:cubicBezTo>
                      <a:pt x="26" y="136"/>
                      <a:pt x="26" y="139"/>
                      <a:pt x="27" y="142"/>
                    </a:cubicBezTo>
                    <a:cubicBezTo>
                      <a:pt x="27" y="145"/>
                      <a:pt x="29" y="145"/>
                      <a:pt x="30" y="147"/>
                    </a:cubicBezTo>
                    <a:cubicBezTo>
                      <a:pt x="32" y="149"/>
                      <a:pt x="28" y="152"/>
                      <a:pt x="27" y="153"/>
                    </a:cubicBezTo>
                    <a:cubicBezTo>
                      <a:pt x="26" y="156"/>
                      <a:pt x="25" y="157"/>
                      <a:pt x="23" y="159"/>
                    </a:cubicBezTo>
                    <a:cubicBezTo>
                      <a:pt x="21" y="161"/>
                      <a:pt x="21" y="163"/>
                      <a:pt x="20" y="165"/>
                    </a:cubicBezTo>
                    <a:cubicBezTo>
                      <a:pt x="19" y="168"/>
                      <a:pt x="16" y="170"/>
                      <a:pt x="13" y="170"/>
                    </a:cubicBezTo>
                    <a:cubicBezTo>
                      <a:pt x="12" y="171"/>
                      <a:pt x="10" y="170"/>
                      <a:pt x="9" y="171"/>
                    </a:cubicBezTo>
                    <a:cubicBezTo>
                      <a:pt x="7" y="172"/>
                      <a:pt x="6" y="173"/>
                      <a:pt x="5" y="174"/>
                    </a:cubicBezTo>
                    <a:cubicBezTo>
                      <a:pt x="4" y="177"/>
                      <a:pt x="6" y="180"/>
                      <a:pt x="5" y="182"/>
                    </a:cubicBezTo>
                    <a:cubicBezTo>
                      <a:pt x="4" y="184"/>
                      <a:pt x="1" y="185"/>
                      <a:pt x="0" y="186"/>
                    </a:cubicBezTo>
                    <a:cubicBezTo>
                      <a:pt x="4" y="190"/>
                      <a:pt x="8" y="194"/>
                      <a:pt x="14" y="196"/>
                    </a:cubicBezTo>
                    <a:cubicBezTo>
                      <a:pt x="16" y="197"/>
                      <a:pt x="19" y="197"/>
                      <a:pt x="21" y="199"/>
                    </a:cubicBezTo>
                    <a:cubicBezTo>
                      <a:pt x="23" y="201"/>
                      <a:pt x="23" y="204"/>
                      <a:pt x="25" y="205"/>
                    </a:cubicBezTo>
                    <a:cubicBezTo>
                      <a:pt x="27" y="207"/>
                      <a:pt x="30" y="207"/>
                      <a:pt x="32" y="207"/>
                    </a:cubicBezTo>
                    <a:cubicBezTo>
                      <a:pt x="35" y="208"/>
                      <a:pt x="38" y="207"/>
                      <a:pt x="40" y="206"/>
                    </a:cubicBezTo>
                    <a:cubicBezTo>
                      <a:pt x="45" y="204"/>
                      <a:pt x="52" y="209"/>
                      <a:pt x="56" y="211"/>
                    </a:cubicBezTo>
                    <a:cubicBezTo>
                      <a:pt x="58" y="212"/>
                      <a:pt x="60" y="214"/>
                      <a:pt x="63" y="214"/>
                    </a:cubicBezTo>
                    <a:cubicBezTo>
                      <a:pt x="66" y="215"/>
                      <a:pt x="69" y="215"/>
                      <a:pt x="72" y="217"/>
                    </a:cubicBezTo>
                    <a:cubicBezTo>
                      <a:pt x="75" y="219"/>
                      <a:pt x="81" y="224"/>
                      <a:pt x="79" y="228"/>
                    </a:cubicBezTo>
                    <a:cubicBezTo>
                      <a:pt x="78" y="230"/>
                      <a:pt x="81" y="232"/>
                      <a:pt x="82" y="232"/>
                    </a:cubicBezTo>
                    <a:cubicBezTo>
                      <a:pt x="85" y="234"/>
                      <a:pt x="88" y="233"/>
                      <a:pt x="90" y="236"/>
                    </a:cubicBezTo>
                    <a:cubicBezTo>
                      <a:pt x="91" y="237"/>
                      <a:pt x="93" y="240"/>
                      <a:pt x="93" y="242"/>
                    </a:cubicBezTo>
                    <a:cubicBezTo>
                      <a:pt x="94" y="243"/>
                      <a:pt x="94" y="243"/>
                      <a:pt x="94" y="244"/>
                    </a:cubicBezTo>
                    <a:cubicBezTo>
                      <a:pt x="94" y="245"/>
                      <a:pt x="96" y="245"/>
                      <a:pt x="97" y="246"/>
                    </a:cubicBezTo>
                    <a:cubicBezTo>
                      <a:pt x="100" y="248"/>
                      <a:pt x="100" y="253"/>
                      <a:pt x="103" y="254"/>
                    </a:cubicBezTo>
                    <a:cubicBezTo>
                      <a:pt x="105" y="255"/>
                      <a:pt x="107" y="255"/>
                      <a:pt x="109" y="255"/>
                    </a:cubicBezTo>
                    <a:cubicBezTo>
                      <a:pt x="111" y="254"/>
                      <a:pt x="114" y="255"/>
                      <a:pt x="115" y="254"/>
                    </a:cubicBezTo>
                    <a:cubicBezTo>
                      <a:pt x="117" y="253"/>
                      <a:pt x="118" y="252"/>
                      <a:pt x="119" y="251"/>
                    </a:cubicBezTo>
                    <a:cubicBezTo>
                      <a:pt x="121" y="251"/>
                      <a:pt x="123" y="251"/>
                      <a:pt x="125" y="252"/>
                    </a:cubicBezTo>
                    <a:cubicBezTo>
                      <a:pt x="126" y="252"/>
                      <a:pt x="128" y="253"/>
                      <a:pt x="130" y="253"/>
                    </a:cubicBezTo>
                    <a:cubicBezTo>
                      <a:pt x="132" y="252"/>
                      <a:pt x="134" y="251"/>
                      <a:pt x="136" y="251"/>
                    </a:cubicBezTo>
                    <a:cubicBezTo>
                      <a:pt x="139" y="252"/>
                      <a:pt x="143" y="255"/>
                      <a:pt x="146" y="257"/>
                    </a:cubicBezTo>
                    <a:cubicBezTo>
                      <a:pt x="147" y="257"/>
                      <a:pt x="149" y="258"/>
                      <a:pt x="149" y="260"/>
                    </a:cubicBezTo>
                    <a:cubicBezTo>
                      <a:pt x="149" y="262"/>
                      <a:pt x="148" y="264"/>
                      <a:pt x="147" y="265"/>
                    </a:cubicBezTo>
                    <a:cubicBezTo>
                      <a:pt x="146" y="267"/>
                      <a:pt x="145" y="269"/>
                      <a:pt x="144" y="271"/>
                    </a:cubicBezTo>
                    <a:cubicBezTo>
                      <a:pt x="144" y="272"/>
                      <a:pt x="141" y="276"/>
                      <a:pt x="142" y="277"/>
                    </a:cubicBezTo>
                    <a:cubicBezTo>
                      <a:pt x="143" y="277"/>
                      <a:pt x="143" y="277"/>
                      <a:pt x="144" y="277"/>
                    </a:cubicBezTo>
                    <a:cubicBezTo>
                      <a:pt x="145" y="278"/>
                      <a:pt x="146" y="278"/>
                      <a:pt x="147" y="279"/>
                    </a:cubicBezTo>
                    <a:cubicBezTo>
                      <a:pt x="149" y="281"/>
                      <a:pt x="150" y="283"/>
                      <a:pt x="151" y="285"/>
                    </a:cubicBezTo>
                    <a:cubicBezTo>
                      <a:pt x="152" y="281"/>
                      <a:pt x="153" y="276"/>
                      <a:pt x="153" y="272"/>
                    </a:cubicBezTo>
                    <a:cubicBezTo>
                      <a:pt x="154" y="267"/>
                      <a:pt x="155" y="262"/>
                      <a:pt x="156" y="258"/>
                    </a:cubicBezTo>
                    <a:cubicBezTo>
                      <a:pt x="157" y="253"/>
                      <a:pt x="158" y="249"/>
                      <a:pt x="158" y="244"/>
                    </a:cubicBezTo>
                    <a:cubicBezTo>
                      <a:pt x="159" y="239"/>
                      <a:pt x="159" y="234"/>
                      <a:pt x="158" y="230"/>
                    </a:cubicBezTo>
                    <a:cubicBezTo>
                      <a:pt x="157" y="226"/>
                      <a:pt x="156" y="221"/>
                      <a:pt x="152" y="219"/>
                    </a:cubicBezTo>
                    <a:cubicBezTo>
                      <a:pt x="151" y="219"/>
                      <a:pt x="149" y="218"/>
                      <a:pt x="149" y="217"/>
                    </a:cubicBezTo>
                    <a:cubicBezTo>
                      <a:pt x="148" y="215"/>
                      <a:pt x="149" y="213"/>
                      <a:pt x="149" y="211"/>
                    </a:cubicBezTo>
                    <a:cubicBezTo>
                      <a:pt x="149" y="209"/>
                      <a:pt x="149" y="207"/>
                      <a:pt x="149" y="205"/>
                    </a:cubicBezTo>
                    <a:cubicBezTo>
                      <a:pt x="150" y="203"/>
                      <a:pt x="152" y="202"/>
                      <a:pt x="154" y="201"/>
                    </a:cubicBezTo>
                    <a:cubicBezTo>
                      <a:pt x="156" y="200"/>
                      <a:pt x="159" y="200"/>
                      <a:pt x="161" y="200"/>
                    </a:cubicBezTo>
                    <a:cubicBezTo>
                      <a:pt x="161" y="200"/>
                      <a:pt x="165" y="201"/>
                      <a:pt x="164" y="201"/>
                    </a:cubicBezTo>
                    <a:cubicBezTo>
                      <a:pt x="164" y="200"/>
                      <a:pt x="164" y="199"/>
                      <a:pt x="163" y="198"/>
                    </a:cubicBezTo>
                    <a:cubicBezTo>
                      <a:pt x="162" y="197"/>
                      <a:pt x="160" y="197"/>
                      <a:pt x="159" y="197"/>
                    </a:cubicBezTo>
                    <a:cubicBezTo>
                      <a:pt x="155" y="197"/>
                      <a:pt x="153" y="196"/>
                      <a:pt x="153" y="192"/>
                    </a:cubicBezTo>
                    <a:cubicBezTo>
                      <a:pt x="153" y="190"/>
                      <a:pt x="152" y="187"/>
                      <a:pt x="153" y="185"/>
                    </a:cubicBezTo>
                    <a:cubicBezTo>
                      <a:pt x="155" y="182"/>
                      <a:pt x="159" y="183"/>
                      <a:pt x="162" y="183"/>
                    </a:cubicBezTo>
                    <a:cubicBezTo>
                      <a:pt x="166" y="183"/>
                      <a:pt x="170" y="183"/>
                      <a:pt x="174" y="183"/>
                    </a:cubicBezTo>
                    <a:cubicBezTo>
                      <a:pt x="175" y="183"/>
                      <a:pt x="177" y="184"/>
                      <a:pt x="179" y="183"/>
                    </a:cubicBezTo>
                    <a:cubicBezTo>
                      <a:pt x="179" y="182"/>
                      <a:pt x="180" y="180"/>
                      <a:pt x="181" y="180"/>
                    </a:cubicBezTo>
                    <a:cubicBezTo>
                      <a:pt x="182" y="179"/>
                      <a:pt x="184" y="180"/>
                      <a:pt x="184" y="180"/>
                    </a:cubicBezTo>
                    <a:cubicBezTo>
                      <a:pt x="185" y="182"/>
                      <a:pt x="186" y="182"/>
                      <a:pt x="187" y="181"/>
                    </a:cubicBezTo>
                    <a:cubicBezTo>
                      <a:pt x="190" y="179"/>
                      <a:pt x="193" y="176"/>
                      <a:pt x="197" y="175"/>
                    </a:cubicBezTo>
                    <a:cubicBezTo>
                      <a:pt x="196" y="173"/>
                      <a:pt x="195" y="171"/>
                      <a:pt x="193" y="170"/>
                    </a:cubicBezTo>
                    <a:cubicBezTo>
                      <a:pt x="192" y="169"/>
                      <a:pt x="191" y="168"/>
                      <a:pt x="190" y="168"/>
                    </a:cubicBezTo>
                    <a:cubicBezTo>
                      <a:pt x="189" y="167"/>
                      <a:pt x="188" y="167"/>
                      <a:pt x="187" y="166"/>
                    </a:cubicBezTo>
                    <a:cubicBezTo>
                      <a:pt x="186" y="164"/>
                      <a:pt x="188" y="162"/>
                      <a:pt x="190" y="161"/>
                    </a:cubicBezTo>
                    <a:cubicBezTo>
                      <a:pt x="191" y="160"/>
                      <a:pt x="193" y="159"/>
                      <a:pt x="194" y="157"/>
                    </a:cubicBezTo>
                    <a:cubicBezTo>
                      <a:pt x="197" y="153"/>
                      <a:pt x="190" y="149"/>
                      <a:pt x="189" y="146"/>
                    </a:cubicBezTo>
                    <a:cubicBezTo>
                      <a:pt x="187" y="140"/>
                      <a:pt x="185" y="134"/>
                      <a:pt x="186" y="127"/>
                    </a:cubicBezTo>
                    <a:cubicBezTo>
                      <a:pt x="186" y="125"/>
                      <a:pt x="186" y="122"/>
                      <a:pt x="188" y="120"/>
                    </a:cubicBezTo>
                    <a:cubicBezTo>
                      <a:pt x="189" y="117"/>
                      <a:pt x="191" y="116"/>
                      <a:pt x="192" y="114"/>
                    </a:cubicBezTo>
                    <a:cubicBezTo>
                      <a:pt x="194" y="112"/>
                      <a:pt x="193" y="109"/>
                      <a:pt x="191" y="108"/>
                    </a:cubicBezTo>
                    <a:cubicBezTo>
                      <a:pt x="188" y="107"/>
                      <a:pt x="185" y="107"/>
                      <a:pt x="182" y="107"/>
                    </a:cubicBezTo>
                    <a:cubicBezTo>
                      <a:pt x="179" y="108"/>
                      <a:pt x="176" y="108"/>
                      <a:pt x="173" y="108"/>
                    </a:cubicBezTo>
                    <a:cubicBezTo>
                      <a:pt x="170" y="109"/>
                      <a:pt x="168" y="110"/>
                      <a:pt x="165" y="110"/>
                    </a:cubicBezTo>
                    <a:cubicBezTo>
                      <a:pt x="159" y="110"/>
                      <a:pt x="155" y="105"/>
                      <a:pt x="152" y="101"/>
                    </a:cubicBezTo>
                    <a:cubicBezTo>
                      <a:pt x="151" y="99"/>
                      <a:pt x="150" y="96"/>
                      <a:pt x="147" y="95"/>
                    </a:cubicBezTo>
                    <a:cubicBezTo>
                      <a:pt x="145" y="94"/>
                      <a:pt x="141" y="93"/>
                      <a:pt x="139" y="94"/>
                    </a:cubicBezTo>
                    <a:cubicBezTo>
                      <a:pt x="136" y="94"/>
                      <a:pt x="133" y="95"/>
                      <a:pt x="131" y="95"/>
                    </a:cubicBezTo>
                    <a:cubicBezTo>
                      <a:pt x="128" y="95"/>
                      <a:pt x="124" y="95"/>
                      <a:pt x="121" y="95"/>
                    </a:cubicBezTo>
                    <a:cubicBezTo>
                      <a:pt x="119" y="94"/>
                      <a:pt x="116" y="94"/>
                      <a:pt x="115" y="92"/>
                    </a:cubicBezTo>
                    <a:cubicBezTo>
                      <a:pt x="114" y="91"/>
                      <a:pt x="114" y="90"/>
                      <a:pt x="113" y="89"/>
                    </a:cubicBezTo>
                    <a:cubicBezTo>
                      <a:pt x="112" y="88"/>
                      <a:pt x="110" y="88"/>
                      <a:pt x="110" y="87"/>
                    </a:cubicBezTo>
                    <a:cubicBezTo>
                      <a:pt x="108" y="85"/>
                      <a:pt x="108" y="82"/>
                      <a:pt x="108" y="80"/>
                    </a:cubicBezTo>
                    <a:cubicBezTo>
                      <a:pt x="109" y="78"/>
                      <a:pt x="110" y="75"/>
                      <a:pt x="109" y="73"/>
                    </a:cubicBezTo>
                    <a:cubicBezTo>
                      <a:pt x="109" y="70"/>
                      <a:pt x="107" y="68"/>
                      <a:pt x="106" y="65"/>
                    </a:cubicBezTo>
                    <a:cubicBezTo>
                      <a:pt x="105" y="63"/>
                      <a:pt x="103" y="60"/>
                      <a:pt x="101" y="58"/>
                    </a:cubicBezTo>
                    <a:cubicBezTo>
                      <a:pt x="99" y="56"/>
                      <a:pt x="97" y="58"/>
                      <a:pt x="94" y="58"/>
                    </a:cubicBezTo>
                    <a:cubicBezTo>
                      <a:pt x="91" y="58"/>
                      <a:pt x="91" y="55"/>
                      <a:pt x="93" y="53"/>
                    </a:cubicBezTo>
                    <a:cubicBezTo>
                      <a:pt x="94" y="51"/>
                      <a:pt x="96" y="50"/>
                      <a:pt x="98" y="47"/>
                    </a:cubicBezTo>
                    <a:cubicBezTo>
                      <a:pt x="99" y="45"/>
                      <a:pt x="99" y="42"/>
                      <a:pt x="99" y="39"/>
                    </a:cubicBezTo>
                    <a:cubicBezTo>
                      <a:pt x="100" y="37"/>
                      <a:pt x="100" y="34"/>
                      <a:pt x="102" y="31"/>
                    </a:cubicBezTo>
                    <a:cubicBezTo>
                      <a:pt x="103" y="29"/>
                      <a:pt x="104" y="26"/>
                      <a:pt x="106" y="24"/>
                    </a:cubicBezTo>
                    <a:cubicBezTo>
                      <a:pt x="107" y="23"/>
                      <a:pt x="108" y="23"/>
                      <a:pt x="109" y="23"/>
                    </a:cubicBezTo>
                    <a:cubicBezTo>
                      <a:pt x="110" y="22"/>
                      <a:pt x="111" y="21"/>
                      <a:pt x="111" y="20"/>
                    </a:cubicBezTo>
                    <a:cubicBezTo>
                      <a:pt x="113" y="18"/>
                      <a:pt x="114" y="15"/>
                      <a:pt x="116" y="14"/>
                    </a:cubicBezTo>
                    <a:cubicBezTo>
                      <a:pt x="118" y="12"/>
                      <a:pt x="121" y="11"/>
                      <a:pt x="124" y="11"/>
                    </a:cubicBezTo>
                    <a:cubicBezTo>
                      <a:pt x="125" y="10"/>
                      <a:pt x="130" y="10"/>
                      <a:pt x="130" y="8"/>
                    </a:cubicBezTo>
                    <a:cubicBezTo>
                      <a:pt x="131" y="6"/>
                      <a:pt x="130" y="4"/>
                      <a:pt x="129" y="2"/>
                    </a:cubicBezTo>
                    <a:cubicBezTo>
                      <a:pt x="127" y="0"/>
                      <a:pt x="124" y="0"/>
                      <a:pt x="122" y="1"/>
                    </a:cubicBezTo>
                    <a:cubicBezTo>
                      <a:pt x="119" y="1"/>
                      <a:pt x="116" y="2"/>
                      <a:pt x="115" y="4"/>
                    </a:cubicBezTo>
                    <a:cubicBezTo>
                      <a:pt x="113" y="6"/>
                      <a:pt x="112" y="9"/>
                      <a:pt x="110" y="10"/>
                    </a:cubicBezTo>
                    <a:cubicBezTo>
                      <a:pt x="108" y="12"/>
                      <a:pt x="106" y="12"/>
                      <a:pt x="104" y="13"/>
                    </a:cubicBezTo>
                    <a:cubicBezTo>
                      <a:pt x="102" y="14"/>
                      <a:pt x="100" y="17"/>
                      <a:pt x="98" y="18"/>
                    </a:cubicBezTo>
                    <a:cubicBezTo>
                      <a:pt x="93" y="22"/>
                      <a:pt x="88" y="19"/>
                      <a:pt x="83" y="20"/>
                    </a:cubicBezTo>
                    <a:cubicBezTo>
                      <a:pt x="81" y="20"/>
                      <a:pt x="79" y="21"/>
                      <a:pt x="79" y="24"/>
                    </a:cubicBezTo>
                    <a:cubicBezTo>
                      <a:pt x="78" y="26"/>
                      <a:pt x="78" y="29"/>
                      <a:pt x="76" y="29"/>
                    </a:cubicBezTo>
                    <a:cubicBezTo>
                      <a:pt x="75" y="29"/>
                      <a:pt x="72" y="29"/>
                      <a:pt x="73" y="28"/>
                    </a:cubicBezTo>
                    <a:cubicBezTo>
                      <a:pt x="74" y="28"/>
                      <a:pt x="77" y="26"/>
                      <a:pt x="75" y="25"/>
                    </a:cubicBezTo>
                    <a:cubicBezTo>
                      <a:pt x="70" y="22"/>
                      <a:pt x="67" y="26"/>
                      <a:pt x="63" y="28"/>
                    </a:cubicBezTo>
                    <a:cubicBezTo>
                      <a:pt x="61" y="29"/>
                      <a:pt x="60" y="31"/>
                      <a:pt x="58" y="33"/>
                    </a:cubicBezTo>
                    <a:cubicBezTo>
                      <a:pt x="57" y="34"/>
                      <a:pt x="54" y="36"/>
                      <a:pt x="55" y="38"/>
                    </a:cubicBezTo>
                    <a:cubicBezTo>
                      <a:pt x="56" y="40"/>
                      <a:pt x="57" y="41"/>
                      <a:pt x="55" y="43"/>
                    </a:cubicBezTo>
                    <a:cubicBezTo>
                      <a:pt x="55" y="45"/>
                      <a:pt x="53" y="46"/>
                      <a:pt x="54" y="47"/>
                    </a:cubicBezTo>
                    <a:cubicBezTo>
                      <a:pt x="56" y="49"/>
                      <a:pt x="55" y="51"/>
                      <a:pt x="54" y="52"/>
                    </a:cubicBezTo>
                    <a:cubicBezTo>
                      <a:pt x="53" y="53"/>
                      <a:pt x="52" y="54"/>
                      <a:pt x="51" y="53"/>
                    </a:cubicBezTo>
                    <a:cubicBezTo>
                      <a:pt x="50" y="53"/>
                      <a:pt x="49" y="53"/>
                      <a:pt x="48" y="54"/>
                    </a:cubicBezTo>
                    <a:cubicBezTo>
                      <a:pt x="46" y="55"/>
                      <a:pt x="45" y="58"/>
                      <a:pt x="44" y="60"/>
                    </a:cubicBezTo>
                    <a:cubicBezTo>
                      <a:pt x="44" y="62"/>
                      <a:pt x="43" y="64"/>
                      <a:pt x="41" y="64"/>
                    </a:cubicBezTo>
                    <a:cubicBezTo>
                      <a:pt x="39" y="64"/>
                      <a:pt x="36" y="64"/>
                      <a:pt x="34" y="66"/>
                    </a:cubicBezTo>
                    <a:cubicBezTo>
                      <a:pt x="33" y="67"/>
                      <a:pt x="35" y="69"/>
                      <a:pt x="36" y="70"/>
                    </a:cubicBezTo>
                    <a:cubicBezTo>
                      <a:pt x="36" y="71"/>
                      <a:pt x="37" y="77"/>
                      <a:pt x="35" y="77"/>
                    </a:cubicBezTo>
                    <a:cubicBezTo>
                      <a:pt x="33" y="77"/>
                      <a:pt x="32" y="74"/>
                      <a:pt x="32" y="72"/>
                    </a:cubicBezTo>
                    <a:cubicBezTo>
                      <a:pt x="30" y="70"/>
                      <a:pt x="28" y="69"/>
                      <a:pt x="26" y="67"/>
                    </a:cubicBezTo>
                    <a:cubicBezTo>
                      <a:pt x="26" y="67"/>
                      <a:pt x="26" y="67"/>
                      <a:pt x="26" y="67"/>
                    </a:cubicBezTo>
                    <a:cubicBezTo>
                      <a:pt x="26" y="69"/>
                      <a:pt x="26" y="67"/>
                      <a:pt x="26" y="67"/>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18" name="Freeform 18">
                <a:extLst>
                  <a:ext uri="{FF2B5EF4-FFF2-40B4-BE49-F238E27FC236}">
                    <a16:creationId xmlns:a16="http://schemas.microsoft.com/office/drawing/2014/main" id="{262872CC-54EC-64E2-D598-857D9DC24544}"/>
                  </a:ext>
                </a:extLst>
              </p:cNvPr>
              <p:cNvSpPr/>
              <p:nvPr>
                <p:custDataLst>
                  <p:tags r:id="rId156"/>
                </p:custDataLst>
              </p:nvPr>
            </p:nvSpPr>
            <p:spPr bwMode="auto">
              <a:xfrm>
                <a:off x="3608221" y="4096843"/>
                <a:ext cx="341846" cy="293376"/>
              </a:xfrm>
              <a:custGeom>
                <a:avLst/>
                <a:gdLst>
                  <a:gd name="T0" fmla="*/ 14 w 230"/>
                  <a:gd name="T1" fmla="*/ 22 h 197"/>
                  <a:gd name="T2" fmla="*/ 4 w 230"/>
                  <a:gd name="T3" fmla="*/ 46 h 197"/>
                  <a:gd name="T4" fmla="*/ 9 w 230"/>
                  <a:gd name="T5" fmla="*/ 52 h 197"/>
                  <a:gd name="T6" fmla="*/ 18 w 230"/>
                  <a:gd name="T7" fmla="*/ 79 h 197"/>
                  <a:gd name="T8" fmla="*/ 27 w 230"/>
                  <a:gd name="T9" fmla="*/ 87 h 197"/>
                  <a:gd name="T10" fmla="*/ 58 w 230"/>
                  <a:gd name="T11" fmla="*/ 91 h 197"/>
                  <a:gd name="T12" fmla="*/ 84 w 230"/>
                  <a:gd name="T13" fmla="*/ 101 h 197"/>
                  <a:gd name="T14" fmla="*/ 102 w 230"/>
                  <a:gd name="T15" fmla="*/ 108 h 197"/>
                  <a:gd name="T16" fmla="*/ 98 w 230"/>
                  <a:gd name="T17" fmla="*/ 140 h 197"/>
                  <a:gd name="T18" fmla="*/ 99 w 230"/>
                  <a:gd name="T19" fmla="*/ 157 h 197"/>
                  <a:gd name="T20" fmla="*/ 109 w 230"/>
                  <a:gd name="T21" fmla="*/ 178 h 197"/>
                  <a:gd name="T22" fmla="*/ 122 w 230"/>
                  <a:gd name="T23" fmla="*/ 194 h 197"/>
                  <a:gd name="T24" fmla="*/ 135 w 230"/>
                  <a:gd name="T25" fmla="*/ 197 h 197"/>
                  <a:gd name="T26" fmla="*/ 153 w 230"/>
                  <a:gd name="T27" fmla="*/ 184 h 197"/>
                  <a:gd name="T28" fmla="*/ 165 w 230"/>
                  <a:gd name="T29" fmla="*/ 173 h 197"/>
                  <a:gd name="T30" fmla="*/ 159 w 230"/>
                  <a:gd name="T31" fmla="*/ 164 h 197"/>
                  <a:gd name="T32" fmla="*/ 149 w 230"/>
                  <a:gd name="T33" fmla="*/ 142 h 197"/>
                  <a:gd name="T34" fmla="*/ 165 w 230"/>
                  <a:gd name="T35" fmla="*/ 140 h 197"/>
                  <a:gd name="T36" fmla="*/ 178 w 230"/>
                  <a:gd name="T37" fmla="*/ 145 h 197"/>
                  <a:gd name="T38" fmla="*/ 201 w 230"/>
                  <a:gd name="T39" fmla="*/ 134 h 197"/>
                  <a:gd name="T40" fmla="*/ 215 w 230"/>
                  <a:gd name="T41" fmla="*/ 121 h 197"/>
                  <a:gd name="T42" fmla="*/ 207 w 230"/>
                  <a:gd name="T43" fmla="*/ 103 h 197"/>
                  <a:gd name="T44" fmla="*/ 221 w 230"/>
                  <a:gd name="T45" fmla="*/ 87 h 197"/>
                  <a:gd name="T46" fmla="*/ 217 w 230"/>
                  <a:gd name="T47" fmla="*/ 76 h 197"/>
                  <a:gd name="T48" fmla="*/ 229 w 230"/>
                  <a:gd name="T49" fmla="*/ 68 h 197"/>
                  <a:gd name="T50" fmla="*/ 220 w 230"/>
                  <a:gd name="T51" fmla="*/ 61 h 197"/>
                  <a:gd name="T52" fmla="*/ 202 w 230"/>
                  <a:gd name="T53" fmla="*/ 63 h 197"/>
                  <a:gd name="T54" fmla="*/ 209 w 230"/>
                  <a:gd name="T55" fmla="*/ 56 h 197"/>
                  <a:gd name="T56" fmla="*/ 208 w 230"/>
                  <a:gd name="T57" fmla="*/ 44 h 197"/>
                  <a:gd name="T58" fmla="*/ 200 w 230"/>
                  <a:gd name="T59" fmla="*/ 41 h 197"/>
                  <a:gd name="T60" fmla="*/ 190 w 230"/>
                  <a:gd name="T61" fmla="*/ 42 h 197"/>
                  <a:gd name="T62" fmla="*/ 183 w 230"/>
                  <a:gd name="T63" fmla="*/ 36 h 197"/>
                  <a:gd name="T64" fmla="*/ 179 w 230"/>
                  <a:gd name="T65" fmla="*/ 32 h 197"/>
                  <a:gd name="T66" fmla="*/ 190 w 230"/>
                  <a:gd name="T67" fmla="*/ 27 h 197"/>
                  <a:gd name="T68" fmla="*/ 183 w 230"/>
                  <a:gd name="T69" fmla="*/ 25 h 197"/>
                  <a:gd name="T70" fmla="*/ 159 w 230"/>
                  <a:gd name="T71" fmla="*/ 27 h 197"/>
                  <a:gd name="T72" fmla="*/ 142 w 230"/>
                  <a:gd name="T73" fmla="*/ 36 h 197"/>
                  <a:gd name="T74" fmla="*/ 110 w 230"/>
                  <a:gd name="T75" fmla="*/ 28 h 197"/>
                  <a:gd name="T76" fmla="*/ 88 w 230"/>
                  <a:gd name="T77" fmla="*/ 25 h 197"/>
                  <a:gd name="T78" fmla="*/ 70 w 230"/>
                  <a:gd name="T79" fmla="*/ 12 h 197"/>
                  <a:gd name="T80" fmla="*/ 57 w 230"/>
                  <a:gd name="T81" fmla="*/ 0 h 197"/>
                  <a:gd name="T82" fmla="*/ 55 w 230"/>
                  <a:gd name="T83" fmla="*/ 14 h 197"/>
                  <a:gd name="T84" fmla="*/ 37 w 230"/>
                  <a:gd name="T85" fmla="*/ 20 h 197"/>
                  <a:gd name="T86" fmla="*/ 37 w 230"/>
                  <a:gd name="T87" fmla="*/ 38 h 197"/>
                  <a:gd name="T88" fmla="*/ 30 w 230"/>
                  <a:gd name="T89" fmla="*/ 54 h 197"/>
                  <a:gd name="T90" fmla="*/ 23 w 230"/>
                  <a:gd name="T91" fmla="*/ 41 h 197"/>
                  <a:gd name="T92" fmla="*/ 29 w 230"/>
                  <a:gd name="T93" fmla="*/ 22 h 197"/>
                  <a:gd name="T94" fmla="*/ 25 w 230"/>
                  <a:gd name="T95" fmla="*/ 11 h 197"/>
                  <a:gd name="T96" fmla="*/ 25 w 230"/>
                  <a:gd name="T97" fmla="*/ 1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0" h="197">
                    <a:moveTo>
                      <a:pt x="25" y="10"/>
                    </a:moveTo>
                    <a:cubicBezTo>
                      <a:pt x="21" y="11"/>
                      <a:pt x="21" y="16"/>
                      <a:pt x="19" y="19"/>
                    </a:cubicBezTo>
                    <a:cubicBezTo>
                      <a:pt x="17" y="20"/>
                      <a:pt x="15" y="20"/>
                      <a:pt x="14" y="22"/>
                    </a:cubicBezTo>
                    <a:cubicBezTo>
                      <a:pt x="13" y="24"/>
                      <a:pt x="11" y="26"/>
                      <a:pt x="10" y="28"/>
                    </a:cubicBezTo>
                    <a:cubicBezTo>
                      <a:pt x="8" y="32"/>
                      <a:pt x="9" y="37"/>
                      <a:pt x="8" y="41"/>
                    </a:cubicBezTo>
                    <a:cubicBezTo>
                      <a:pt x="7" y="43"/>
                      <a:pt x="6" y="45"/>
                      <a:pt x="4" y="46"/>
                    </a:cubicBezTo>
                    <a:cubicBezTo>
                      <a:pt x="4" y="47"/>
                      <a:pt x="0" y="50"/>
                      <a:pt x="1" y="51"/>
                    </a:cubicBezTo>
                    <a:cubicBezTo>
                      <a:pt x="1" y="51"/>
                      <a:pt x="4" y="50"/>
                      <a:pt x="4" y="50"/>
                    </a:cubicBezTo>
                    <a:cubicBezTo>
                      <a:pt x="6" y="50"/>
                      <a:pt x="8" y="50"/>
                      <a:pt x="9" y="52"/>
                    </a:cubicBezTo>
                    <a:cubicBezTo>
                      <a:pt x="11" y="53"/>
                      <a:pt x="13" y="56"/>
                      <a:pt x="14" y="58"/>
                    </a:cubicBezTo>
                    <a:cubicBezTo>
                      <a:pt x="15" y="61"/>
                      <a:pt x="17" y="63"/>
                      <a:pt x="18" y="66"/>
                    </a:cubicBezTo>
                    <a:cubicBezTo>
                      <a:pt x="20" y="71"/>
                      <a:pt x="16" y="75"/>
                      <a:pt x="18" y="79"/>
                    </a:cubicBezTo>
                    <a:cubicBezTo>
                      <a:pt x="18" y="81"/>
                      <a:pt x="21" y="82"/>
                      <a:pt x="22" y="83"/>
                    </a:cubicBezTo>
                    <a:cubicBezTo>
                      <a:pt x="23" y="84"/>
                      <a:pt x="23" y="85"/>
                      <a:pt x="24" y="86"/>
                    </a:cubicBezTo>
                    <a:cubicBezTo>
                      <a:pt x="24" y="87"/>
                      <a:pt x="26" y="87"/>
                      <a:pt x="27" y="87"/>
                    </a:cubicBezTo>
                    <a:cubicBezTo>
                      <a:pt x="30" y="88"/>
                      <a:pt x="33" y="88"/>
                      <a:pt x="36" y="88"/>
                    </a:cubicBezTo>
                    <a:cubicBezTo>
                      <a:pt x="39" y="88"/>
                      <a:pt x="41" y="87"/>
                      <a:pt x="44" y="86"/>
                    </a:cubicBezTo>
                    <a:cubicBezTo>
                      <a:pt x="49" y="86"/>
                      <a:pt x="55" y="87"/>
                      <a:pt x="58" y="91"/>
                    </a:cubicBezTo>
                    <a:cubicBezTo>
                      <a:pt x="61" y="94"/>
                      <a:pt x="63" y="99"/>
                      <a:pt x="67" y="102"/>
                    </a:cubicBezTo>
                    <a:cubicBezTo>
                      <a:pt x="70" y="103"/>
                      <a:pt x="72" y="103"/>
                      <a:pt x="75" y="102"/>
                    </a:cubicBezTo>
                    <a:cubicBezTo>
                      <a:pt x="78" y="102"/>
                      <a:pt x="81" y="101"/>
                      <a:pt x="84" y="101"/>
                    </a:cubicBezTo>
                    <a:cubicBezTo>
                      <a:pt x="87" y="100"/>
                      <a:pt x="90" y="100"/>
                      <a:pt x="93" y="100"/>
                    </a:cubicBezTo>
                    <a:cubicBezTo>
                      <a:pt x="95" y="100"/>
                      <a:pt x="98" y="100"/>
                      <a:pt x="100" y="102"/>
                    </a:cubicBezTo>
                    <a:cubicBezTo>
                      <a:pt x="102" y="103"/>
                      <a:pt x="103" y="106"/>
                      <a:pt x="102" y="108"/>
                    </a:cubicBezTo>
                    <a:cubicBezTo>
                      <a:pt x="101" y="111"/>
                      <a:pt x="99" y="113"/>
                      <a:pt x="97" y="115"/>
                    </a:cubicBezTo>
                    <a:cubicBezTo>
                      <a:pt x="94" y="119"/>
                      <a:pt x="95" y="127"/>
                      <a:pt x="96" y="132"/>
                    </a:cubicBezTo>
                    <a:cubicBezTo>
                      <a:pt x="96" y="135"/>
                      <a:pt x="97" y="138"/>
                      <a:pt x="98" y="140"/>
                    </a:cubicBezTo>
                    <a:cubicBezTo>
                      <a:pt x="99" y="142"/>
                      <a:pt x="101" y="144"/>
                      <a:pt x="103" y="146"/>
                    </a:cubicBezTo>
                    <a:cubicBezTo>
                      <a:pt x="104" y="147"/>
                      <a:pt x="105" y="149"/>
                      <a:pt x="104" y="152"/>
                    </a:cubicBezTo>
                    <a:cubicBezTo>
                      <a:pt x="103" y="154"/>
                      <a:pt x="101" y="156"/>
                      <a:pt x="99" y="157"/>
                    </a:cubicBezTo>
                    <a:cubicBezTo>
                      <a:pt x="99" y="157"/>
                      <a:pt x="95" y="159"/>
                      <a:pt x="97" y="160"/>
                    </a:cubicBezTo>
                    <a:cubicBezTo>
                      <a:pt x="99" y="161"/>
                      <a:pt x="101" y="162"/>
                      <a:pt x="103" y="164"/>
                    </a:cubicBezTo>
                    <a:cubicBezTo>
                      <a:pt x="106" y="168"/>
                      <a:pt x="107" y="173"/>
                      <a:pt x="109" y="178"/>
                    </a:cubicBezTo>
                    <a:cubicBezTo>
                      <a:pt x="109" y="180"/>
                      <a:pt x="110" y="183"/>
                      <a:pt x="111" y="185"/>
                    </a:cubicBezTo>
                    <a:cubicBezTo>
                      <a:pt x="112" y="187"/>
                      <a:pt x="114" y="189"/>
                      <a:pt x="116" y="191"/>
                    </a:cubicBezTo>
                    <a:cubicBezTo>
                      <a:pt x="118" y="192"/>
                      <a:pt x="120" y="194"/>
                      <a:pt x="122" y="194"/>
                    </a:cubicBezTo>
                    <a:cubicBezTo>
                      <a:pt x="125" y="194"/>
                      <a:pt x="128" y="192"/>
                      <a:pt x="131" y="192"/>
                    </a:cubicBezTo>
                    <a:cubicBezTo>
                      <a:pt x="133" y="191"/>
                      <a:pt x="134" y="192"/>
                      <a:pt x="134" y="195"/>
                    </a:cubicBezTo>
                    <a:cubicBezTo>
                      <a:pt x="134" y="195"/>
                      <a:pt x="134" y="197"/>
                      <a:pt x="135" y="197"/>
                    </a:cubicBezTo>
                    <a:cubicBezTo>
                      <a:pt x="136" y="196"/>
                      <a:pt x="136" y="195"/>
                      <a:pt x="137" y="194"/>
                    </a:cubicBezTo>
                    <a:cubicBezTo>
                      <a:pt x="140" y="190"/>
                      <a:pt x="145" y="186"/>
                      <a:pt x="150" y="184"/>
                    </a:cubicBezTo>
                    <a:cubicBezTo>
                      <a:pt x="151" y="184"/>
                      <a:pt x="152" y="184"/>
                      <a:pt x="153" y="184"/>
                    </a:cubicBezTo>
                    <a:cubicBezTo>
                      <a:pt x="154" y="183"/>
                      <a:pt x="155" y="182"/>
                      <a:pt x="155" y="181"/>
                    </a:cubicBezTo>
                    <a:cubicBezTo>
                      <a:pt x="156" y="179"/>
                      <a:pt x="156" y="177"/>
                      <a:pt x="158" y="175"/>
                    </a:cubicBezTo>
                    <a:cubicBezTo>
                      <a:pt x="160" y="174"/>
                      <a:pt x="162" y="173"/>
                      <a:pt x="165" y="173"/>
                    </a:cubicBezTo>
                    <a:cubicBezTo>
                      <a:pt x="166" y="172"/>
                      <a:pt x="170" y="171"/>
                      <a:pt x="169" y="170"/>
                    </a:cubicBezTo>
                    <a:cubicBezTo>
                      <a:pt x="168" y="168"/>
                      <a:pt x="163" y="169"/>
                      <a:pt x="161" y="169"/>
                    </a:cubicBezTo>
                    <a:cubicBezTo>
                      <a:pt x="159" y="169"/>
                      <a:pt x="159" y="166"/>
                      <a:pt x="159" y="164"/>
                    </a:cubicBezTo>
                    <a:cubicBezTo>
                      <a:pt x="159" y="161"/>
                      <a:pt x="159" y="158"/>
                      <a:pt x="158" y="155"/>
                    </a:cubicBezTo>
                    <a:cubicBezTo>
                      <a:pt x="158" y="152"/>
                      <a:pt x="158" y="150"/>
                      <a:pt x="156" y="148"/>
                    </a:cubicBezTo>
                    <a:cubicBezTo>
                      <a:pt x="153" y="146"/>
                      <a:pt x="151" y="144"/>
                      <a:pt x="149" y="142"/>
                    </a:cubicBezTo>
                    <a:cubicBezTo>
                      <a:pt x="147" y="140"/>
                      <a:pt x="146" y="135"/>
                      <a:pt x="151" y="136"/>
                    </a:cubicBezTo>
                    <a:cubicBezTo>
                      <a:pt x="153" y="136"/>
                      <a:pt x="155" y="138"/>
                      <a:pt x="157" y="139"/>
                    </a:cubicBezTo>
                    <a:cubicBezTo>
                      <a:pt x="159" y="140"/>
                      <a:pt x="162" y="140"/>
                      <a:pt x="165" y="140"/>
                    </a:cubicBezTo>
                    <a:cubicBezTo>
                      <a:pt x="168" y="139"/>
                      <a:pt x="170" y="140"/>
                      <a:pt x="172" y="142"/>
                    </a:cubicBezTo>
                    <a:cubicBezTo>
                      <a:pt x="174" y="143"/>
                      <a:pt x="175" y="144"/>
                      <a:pt x="177" y="145"/>
                    </a:cubicBezTo>
                    <a:cubicBezTo>
                      <a:pt x="177" y="145"/>
                      <a:pt x="178" y="145"/>
                      <a:pt x="178" y="145"/>
                    </a:cubicBezTo>
                    <a:cubicBezTo>
                      <a:pt x="179" y="145"/>
                      <a:pt x="179" y="143"/>
                      <a:pt x="180" y="143"/>
                    </a:cubicBezTo>
                    <a:cubicBezTo>
                      <a:pt x="180" y="140"/>
                      <a:pt x="181" y="138"/>
                      <a:pt x="184" y="138"/>
                    </a:cubicBezTo>
                    <a:cubicBezTo>
                      <a:pt x="189" y="136"/>
                      <a:pt x="196" y="138"/>
                      <a:pt x="201" y="134"/>
                    </a:cubicBezTo>
                    <a:cubicBezTo>
                      <a:pt x="204" y="133"/>
                      <a:pt x="205" y="131"/>
                      <a:pt x="208" y="131"/>
                    </a:cubicBezTo>
                    <a:cubicBezTo>
                      <a:pt x="211" y="130"/>
                      <a:pt x="213" y="130"/>
                      <a:pt x="214" y="127"/>
                    </a:cubicBezTo>
                    <a:cubicBezTo>
                      <a:pt x="215" y="125"/>
                      <a:pt x="216" y="123"/>
                      <a:pt x="215" y="121"/>
                    </a:cubicBezTo>
                    <a:cubicBezTo>
                      <a:pt x="214" y="119"/>
                      <a:pt x="212" y="117"/>
                      <a:pt x="210" y="115"/>
                    </a:cubicBezTo>
                    <a:cubicBezTo>
                      <a:pt x="208" y="114"/>
                      <a:pt x="206" y="112"/>
                      <a:pt x="204" y="110"/>
                    </a:cubicBezTo>
                    <a:cubicBezTo>
                      <a:pt x="203" y="107"/>
                      <a:pt x="206" y="105"/>
                      <a:pt x="207" y="103"/>
                    </a:cubicBezTo>
                    <a:cubicBezTo>
                      <a:pt x="208" y="102"/>
                      <a:pt x="207" y="99"/>
                      <a:pt x="208" y="98"/>
                    </a:cubicBezTo>
                    <a:cubicBezTo>
                      <a:pt x="208" y="95"/>
                      <a:pt x="208" y="93"/>
                      <a:pt x="211" y="92"/>
                    </a:cubicBezTo>
                    <a:cubicBezTo>
                      <a:pt x="212" y="92"/>
                      <a:pt x="222" y="90"/>
                      <a:pt x="221" y="87"/>
                    </a:cubicBezTo>
                    <a:cubicBezTo>
                      <a:pt x="220" y="87"/>
                      <a:pt x="219" y="87"/>
                      <a:pt x="218" y="86"/>
                    </a:cubicBezTo>
                    <a:cubicBezTo>
                      <a:pt x="217" y="85"/>
                      <a:pt x="216" y="84"/>
                      <a:pt x="216" y="83"/>
                    </a:cubicBezTo>
                    <a:cubicBezTo>
                      <a:pt x="215" y="81"/>
                      <a:pt x="216" y="78"/>
                      <a:pt x="217" y="76"/>
                    </a:cubicBezTo>
                    <a:cubicBezTo>
                      <a:pt x="219" y="74"/>
                      <a:pt x="221" y="73"/>
                      <a:pt x="223" y="72"/>
                    </a:cubicBezTo>
                    <a:cubicBezTo>
                      <a:pt x="224" y="72"/>
                      <a:pt x="226" y="72"/>
                      <a:pt x="227" y="71"/>
                    </a:cubicBezTo>
                    <a:cubicBezTo>
                      <a:pt x="228" y="70"/>
                      <a:pt x="228" y="69"/>
                      <a:pt x="229" y="68"/>
                    </a:cubicBezTo>
                    <a:cubicBezTo>
                      <a:pt x="229" y="67"/>
                      <a:pt x="230" y="65"/>
                      <a:pt x="230" y="65"/>
                    </a:cubicBezTo>
                    <a:cubicBezTo>
                      <a:pt x="230" y="64"/>
                      <a:pt x="229" y="63"/>
                      <a:pt x="228" y="63"/>
                    </a:cubicBezTo>
                    <a:cubicBezTo>
                      <a:pt x="226" y="61"/>
                      <a:pt x="223" y="61"/>
                      <a:pt x="220" y="61"/>
                    </a:cubicBezTo>
                    <a:cubicBezTo>
                      <a:pt x="217" y="62"/>
                      <a:pt x="214" y="61"/>
                      <a:pt x="212" y="63"/>
                    </a:cubicBezTo>
                    <a:cubicBezTo>
                      <a:pt x="209" y="64"/>
                      <a:pt x="207" y="65"/>
                      <a:pt x="204" y="64"/>
                    </a:cubicBezTo>
                    <a:cubicBezTo>
                      <a:pt x="203" y="64"/>
                      <a:pt x="202" y="64"/>
                      <a:pt x="202" y="63"/>
                    </a:cubicBezTo>
                    <a:cubicBezTo>
                      <a:pt x="202" y="62"/>
                      <a:pt x="201" y="61"/>
                      <a:pt x="202" y="61"/>
                    </a:cubicBezTo>
                    <a:cubicBezTo>
                      <a:pt x="204" y="61"/>
                      <a:pt x="205" y="62"/>
                      <a:pt x="207" y="61"/>
                    </a:cubicBezTo>
                    <a:cubicBezTo>
                      <a:pt x="209" y="60"/>
                      <a:pt x="209" y="58"/>
                      <a:pt x="209" y="56"/>
                    </a:cubicBezTo>
                    <a:cubicBezTo>
                      <a:pt x="209" y="53"/>
                      <a:pt x="210" y="53"/>
                      <a:pt x="212" y="52"/>
                    </a:cubicBezTo>
                    <a:cubicBezTo>
                      <a:pt x="213" y="51"/>
                      <a:pt x="215" y="49"/>
                      <a:pt x="214" y="47"/>
                    </a:cubicBezTo>
                    <a:cubicBezTo>
                      <a:pt x="213" y="45"/>
                      <a:pt x="210" y="45"/>
                      <a:pt x="208" y="44"/>
                    </a:cubicBezTo>
                    <a:cubicBezTo>
                      <a:pt x="207" y="43"/>
                      <a:pt x="206" y="43"/>
                      <a:pt x="205" y="43"/>
                    </a:cubicBezTo>
                    <a:cubicBezTo>
                      <a:pt x="204" y="42"/>
                      <a:pt x="204" y="41"/>
                      <a:pt x="204" y="41"/>
                    </a:cubicBezTo>
                    <a:cubicBezTo>
                      <a:pt x="203" y="39"/>
                      <a:pt x="201" y="41"/>
                      <a:pt x="200" y="41"/>
                    </a:cubicBezTo>
                    <a:cubicBezTo>
                      <a:pt x="199" y="42"/>
                      <a:pt x="197" y="43"/>
                      <a:pt x="196" y="42"/>
                    </a:cubicBezTo>
                    <a:cubicBezTo>
                      <a:pt x="195" y="41"/>
                      <a:pt x="193" y="37"/>
                      <a:pt x="191" y="38"/>
                    </a:cubicBezTo>
                    <a:cubicBezTo>
                      <a:pt x="189" y="39"/>
                      <a:pt x="191" y="41"/>
                      <a:pt x="190" y="42"/>
                    </a:cubicBezTo>
                    <a:cubicBezTo>
                      <a:pt x="189" y="42"/>
                      <a:pt x="188" y="42"/>
                      <a:pt x="188" y="41"/>
                    </a:cubicBezTo>
                    <a:cubicBezTo>
                      <a:pt x="187" y="41"/>
                      <a:pt x="187" y="40"/>
                      <a:pt x="187" y="39"/>
                    </a:cubicBezTo>
                    <a:cubicBezTo>
                      <a:pt x="187" y="37"/>
                      <a:pt x="185" y="35"/>
                      <a:pt x="183" y="36"/>
                    </a:cubicBezTo>
                    <a:cubicBezTo>
                      <a:pt x="182" y="37"/>
                      <a:pt x="179" y="40"/>
                      <a:pt x="179" y="37"/>
                    </a:cubicBezTo>
                    <a:cubicBezTo>
                      <a:pt x="179" y="34"/>
                      <a:pt x="182" y="36"/>
                      <a:pt x="182" y="34"/>
                    </a:cubicBezTo>
                    <a:cubicBezTo>
                      <a:pt x="182" y="32"/>
                      <a:pt x="179" y="33"/>
                      <a:pt x="179" y="32"/>
                    </a:cubicBezTo>
                    <a:cubicBezTo>
                      <a:pt x="179" y="30"/>
                      <a:pt x="177" y="28"/>
                      <a:pt x="179" y="28"/>
                    </a:cubicBezTo>
                    <a:cubicBezTo>
                      <a:pt x="182" y="28"/>
                      <a:pt x="184" y="29"/>
                      <a:pt x="187" y="28"/>
                    </a:cubicBezTo>
                    <a:cubicBezTo>
                      <a:pt x="188" y="28"/>
                      <a:pt x="189" y="28"/>
                      <a:pt x="190" y="27"/>
                    </a:cubicBezTo>
                    <a:cubicBezTo>
                      <a:pt x="191" y="27"/>
                      <a:pt x="192" y="27"/>
                      <a:pt x="193" y="27"/>
                    </a:cubicBezTo>
                    <a:cubicBezTo>
                      <a:pt x="195" y="26"/>
                      <a:pt x="191" y="25"/>
                      <a:pt x="191" y="25"/>
                    </a:cubicBezTo>
                    <a:cubicBezTo>
                      <a:pt x="188" y="24"/>
                      <a:pt x="185" y="25"/>
                      <a:pt x="183" y="25"/>
                    </a:cubicBezTo>
                    <a:cubicBezTo>
                      <a:pt x="180" y="25"/>
                      <a:pt x="177" y="26"/>
                      <a:pt x="174" y="26"/>
                    </a:cubicBezTo>
                    <a:cubicBezTo>
                      <a:pt x="171" y="27"/>
                      <a:pt x="168" y="26"/>
                      <a:pt x="165" y="26"/>
                    </a:cubicBezTo>
                    <a:cubicBezTo>
                      <a:pt x="164" y="26"/>
                      <a:pt x="160" y="26"/>
                      <a:pt x="159" y="27"/>
                    </a:cubicBezTo>
                    <a:cubicBezTo>
                      <a:pt x="158" y="29"/>
                      <a:pt x="160" y="29"/>
                      <a:pt x="161" y="30"/>
                    </a:cubicBezTo>
                    <a:cubicBezTo>
                      <a:pt x="162" y="30"/>
                      <a:pt x="159" y="31"/>
                      <a:pt x="158" y="31"/>
                    </a:cubicBezTo>
                    <a:cubicBezTo>
                      <a:pt x="153" y="32"/>
                      <a:pt x="148" y="36"/>
                      <a:pt x="142" y="36"/>
                    </a:cubicBezTo>
                    <a:cubicBezTo>
                      <a:pt x="136" y="36"/>
                      <a:pt x="131" y="34"/>
                      <a:pt x="126" y="30"/>
                    </a:cubicBezTo>
                    <a:cubicBezTo>
                      <a:pt x="124" y="29"/>
                      <a:pt x="122" y="27"/>
                      <a:pt x="120" y="27"/>
                    </a:cubicBezTo>
                    <a:cubicBezTo>
                      <a:pt x="117" y="27"/>
                      <a:pt x="113" y="28"/>
                      <a:pt x="110" y="28"/>
                    </a:cubicBezTo>
                    <a:cubicBezTo>
                      <a:pt x="107" y="28"/>
                      <a:pt x="104" y="27"/>
                      <a:pt x="102" y="28"/>
                    </a:cubicBezTo>
                    <a:cubicBezTo>
                      <a:pt x="99" y="29"/>
                      <a:pt x="96" y="29"/>
                      <a:pt x="93" y="29"/>
                    </a:cubicBezTo>
                    <a:cubicBezTo>
                      <a:pt x="91" y="29"/>
                      <a:pt x="89" y="27"/>
                      <a:pt x="88" y="25"/>
                    </a:cubicBezTo>
                    <a:cubicBezTo>
                      <a:pt x="87" y="23"/>
                      <a:pt x="87" y="20"/>
                      <a:pt x="86" y="19"/>
                    </a:cubicBezTo>
                    <a:cubicBezTo>
                      <a:pt x="84" y="17"/>
                      <a:pt x="82" y="15"/>
                      <a:pt x="80" y="14"/>
                    </a:cubicBezTo>
                    <a:cubicBezTo>
                      <a:pt x="77" y="13"/>
                      <a:pt x="73" y="12"/>
                      <a:pt x="70" y="12"/>
                    </a:cubicBezTo>
                    <a:cubicBezTo>
                      <a:pt x="68" y="11"/>
                      <a:pt x="65" y="12"/>
                      <a:pt x="63" y="10"/>
                    </a:cubicBezTo>
                    <a:cubicBezTo>
                      <a:pt x="61" y="8"/>
                      <a:pt x="63" y="5"/>
                      <a:pt x="62" y="3"/>
                    </a:cubicBezTo>
                    <a:cubicBezTo>
                      <a:pt x="61" y="1"/>
                      <a:pt x="58" y="0"/>
                      <a:pt x="57" y="0"/>
                    </a:cubicBezTo>
                    <a:cubicBezTo>
                      <a:pt x="55" y="1"/>
                      <a:pt x="53" y="4"/>
                      <a:pt x="54" y="6"/>
                    </a:cubicBezTo>
                    <a:cubicBezTo>
                      <a:pt x="55" y="8"/>
                      <a:pt x="58" y="10"/>
                      <a:pt x="57" y="13"/>
                    </a:cubicBezTo>
                    <a:cubicBezTo>
                      <a:pt x="57" y="14"/>
                      <a:pt x="55" y="14"/>
                      <a:pt x="55" y="14"/>
                    </a:cubicBezTo>
                    <a:cubicBezTo>
                      <a:pt x="54" y="14"/>
                      <a:pt x="53" y="15"/>
                      <a:pt x="52" y="15"/>
                    </a:cubicBezTo>
                    <a:cubicBezTo>
                      <a:pt x="49" y="15"/>
                      <a:pt x="47" y="15"/>
                      <a:pt x="45" y="16"/>
                    </a:cubicBezTo>
                    <a:cubicBezTo>
                      <a:pt x="42" y="18"/>
                      <a:pt x="40" y="20"/>
                      <a:pt x="37" y="20"/>
                    </a:cubicBezTo>
                    <a:cubicBezTo>
                      <a:pt x="36" y="20"/>
                      <a:pt x="32" y="20"/>
                      <a:pt x="32" y="22"/>
                    </a:cubicBezTo>
                    <a:cubicBezTo>
                      <a:pt x="32" y="25"/>
                      <a:pt x="33" y="28"/>
                      <a:pt x="33" y="30"/>
                    </a:cubicBezTo>
                    <a:cubicBezTo>
                      <a:pt x="34" y="33"/>
                      <a:pt x="36" y="35"/>
                      <a:pt x="37" y="38"/>
                    </a:cubicBezTo>
                    <a:cubicBezTo>
                      <a:pt x="38" y="40"/>
                      <a:pt x="40" y="43"/>
                      <a:pt x="39" y="46"/>
                    </a:cubicBezTo>
                    <a:cubicBezTo>
                      <a:pt x="39" y="48"/>
                      <a:pt x="38" y="50"/>
                      <a:pt x="36" y="51"/>
                    </a:cubicBezTo>
                    <a:cubicBezTo>
                      <a:pt x="35" y="52"/>
                      <a:pt x="32" y="54"/>
                      <a:pt x="30" y="54"/>
                    </a:cubicBezTo>
                    <a:cubicBezTo>
                      <a:pt x="28" y="53"/>
                      <a:pt x="29" y="50"/>
                      <a:pt x="29" y="49"/>
                    </a:cubicBezTo>
                    <a:cubicBezTo>
                      <a:pt x="29" y="47"/>
                      <a:pt x="28" y="46"/>
                      <a:pt x="26" y="46"/>
                    </a:cubicBezTo>
                    <a:cubicBezTo>
                      <a:pt x="24" y="45"/>
                      <a:pt x="24" y="43"/>
                      <a:pt x="23" y="41"/>
                    </a:cubicBezTo>
                    <a:cubicBezTo>
                      <a:pt x="23" y="39"/>
                      <a:pt x="24" y="36"/>
                      <a:pt x="25" y="35"/>
                    </a:cubicBezTo>
                    <a:cubicBezTo>
                      <a:pt x="26" y="33"/>
                      <a:pt x="28" y="32"/>
                      <a:pt x="29" y="30"/>
                    </a:cubicBezTo>
                    <a:cubicBezTo>
                      <a:pt x="30" y="28"/>
                      <a:pt x="30" y="25"/>
                      <a:pt x="29" y="22"/>
                    </a:cubicBezTo>
                    <a:cubicBezTo>
                      <a:pt x="29" y="21"/>
                      <a:pt x="29" y="18"/>
                      <a:pt x="28" y="16"/>
                    </a:cubicBezTo>
                    <a:cubicBezTo>
                      <a:pt x="27" y="15"/>
                      <a:pt x="26" y="14"/>
                      <a:pt x="26" y="13"/>
                    </a:cubicBezTo>
                    <a:cubicBezTo>
                      <a:pt x="26" y="13"/>
                      <a:pt x="25" y="12"/>
                      <a:pt x="25" y="11"/>
                    </a:cubicBezTo>
                    <a:cubicBezTo>
                      <a:pt x="25" y="11"/>
                      <a:pt x="25" y="10"/>
                      <a:pt x="25" y="10"/>
                    </a:cubicBezTo>
                    <a:cubicBezTo>
                      <a:pt x="25" y="10"/>
                      <a:pt x="25" y="10"/>
                      <a:pt x="25" y="10"/>
                    </a:cubicBezTo>
                    <a:cubicBezTo>
                      <a:pt x="23" y="11"/>
                      <a:pt x="25" y="10"/>
                      <a:pt x="25" y="10"/>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19" name="Freeform 19">
                <a:extLst>
                  <a:ext uri="{FF2B5EF4-FFF2-40B4-BE49-F238E27FC236}">
                    <a16:creationId xmlns:a16="http://schemas.microsoft.com/office/drawing/2014/main" id="{28EA4215-28C9-AB7C-292C-E0610DE8E14F}"/>
                  </a:ext>
                </a:extLst>
              </p:cNvPr>
              <p:cNvSpPr/>
              <p:nvPr>
                <p:custDataLst>
                  <p:tags r:id="rId157"/>
                </p:custDataLst>
              </p:nvPr>
            </p:nvSpPr>
            <p:spPr bwMode="auto">
              <a:xfrm>
                <a:off x="3913077" y="4195060"/>
                <a:ext cx="117350" cy="181127"/>
              </a:xfrm>
              <a:custGeom>
                <a:avLst/>
                <a:gdLst>
                  <a:gd name="T0" fmla="*/ 27 w 79"/>
                  <a:gd name="T1" fmla="*/ 1 h 121"/>
                  <a:gd name="T2" fmla="*/ 23 w 79"/>
                  <a:gd name="T3" fmla="*/ 7 h 121"/>
                  <a:gd name="T4" fmla="*/ 15 w 79"/>
                  <a:gd name="T5" fmla="*/ 10 h 121"/>
                  <a:gd name="T6" fmla="*/ 13 w 79"/>
                  <a:gd name="T7" fmla="*/ 16 h 121"/>
                  <a:gd name="T8" fmla="*/ 17 w 79"/>
                  <a:gd name="T9" fmla="*/ 20 h 121"/>
                  <a:gd name="T10" fmla="*/ 7 w 79"/>
                  <a:gd name="T11" fmla="*/ 28 h 121"/>
                  <a:gd name="T12" fmla="*/ 5 w 79"/>
                  <a:gd name="T13" fmla="*/ 33 h 121"/>
                  <a:gd name="T14" fmla="*/ 4 w 79"/>
                  <a:gd name="T15" fmla="*/ 37 h 121"/>
                  <a:gd name="T16" fmla="*/ 2 w 79"/>
                  <a:gd name="T17" fmla="*/ 40 h 121"/>
                  <a:gd name="T18" fmla="*/ 4 w 79"/>
                  <a:gd name="T19" fmla="*/ 46 h 121"/>
                  <a:gd name="T20" fmla="*/ 11 w 79"/>
                  <a:gd name="T21" fmla="*/ 52 h 121"/>
                  <a:gd name="T22" fmla="*/ 12 w 79"/>
                  <a:gd name="T23" fmla="*/ 53 h 121"/>
                  <a:gd name="T24" fmla="*/ 14 w 79"/>
                  <a:gd name="T25" fmla="*/ 52 h 121"/>
                  <a:gd name="T26" fmla="*/ 18 w 79"/>
                  <a:gd name="T27" fmla="*/ 52 h 121"/>
                  <a:gd name="T28" fmla="*/ 24 w 79"/>
                  <a:gd name="T29" fmla="*/ 56 h 121"/>
                  <a:gd name="T30" fmla="*/ 23 w 79"/>
                  <a:gd name="T31" fmla="*/ 62 h 121"/>
                  <a:gd name="T32" fmla="*/ 23 w 79"/>
                  <a:gd name="T33" fmla="*/ 65 h 121"/>
                  <a:gd name="T34" fmla="*/ 29 w 79"/>
                  <a:gd name="T35" fmla="*/ 68 h 121"/>
                  <a:gd name="T36" fmla="*/ 30 w 79"/>
                  <a:gd name="T37" fmla="*/ 73 h 121"/>
                  <a:gd name="T38" fmla="*/ 31 w 79"/>
                  <a:gd name="T39" fmla="*/ 79 h 121"/>
                  <a:gd name="T40" fmla="*/ 25 w 79"/>
                  <a:gd name="T41" fmla="*/ 93 h 121"/>
                  <a:gd name="T42" fmla="*/ 30 w 79"/>
                  <a:gd name="T43" fmla="*/ 106 h 121"/>
                  <a:gd name="T44" fmla="*/ 31 w 79"/>
                  <a:gd name="T45" fmla="*/ 109 h 121"/>
                  <a:gd name="T46" fmla="*/ 31 w 79"/>
                  <a:gd name="T47" fmla="*/ 113 h 121"/>
                  <a:gd name="T48" fmla="*/ 37 w 79"/>
                  <a:gd name="T49" fmla="*/ 117 h 121"/>
                  <a:gd name="T50" fmla="*/ 39 w 79"/>
                  <a:gd name="T51" fmla="*/ 119 h 121"/>
                  <a:gd name="T52" fmla="*/ 41 w 79"/>
                  <a:gd name="T53" fmla="*/ 120 h 121"/>
                  <a:gd name="T54" fmla="*/ 42 w 79"/>
                  <a:gd name="T55" fmla="*/ 119 h 121"/>
                  <a:gd name="T56" fmla="*/ 47 w 79"/>
                  <a:gd name="T57" fmla="*/ 118 h 121"/>
                  <a:gd name="T58" fmla="*/ 57 w 79"/>
                  <a:gd name="T59" fmla="*/ 115 h 121"/>
                  <a:gd name="T60" fmla="*/ 63 w 79"/>
                  <a:gd name="T61" fmla="*/ 114 h 121"/>
                  <a:gd name="T62" fmla="*/ 67 w 79"/>
                  <a:gd name="T63" fmla="*/ 110 h 121"/>
                  <a:gd name="T64" fmla="*/ 79 w 79"/>
                  <a:gd name="T65" fmla="*/ 108 h 121"/>
                  <a:gd name="T66" fmla="*/ 74 w 79"/>
                  <a:gd name="T67" fmla="*/ 101 h 121"/>
                  <a:gd name="T68" fmla="*/ 69 w 79"/>
                  <a:gd name="T69" fmla="*/ 95 h 121"/>
                  <a:gd name="T70" fmla="*/ 68 w 79"/>
                  <a:gd name="T71" fmla="*/ 88 h 121"/>
                  <a:gd name="T72" fmla="*/ 63 w 79"/>
                  <a:gd name="T73" fmla="*/ 86 h 121"/>
                  <a:gd name="T74" fmla="*/ 58 w 79"/>
                  <a:gd name="T75" fmla="*/ 80 h 121"/>
                  <a:gd name="T76" fmla="*/ 55 w 79"/>
                  <a:gd name="T77" fmla="*/ 72 h 121"/>
                  <a:gd name="T78" fmla="*/ 56 w 79"/>
                  <a:gd name="T79" fmla="*/ 69 h 121"/>
                  <a:gd name="T80" fmla="*/ 58 w 79"/>
                  <a:gd name="T81" fmla="*/ 68 h 121"/>
                  <a:gd name="T82" fmla="*/ 58 w 79"/>
                  <a:gd name="T83" fmla="*/ 60 h 121"/>
                  <a:gd name="T84" fmla="*/ 69 w 79"/>
                  <a:gd name="T85" fmla="*/ 54 h 121"/>
                  <a:gd name="T86" fmla="*/ 70 w 79"/>
                  <a:gd name="T87" fmla="*/ 46 h 121"/>
                  <a:gd name="T88" fmla="*/ 71 w 79"/>
                  <a:gd name="T89" fmla="*/ 42 h 121"/>
                  <a:gd name="T90" fmla="*/ 69 w 79"/>
                  <a:gd name="T91" fmla="*/ 38 h 121"/>
                  <a:gd name="T92" fmla="*/ 64 w 79"/>
                  <a:gd name="T93" fmla="*/ 34 h 121"/>
                  <a:gd name="T94" fmla="*/ 58 w 79"/>
                  <a:gd name="T95" fmla="*/ 27 h 121"/>
                  <a:gd name="T96" fmla="*/ 51 w 79"/>
                  <a:gd name="T97" fmla="*/ 25 h 121"/>
                  <a:gd name="T98" fmla="*/ 48 w 79"/>
                  <a:gd name="T99" fmla="*/ 31 h 121"/>
                  <a:gd name="T100" fmla="*/ 46 w 79"/>
                  <a:gd name="T101" fmla="*/ 33 h 121"/>
                  <a:gd name="T102" fmla="*/ 46 w 79"/>
                  <a:gd name="T103" fmla="*/ 30 h 121"/>
                  <a:gd name="T104" fmla="*/ 47 w 79"/>
                  <a:gd name="T105" fmla="*/ 23 h 121"/>
                  <a:gd name="T106" fmla="*/ 48 w 79"/>
                  <a:gd name="T107" fmla="*/ 16 h 121"/>
                  <a:gd name="T108" fmla="*/ 43 w 79"/>
                  <a:gd name="T109" fmla="*/ 11 h 121"/>
                  <a:gd name="T110" fmla="*/ 38 w 79"/>
                  <a:gd name="T111" fmla="*/ 6 h 121"/>
                  <a:gd name="T112" fmla="*/ 32 w 79"/>
                  <a:gd name="T113" fmla="*/ 3 h 121"/>
                  <a:gd name="T114" fmla="*/ 29 w 79"/>
                  <a:gd name="T115" fmla="*/ 2 h 121"/>
                  <a:gd name="T116" fmla="*/ 28 w 79"/>
                  <a:gd name="T117" fmla="*/ 1 h 121"/>
                  <a:gd name="T118" fmla="*/ 27 w 79"/>
                  <a:gd name="T119" fmla="*/ 1 h 121"/>
                  <a:gd name="T120" fmla="*/ 27 w 79"/>
                  <a:gd name="T121" fmla="*/ 1 h 121"/>
                  <a:gd name="T122" fmla="*/ 27 w 79"/>
                  <a:gd name="T123" fmla="*/ 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 h="120">
                    <a:moveTo>
                      <a:pt x="27" y="1"/>
                    </a:moveTo>
                    <a:cubicBezTo>
                      <a:pt x="26" y="3"/>
                      <a:pt x="25" y="6"/>
                      <a:pt x="23" y="7"/>
                    </a:cubicBezTo>
                    <a:cubicBezTo>
                      <a:pt x="21" y="8"/>
                      <a:pt x="18" y="8"/>
                      <a:pt x="15" y="10"/>
                    </a:cubicBezTo>
                    <a:cubicBezTo>
                      <a:pt x="14" y="11"/>
                      <a:pt x="12" y="14"/>
                      <a:pt x="13" y="16"/>
                    </a:cubicBezTo>
                    <a:cubicBezTo>
                      <a:pt x="13" y="19"/>
                      <a:pt x="16" y="18"/>
                      <a:pt x="17" y="20"/>
                    </a:cubicBezTo>
                    <a:cubicBezTo>
                      <a:pt x="21" y="25"/>
                      <a:pt x="10" y="28"/>
                      <a:pt x="7" y="28"/>
                    </a:cubicBezTo>
                    <a:cubicBezTo>
                      <a:pt x="5" y="29"/>
                      <a:pt x="5" y="30"/>
                      <a:pt x="5" y="33"/>
                    </a:cubicBezTo>
                    <a:cubicBezTo>
                      <a:pt x="5" y="34"/>
                      <a:pt x="5" y="36"/>
                      <a:pt x="4" y="37"/>
                    </a:cubicBezTo>
                    <a:cubicBezTo>
                      <a:pt x="4" y="38"/>
                      <a:pt x="3" y="39"/>
                      <a:pt x="2" y="40"/>
                    </a:cubicBezTo>
                    <a:cubicBezTo>
                      <a:pt x="0" y="43"/>
                      <a:pt x="2" y="44"/>
                      <a:pt x="4" y="46"/>
                    </a:cubicBezTo>
                    <a:cubicBezTo>
                      <a:pt x="7" y="48"/>
                      <a:pt x="9" y="50"/>
                      <a:pt x="11" y="52"/>
                    </a:cubicBezTo>
                    <a:cubicBezTo>
                      <a:pt x="12" y="53"/>
                      <a:pt x="11" y="53"/>
                      <a:pt x="12" y="53"/>
                    </a:cubicBezTo>
                    <a:cubicBezTo>
                      <a:pt x="13" y="53"/>
                      <a:pt x="14" y="52"/>
                      <a:pt x="14" y="52"/>
                    </a:cubicBezTo>
                    <a:cubicBezTo>
                      <a:pt x="15" y="52"/>
                      <a:pt x="17" y="52"/>
                      <a:pt x="18" y="52"/>
                    </a:cubicBezTo>
                    <a:cubicBezTo>
                      <a:pt x="21" y="52"/>
                      <a:pt x="22" y="54"/>
                      <a:pt x="24" y="56"/>
                    </a:cubicBezTo>
                    <a:cubicBezTo>
                      <a:pt x="25" y="58"/>
                      <a:pt x="24" y="60"/>
                      <a:pt x="23" y="62"/>
                    </a:cubicBezTo>
                    <a:cubicBezTo>
                      <a:pt x="22" y="63"/>
                      <a:pt x="21" y="64"/>
                      <a:pt x="23" y="65"/>
                    </a:cubicBezTo>
                    <a:cubicBezTo>
                      <a:pt x="24" y="66"/>
                      <a:pt x="30" y="65"/>
                      <a:pt x="29" y="68"/>
                    </a:cubicBezTo>
                    <a:cubicBezTo>
                      <a:pt x="28" y="70"/>
                      <a:pt x="29" y="72"/>
                      <a:pt x="30" y="73"/>
                    </a:cubicBezTo>
                    <a:cubicBezTo>
                      <a:pt x="32" y="75"/>
                      <a:pt x="32" y="77"/>
                      <a:pt x="31" y="79"/>
                    </a:cubicBezTo>
                    <a:cubicBezTo>
                      <a:pt x="28" y="84"/>
                      <a:pt x="26" y="88"/>
                      <a:pt x="25" y="93"/>
                    </a:cubicBezTo>
                    <a:cubicBezTo>
                      <a:pt x="24" y="98"/>
                      <a:pt x="27" y="102"/>
                      <a:pt x="30" y="106"/>
                    </a:cubicBezTo>
                    <a:cubicBezTo>
                      <a:pt x="30" y="107"/>
                      <a:pt x="31" y="108"/>
                      <a:pt x="31" y="109"/>
                    </a:cubicBezTo>
                    <a:cubicBezTo>
                      <a:pt x="31" y="110"/>
                      <a:pt x="30" y="112"/>
                      <a:pt x="31" y="113"/>
                    </a:cubicBezTo>
                    <a:cubicBezTo>
                      <a:pt x="33" y="115"/>
                      <a:pt x="35" y="116"/>
                      <a:pt x="37" y="117"/>
                    </a:cubicBezTo>
                    <a:cubicBezTo>
                      <a:pt x="38" y="118"/>
                      <a:pt x="39" y="118"/>
                      <a:pt x="39" y="119"/>
                    </a:cubicBezTo>
                    <a:cubicBezTo>
                      <a:pt x="40" y="119"/>
                      <a:pt x="40" y="119"/>
                      <a:pt x="41" y="120"/>
                    </a:cubicBezTo>
                    <a:cubicBezTo>
                      <a:pt x="41" y="119"/>
                      <a:pt x="42" y="119"/>
                      <a:pt x="42" y="119"/>
                    </a:cubicBezTo>
                    <a:cubicBezTo>
                      <a:pt x="44" y="120"/>
                      <a:pt x="46" y="121"/>
                      <a:pt x="47" y="118"/>
                    </a:cubicBezTo>
                    <a:cubicBezTo>
                      <a:pt x="48" y="113"/>
                      <a:pt x="54" y="115"/>
                      <a:pt x="57" y="115"/>
                    </a:cubicBezTo>
                    <a:cubicBezTo>
                      <a:pt x="59" y="115"/>
                      <a:pt x="61" y="114"/>
                      <a:pt x="63" y="114"/>
                    </a:cubicBezTo>
                    <a:cubicBezTo>
                      <a:pt x="65" y="113"/>
                      <a:pt x="66" y="112"/>
                      <a:pt x="67" y="110"/>
                    </a:cubicBezTo>
                    <a:cubicBezTo>
                      <a:pt x="70" y="106"/>
                      <a:pt x="75" y="110"/>
                      <a:pt x="79" y="108"/>
                    </a:cubicBezTo>
                    <a:cubicBezTo>
                      <a:pt x="78" y="106"/>
                      <a:pt x="76" y="103"/>
                      <a:pt x="74" y="101"/>
                    </a:cubicBezTo>
                    <a:cubicBezTo>
                      <a:pt x="73" y="99"/>
                      <a:pt x="70" y="97"/>
                      <a:pt x="69" y="95"/>
                    </a:cubicBezTo>
                    <a:cubicBezTo>
                      <a:pt x="68" y="93"/>
                      <a:pt x="69" y="90"/>
                      <a:pt x="68" y="88"/>
                    </a:cubicBezTo>
                    <a:cubicBezTo>
                      <a:pt x="68" y="86"/>
                      <a:pt x="65" y="86"/>
                      <a:pt x="63" y="86"/>
                    </a:cubicBezTo>
                    <a:cubicBezTo>
                      <a:pt x="61" y="85"/>
                      <a:pt x="60" y="82"/>
                      <a:pt x="58" y="80"/>
                    </a:cubicBezTo>
                    <a:cubicBezTo>
                      <a:pt x="57" y="77"/>
                      <a:pt x="56" y="75"/>
                      <a:pt x="55" y="72"/>
                    </a:cubicBezTo>
                    <a:cubicBezTo>
                      <a:pt x="55" y="71"/>
                      <a:pt x="55" y="70"/>
                      <a:pt x="56" y="69"/>
                    </a:cubicBezTo>
                    <a:cubicBezTo>
                      <a:pt x="57" y="69"/>
                      <a:pt x="57" y="69"/>
                      <a:pt x="58" y="68"/>
                    </a:cubicBezTo>
                    <a:cubicBezTo>
                      <a:pt x="59" y="65"/>
                      <a:pt x="58" y="63"/>
                      <a:pt x="58" y="60"/>
                    </a:cubicBezTo>
                    <a:cubicBezTo>
                      <a:pt x="60" y="55"/>
                      <a:pt x="69" y="60"/>
                      <a:pt x="69" y="54"/>
                    </a:cubicBezTo>
                    <a:cubicBezTo>
                      <a:pt x="69" y="51"/>
                      <a:pt x="69" y="48"/>
                      <a:pt x="70" y="46"/>
                    </a:cubicBezTo>
                    <a:cubicBezTo>
                      <a:pt x="70" y="45"/>
                      <a:pt x="71" y="43"/>
                      <a:pt x="71" y="42"/>
                    </a:cubicBezTo>
                    <a:cubicBezTo>
                      <a:pt x="71" y="40"/>
                      <a:pt x="70" y="39"/>
                      <a:pt x="69" y="38"/>
                    </a:cubicBezTo>
                    <a:cubicBezTo>
                      <a:pt x="68" y="36"/>
                      <a:pt x="66" y="35"/>
                      <a:pt x="64" y="34"/>
                    </a:cubicBezTo>
                    <a:cubicBezTo>
                      <a:pt x="62" y="32"/>
                      <a:pt x="61" y="29"/>
                      <a:pt x="58" y="27"/>
                    </a:cubicBezTo>
                    <a:cubicBezTo>
                      <a:pt x="56" y="26"/>
                      <a:pt x="54" y="24"/>
                      <a:pt x="51" y="25"/>
                    </a:cubicBezTo>
                    <a:cubicBezTo>
                      <a:pt x="48" y="25"/>
                      <a:pt x="49" y="29"/>
                      <a:pt x="48" y="31"/>
                    </a:cubicBezTo>
                    <a:cubicBezTo>
                      <a:pt x="48" y="31"/>
                      <a:pt x="47" y="33"/>
                      <a:pt x="46" y="33"/>
                    </a:cubicBezTo>
                    <a:cubicBezTo>
                      <a:pt x="45" y="33"/>
                      <a:pt x="46" y="30"/>
                      <a:pt x="46" y="30"/>
                    </a:cubicBezTo>
                    <a:cubicBezTo>
                      <a:pt x="46" y="28"/>
                      <a:pt x="47" y="25"/>
                      <a:pt x="47" y="23"/>
                    </a:cubicBezTo>
                    <a:cubicBezTo>
                      <a:pt x="48" y="21"/>
                      <a:pt x="49" y="18"/>
                      <a:pt x="48" y="16"/>
                    </a:cubicBezTo>
                    <a:cubicBezTo>
                      <a:pt x="47" y="14"/>
                      <a:pt x="45" y="12"/>
                      <a:pt x="43" y="11"/>
                    </a:cubicBezTo>
                    <a:cubicBezTo>
                      <a:pt x="42" y="9"/>
                      <a:pt x="40" y="7"/>
                      <a:pt x="38" y="6"/>
                    </a:cubicBezTo>
                    <a:cubicBezTo>
                      <a:pt x="36" y="4"/>
                      <a:pt x="34" y="3"/>
                      <a:pt x="32" y="3"/>
                    </a:cubicBezTo>
                    <a:cubicBezTo>
                      <a:pt x="31" y="3"/>
                      <a:pt x="30" y="3"/>
                      <a:pt x="29" y="2"/>
                    </a:cubicBezTo>
                    <a:cubicBezTo>
                      <a:pt x="29" y="2"/>
                      <a:pt x="28" y="2"/>
                      <a:pt x="28" y="1"/>
                    </a:cubicBezTo>
                    <a:cubicBezTo>
                      <a:pt x="27" y="1"/>
                      <a:pt x="27" y="0"/>
                      <a:pt x="27" y="1"/>
                    </a:cubicBezTo>
                    <a:cubicBezTo>
                      <a:pt x="27" y="1"/>
                      <a:pt x="27" y="1"/>
                      <a:pt x="27" y="1"/>
                    </a:cubicBezTo>
                    <a:cubicBezTo>
                      <a:pt x="26" y="2"/>
                      <a:pt x="27" y="1"/>
                      <a:pt x="27" y="1"/>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20" name="Freeform 20">
                <a:extLst>
                  <a:ext uri="{FF2B5EF4-FFF2-40B4-BE49-F238E27FC236}">
                    <a16:creationId xmlns:a16="http://schemas.microsoft.com/office/drawing/2014/main" id="{EEB79D17-9159-4EE9-5C4A-984529FF4DAA}"/>
                  </a:ext>
                </a:extLst>
              </p:cNvPr>
              <p:cNvSpPr/>
              <p:nvPr>
                <p:custDataLst>
                  <p:tags r:id="rId158"/>
                </p:custDataLst>
              </p:nvPr>
            </p:nvSpPr>
            <p:spPr bwMode="auto">
              <a:xfrm>
                <a:off x="3997263" y="4255011"/>
                <a:ext cx="102043" cy="105871"/>
              </a:xfrm>
              <a:custGeom>
                <a:avLst/>
                <a:gdLst>
                  <a:gd name="T0" fmla="*/ 16 w 68"/>
                  <a:gd name="T1" fmla="*/ 4 h 71"/>
                  <a:gd name="T2" fmla="*/ 14 w 68"/>
                  <a:gd name="T3" fmla="*/ 12 h 71"/>
                  <a:gd name="T4" fmla="*/ 12 w 68"/>
                  <a:gd name="T5" fmla="*/ 18 h 71"/>
                  <a:gd name="T6" fmla="*/ 7 w 68"/>
                  <a:gd name="T7" fmla="*/ 20 h 71"/>
                  <a:gd name="T8" fmla="*/ 3 w 68"/>
                  <a:gd name="T9" fmla="*/ 24 h 71"/>
                  <a:gd name="T10" fmla="*/ 1 w 68"/>
                  <a:gd name="T11" fmla="*/ 31 h 71"/>
                  <a:gd name="T12" fmla="*/ 1 w 68"/>
                  <a:gd name="T13" fmla="*/ 35 h 71"/>
                  <a:gd name="T14" fmla="*/ 5 w 68"/>
                  <a:gd name="T15" fmla="*/ 42 h 71"/>
                  <a:gd name="T16" fmla="*/ 8 w 68"/>
                  <a:gd name="T17" fmla="*/ 44 h 71"/>
                  <a:gd name="T18" fmla="*/ 12 w 68"/>
                  <a:gd name="T19" fmla="*/ 44 h 71"/>
                  <a:gd name="T20" fmla="*/ 14 w 68"/>
                  <a:gd name="T21" fmla="*/ 50 h 71"/>
                  <a:gd name="T22" fmla="*/ 16 w 68"/>
                  <a:gd name="T23" fmla="*/ 57 h 71"/>
                  <a:gd name="T24" fmla="*/ 22 w 68"/>
                  <a:gd name="T25" fmla="*/ 64 h 71"/>
                  <a:gd name="T26" fmla="*/ 28 w 68"/>
                  <a:gd name="T27" fmla="*/ 69 h 71"/>
                  <a:gd name="T28" fmla="*/ 34 w 68"/>
                  <a:gd name="T29" fmla="*/ 69 h 71"/>
                  <a:gd name="T30" fmla="*/ 33 w 68"/>
                  <a:gd name="T31" fmla="*/ 66 h 71"/>
                  <a:gd name="T32" fmla="*/ 32 w 68"/>
                  <a:gd name="T33" fmla="*/ 62 h 71"/>
                  <a:gd name="T34" fmla="*/ 37 w 68"/>
                  <a:gd name="T35" fmla="*/ 59 h 71"/>
                  <a:gd name="T36" fmla="*/ 44 w 68"/>
                  <a:gd name="T37" fmla="*/ 60 h 71"/>
                  <a:gd name="T38" fmla="*/ 51 w 68"/>
                  <a:gd name="T39" fmla="*/ 58 h 71"/>
                  <a:gd name="T40" fmla="*/ 55 w 68"/>
                  <a:gd name="T41" fmla="*/ 59 h 71"/>
                  <a:gd name="T42" fmla="*/ 59 w 68"/>
                  <a:gd name="T43" fmla="*/ 60 h 71"/>
                  <a:gd name="T44" fmla="*/ 66 w 68"/>
                  <a:gd name="T45" fmla="*/ 46 h 71"/>
                  <a:gd name="T46" fmla="*/ 61 w 68"/>
                  <a:gd name="T47" fmla="*/ 29 h 71"/>
                  <a:gd name="T48" fmla="*/ 63 w 68"/>
                  <a:gd name="T49" fmla="*/ 13 h 71"/>
                  <a:gd name="T50" fmla="*/ 67 w 68"/>
                  <a:gd name="T51" fmla="*/ 6 h 71"/>
                  <a:gd name="T52" fmla="*/ 67 w 68"/>
                  <a:gd name="T53" fmla="*/ 4 h 71"/>
                  <a:gd name="T54" fmla="*/ 63 w 68"/>
                  <a:gd name="T55" fmla="*/ 2 h 71"/>
                  <a:gd name="T56" fmla="*/ 56 w 68"/>
                  <a:gd name="T57" fmla="*/ 0 h 71"/>
                  <a:gd name="T58" fmla="*/ 48 w 68"/>
                  <a:gd name="T59" fmla="*/ 1 h 71"/>
                  <a:gd name="T60" fmla="*/ 46 w 68"/>
                  <a:gd name="T61" fmla="*/ 2 h 71"/>
                  <a:gd name="T62" fmla="*/ 44 w 68"/>
                  <a:gd name="T63" fmla="*/ 1 h 71"/>
                  <a:gd name="T64" fmla="*/ 40 w 68"/>
                  <a:gd name="T65" fmla="*/ 1 h 71"/>
                  <a:gd name="T66" fmla="*/ 36 w 68"/>
                  <a:gd name="T67" fmla="*/ 3 h 71"/>
                  <a:gd name="T68" fmla="*/ 31 w 68"/>
                  <a:gd name="T69" fmla="*/ 5 h 71"/>
                  <a:gd name="T70" fmla="*/ 24 w 68"/>
                  <a:gd name="T71" fmla="*/ 1 h 71"/>
                  <a:gd name="T72" fmla="*/ 20 w 68"/>
                  <a:gd name="T73" fmla="*/ 2 h 71"/>
                  <a:gd name="T74" fmla="*/ 16 w 68"/>
                  <a:gd name="T75" fmla="*/ 5 h 71"/>
                  <a:gd name="T76" fmla="*/ 16 w 68"/>
                  <a:gd name="T77" fmla="*/ 4 h 71"/>
                  <a:gd name="T78" fmla="*/ 16 w 68"/>
                  <a:gd name="T79" fmla="*/ 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8" h="71">
                    <a:moveTo>
                      <a:pt x="16" y="4"/>
                    </a:moveTo>
                    <a:cubicBezTo>
                      <a:pt x="15" y="6"/>
                      <a:pt x="15" y="9"/>
                      <a:pt x="14" y="12"/>
                    </a:cubicBezTo>
                    <a:cubicBezTo>
                      <a:pt x="14" y="14"/>
                      <a:pt x="14" y="17"/>
                      <a:pt x="12" y="18"/>
                    </a:cubicBezTo>
                    <a:cubicBezTo>
                      <a:pt x="10" y="19"/>
                      <a:pt x="8" y="19"/>
                      <a:pt x="7" y="20"/>
                    </a:cubicBezTo>
                    <a:cubicBezTo>
                      <a:pt x="4" y="20"/>
                      <a:pt x="3" y="21"/>
                      <a:pt x="3" y="24"/>
                    </a:cubicBezTo>
                    <a:cubicBezTo>
                      <a:pt x="4" y="26"/>
                      <a:pt x="4" y="29"/>
                      <a:pt x="1" y="31"/>
                    </a:cubicBezTo>
                    <a:cubicBezTo>
                      <a:pt x="0" y="31"/>
                      <a:pt x="1" y="33"/>
                      <a:pt x="1" y="35"/>
                    </a:cubicBezTo>
                    <a:cubicBezTo>
                      <a:pt x="2" y="37"/>
                      <a:pt x="4" y="39"/>
                      <a:pt x="5" y="42"/>
                    </a:cubicBezTo>
                    <a:cubicBezTo>
                      <a:pt x="6" y="43"/>
                      <a:pt x="7" y="44"/>
                      <a:pt x="8" y="44"/>
                    </a:cubicBezTo>
                    <a:cubicBezTo>
                      <a:pt x="9" y="44"/>
                      <a:pt x="10" y="44"/>
                      <a:pt x="12" y="44"/>
                    </a:cubicBezTo>
                    <a:cubicBezTo>
                      <a:pt x="14" y="45"/>
                      <a:pt x="14" y="48"/>
                      <a:pt x="14" y="50"/>
                    </a:cubicBezTo>
                    <a:cubicBezTo>
                      <a:pt x="14" y="53"/>
                      <a:pt x="14" y="55"/>
                      <a:pt x="16" y="57"/>
                    </a:cubicBezTo>
                    <a:cubicBezTo>
                      <a:pt x="18" y="59"/>
                      <a:pt x="20" y="61"/>
                      <a:pt x="22" y="64"/>
                    </a:cubicBezTo>
                    <a:cubicBezTo>
                      <a:pt x="24" y="66"/>
                      <a:pt x="25" y="69"/>
                      <a:pt x="28" y="69"/>
                    </a:cubicBezTo>
                    <a:cubicBezTo>
                      <a:pt x="29" y="70"/>
                      <a:pt x="33" y="71"/>
                      <a:pt x="34" y="69"/>
                    </a:cubicBezTo>
                    <a:cubicBezTo>
                      <a:pt x="35" y="68"/>
                      <a:pt x="34" y="67"/>
                      <a:pt x="33" y="66"/>
                    </a:cubicBezTo>
                    <a:cubicBezTo>
                      <a:pt x="33" y="65"/>
                      <a:pt x="32" y="64"/>
                      <a:pt x="32" y="62"/>
                    </a:cubicBezTo>
                    <a:cubicBezTo>
                      <a:pt x="32" y="60"/>
                      <a:pt x="34" y="58"/>
                      <a:pt x="37" y="59"/>
                    </a:cubicBezTo>
                    <a:cubicBezTo>
                      <a:pt x="39" y="60"/>
                      <a:pt x="41" y="61"/>
                      <a:pt x="44" y="60"/>
                    </a:cubicBezTo>
                    <a:cubicBezTo>
                      <a:pt x="46" y="59"/>
                      <a:pt x="49" y="58"/>
                      <a:pt x="51" y="58"/>
                    </a:cubicBezTo>
                    <a:cubicBezTo>
                      <a:pt x="52" y="58"/>
                      <a:pt x="54" y="59"/>
                      <a:pt x="55" y="59"/>
                    </a:cubicBezTo>
                    <a:cubicBezTo>
                      <a:pt x="56" y="60"/>
                      <a:pt x="58" y="61"/>
                      <a:pt x="59" y="60"/>
                    </a:cubicBezTo>
                    <a:cubicBezTo>
                      <a:pt x="63" y="57"/>
                      <a:pt x="66" y="52"/>
                      <a:pt x="66" y="46"/>
                    </a:cubicBezTo>
                    <a:cubicBezTo>
                      <a:pt x="65" y="40"/>
                      <a:pt x="63" y="35"/>
                      <a:pt x="61" y="29"/>
                    </a:cubicBezTo>
                    <a:cubicBezTo>
                      <a:pt x="60" y="23"/>
                      <a:pt x="60" y="18"/>
                      <a:pt x="63" y="13"/>
                    </a:cubicBezTo>
                    <a:cubicBezTo>
                      <a:pt x="65" y="10"/>
                      <a:pt x="66" y="8"/>
                      <a:pt x="67" y="6"/>
                    </a:cubicBezTo>
                    <a:cubicBezTo>
                      <a:pt x="68" y="5"/>
                      <a:pt x="68" y="4"/>
                      <a:pt x="67" y="4"/>
                    </a:cubicBezTo>
                    <a:cubicBezTo>
                      <a:pt x="66" y="3"/>
                      <a:pt x="65" y="3"/>
                      <a:pt x="63" y="2"/>
                    </a:cubicBezTo>
                    <a:cubicBezTo>
                      <a:pt x="61" y="1"/>
                      <a:pt x="58" y="0"/>
                      <a:pt x="56" y="0"/>
                    </a:cubicBezTo>
                    <a:cubicBezTo>
                      <a:pt x="55" y="0"/>
                      <a:pt x="48" y="0"/>
                      <a:pt x="48" y="1"/>
                    </a:cubicBezTo>
                    <a:cubicBezTo>
                      <a:pt x="49" y="4"/>
                      <a:pt x="47" y="2"/>
                      <a:pt x="46" y="2"/>
                    </a:cubicBezTo>
                    <a:cubicBezTo>
                      <a:pt x="45" y="1"/>
                      <a:pt x="45" y="1"/>
                      <a:pt x="44" y="1"/>
                    </a:cubicBezTo>
                    <a:cubicBezTo>
                      <a:pt x="43" y="1"/>
                      <a:pt x="42" y="1"/>
                      <a:pt x="40" y="1"/>
                    </a:cubicBezTo>
                    <a:cubicBezTo>
                      <a:pt x="39" y="1"/>
                      <a:pt x="37" y="1"/>
                      <a:pt x="36" y="3"/>
                    </a:cubicBezTo>
                    <a:cubicBezTo>
                      <a:pt x="34" y="5"/>
                      <a:pt x="34" y="6"/>
                      <a:pt x="31" y="5"/>
                    </a:cubicBezTo>
                    <a:cubicBezTo>
                      <a:pt x="29" y="3"/>
                      <a:pt x="27" y="1"/>
                      <a:pt x="24" y="1"/>
                    </a:cubicBezTo>
                    <a:cubicBezTo>
                      <a:pt x="23" y="1"/>
                      <a:pt x="21" y="1"/>
                      <a:pt x="20" y="2"/>
                    </a:cubicBezTo>
                    <a:cubicBezTo>
                      <a:pt x="18" y="2"/>
                      <a:pt x="16" y="3"/>
                      <a:pt x="16" y="5"/>
                    </a:cubicBezTo>
                    <a:cubicBezTo>
                      <a:pt x="16" y="4"/>
                      <a:pt x="16" y="4"/>
                      <a:pt x="16" y="4"/>
                    </a:cubicBezTo>
                    <a:cubicBezTo>
                      <a:pt x="15" y="6"/>
                      <a:pt x="16" y="4"/>
                      <a:pt x="16" y="4"/>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21" name="Freeform 2220">
                <a:extLst>
                  <a:ext uri="{FF2B5EF4-FFF2-40B4-BE49-F238E27FC236}">
                    <a16:creationId xmlns:a16="http://schemas.microsoft.com/office/drawing/2014/main" id="{E4D40493-1A70-AF25-D09F-05D07AE9F7DA}"/>
                  </a:ext>
                </a:extLst>
              </p:cNvPr>
              <p:cNvSpPr>
                <a:spLocks noEditPoints="1"/>
              </p:cNvSpPr>
              <p:nvPr>
                <p:custDataLst>
                  <p:tags r:id="rId159"/>
                </p:custDataLst>
              </p:nvPr>
            </p:nvSpPr>
            <p:spPr bwMode="auto">
              <a:xfrm>
                <a:off x="3595465" y="4275420"/>
                <a:ext cx="989825" cy="1019163"/>
              </a:xfrm>
              <a:custGeom>
                <a:avLst/>
                <a:gdLst>
                  <a:gd name="T0" fmla="*/ 401 w 665"/>
                  <a:gd name="T1" fmla="*/ 57 h 684"/>
                  <a:gd name="T2" fmla="*/ 386 w 665"/>
                  <a:gd name="T3" fmla="*/ 90 h 684"/>
                  <a:gd name="T4" fmla="*/ 364 w 665"/>
                  <a:gd name="T5" fmla="*/ 115 h 684"/>
                  <a:gd name="T6" fmla="*/ 399 w 665"/>
                  <a:gd name="T7" fmla="*/ 120 h 684"/>
                  <a:gd name="T8" fmla="*/ 419 w 665"/>
                  <a:gd name="T9" fmla="*/ 121 h 684"/>
                  <a:gd name="T10" fmla="*/ 436 w 665"/>
                  <a:gd name="T11" fmla="*/ 108 h 684"/>
                  <a:gd name="T12" fmla="*/ 479 w 665"/>
                  <a:gd name="T13" fmla="*/ 110 h 684"/>
                  <a:gd name="T14" fmla="*/ 496 w 665"/>
                  <a:gd name="T15" fmla="*/ 119 h 684"/>
                  <a:gd name="T16" fmla="*/ 500 w 665"/>
                  <a:gd name="T17" fmla="*/ 137 h 684"/>
                  <a:gd name="T18" fmla="*/ 554 w 665"/>
                  <a:gd name="T19" fmla="*/ 140 h 684"/>
                  <a:gd name="T20" fmla="*/ 608 w 665"/>
                  <a:gd name="T21" fmla="*/ 156 h 684"/>
                  <a:gd name="T22" fmla="*/ 665 w 665"/>
                  <a:gd name="T23" fmla="*/ 223 h 684"/>
                  <a:gd name="T24" fmla="*/ 637 w 665"/>
                  <a:gd name="T25" fmla="*/ 268 h 684"/>
                  <a:gd name="T26" fmla="*/ 608 w 665"/>
                  <a:gd name="T27" fmla="*/ 305 h 684"/>
                  <a:gd name="T28" fmla="*/ 593 w 665"/>
                  <a:gd name="T29" fmla="*/ 317 h 684"/>
                  <a:gd name="T30" fmla="*/ 591 w 665"/>
                  <a:gd name="T31" fmla="*/ 377 h 684"/>
                  <a:gd name="T32" fmla="*/ 573 w 665"/>
                  <a:gd name="T33" fmla="*/ 434 h 684"/>
                  <a:gd name="T34" fmla="*/ 559 w 665"/>
                  <a:gd name="T35" fmla="*/ 466 h 684"/>
                  <a:gd name="T36" fmla="*/ 525 w 665"/>
                  <a:gd name="T37" fmla="*/ 481 h 684"/>
                  <a:gd name="T38" fmla="*/ 496 w 665"/>
                  <a:gd name="T39" fmla="*/ 489 h 684"/>
                  <a:gd name="T40" fmla="*/ 464 w 665"/>
                  <a:gd name="T41" fmla="*/ 507 h 684"/>
                  <a:gd name="T42" fmla="*/ 433 w 665"/>
                  <a:gd name="T43" fmla="*/ 527 h 684"/>
                  <a:gd name="T44" fmla="*/ 430 w 665"/>
                  <a:gd name="T45" fmla="*/ 548 h 684"/>
                  <a:gd name="T46" fmla="*/ 431 w 665"/>
                  <a:gd name="T47" fmla="*/ 571 h 684"/>
                  <a:gd name="T48" fmla="*/ 423 w 665"/>
                  <a:gd name="T49" fmla="*/ 592 h 684"/>
                  <a:gd name="T50" fmla="*/ 380 w 665"/>
                  <a:gd name="T51" fmla="*/ 648 h 684"/>
                  <a:gd name="T52" fmla="*/ 388 w 665"/>
                  <a:gd name="T53" fmla="*/ 635 h 684"/>
                  <a:gd name="T54" fmla="*/ 385 w 665"/>
                  <a:gd name="T55" fmla="*/ 619 h 684"/>
                  <a:gd name="T56" fmla="*/ 373 w 665"/>
                  <a:gd name="T57" fmla="*/ 640 h 684"/>
                  <a:gd name="T58" fmla="*/ 351 w 665"/>
                  <a:gd name="T59" fmla="*/ 681 h 684"/>
                  <a:gd name="T60" fmla="*/ 308 w 665"/>
                  <a:gd name="T61" fmla="*/ 632 h 684"/>
                  <a:gd name="T62" fmla="*/ 304 w 665"/>
                  <a:gd name="T63" fmla="*/ 593 h 684"/>
                  <a:gd name="T64" fmla="*/ 342 w 665"/>
                  <a:gd name="T65" fmla="*/ 537 h 684"/>
                  <a:gd name="T66" fmla="*/ 322 w 665"/>
                  <a:gd name="T67" fmla="*/ 503 h 684"/>
                  <a:gd name="T68" fmla="*/ 284 w 665"/>
                  <a:gd name="T69" fmla="*/ 472 h 684"/>
                  <a:gd name="T70" fmla="*/ 275 w 665"/>
                  <a:gd name="T71" fmla="*/ 391 h 684"/>
                  <a:gd name="T72" fmla="*/ 229 w 665"/>
                  <a:gd name="T73" fmla="*/ 350 h 684"/>
                  <a:gd name="T74" fmla="*/ 196 w 665"/>
                  <a:gd name="T75" fmla="*/ 311 h 684"/>
                  <a:gd name="T76" fmla="*/ 146 w 665"/>
                  <a:gd name="T77" fmla="*/ 281 h 684"/>
                  <a:gd name="T78" fmla="*/ 99 w 665"/>
                  <a:gd name="T79" fmla="*/ 271 h 684"/>
                  <a:gd name="T80" fmla="*/ 56 w 665"/>
                  <a:gd name="T81" fmla="*/ 273 h 684"/>
                  <a:gd name="T82" fmla="*/ 25 w 665"/>
                  <a:gd name="T83" fmla="*/ 250 h 684"/>
                  <a:gd name="T84" fmla="*/ 3 w 665"/>
                  <a:gd name="T85" fmla="*/ 214 h 684"/>
                  <a:gd name="T86" fmla="*/ 36 w 665"/>
                  <a:gd name="T87" fmla="*/ 166 h 684"/>
                  <a:gd name="T88" fmla="*/ 68 w 665"/>
                  <a:gd name="T89" fmla="*/ 92 h 684"/>
                  <a:gd name="T90" fmla="*/ 76 w 665"/>
                  <a:gd name="T91" fmla="*/ 70 h 684"/>
                  <a:gd name="T92" fmla="*/ 111 w 665"/>
                  <a:gd name="T93" fmla="*/ 53 h 684"/>
                  <a:gd name="T94" fmla="*/ 149 w 665"/>
                  <a:gd name="T95" fmla="*/ 73 h 684"/>
                  <a:gd name="T96" fmla="*/ 179 w 665"/>
                  <a:gd name="T97" fmla="*/ 48 h 684"/>
                  <a:gd name="T98" fmla="*/ 173 w 665"/>
                  <a:gd name="T99" fmla="*/ 22 h 684"/>
                  <a:gd name="T100" fmla="*/ 209 w 665"/>
                  <a:gd name="T101" fmla="*/ 17 h 684"/>
                  <a:gd name="T102" fmla="*/ 235 w 665"/>
                  <a:gd name="T103" fmla="*/ 3 h 684"/>
                  <a:gd name="T104" fmla="*/ 242 w 665"/>
                  <a:gd name="T105" fmla="*/ 59 h 684"/>
                  <a:gd name="T106" fmla="*/ 278 w 665"/>
                  <a:gd name="T107" fmla="*/ 61 h 684"/>
                  <a:gd name="T108" fmla="*/ 305 w 665"/>
                  <a:gd name="T109" fmla="*/ 49 h 684"/>
                  <a:gd name="T110" fmla="*/ 362 w 665"/>
                  <a:gd name="T111" fmla="*/ 47 h 684"/>
                  <a:gd name="T112" fmla="*/ 397 w 665"/>
                  <a:gd name="T113" fmla="*/ 99 h 684"/>
                  <a:gd name="T114" fmla="*/ 402 w 665"/>
                  <a:gd name="T115" fmla="*/ 118 h 684"/>
                  <a:gd name="T116" fmla="*/ 426 w 665"/>
                  <a:gd name="T117" fmla="*/ 92 h 684"/>
                  <a:gd name="T118" fmla="*/ 379 w 665"/>
                  <a:gd name="T119" fmla="*/ 109 h 684"/>
                  <a:gd name="T120" fmla="*/ 407 w 665"/>
                  <a:gd name="T121" fmla="*/ 84 h 684"/>
                  <a:gd name="T122" fmla="*/ 407 w 665"/>
                  <a:gd name="T123" fmla="*/ 84 h 684"/>
                  <a:gd name="T124" fmla="*/ 403 w 665"/>
                  <a:gd name="T125" fmla="*/ 78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5" h="684">
                    <a:moveTo>
                      <a:pt x="380" y="15"/>
                    </a:moveTo>
                    <a:cubicBezTo>
                      <a:pt x="384" y="14"/>
                      <a:pt x="386" y="22"/>
                      <a:pt x="387" y="24"/>
                    </a:cubicBezTo>
                    <a:cubicBezTo>
                      <a:pt x="391" y="30"/>
                      <a:pt x="390" y="36"/>
                      <a:pt x="391" y="42"/>
                    </a:cubicBezTo>
                    <a:cubicBezTo>
                      <a:pt x="392" y="44"/>
                      <a:pt x="392" y="46"/>
                      <a:pt x="392" y="49"/>
                    </a:cubicBezTo>
                    <a:cubicBezTo>
                      <a:pt x="392" y="49"/>
                      <a:pt x="392" y="51"/>
                      <a:pt x="393" y="51"/>
                    </a:cubicBezTo>
                    <a:cubicBezTo>
                      <a:pt x="394" y="52"/>
                      <a:pt x="394" y="51"/>
                      <a:pt x="394" y="52"/>
                    </a:cubicBezTo>
                    <a:cubicBezTo>
                      <a:pt x="395" y="52"/>
                      <a:pt x="396" y="52"/>
                      <a:pt x="396" y="53"/>
                    </a:cubicBezTo>
                    <a:cubicBezTo>
                      <a:pt x="397" y="55"/>
                      <a:pt x="398" y="56"/>
                      <a:pt x="401" y="57"/>
                    </a:cubicBezTo>
                    <a:cubicBezTo>
                      <a:pt x="403" y="58"/>
                      <a:pt x="406" y="58"/>
                      <a:pt x="407" y="60"/>
                    </a:cubicBezTo>
                    <a:cubicBezTo>
                      <a:pt x="407" y="61"/>
                      <a:pt x="407" y="62"/>
                      <a:pt x="407" y="63"/>
                    </a:cubicBezTo>
                    <a:cubicBezTo>
                      <a:pt x="408" y="64"/>
                      <a:pt x="407" y="65"/>
                      <a:pt x="406" y="66"/>
                    </a:cubicBezTo>
                    <a:cubicBezTo>
                      <a:pt x="405" y="66"/>
                      <a:pt x="405" y="68"/>
                      <a:pt x="405" y="69"/>
                    </a:cubicBezTo>
                    <a:cubicBezTo>
                      <a:pt x="405" y="70"/>
                      <a:pt x="405" y="71"/>
                      <a:pt x="404" y="72"/>
                    </a:cubicBezTo>
                    <a:cubicBezTo>
                      <a:pt x="402" y="74"/>
                      <a:pt x="400" y="75"/>
                      <a:pt x="398" y="77"/>
                    </a:cubicBezTo>
                    <a:cubicBezTo>
                      <a:pt x="396" y="79"/>
                      <a:pt x="394" y="82"/>
                      <a:pt x="392" y="84"/>
                    </a:cubicBezTo>
                    <a:cubicBezTo>
                      <a:pt x="390" y="86"/>
                      <a:pt x="388" y="88"/>
                      <a:pt x="386" y="90"/>
                    </a:cubicBezTo>
                    <a:cubicBezTo>
                      <a:pt x="384" y="92"/>
                      <a:pt x="382" y="95"/>
                      <a:pt x="380" y="97"/>
                    </a:cubicBezTo>
                    <a:cubicBezTo>
                      <a:pt x="379" y="98"/>
                      <a:pt x="378" y="99"/>
                      <a:pt x="378" y="100"/>
                    </a:cubicBezTo>
                    <a:cubicBezTo>
                      <a:pt x="377" y="101"/>
                      <a:pt x="376" y="102"/>
                      <a:pt x="376" y="104"/>
                    </a:cubicBezTo>
                    <a:cubicBezTo>
                      <a:pt x="375" y="105"/>
                      <a:pt x="374" y="106"/>
                      <a:pt x="373" y="107"/>
                    </a:cubicBezTo>
                    <a:cubicBezTo>
                      <a:pt x="373" y="108"/>
                      <a:pt x="373" y="110"/>
                      <a:pt x="372" y="111"/>
                    </a:cubicBezTo>
                    <a:cubicBezTo>
                      <a:pt x="371" y="113"/>
                      <a:pt x="367" y="112"/>
                      <a:pt x="365" y="112"/>
                    </a:cubicBezTo>
                    <a:cubicBezTo>
                      <a:pt x="365" y="112"/>
                      <a:pt x="359" y="114"/>
                      <a:pt x="360" y="115"/>
                    </a:cubicBezTo>
                    <a:cubicBezTo>
                      <a:pt x="361" y="116"/>
                      <a:pt x="363" y="115"/>
                      <a:pt x="364" y="115"/>
                    </a:cubicBezTo>
                    <a:cubicBezTo>
                      <a:pt x="365" y="116"/>
                      <a:pt x="366" y="116"/>
                      <a:pt x="367" y="117"/>
                    </a:cubicBezTo>
                    <a:cubicBezTo>
                      <a:pt x="370" y="118"/>
                      <a:pt x="372" y="116"/>
                      <a:pt x="374" y="115"/>
                    </a:cubicBezTo>
                    <a:cubicBezTo>
                      <a:pt x="377" y="114"/>
                      <a:pt x="379" y="113"/>
                      <a:pt x="381" y="111"/>
                    </a:cubicBezTo>
                    <a:cubicBezTo>
                      <a:pt x="383" y="109"/>
                      <a:pt x="386" y="109"/>
                      <a:pt x="388" y="107"/>
                    </a:cubicBezTo>
                    <a:cubicBezTo>
                      <a:pt x="389" y="106"/>
                      <a:pt x="390" y="104"/>
                      <a:pt x="391" y="106"/>
                    </a:cubicBezTo>
                    <a:cubicBezTo>
                      <a:pt x="391" y="107"/>
                      <a:pt x="391" y="109"/>
                      <a:pt x="391" y="110"/>
                    </a:cubicBezTo>
                    <a:cubicBezTo>
                      <a:pt x="391" y="113"/>
                      <a:pt x="393" y="115"/>
                      <a:pt x="394" y="117"/>
                    </a:cubicBezTo>
                    <a:cubicBezTo>
                      <a:pt x="395" y="119"/>
                      <a:pt x="397" y="120"/>
                      <a:pt x="399" y="120"/>
                    </a:cubicBezTo>
                    <a:cubicBezTo>
                      <a:pt x="402" y="120"/>
                      <a:pt x="405" y="120"/>
                      <a:pt x="407" y="121"/>
                    </a:cubicBezTo>
                    <a:cubicBezTo>
                      <a:pt x="409" y="121"/>
                      <a:pt x="410" y="121"/>
                      <a:pt x="412" y="121"/>
                    </a:cubicBezTo>
                    <a:cubicBezTo>
                      <a:pt x="413" y="120"/>
                      <a:pt x="414" y="119"/>
                      <a:pt x="415" y="118"/>
                    </a:cubicBezTo>
                    <a:cubicBezTo>
                      <a:pt x="418" y="117"/>
                      <a:pt x="418" y="119"/>
                      <a:pt x="417" y="121"/>
                    </a:cubicBezTo>
                    <a:cubicBezTo>
                      <a:pt x="416" y="123"/>
                      <a:pt x="415" y="126"/>
                      <a:pt x="415" y="129"/>
                    </a:cubicBezTo>
                    <a:cubicBezTo>
                      <a:pt x="415" y="129"/>
                      <a:pt x="415" y="132"/>
                      <a:pt x="415" y="132"/>
                    </a:cubicBezTo>
                    <a:cubicBezTo>
                      <a:pt x="416" y="132"/>
                      <a:pt x="416" y="129"/>
                      <a:pt x="417" y="129"/>
                    </a:cubicBezTo>
                    <a:cubicBezTo>
                      <a:pt x="417" y="126"/>
                      <a:pt x="417" y="123"/>
                      <a:pt x="419" y="121"/>
                    </a:cubicBezTo>
                    <a:cubicBezTo>
                      <a:pt x="421" y="119"/>
                      <a:pt x="423" y="118"/>
                      <a:pt x="425" y="116"/>
                    </a:cubicBezTo>
                    <a:cubicBezTo>
                      <a:pt x="426" y="116"/>
                      <a:pt x="428" y="115"/>
                      <a:pt x="429" y="115"/>
                    </a:cubicBezTo>
                    <a:cubicBezTo>
                      <a:pt x="430" y="115"/>
                      <a:pt x="430" y="115"/>
                      <a:pt x="431" y="116"/>
                    </a:cubicBezTo>
                    <a:cubicBezTo>
                      <a:pt x="431" y="116"/>
                      <a:pt x="432" y="115"/>
                      <a:pt x="433" y="115"/>
                    </a:cubicBezTo>
                    <a:cubicBezTo>
                      <a:pt x="433" y="115"/>
                      <a:pt x="436" y="115"/>
                      <a:pt x="436" y="114"/>
                    </a:cubicBezTo>
                    <a:cubicBezTo>
                      <a:pt x="435" y="113"/>
                      <a:pt x="432" y="111"/>
                      <a:pt x="433" y="111"/>
                    </a:cubicBezTo>
                    <a:cubicBezTo>
                      <a:pt x="434" y="110"/>
                      <a:pt x="435" y="111"/>
                      <a:pt x="435" y="110"/>
                    </a:cubicBezTo>
                    <a:cubicBezTo>
                      <a:pt x="436" y="110"/>
                      <a:pt x="436" y="109"/>
                      <a:pt x="436" y="108"/>
                    </a:cubicBezTo>
                    <a:cubicBezTo>
                      <a:pt x="436" y="106"/>
                      <a:pt x="435" y="104"/>
                      <a:pt x="437" y="102"/>
                    </a:cubicBezTo>
                    <a:cubicBezTo>
                      <a:pt x="439" y="101"/>
                      <a:pt x="441" y="100"/>
                      <a:pt x="444" y="100"/>
                    </a:cubicBezTo>
                    <a:cubicBezTo>
                      <a:pt x="446" y="100"/>
                      <a:pt x="447" y="98"/>
                      <a:pt x="450" y="99"/>
                    </a:cubicBezTo>
                    <a:cubicBezTo>
                      <a:pt x="452" y="99"/>
                      <a:pt x="453" y="102"/>
                      <a:pt x="456" y="102"/>
                    </a:cubicBezTo>
                    <a:cubicBezTo>
                      <a:pt x="458" y="102"/>
                      <a:pt x="461" y="101"/>
                      <a:pt x="462" y="104"/>
                    </a:cubicBezTo>
                    <a:cubicBezTo>
                      <a:pt x="463" y="106"/>
                      <a:pt x="465" y="106"/>
                      <a:pt x="467" y="105"/>
                    </a:cubicBezTo>
                    <a:cubicBezTo>
                      <a:pt x="470" y="105"/>
                      <a:pt x="471" y="107"/>
                      <a:pt x="474" y="108"/>
                    </a:cubicBezTo>
                    <a:cubicBezTo>
                      <a:pt x="475" y="108"/>
                      <a:pt x="478" y="108"/>
                      <a:pt x="479" y="110"/>
                    </a:cubicBezTo>
                    <a:cubicBezTo>
                      <a:pt x="480" y="110"/>
                      <a:pt x="480" y="111"/>
                      <a:pt x="481" y="111"/>
                    </a:cubicBezTo>
                    <a:cubicBezTo>
                      <a:pt x="483" y="111"/>
                      <a:pt x="484" y="112"/>
                      <a:pt x="484" y="113"/>
                    </a:cubicBezTo>
                    <a:cubicBezTo>
                      <a:pt x="485" y="114"/>
                      <a:pt x="484" y="116"/>
                      <a:pt x="485" y="117"/>
                    </a:cubicBezTo>
                    <a:cubicBezTo>
                      <a:pt x="486" y="117"/>
                      <a:pt x="486" y="115"/>
                      <a:pt x="486" y="115"/>
                    </a:cubicBezTo>
                    <a:cubicBezTo>
                      <a:pt x="487" y="114"/>
                      <a:pt x="488" y="113"/>
                      <a:pt x="489" y="113"/>
                    </a:cubicBezTo>
                    <a:cubicBezTo>
                      <a:pt x="491" y="112"/>
                      <a:pt x="491" y="114"/>
                      <a:pt x="492" y="115"/>
                    </a:cubicBezTo>
                    <a:cubicBezTo>
                      <a:pt x="493" y="116"/>
                      <a:pt x="494" y="116"/>
                      <a:pt x="495" y="116"/>
                    </a:cubicBezTo>
                    <a:cubicBezTo>
                      <a:pt x="496" y="116"/>
                      <a:pt x="496" y="118"/>
                      <a:pt x="496" y="119"/>
                    </a:cubicBezTo>
                    <a:cubicBezTo>
                      <a:pt x="498" y="120"/>
                      <a:pt x="499" y="121"/>
                      <a:pt x="497" y="123"/>
                    </a:cubicBezTo>
                    <a:cubicBezTo>
                      <a:pt x="497" y="124"/>
                      <a:pt x="494" y="127"/>
                      <a:pt x="495" y="127"/>
                    </a:cubicBezTo>
                    <a:cubicBezTo>
                      <a:pt x="496" y="128"/>
                      <a:pt x="500" y="125"/>
                      <a:pt x="500" y="127"/>
                    </a:cubicBezTo>
                    <a:cubicBezTo>
                      <a:pt x="499" y="130"/>
                      <a:pt x="496" y="131"/>
                      <a:pt x="496" y="134"/>
                    </a:cubicBezTo>
                    <a:cubicBezTo>
                      <a:pt x="496" y="135"/>
                      <a:pt x="497" y="137"/>
                      <a:pt x="497" y="138"/>
                    </a:cubicBezTo>
                    <a:cubicBezTo>
                      <a:pt x="497" y="139"/>
                      <a:pt x="496" y="141"/>
                      <a:pt x="497" y="142"/>
                    </a:cubicBezTo>
                    <a:cubicBezTo>
                      <a:pt x="497" y="143"/>
                      <a:pt x="498" y="141"/>
                      <a:pt x="498" y="141"/>
                    </a:cubicBezTo>
                    <a:cubicBezTo>
                      <a:pt x="499" y="140"/>
                      <a:pt x="499" y="138"/>
                      <a:pt x="500" y="137"/>
                    </a:cubicBezTo>
                    <a:cubicBezTo>
                      <a:pt x="501" y="135"/>
                      <a:pt x="504" y="135"/>
                      <a:pt x="506" y="135"/>
                    </a:cubicBezTo>
                    <a:cubicBezTo>
                      <a:pt x="509" y="135"/>
                      <a:pt x="509" y="132"/>
                      <a:pt x="511" y="131"/>
                    </a:cubicBezTo>
                    <a:cubicBezTo>
                      <a:pt x="513" y="129"/>
                      <a:pt x="516" y="129"/>
                      <a:pt x="518" y="129"/>
                    </a:cubicBezTo>
                    <a:cubicBezTo>
                      <a:pt x="521" y="129"/>
                      <a:pt x="523" y="131"/>
                      <a:pt x="526" y="132"/>
                    </a:cubicBezTo>
                    <a:cubicBezTo>
                      <a:pt x="529" y="134"/>
                      <a:pt x="531" y="134"/>
                      <a:pt x="534" y="135"/>
                    </a:cubicBezTo>
                    <a:cubicBezTo>
                      <a:pt x="537" y="137"/>
                      <a:pt x="539" y="136"/>
                      <a:pt x="542" y="136"/>
                    </a:cubicBezTo>
                    <a:cubicBezTo>
                      <a:pt x="545" y="135"/>
                      <a:pt x="548" y="137"/>
                      <a:pt x="550" y="138"/>
                    </a:cubicBezTo>
                    <a:cubicBezTo>
                      <a:pt x="551" y="139"/>
                      <a:pt x="553" y="139"/>
                      <a:pt x="554" y="140"/>
                    </a:cubicBezTo>
                    <a:cubicBezTo>
                      <a:pt x="555" y="140"/>
                      <a:pt x="555" y="139"/>
                      <a:pt x="556" y="139"/>
                    </a:cubicBezTo>
                    <a:cubicBezTo>
                      <a:pt x="557" y="137"/>
                      <a:pt x="559" y="137"/>
                      <a:pt x="561" y="137"/>
                    </a:cubicBezTo>
                    <a:cubicBezTo>
                      <a:pt x="562" y="136"/>
                      <a:pt x="564" y="137"/>
                      <a:pt x="565" y="136"/>
                    </a:cubicBezTo>
                    <a:cubicBezTo>
                      <a:pt x="567" y="136"/>
                      <a:pt x="568" y="136"/>
                      <a:pt x="570" y="136"/>
                    </a:cubicBezTo>
                    <a:cubicBezTo>
                      <a:pt x="572" y="136"/>
                      <a:pt x="575" y="137"/>
                      <a:pt x="577" y="138"/>
                    </a:cubicBezTo>
                    <a:cubicBezTo>
                      <a:pt x="580" y="139"/>
                      <a:pt x="583" y="140"/>
                      <a:pt x="585" y="142"/>
                    </a:cubicBezTo>
                    <a:cubicBezTo>
                      <a:pt x="591" y="144"/>
                      <a:pt x="595" y="149"/>
                      <a:pt x="601" y="152"/>
                    </a:cubicBezTo>
                    <a:cubicBezTo>
                      <a:pt x="603" y="153"/>
                      <a:pt x="606" y="154"/>
                      <a:pt x="608" y="156"/>
                    </a:cubicBezTo>
                    <a:cubicBezTo>
                      <a:pt x="610" y="157"/>
                      <a:pt x="612" y="160"/>
                      <a:pt x="614" y="162"/>
                    </a:cubicBezTo>
                    <a:cubicBezTo>
                      <a:pt x="618" y="167"/>
                      <a:pt x="623" y="170"/>
                      <a:pt x="628" y="173"/>
                    </a:cubicBezTo>
                    <a:cubicBezTo>
                      <a:pt x="633" y="176"/>
                      <a:pt x="639" y="176"/>
                      <a:pt x="645" y="176"/>
                    </a:cubicBezTo>
                    <a:cubicBezTo>
                      <a:pt x="649" y="176"/>
                      <a:pt x="654" y="175"/>
                      <a:pt x="656" y="180"/>
                    </a:cubicBezTo>
                    <a:cubicBezTo>
                      <a:pt x="657" y="186"/>
                      <a:pt x="658" y="192"/>
                      <a:pt x="661" y="197"/>
                    </a:cubicBezTo>
                    <a:cubicBezTo>
                      <a:pt x="663" y="200"/>
                      <a:pt x="664" y="202"/>
                      <a:pt x="665" y="205"/>
                    </a:cubicBezTo>
                    <a:cubicBezTo>
                      <a:pt x="665" y="208"/>
                      <a:pt x="665" y="211"/>
                      <a:pt x="665" y="214"/>
                    </a:cubicBezTo>
                    <a:cubicBezTo>
                      <a:pt x="665" y="217"/>
                      <a:pt x="665" y="220"/>
                      <a:pt x="665" y="223"/>
                    </a:cubicBezTo>
                    <a:cubicBezTo>
                      <a:pt x="664" y="226"/>
                      <a:pt x="664" y="229"/>
                      <a:pt x="663" y="231"/>
                    </a:cubicBezTo>
                    <a:cubicBezTo>
                      <a:pt x="662" y="234"/>
                      <a:pt x="660" y="236"/>
                      <a:pt x="659" y="238"/>
                    </a:cubicBezTo>
                    <a:cubicBezTo>
                      <a:pt x="658" y="241"/>
                      <a:pt x="657" y="244"/>
                      <a:pt x="655" y="246"/>
                    </a:cubicBezTo>
                    <a:cubicBezTo>
                      <a:pt x="653" y="248"/>
                      <a:pt x="651" y="250"/>
                      <a:pt x="649" y="251"/>
                    </a:cubicBezTo>
                    <a:cubicBezTo>
                      <a:pt x="648" y="251"/>
                      <a:pt x="647" y="252"/>
                      <a:pt x="647" y="252"/>
                    </a:cubicBezTo>
                    <a:cubicBezTo>
                      <a:pt x="646" y="254"/>
                      <a:pt x="647" y="255"/>
                      <a:pt x="647" y="257"/>
                    </a:cubicBezTo>
                    <a:cubicBezTo>
                      <a:pt x="646" y="259"/>
                      <a:pt x="644" y="261"/>
                      <a:pt x="642" y="262"/>
                    </a:cubicBezTo>
                    <a:cubicBezTo>
                      <a:pt x="640" y="264"/>
                      <a:pt x="639" y="267"/>
                      <a:pt x="637" y="268"/>
                    </a:cubicBezTo>
                    <a:cubicBezTo>
                      <a:pt x="635" y="270"/>
                      <a:pt x="632" y="270"/>
                      <a:pt x="630" y="272"/>
                    </a:cubicBezTo>
                    <a:cubicBezTo>
                      <a:pt x="629" y="273"/>
                      <a:pt x="629" y="274"/>
                      <a:pt x="628" y="274"/>
                    </a:cubicBezTo>
                    <a:cubicBezTo>
                      <a:pt x="627" y="274"/>
                      <a:pt x="627" y="272"/>
                      <a:pt x="625" y="273"/>
                    </a:cubicBezTo>
                    <a:cubicBezTo>
                      <a:pt x="624" y="273"/>
                      <a:pt x="622" y="276"/>
                      <a:pt x="623" y="277"/>
                    </a:cubicBezTo>
                    <a:cubicBezTo>
                      <a:pt x="625" y="280"/>
                      <a:pt x="622" y="280"/>
                      <a:pt x="621" y="282"/>
                    </a:cubicBezTo>
                    <a:cubicBezTo>
                      <a:pt x="619" y="284"/>
                      <a:pt x="620" y="286"/>
                      <a:pt x="619" y="288"/>
                    </a:cubicBezTo>
                    <a:cubicBezTo>
                      <a:pt x="618" y="291"/>
                      <a:pt x="616" y="293"/>
                      <a:pt x="615" y="295"/>
                    </a:cubicBezTo>
                    <a:cubicBezTo>
                      <a:pt x="613" y="299"/>
                      <a:pt x="610" y="302"/>
                      <a:pt x="608" y="305"/>
                    </a:cubicBezTo>
                    <a:cubicBezTo>
                      <a:pt x="607" y="306"/>
                      <a:pt x="603" y="311"/>
                      <a:pt x="602" y="309"/>
                    </a:cubicBezTo>
                    <a:cubicBezTo>
                      <a:pt x="602" y="308"/>
                      <a:pt x="602" y="307"/>
                      <a:pt x="602" y="306"/>
                    </a:cubicBezTo>
                    <a:cubicBezTo>
                      <a:pt x="602" y="305"/>
                      <a:pt x="601" y="305"/>
                      <a:pt x="601" y="304"/>
                    </a:cubicBezTo>
                    <a:cubicBezTo>
                      <a:pt x="599" y="302"/>
                      <a:pt x="597" y="305"/>
                      <a:pt x="596" y="306"/>
                    </a:cubicBezTo>
                    <a:cubicBezTo>
                      <a:pt x="595" y="306"/>
                      <a:pt x="595" y="307"/>
                      <a:pt x="595" y="308"/>
                    </a:cubicBezTo>
                    <a:cubicBezTo>
                      <a:pt x="595" y="309"/>
                      <a:pt x="596" y="309"/>
                      <a:pt x="597" y="309"/>
                    </a:cubicBezTo>
                    <a:cubicBezTo>
                      <a:pt x="599" y="310"/>
                      <a:pt x="595" y="314"/>
                      <a:pt x="594" y="314"/>
                    </a:cubicBezTo>
                    <a:cubicBezTo>
                      <a:pt x="593" y="315"/>
                      <a:pt x="593" y="316"/>
                      <a:pt x="593" y="317"/>
                    </a:cubicBezTo>
                    <a:cubicBezTo>
                      <a:pt x="593" y="318"/>
                      <a:pt x="592" y="319"/>
                      <a:pt x="592" y="320"/>
                    </a:cubicBezTo>
                    <a:cubicBezTo>
                      <a:pt x="590" y="322"/>
                      <a:pt x="591" y="324"/>
                      <a:pt x="593" y="326"/>
                    </a:cubicBezTo>
                    <a:cubicBezTo>
                      <a:pt x="595" y="327"/>
                      <a:pt x="594" y="329"/>
                      <a:pt x="593" y="331"/>
                    </a:cubicBezTo>
                    <a:cubicBezTo>
                      <a:pt x="592" y="335"/>
                      <a:pt x="593" y="338"/>
                      <a:pt x="593" y="341"/>
                    </a:cubicBezTo>
                    <a:cubicBezTo>
                      <a:pt x="593" y="344"/>
                      <a:pt x="594" y="347"/>
                      <a:pt x="594" y="350"/>
                    </a:cubicBezTo>
                    <a:cubicBezTo>
                      <a:pt x="594" y="353"/>
                      <a:pt x="593" y="357"/>
                      <a:pt x="594" y="360"/>
                    </a:cubicBezTo>
                    <a:cubicBezTo>
                      <a:pt x="595" y="362"/>
                      <a:pt x="594" y="365"/>
                      <a:pt x="594" y="368"/>
                    </a:cubicBezTo>
                    <a:cubicBezTo>
                      <a:pt x="593" y="371"/>
                      <a:pt x="592" y="374"/>
                      <a:pt x="591" y="377"/>
                    </a:cubicBezTo>
                    <a:cubicBezTo>
                      <a:pt x="591" y="380"/>
                      <a:pt x="588" y="383"/>
                      <a:pt x="589" y="385"/>
                    </a:cubicBezTo>
                    <a:cubicBezTo>
                      <a:pt x="589" y="388"/>
                      <a:pt x="591" y="391"/>
                      <a:pt x="591" y="393"/>
                    </a:cubicBezTo>
                    <a:cubicBezTo>
                      <a:pt x="590" y="396"/>
                      <a:pt x="587" y="397"/>
                      <a:pt x="586" y="398"/>
                    </a:cubicBezTo>
                    <a:cubicBezTo>
                      <a:pt x="583" y="400"/>
                      <a:pt x="582" y="402"/>
                      <a:pt x="581" y="405"/>
                    </a:cubicBezTo>
                    <a:cubicBezTo>
                      <a:pt x="581" y="407"/>
                      <a:pt x="581" y="410"/>
                      <a:pt x="581" y="413"/>
                    </a:cubicBezTo>
                    <a:cubicBezTo>
                      <a:pt x="581" y="416"/>
                      <a:pt x="582" y="419"/>
                      <a:pt x="582" y="422"/>
                    </a:cubicBezTo>
                    <a:cubicBezTo>
                      <a:pt x="581" y="424"/>
                      <a:pt x="578" y="426"/>
                      <a:pt x="577" y="427"/>
                    </a:cubicBezTo>
                    <a:cubicBezTo>
                      <a:pt x="575" y="429"/>
                      <a:pt x="573" y="431"/>
                      <a:pt x="573" y="434"/>
                    </a:cubicBezTo>
                    <a:cubicBezTo>
                      <a:pt x="573" y="435"/>
                      <a:pt x="573" y="436"/>
                      <a:pt x="572" y="437"/>
                    </a:cubicBezTo>
                    <a:cubicBezTo>
                      <a:pt x="571" y="437"/>
                      <a:pt x="570" y="438"/>
                      <a:pt x="570" y="439"/>
                    </a:cubicBezTo>
                    <a:cubicBezTo>
                      <a:pt x="570" y="440"/>
                      <a:pt x="570" y="441"/>
                      <a:pt x="570" y="442"/>
                    </a:cubicBezTo>
                    <a:cubicBezTo>
                      <a:pt x="569" y="443"/>
                      <a:pt x="568" y="444"/>
                      <a:pt x="567" y="445"/>
                    </a:cubicBezTo>
                    <a:cubicBezTo>
                      <a:pt x="565" y="447"/>
                      <a:pt x="563" y="449"/>
                      <a:pt x="562" y="451"/>
                    </a:cubicBezTo>
                    <a:cubicBezTo>
                      <a:pt x="560" y="454"/>
                      <a:pt x="558" y="456"/>
                      <a:pt x="558" y="458"/>
                    </a:cubicBezTo>
                    <a:cubicBezTo>
                      <a:pt x="558" y="460"/>
                      <a:pt x="558" y="461"/>
                      <a:pt x="558" y="462"/>
                    </a:cubicBezTo>
                    <a:cubicBezTo>
                      <a:pt x="558" y="464"/>
                      <a:pt x="559" y="465"/>
                      <a:pt x="559" y="466"/>
                    </a:cubicBezTo>
                    <a:cubicBezTo>
                      <a:pt x="559" y="469"/>
                      <a:pt x="557" y="470"/>
                      <a:pt x="554" y="471"/>
                    </a:cubicBezTo>
                    <a:cubicBezTo>
                      <a:pt x="552" y="472"/>
                      <a:pt x="549" y="473"/>
                      <a:pt x="547" y="474"/>
                    </a:cubicBezTo>
                    <a:cubicBezTo>
                      <a:pt x="545" y="476"/>
                      <a:pt x="542" y="476"/>
                      <a:pt x="542" y="479"/>
                    </a:cubicBezTo>
                    <a:cubicBezTo>
                      <a:pt x="542" y="481"/>
                      <a:pt x="544" y="483"/>
                      <a:pt x="543" y="485"/>
                    </a:cubicBezTo>
                    <a:cubicBezTo>
                      <a:pt x="541" y="487"/>
                      <a:pt x="537" y="486"/>
                      <a:pt x="536" y="485"/>
                    </a:cubicBezTo>
                    <a:cubicBezTo>
                      <a:pt x="533" y="485"/>
                      <a:pt x="530" y="485"/>
                      <a:pt x="527" y="484"/>
                    </a:cubicBezTo>
                    <a:cubicBezTo>
                      <a:pt x="527" y="484"/>
                      <a:pt x="526" y="484"/>
                      <a:pt x="525" y="484"/>
                    </a:cubicBezTo>
                    <a:cubicBezTo>
                      <a:pt x="524" y="483"/>
                      <a:pt x="525" y="482"/>
                      <a:pt x="525" y="481"/>
                    </a:cubicBezTo>
                    <a:cubicBezTo>
                      <a:pt x="524" y="479"/>
                      <a:pt x="522" y="482"/>
                      <a:pt x="521" y="483"/>
                    </a:cubicBezTo>
                    <a:cubicBezTo>
                      <a:pt x="521" y="484"/>
                      <a:pt x="521" y="484"/>
                      <a:pt x="521" y="485"/>
                    </a:cubicBezTo>
                    <a:cubicBezTo>
                      <a:pt x="520" y="486"/>
                      <a:pt x="519" y="485"/>
                      <a:pt x="518" y="485"/>
                    </a:cubicBezTo>
                    <a:cubicBezTo>
                      <a:pt x="515" y="485"/>
                      <a:pt x="512" y="484"/>
                      <a:pt x="510" y="485"/>
                    </a:cubicBezTo>
                    <a:cubicBezTo>
                      <a:pt x="509" y="485"/>
                      <a:pt x="508" y="486"/>
                      <a:pt x="507" y="486"/>
                    </a:cubicBezTo>
                    <a:cubicBezTo>
                      <a:pt x="505" y="487"/>
                      <a:pt x="504" y="486"/>
                      <a:pt x="503" y="485"/>
                    </a:cubicBezTo>
                    <a:cubicBezTo>
                      <a:pt x="501" y="484"/>
                      <a:pt x="499" y="486"/>
                      <a:pt x="498" y="487"/>
                    </a:cubicBezTo>
                    <a:cubicBezTo>
                      <a:pt x="497" y="487"/>
                      <a:pt x="496" y="488"/>
                      <a:pt x="496" y="489"/>
                    </a:cubicBezTo>
                    <a:cubicBezTo>
                      <a:pt x="497" y="490"/>
                      <a:pt x="498" y="491"/>
                      <a:pt x="497" y="492"/>
                    </a:cubicBezTo>
                    <a:cubicBezTo>
                      <a:pt x="497" y="492"/>
                      <a:pt x="496" y="493"/>
                      <a:pt x="495" y="493"/>
                    </a:cubicBezTo>
                    <a:cubicBezTo>
                      <a:pt x="493" y="493"/>
                      <a:pt x="492" y="494"/>
                      <a:pt x="491" y="494"/>
                    </a:cubicBezTo>
                    <a:cubicBezTo>
                      <a:pt x="490" y="495"/>
                      <a:pt x="489" y="496"/>
                      <a:pt x="488" y="496"/>
                    </a:cubicBezTo>
                    <a:cubicBezTo>
                      <a:pt x="487" y="497"/>
                      <a:pt x="486" y="498"/>
                      <a:pt x="485" y="499"/>
                    </a:cubicBezTo>
                    <a:cubicBezTo>
                      <a:pt x="483" y="501"/>
                      <a:pt x="480" y="500"/>
                      <a:pt x="478" y="500"/>
                    </a:cubicBezTo>
                    <a:cubicBezTo>
                      <a:pt x="475" y="500"/>
                      <a:pt x="471" y="500"/>
                      <a:pt x="469" y="502"/>
                    </a:cubicBezTo>
                    <a:cubicBezTo>
                      <a:pt x="467" y="503"/>
                      <a:pt x="466" y="506"/>
                      <a:pt x="464" y="507"/>
                    </a:cubicBezTo>
                    <a:cubicBezTo>
                      <a:pt x="461" y="509"/>
                      <a:pt x="459" y="510"/>
                      <a:pt x="456" y="512"/>
                    </a:cubicBezTo>
                    <a:cubicBezTo>
                      <a:pt x="454" y="513"/>
                      <a:pt x="451" y="515"/>
                      <a:pt x="449" y="517"/>
                    </a:cubicBezTo>
                    <a:cubicBezTo>
                      <a:pt x="447" y="518"/>
                      <a:pt x="444" y="520"/>
                      <a:pt x="442" y="522"/>
                    </a:cubicBezTo>
                    <a:cubicBezTo>
                      <a:pt x="441" y="522"/>
                      <a:pt x="441" y="523"/>
                      <a:pt x="441" y="524"/>
                    </a:cubicBezTo>
                    <a:cubicBezTo>
                      <a:pt x="441" y="525"/>
                      <a:pt x="440" y="526"/>
                      <a:pt x="439" y="527"/>
                    </a:cubicBezTo>
                    <a:cubicBezTo>
                      <a:pt x="439" y="528"/>
                      <a:pt x="437" y="529"/>
                      <a:pt x="436" y="529"/>
                    </a:cubicBezTo>
                    <a:cubicBezTo>
                      <a:pt x="435" y="529"/>
                      <a:pt x="435" y="528"/>
                      <a:pt x="435" y="527"/>
                    </a:cubicBezTo>
                    <a:cubicBezTo>
                      <a:pt x="434" y="526"/>
                      <a:pt x="433" y="527"/>
                      <a:pt x="433" y="527"/>
                    </a:cubicBezTo>
                    <a:cubicBezTo>
                      <a:pt x="432" y="528"/>
                      <a:pt x="432" y="528"/>
                      <a:pt x="430" y="529"/>
                    </a:cubicBezTo>
                    <a:cubicBezTo>
                      <a:pt x="429" y="529"/>
                      <a:pt x="428" y="529"/>
                      <a:pt x="428" y="530"/>
                    </a:cubicBezTo>
                    <a:cubicBezTo>
                      <a:pt x="428" y="531"/>
                      <a:pt x="429" y="531"/>
                      <a:pt x="430" y="532"/>
                    </a:cubicBezTo>
                    <a:cubicBezTo>
                      <a:pt x="433" y="532"/>
                      <a:pt x="432" y="534"/>
                      <a:pt x="430" y="536"/>
                    </a:cubicBezTo>
                    <a:cubicBezTo>
                      <a:pt x="430" y="536"/>
                      <a:pt x="429" y="537"/>
                      <a:pt x="428" y="538"/>
                    </a:cubicBezTo>
                    <a:cubicBezTo>
                      <a:pt x="428" y="539"/>
                      <a:pt x="429" y="539"/>
                      <a:pt x="429" y="540"/>
                    </a:cubicBezTo>
                    <a:cubicBezTo>
                      <a:pt x="430" y="543"/>
                      <a:pt x="426" y="541"/>
                      <a:pt x="427" y="543"/>
                    </a:cubicBezTo>
                    <a:cubicBezTo>
                      <a:pt x="427" y="546"/>
                      <a:pt x="429" y="546"/>
                      <a:pt x="430" y="548"/>
                    </a:cubicBezTo>
                    <a:cubicBezTo>
                      <a:pt x="430" y="549"/>
                      <a:pt x="429" y="550"/>
                      <a:pt x="429" y="551"/>
                    </a:cubicBezTo>
                    <a:cubicBezTo>
                      <a:pt x="428" y="552"/>
                      <a:pt x="429" y="553"/>
                      <a:pt x="429" y="555"/>
                    </a:cubicBezTo>
                    <a:cubicBezTo>
                      <a:pt x="429" y="556"/>
                      <a:pt x="430" y="557"/>
                      <a:pt x="430" y="558"/>
                    </a:cubicBezTo>
                    <a:cubicBezTo>
                      <a:pt x="430" y="559"/>
                      <a:pt x="429" y="560"/>
                      <a:pt x="430" y="561"/>
                    </a:cubicBezTo>
                    <a:cubicBezTo>
                      <a:pt x="431" y="562"/>
                      <a:pt x="432" y="562"/>
                      <a:pt x="431" y="563"/>
                    </a:cubicBezTo>
                    <a:cubicBezTo>
                      <a:pt x="430" y="564"/>
                      <a:pt x="430" y="565"/>
                      <a:pt x="430" y="566"/>
                    </a:cubicBezTo>
                    <a:cubicBezTo>
                      <a:pt x="430" y="567"/>
                      <a:pt x="430" y="568"/>
                      <a:pt x="430" y="569"/>
                    </a:cubicBezTo>
                    <a:cubicBezTo>
                      <a:pt x="429" y="570"/>
                      <a:pt x="429" y="571"/>
                      <a:pt x="431" y="571"/>
                    </a:cubicBezTo>
                    <a:cubicBezTo>
                      <a:pt x="432" y="571"/>
                      <a:pt x="432" y="569"/>
                      <a:pt x="433" y="569"/>
                    </a:cubicBezTo>
                    <a:cubicBezTo>
                      <a:pt x="433" y="569"/>
                      <a:pt x="433" y="570"/>
                      <a:pt x="433" y="571"/>
                    </a:cubicBezTo>
                    <a:cubicBezTo>
                      <a:pt x="433" y="572"/>
                      <a:pt x="432" y="573"/>
                      <a:pt x="432" y="574"/>
                    </a:cubicBezTo>
                    <a:cubicBezTo>
                      <a:pt x="430" y="576"/>
                      <a:pt x="429" y="578"/>
                      <a:pt x="429" y="580"/>
                    </a:cubicBezTo>
                    <a:cubicBezTo>
                      <a:pt x="429" y="581"/>
                      <a:pt x="429" y="582"/>
                      <a:pt x="429" y="583"/>
                    </a:cubicBezTo>
                    <a:cubicBezTo>
                      <a:pt x="428" y="584"/>
                      <a:pt x="427" y="583"/>
                      <a:pt x="426" y="584"/>
                    </a:cubicBezTo>
                    <a:cubicBezTo>
                      <a:pt x="425" y="585"/>
                      <a:pt x="426" y="588"/>
                      <a:pt x="426" y="589"/>
                    </a:cubicBezTo>
                    <a:cubicBezTo>
                      <a:pt x="425" y="590"/>
                      <a:pt x="424" y="591"/>
                      <a:pt x="423" y="592"/>
                    </a:cubicBezTo>
                    <a:cubicBezTo>
                      <a:pt x="422" y="593"/>
                      <a:pt x="421" y="594"/>
                      <a:pt x="420" y="595"/>
                    </a:cubicBezTo>
                    <a:cubicBezTo>
                      <a:pt x="416" y="598"/>
                      <a:pt x="411" y="600"/>
                      <a:pt x="409" y="605"/>
                    </a:cubicBezTo>
                    <a:cubicBezTo>
                      <a:pt x="408" y="608"/>
                      <a:pt x="407" y="610"/>
                      <a:pt x="406" y="613"/>
                    </a:cubicBezTo>
                    <a:cubicBezTo>
                      <a:pt x="405" y="616"/>
                      <a:pt x="403" y="619"/>
                      <a:pt x="402" y="622"/>
                    </a:cubicBezTo>
                    <a:cubicBezTo>
                      <a:pt x="401" y="624"/>
                      <a:pt x="399" y="627"/>
                      <a:pt x="398" y="629"/>
                    </a:cubicBezTo>
                    <a:cubicBezTo>
                      <a:pt x="396" y="631"/>
                      <a:pt x="394" y="633"/>
                      <a:pt x="392" y="635"/>
                    </a:cubicBezTo>
                    <a:cubicBezTo>
                      <a:pt x="390" y="638"/>
                      <a:pt x="389" y="640"/>
                      <a:pt x="387" y="642"/>
                    </a:cubicBezTo>
                    <a:cubicBezTo>
                      <a:pt x="385" y="644"/>
                      <a:pt x="382" y="646"/>
                      <a:pt x="380" y="648"/>
                    </a:cubicBezTo>
                    <a:cubicBezTo>
                      <a:pt x="378" y="650"/>
                      <a:pt x="376" y="651"/>
                      <a:pt x="374" y="653"/>
                    </a:cubicBezTo>
                    <a:cubicBezTo>
                      <a:pt x="373" y="653"/>
                      <a:pt x="373" y="654"/>
                      <a:pt x="372" y="653"/>
                    </a:cubicBezTo>
                    <a:cubicBezTo>
                      <a:pt x="371" y="652"/>
                      <a:pt x="371" y="651"/>
                      <a:pt x="372" y="650"/>
                    </a:cubicBezTo>
                    <a:cubicBezTo>
                      <a:pt x="373" y="649"/>
                      <a:pt x="374" y="649"/>
                      <a:pt x="375" y="649"/>
                    </a:cubicBezTo>
                    <a:cubicBezTo>
                      <a:pt x="376" y="649"/>
                      <a:pt x="377" y="648"/>
                      <a:pt x="379" y="647"/>
                    </a:cubicBezTo>
                    <a:cubicBezTo>
                      <a:pt x="381" y="646"/>
                      <a:pt x="384" y="645"/>
                      <a:pt x="385" y="642"/>
                    </a:cubicBezTo>
                    <a:cubicBezTo>
                      <a:pt x="386" y="640"/>
                      <a:pt x="385" y="637"/>
                      <a:pt x="386" y="636"/>
                    </a:cubicBezTo>
                    <a:cubicBezTo>
                      <a:pt x="387" y="635"/>
                      <a:pt x="388" y="635"/>
                      <a:pt x="388" y="635"/>
                    </a:cubicBezTo>
                    <a:cubicBezTo>
                      <a:pt x="389" y="635"/>
                      <a:pt x="389" y="634"/>
                      <a:pt x="390" y="633"/>
                    </a:cubicBezTo>
                    <a:cubicBezTo>
                      <a:pt x="390" y="632"/>
                      <a:pt x="391" y="631"/>
                      <a:pt x="391" y="630"/>
                    </a:cubicBezTo>
                    <a:cubicBezTo>
                      <a:pt x="392" y="630"/>
                      <a:pt x="393" y="630"/>
                      <a:pt x="393" y="629"/>
                    </a:cubicBezTo>
                    <a:cubicBezTo>
                      <a:pt x="394" y="626"/>
                      <a:pt x="393" y="624"/>
                      <a:pt x="395" y="622"/>
                    </a:cubicBezTo>
                    <a:cubicBezTo>
                      <a:pt x="397" y="621"/>
                      <a:pt x="397" y="620"/>
                      <a:pt x="395" y="620"/>
                    </a:cubicBezTo>
                    <a:cubicBezTo>
                      <a:pt x="392" y="619"/>
                      <a:pt x="390" y="620"/>
                      <a:pt x="388" y="618"/>
                    </a:cubicBezTo>
                    <a:cubicBezTo>
                      <a:pt x="387" y="618"/>
                      <a:pt x="385" y="615"/>
                      <a:pt x="385" y="617"/>
                    </a:cubicBezTo>
                    <a:cubicBezTo>
                      <a:pt x="384" y="617"/>
                      <a:pt x="384" y="618"/>
                      <a:pt x="385" y="619"/>
                    </a:cubicBezTo>
                    <a:cubicBezTo>
                      <a:pt x="385" y="620"/>
                      <a:pt x="386" y="620"/>
                      <a:pt x="386" y="621"/>
                    </a:cubicBezTo>
                    <a:cubicBezTo>
                      <a:pt x="387" y="622"/>
                      <a:pt x="386" y="623"/>
                      <a:pt x="385" y="623"/>
                    </a:cubicBezTo>
                    <a:cubicBezTo>
                      <a:pt x="384" y="624"/>
                      <a:pt x="385" y="625"/>
                      <a:pt x="384" y="626"/>
                    </a:cubicBezTo>
                    <a:cubicBezTo>
                      <a:pt x="384" y="627"/>
                      <a:pt x="382" y="627"/>
                      <a:pt x="382" y="628"/>
                    </a:cubicBezTo>
                    <a:cubicBezTo>
                      <a:pt x="382" y="629"/>
                      <a:pt x="382" y="630"/>
                      <a:pt x="382" y="632"/>
                    </a:cubicBezTo>
                    <a:cubicBezTo>
                      <a:pt x="382" y="633"/>
                      <a:pt x="381" y="633"/>
                      <a:pt x="380" y="634"/>
                    </a:cubicBezTo>
                    <a:cubicBezTo>
                      <a:pt x="380" y="635"/>
                      <a:pt x="379" y="635"/>
                      <a:pt x="378" y="636"/>
                    </a:cubicBezTo>
                    <a:cubicBezTo>
                      <a:pt x="376" y="637"/>
                      <a:pt x="374" y="638"/>
                      <a:pt x="373" y="640"/>
                    </a:cubicBezTo>
                    <a:cubicBezTo>
                      <a:pt x="373" y="642"/>
                      <a:pt x="373" y="645"/>
                      <a:pt x="371" y="645"/>
                    </a:cubicBezTo>
                    <a:cubicBezTo>
                      <a:pt x="369" y="645"/>
                      <a:pt x="369" y="647"/>
                      <a:pt x="368" y="649"/>
                    </a:cubicBezTo>
                    <a:cubicBezTo>
                      <a:pt x="368" y="651"/>
                      <a:pt x="370" y="653"/>
                      <a:pt x="370" y="655"/>
                    </a:cubicBezTo>
                    <a:cubicBezTo>
                      <a:pt x="370" y="657"/>
                      <a:pt x="368" y="659"/>
                      <a:pt x="367" y="660"/>
                    </a:cubicBezTo>
                    <a:cubicBezTo>
                      <a:pt x="365" y="662"/>
                      <a:pt x="365" y="665"/>
                      <a:pt x="364" y="667"/>
                    </a:cubicBezTo>
                    <a:cubicBezTo>
                      <a:pt x="364" y="670"/>
                      <a:pt x="362" y="672"/>
                      <a:pt x="361" y="674"/>
                    </a:cubicBezTo>
                    <a:cubicBezTo>
                      <a:pt x="359" y="676"/>
                      <a:pt x="357" y="678"/>
                      <a:pt x="355" y="679"/>
                    </a:cubicBezTo>
                    <a:cubicBezTo>
                      <a:pt x="354" y="680"/>
                      <a:pt x="352" y="680"/>
                      <a:pt x="351" y="681"/>
                    </a:cubicBezTo>
                    <a:cubicBezTo>
                      <a:pt x="350" y="682"/>
                      <a:pt x="350" y="683"/>
                      <a:pt x="349" y="684"/>
                    </a:cubicBezTo>
                    <a:cubicBezTo>
                      <a:pt x="347" y="682"/>
                      <a:pt x="347" y="680"/>
                      <a:pt x="348" y="678"/>
                    </a:cubicBezTo>
                    <a:cubicBezTo>
                      <a:pt x="348" y="675"/>
                      <a:pt x="348" y="673"/>
                      <a:pt x="347" y="670"/>
                    </a:cubicBezTo>
                    <a:cubicBezTo>
                      <a:pt x="346" y="665"/>
                      <a:pt x="345" y="659"/>
                      <a:pt x="342" y="655"/>
                    </a:cubicBezTo>
                    <a:cubicBezTo>
                      <a:pt x="339" y="651"/>
                      <a:pt x="335" y="647"/>
                      <a:pt x="331" y="644"/>
                    </a:cubicBezTo>
                    <a:cubicBezTo>
                      <a:pt x="330" y="643"/>
                      <a:pt x="328" y="641"/>
                      <a:pt x="326" y="640"/>
                    </a:cubicBezTo>
                    <a:cubicBezTo>
                      <a:pt x="323" y="639"/>
                      <a:pt x="321" y="638"/>
                      <a:pt x="319" y="637"/>
                    </a:cubicBezTo>
                    <a:cubicBezTo>
                      <a:pt x="315" y="635"/>
                      <a:pt x="313" y="628"/>
                      <a:pt x="308" y="632"/>
                    </a:cubicBezTo>
                    <a:cubicBezTo>
                      <a:pt x="307" y="633"/>
                      <a:pt x="306" y="634"/>
                      <a:pt x="305" y="631"/>
                    </a:cubicBezTo>
                    <a:cubicBezTo>
                      <a:pt x="304" y="629"/>
                      <a:pt x="303" y="627"/>
                      <a:pt x="301" y="625"/>
                    </a:cubicBezTo>
                    <a:cubicBezTo>
                      <a:pt x="299" y="623"/>
                      <a:pt x="298" y="622"/>
                      <a:pt x="296" y="620"/>
                    </a:cubicBezTo>
                    <a:cubicBezTo>
                      <a:pt x="294" y="618"/>
                      <a:pt x="292" y="616"/>
                      <a:pt x="290" y="616"/>
                    </a:cubicBezTo>
                    <a:cubicBezTo>
                      <a:pt x="287" y="615"/>
                      <a:pt x="287" y="618"/>
                      <a:pt x="285" y="618"/>
                    </a:cubicBezTo>
                    <a:cubicBezTo>
                      <a:pt x="283" y="619"/>
                      <a:pt x="281" y="617"/>
                      <a:pt x="279" y="616"/>
                    </a:cubicBezTo>
                    <a:cubicBezTo>
                      <a:pt x="283" y="612"/>
                      <a:pt x="287" y="608"/>
                      <a:pt x="291" y="604"/>
                    </a:cubicBezTo>
                    <a:cubicBezTo>
                      <a:pt x="295" y="600"/>
                      <a:pt x="299" y="596"/>
                      <a:pt x="304" y="593"/>
                    </a:cubicBezTo>
                    <a:cubicBezTo>
                      <a:pt x="306" y="591"/>
                      <a:pt x="307" y="590"/>
                      <a:pt x="308" y="587"/>
                    </a:cubicBezTo>
                    <a:cubicBezTo>
                      <a:pt x="309" y="585"/>
                      <a:pt x="309" y="582"/>
                      <a:pt x="311" y="581"/>
                    </a:cubicBezTo>
                    <a:cubicBezTo>
                      <a:pt x="313" y="579"/>
                      <a:pt x="315" y="577"/>
                      <a:pt x="317" y="576"/>
                    </a:cubicBezTo>
                    <a:cubicBezTo>
                      <a:pt x="320" y="575"/>
                      <a:pt x="322" y="573"/>
                      <a:pt x="324" y="571"/>
                    </a:cubicBezTo>
                    <a:cubicBezTo>
                      <a:pt x="326" y="570"/>
                      <a:pt x="329" y="570"/>
                      <a:pt x="331" y="568"/>
                    </a:cubicBezTo>
                    <a:cubicBezTo>
                      <a:pt x="334" y="567"/>
                      <a:pt x="336" y="566"/>
                      <a:pt x="339" y="565"/>
                    </a:cubicBezTo>
                    <a:cubicBezTo>
                      <a:pt x="344" y="563"/>
                      <a:pt x="345" y="558"/>
                      <a:pt x="345" y="553"/>
                    </a:cubicBezTo>
                    <a:cubicBezTo>
                      <a:pt x="345" y="547"/>
                      <a:pt x="345" y="542"/>
                      <a:pt x="342" y="537"/>
                    </a:cubicBezTo>
                    <a:cubicBezTo>
                      <a:pt x="341" y="535"/>
                      <a:pt x="339" y="533"/>
                      <a:pt x="337" y="533"/>
                    </a:cubicBezTo>
                    <a:cubicBezTo>
                      <a:pt x="334" y="533"/>
                      <a:pt x="332" y="533"/>
                      <a:pt x="330" y="534"/>
                    </a:cubicBezTo>
                    <a:cubicBezTo>
                      <a:pt x="330" y="531"/>
                      <a:pt x="331" y="528"/>
                      <a:pt x="331" y="525"/>
                    </a:cubicBezTo>
                    <a:cubicBezTo>
                      <a:pt x="332" y="522"/>
                      <a:pt x="332" y="519"/>
                      <a:pt x="332" y="515"/>
                    </a:cubicBezTo>
                    <a:cubicBezTo>
                      <a:pt x="333" y="513"/>
                      <a:pt x="333" y="510"/>
                      <a:pt x="334" y="507"/>
                    </a:cubicBezTo>
                    <a:cubicBezTo>
                      <a:pt x="334" y="507"/>
                      <a:pt x="335" y="506"/>
                      <a:pt x="334" y="506"/>
                    </a:cubicBezTo>
                    <a:cubicBezTo>
                      <a:pt x="333" y="505"/>
                      <a:pt x="332" y="504"/>
                      <a:pt x="331" y="503"/>
                    </a:cubicBezTo>
                    <a:cubicBezTo>
                      <a:pt x="328" y="502"/>
                      <a:pt x="325" y="502"/>
                      <a:pt x="322" y="503"/>
                    </a:cubicBezTo>
                    <a:cubicBezTo>
                      <a:pt x="320" y="503"/>
                      <a:pt x="317" y="504"/>
                      <a:pt x="315" y="502"/>
                    </a:cubicBezTo>
                    <a:cubicBezTo>
                      <a:pt x="314" y="500"/>
                      <a:pt x="314" y="497"/>
                      <a:pt x="313" y="494"/>
                    </a:cubicBezTo>
                    <a:cubicBezTo>
                      <a:pt x="313" y="491"/>
                      <a:pt x="312" y="488"/>
                      <a:pt x="311" y="484"/>
                    </a:cubicBezTo>
                    <a:cubicBezTo>
                      <a:pt x="311" y="481"/>
                      <a:pt x="311" y="475"/>
                      <a:pt x="306" y="474"/>
                    </a:cubicBezTo>
                    <a:cubicBezTo>
                      <a:pt x="305" y="474"/>
                      <a:pt x="304" y="474"/>
                      <a:pt x="302" y="473"/>
                    </a:cubicBezTo>
                    <a:cubicBezTo>
                      <a:pt x="301" y="472"/>
                      <a:pt x="300" y="472"/>
                      <a:pt x="299" y="471"/>
                    </a:cubicBezTo>
                    <a:cubicBezTo>
                      <a:pt x="296" y="470"/>
                      <a:pt x="295" y="472"/>
                      <a:pt x="292" y="473"/>
                    </a:cubicBezTo>
                    <a:cubicBezTo>
                      <a:pt x="289" y="474"/>
                      <a:pt x="287" y="473"/>
                      <a:pt x="284" y="472"/>
                    </a:cubicBezTo>
                    <a:cubicBezTo>
                      <a:pt x="281" y="471"/>
                      <a:pt x="278" y="471"/>
                      <a:pt x="275" y="471"/>
                    </a:cubicBezTo>
                    <a:cubicBezTo>
                      <a:pt x="272" y="471"/>
                      <a:pt x="271" y="470"/>
                      <a:pt x="272" y="467"/>
                    </a:cubicBezTo>
                    <a:cubicBezTo>
                      <a:pt x="272" y="464"/>
                      <a:pt x="273" y="461"/>
                      <a:pt x="274" y="458"/>
                    </a:cubicBezTo>
                    <a:cubicBezTo>
                      <a:pt x="275" y="452"/>
                      <a:pt x="273" y="446"/>
                      <a:pt x="271" y="440"/>
                    </a:cubicBezTo>
                    <a:cubicBezTo>
                      <a:pt x="270" y="438"/>
                      <a:pt x="268" y="435"/>
                      <a:pt x="268" y="432"/>
                    </a:cubicBezTo>
                    <a:cubicBezTo>
                      <a:pt x="268" y="429"/>
                      <a:pt x="270" y="426"/>
                      <a:pt x="271" y="424"/>
                    </a:cubicBezTo>
                    <a:cubicBezTo>
                      <a:pt x="274" y="418"/>
                      <a:pt x="278" y="413"/>
                      <a:pt x="279" y="407"/>
                    </a:cubicBezTo>
                    <a:cubicBezTo>
                      <a:pt x="279" y="402"/>
                      <a:pt x="278" y="396"/>
                      <a:pt x="275" y="391"/>
                    </a:cubicBezTo>
                    <a:cubicBezTo>
                      <a:pt x="272" y="388"/>
                      <a:pt x="267" y="387"/>
                      <a:pt x="264" y="382"/>
                    </a:cubicBezTo>
                    <a:cubicBezTo>
                      <a:pt x="262" y="378"/>
                      <a:pt x="265" y="374"/>
                      <a:pt x="265" y="370"/>
                    </a:cubicBezTo>
                    <a:cubicBezTo>
                      <a:pt x="265" y="365"/>
                      <a:pt x="256" y="366"/>
                      <a:pt x="253" y="367"/>
                    </a:cubicBezTo>
                    <a:cubicBezTo>
                      <a:pt x="250" y="367"/>
                      <a:pt x="247" y="367"/>
                      <a:pt x="244" y="367"/>
                    </a:cubicBezTo>
                    <a:cubicBezTo>
                      <a:pt x="242" y="367"/>
                      <a:pt x="238" y="368"/>
                      <a:pt x="236" y="367"/>
                    </a:cubicBezTo>
                    <a:cubicBezTo>
                      <a:pt x="234" y="367"/>
                      <a:pt x="235" y="364"/>
                      <a:pt x="235" y="362"/>
                    </a:cubicBezTo>
                    <a:cubicBezTo>
                      <a:pt x="235" y="359"/>
                      <a:pt x="235" y="356"/>
                      <a:pt x="233" y="354"/>
                    </a:cubicBezTo>
                    <a:cubicBezTo>
                      <a:pt x="232" y="352"/>
                      <a:pt x="230" y="351"/>
                      <a:pt x="229" y="350"/>
                    </a:cubicBezTo>
                    <a:cubicBezTo>
                      <a:pt x="229" y="349"/>
                      <a:pt x="230" y="348"/>
                      <a:pt x="230" y="348"/>
                    </a:cubicBezTo>
                    <a:cubicBezTo>
                      <a:pt x="231" y="346"/>
                      <a:pt x="232" y="345"/>
                      <a:pt x="232" y="344"/>
                    </a:cubicBezTo>
                    <a:cubicBezTo>
                      <a:pt x="232" y="341"/>
                      <a:pt x="232" y="339"/>
                      <a:pt x="232" y="336"/>
                    </a:cubicBezTo>
                    <a:cubicBezTo>
                      <a:pt x="232" y="333"/>
                      <a:pt x="231" y="330"/>
                      <a:pt x="230" y="328"/>
                    </a:cubicBezTo>
                    <a:cubicBezTo>
                      <a:pt x="227" y="324"/>
                      <a:pt x="222" y="319"/>
                      <a:pt x="216" y="319"/>
                    </a:cubicBezTo>
                    <a:cubicBezTo>
                      <a:pt x="214" y="319"/>
                      <a:pt x="211" y="320"/>
                      <a:pt x="209" y="319"/>
                    </a:cubicBezTo>
                    <a:cubicBezTo>
                      <a:pt x="206" y="319"/>
                      <a:pt x="204" y="317"/>
                      <a:pt x="202" y="315"/>
                    </a:cubicBezTo>
                    <a:cubicBezTo>
                      <a:pt x="201" y="313"/>
                      <a:pt x="199" y="312"/>
                      <a:pt x="196" y="311"/>
                    </a:cubicBezTo>
                    <a:cubicBezTo>
                      <a:pt x="194" y="311"/>
                      <a:pt x="191" y="311"/>
                      <a:pt x="189" y="309"/>
                    </a:cubicBezTo>
                    <a:cubicBezTo>
                      <a:pt x="188" y="307"/>
                      <a:pt x="186" y="305"/>
                      <a:pt x="184" y="304"/>
                    </a:cubicBezTo>
                    <a:cubicBezTo>
                      <a:pt x="182" y="302"/>
                      <a:pt x="179" y="302"/>
                      <a:pt x="176" y="301"/>
                    </a:cubicBezTo>
                    <a:cubicBezTo>
                      <a:pt x="174" y="301"/>
                      <a:pt x="171" y="300"/>
                      <a:pt x="169" y="301"/>
                    </a:cubicBezTo>
                    <a:cubicBezTo>
                      <a:pt x="167" y="301"/>
                      <a:pt x="164" y="301"/>
                      <a:pt x="162" y="300"/>
                    </a:cubicBezTo>
                    <a:cubicBezTo>
                      <a:pt x="160" y="298"/>
                      <a:pt x="158" y="296"/>
                      <a:pt x="156" y="294"/>
                    </a:cubicBezTo>
                    <a:cubicBezTo>
                      <a:pt x="154" y="292"/>
                      <a:pt x="152" y="290"/>
                      <a:pt x="150" y="287"/>
                    </a:cubicBezTo>
                    <a:cubicBezTo>
                      <a:pt x="148" y="285"/>
                      <a:pt x="147" y="283"/>
                      <a:pt x="146" y="281"/>
                    </a:cubicBezTo>
                    <a:cubicBezTo>
                      <a:pt x="146" y="278"/>
                      <a:pt x="146" y="275"/>
                      <a:pt x="146" y="272"/>
                    </a:cubicBezTo>
                    <a:cubicBezTo>
                      <a:pt x="147" y="269"/>
                      <a:pt x="147" y="265"/>
                      <a:pt x="147" y="262"/>
                    </a:cubicBezTo>
                    <a:cubicBezTo>
                      <a:pt x="146" y="260"/>
                      <a:pt x="147" y="257"/>
                      <a:pt x="145" y="256"/>
                    </a:cubicBezTo>
                    <a:cubicBezTo>
                      <a:pt x="143" y="255"/>
                      <a:pt x="141" y="254"/>
                      <a:pt x="139" y="254"/>
                    </a:cubicBezTo>
                    <a:cubicBezTo>
                      <a:pt x="136" y="254"/>
                      <a:pt x="133" y="255"/>
                      <a:pt x="130" y="255"/>
                    </a:cubicBezTo>
                    <a:cubicBezTo>
                      <a:pt x="127" y="255"/>
                      <a:pt x="124" y="256"/>
                      <a:pt x="122" y="258"/>
                    </a:cubicBezTo>
                    <a:cubicBezTo>
                      <a:pt x="119" y="259"/>
                      <a:pt x="117" y="262"/>
                      <a:pt x="115" y="263"/>
                    </a:cubicBezTo>
                    <a:cubicBezTo>
                      <a:pt x="110" y="266"/>
                      <a:pt x="105" y="268"/>
                      <a:pt x="99" y="271"/>
                    </a:cubicBezTo>
                    <a:cubicBezTo>
                      <a:pt x="97" y="272"/>
                      <a:pt x="95" y="274"/>
                      <a:pt x="92" y="275"/>
                    </a:cubicBezTo>
                    <a:cubicBezTo>
                      <a:pt x="90" y="277"/>
                      <a:pt x="87" y="276"/>
                      <a:pt x="84" y="276"/>
                    </a:cubicBezTo>
                    <a:cubicBezTo>
                      <a:pt x="81" y="276"/>
                      <a:pt x="79" y="276"/>
                      <a:pt x="76" y="276"/>
                    </a:cubicBezTo>
                    <a:cubicBezTo>
                      <a:pt x="75" y="277"/>
                      <a:pt x="75" y="276"/>
                      <a:pt x="74" y="275"/>
                    </a:cubicBezTo>
                    <a:cubicBezTo>
                      <a:pt x="73" y="275"/>
                      <a:pt x="72" y="274"/>
                      <a:pt x="70" y="274"/>
                    </a:cubicBezTo>
                    <a:cubicBezTo>
                      <a:pt x="69" y="274"/>
                      <a:pt x="67" y="274"/>
                      <a:pt x="66" y="275"/>
                    </a:cubicBezTo>
                    <a:cubicBezTo>
                      <a:pt x="64" y="276"/>
                      <a:pt x="62" y="277"/>
                      <a:pt x="60" y="276"/>
                    </a:cubicBezTo>
                    <a:cubicBezTo>
                      <a:pt x="58" y="276"/>
                      <a:pt x="56" y="275"/>
                      <a:pt x="56" y="273"/>
                    </a:cubicBezTo>
                    <a:cubicBezTo>
                      <a:pt x="56" y="271"/>
                      <a:pt x="57" y="269"/>
                      <a:pt x="57" y="266"/>
                    </a:cubicBezTo>
                    <a:cubicBezTo>
                      <a:pt x="57" y="262"/>
                      <a:pt x="57" y="257"/>
                      <a:pt x="57" y="252"/>
                    </a:cubicBezTo>
                    <a:cubicBezTo>
                      <a:pt x="57" y="247"/>
                      <a:pt x="51" y="252"/>
                      <a:pt x="49" y="253"/>
                    </a:cubicBezTo>
                    <a:cubicBezTo>
                      <a:pt x="48" y="255"/>
                      <a:pt x="47" y="256"/>
                      <a:pt x="45" y="257"/>
                    </a:cubicBezTo>
                    <a:cubicBezTo>
                      <a:pt x="43" y="258"/>
                      <a:pt x="41" y="258"/>
                      <a:pt x="39" y="259"/>
                    </a:cubicBezTo>
                    <a:cubicBezTo>
                      <a:pt x="38" y="259"/>
                      <a:pt x="30" y="260"/>
                      <a:pt x="30" y="258"/>
                    </a:cubicBezTo>
                    <a:cubicBezTo>
                      <a:pt x="29" y="256"/>
                      <a:pt x="30" y="254"/>
                      <a:pt x="29" y="253"/>
                    </a:cubicBezTo>
                    <a:cubicBezTo>
                      <a:pt x="28" y="251"/>
                      <a:pt x="27" y="251"/>
                      <a:pt x="25" y="250"/>
                    </a:cubicBezTo>
                    <a:cubicBezTo>
                      <a:pt x="22" y="249"/>
                      <a:pt x="18" y="249"/>
                      <a:pt x="14" y="249"/>
                    </a:cubicBezTo>
                    <a:cubicBezTo>
                      <a:pt x="15" y="247"/>
                      <a:pt x="17" y="245"/>
                      <a:pt x="17" y="243"/>
                    </a:cubicBezTo>
                    <a:cubicBezTo>
                      <a:pt x="16" y="240"/>
                      <a:pt x="14" y="238"/>
                      <a:pt x="12" y="236"/>
                    </a:cubicBezTo>
                    <a:cubicBezTo>
                      <a:pt x="10" y="235"/>
                      <a:pt x="8" y="233"/>
                      <a:pt x="7" y="230"/>
                    </a:cubicBezTo>
                    <a:cubicBezTo>
                      <a:pt x="5" y="228"/>
                      <a:pt x="5" y="225"/>
                      <a:pt x="4" y="223"/>
                    </a:cubicBezTo>
                    <a:cubicBezTo>
                      <a:pt x="3" y="221"/>
                      <a:pt x="1" y="220"/>
                      <a:pt x="0" y="218"/>
                    </a:cubicBezTo>
                    <a:cubicBezTo>
                      <a:pt x="0" y="217"/>
                      <a:pt x="1" y="217"/>
                      <a:pt x="1" y="216"/>
                    </a:cubicBezTo>
                    <a:cubicBezTo>
                      <a:pt x="2" y="216"/>
                      <a:pt x="3" y="215"/>
                      <a:pt x="3" y="214"/>
                    </a:cubicBezTo>
                    <a:cubicBezTo>
                      <a:pt x="4" y="211"/>
                      <a:pt x="3" y="208"/>
                      <a:pt x="4" y="206"/>
                    </a:cubicBezTo>
                    <a:cubicBezTo>
                      <a:pt x="5" y="204"/>
                      <a:pt x="8" y="203"/>
                      <a:pt x="10" y="202"/>
                    </a:cubicBezTo>
                    <a:cubicBezTo>
                      <a:pt x="12" y="200"/>
                      <a:pt x="14" y="199"/>
                      <a:pt x="14" y="196"/>
                    </a:cubicBezTo>
                    <a:cubicBezTo>
                      <a:pt x="14" y="193"/>
                      <a:pt x="13" y="190"/>
                      <a:pt x="14" y="187"/>
                    </a:cubicBezTo>
                    <a:cubicBezTo>
                      <a:pt x="15" y="185"/>
                      <a:pt x="17" y="183"/>
                      <a:pt x="17" y="180"/>
                    </a:cubicBezTo>
                    <a:cubicBezTo>
                      <a:pt x="18" y="177"/>
                      <a:pt x="19" y="176"/>
                      <a:pt x="21" y="174"/>
                    </a:cubicBezTo>
                    <a:cubicBezTo>
                      <a:pt x="24" y="173"/>
                      <a:pt x="26" y="172"/>
                      <a:pt x="28" y="171"/>
                    </a:cubicBezTo>
                    <a:cubicBezTo>
                      <a:pt x="30" y="169"/>
                      <a:pt x="33" y="167"/>
                      <a:pt x="36" y="166"/>
                    </a:cubicBezTo>
                    <a:cubicBezTo>
                      <a:pt x="41" y="165"/>
                      <a:pt x="47" y="166"/>
                      <a:pt x="52" y="162"/>
                    </a:cubicBezTo>
                    <a:cubicBezTo>
                      <a:pt x="53" y="161"/>
                      <a:pt x="55" y="160"/>
                      <a:pt x="58" y="161"/>
                    </a:cubicBezTo>
                    <a:cubicBezTo>
                      <a:pt x="60" y="162"/>
                      <a:pt x="62" y="164"/>
                      <a:pt x="65" y="163"/>
                    </a:cubicBezTo>
                    <a:cubicBezTo>
                      <a:pt x="69" y="162"/>
                      <a:pt x="69" y="154"/>
                      <a:pt x="70" y="150"/>
                    </a:cubicBezTo>
                    <a:cubicBezTo>
                      <a:pt x="71" y="144"/>
                      <a:pt x="71" y="138"/>
                      <a:pt x="73" y="132"/>
                    </a:cubicBezTo>
                    <a:cubicBezTo>
                      <a:pt x="75" y="126"/>
                      <a:pt x="75" y="119"/>
                      <a:pt x="76" y="113"/>
                    </a:cubicBezTo>
                    <a:cubicBezTo>
                      <a:pt x="76" y="107"/>
                      <a:pt x="76" y="102"/>
                      <a:pt x="72" y="96"/>
                    </a:cubicBezTo>
                    <a:cubicBezTo>
                      <a:pt x="71" y="95"/>
                      <a:pt x="70" y="93"/>
                      <a:pt x="68" y="92"/>
                    </a:cubicBezTo>
                    <a:cubicBezTo>
                      <a:pt x="67" y="92"/>
                      <a:pt x="66" y="92"/>
                      <a:pt x="66" y="91"/>
                    </a:cubicBezTo>
                    <a:cubicBezTo>
                      <a:pt x="65" y="90"/>
                      <a:pt x="66" y="87"/>
                      <a:pt x="66" y="86"/>
                    </a:cubicBezTo>
                    <a:cubicBezTo>
                      <a:pt x="66" y="84"/>
                      <a:pt x="66" y="81"/>
                      <a:pt x="67" y="79"/>
                    </a:cubicBezTo>
                    <a:cubicBezTo>
                      <a:pt x="69" y="78"/>
                      <a:pt x="71" y="78"/>
                      <a:pt x="73" y="77"/>
                    </a:cubicBezTo>
                    <a:cubicBezTo>
                      <a:pt x="75" y="77"/>
                      <a:pt x="76" y="77"/>
                      <a:pt x="77" y="78"/>
                    </a:cubicBezTo>
                    <a:cubicBezTo>
                      <a:pt x="78" y="78"/>
                      <a:pt x="79" y="79"/>
                      <a:pt x="81" y="78"/>
                    </a:cubicBezTo>
                    <a:cubicBezTo>
                      <a:pt x="82" y="77"/>
                      <a:pt x="81" y="74"/>
                      <a:pt x="80" y="73"/>
                    </a:cubicBezTo>
                    <a:cubicBezTo>
                      <a:pt x="79" y="71"/>
                      <a:pt x="78" y="70"/>
                      <a:pt x="76" y="70"/>
                    </a:cubicBezTo>
                    <a:cubicBezTo>
                      <a:pt x="74" y="69"/>
                      <a:pt x="71" y="70"/>
                      <a:pt x="70" y="69"/>
                    </a:cubicBezTo>
                    <a:cubicBezTo>
                      <a:pt x="69" y="67"/>
                      <a:pt x="70" y="64"/>
                      <a:pt x="70" y="62"/>
                    </a:cubicBezTo>
                    <a:cubicBezTo>
                      <a:pt x="70" y="60"/>
                      <a:pt x="73" y="60"/>
                      <a:pt x="74" y="60"/>
                    </a:cubicBezTo>
                    <a:cubicBezTo>
                      <a:pt x="80" y="60"/>
                      <a:pt x="85" y="61"/>
                      <a:pt x="90" y="61"/>
                    </a:cubicBezTo>
                    <a:cubicBezTo>
                      <a:pt x="92" y="61"/>
                      <a:pt x="94" y="61"/>
                      <a:pt x="96" y="59"/>
                    </a:cubicBezTo>
                    <a:cubicBezTo>
                      <a:pt x="97" y="57"/>
                      <a:pt x="97" y="56"/>
                      <a:pt x="99" y="58"/>
                    </a:cubicBezTo>
                    <a:cubicBezTo>
                      <a:pt x="100" y="60"/>
                      <a:pt x="103" y="58"/>
                      <a:pt x="104" y="57"/>
                    </a:cubicBezTo>
                    <a:cubicBezTo>
                      <a:pt x="106" y="56"/>
                      <a:pt x="108" y="54"/>
                      <a:pt x="111" y="53"/>
                    </a:cubicBezTo>
                    <a:cubicBezTo>
                      <a:pt x="111" y="53"/>
                      <a:pt x="111" y="53"/>
                      <a:pt x="112" y="53"/>
                    </a:cubicBezTo>
                    <a:cubicBezTo>
                      <a:pt x="113" y="52"/>
                      <a:pt x="113" y="53"/>
                      <a:pt x="113" y="54"/>
                    </a:cubicBezTo>
                    <a:cubicBezTo>
                      <a:pt x="114" y="55"/>
                      <a:pt x="114" y="56"/>
                      <a:pt x="114" y="58"/>
                    </a:cubicBezTo>
                    <a:cubicBezTo>
                      <a:pt x="115" y="60"/>
                      <a:pt x="116" y="63"/>
                      <a:pt x="117" y="66"/>
                    </a:cubicBezTo>
                    <a:cubicBezTo>
                      <a:pt x="119" y="70"/>
                      <a:pt x="123" y="73"/>
                      <a:pt x="126" y="75"/>
                    </a:cubicBezTo>
                    <a:cubicBezTo>
                      <a:pt x="130" y="78"/>
                      <a:pt x="136" y="75"/>
                      <a:pt x="140" y="74"/>
                    </a:cubicBezTo>
                    <a:cubicBezTo>
                      <a:pt x="140" y="76"/>
                      <a:pt x="140" y="79"/>
                      <a:pt x="143" y="79"/>
                    </a:cubicBezTo>
                    <a:cubicBezTo>
                      <a:pt x="145" y="78"/>
                      <a:pt x="147" y="75"/>
                      <a:pt x="149" y="73"/>
                    </a:cubicBezTo>
                    <a:cubicBezTo>
                      <a:pt x="151" y="72"/>
                      <a:pt x="153" y="70"/>
                      <a:pt x="155" y="68"/>
                    </a:cubicBezTo>
                    <a:cubicBezTo>
                      <a:pt x="156" y="68"/>
                      <a:pt x="157" y="67"/>
                      <a:pt x="159" y="66"/>
                    </a:cubicBezTo>
                    <a:cubicBezTo>
                      <a:pt x="160" y="66"/>
                      <a:pt x="162" y="66"/>
                      <a:pt x="163" y="65"/>
                    </a:cubicBezTo>
                    <a:cubicBezTo>
                      <a:pt x="165" y="64"/>
                      <a:pt x="165" y="62"/>
                      <a:pt x="166" y="60"/>
                    </a:cubicBezTo>
                    <a:cubicBezTo>
                      <a:pt x="166" y="59"/>
                      <a:pt x="166" y="58"/>
                      <a:pt x="167" y="57"/>
                    </a:cubicBezTo>
                    <a:cubicBezTo>
                      <a:pt x="168" y="56"/>
                      <a:pt x="169" y="56"/>
                      <a:pt x="171" y="55"/>
                    </a:cubicBezTo>
                    <a:cubicBezTo>
                      <a:pt x="173" y="55"/>
                      <a:pt x="175" y="54"/>
                      <a:pt x="177" y="53"/>
                    </a:cubicBezTo>
                    <a:cubicBezTo>
                      <a:pt x="179" y="52"/>
                      <a:pt x="180" y="50"/>
                      <a:pt x="179" y="48"/>
                    </a:cubicBezTo>
                    <a:cubicBezTo>
                      <a:pt x="178" y="46"/>
                      <a:pt x="174" y="46"/>
                      <a:pt x="173" y="46"/>
                    </a:cubicBezTo>
                    <a:cubicBezTo>
                      <a:pt x="172" y="46"/>
                      <a:pt x="171" y="47"/>
                      <a:pt x="170" y="46"/>
                    </a:cubicBezTo>
                    <a:cubicBezTo>
                      <a:pt x="169" y="46"/>
                      <a:pt x="169" y="44"/>
                      <a:pt x="169" y="43"/>
                    </a:cubicBezTo>
                    <a:cubicBezTo>
                      <a:pt x="169" y="37"/>
                      <a:pt x="169" y="30"/>
                      <a:pt x="165" y="26"/>
                    </a:cubicBezTo>
                    <a:cubicBezTo>
                      <a:pt x="163" y="24"/>
                      <a:pt x="161" y="23"/>
                      <a:pt x="159" y="21"/>
                    </a:cubicBezTo>
                    <a:cubicBezTo>
                      <a:pt x="158" y="19"/>
                      <a:pt x="156" y="17"/>
                      <a:pt x="159" y="18"/>
                    </a:cubicBezTo>
                    <a:cubicBezTo>
                      <a:pt x="161" y="19"/>
                      <a:pt x="162" y="20"/>
                      <a:pt x="164" y="21"/>
                    </a:cubicBezTo>
                    <a:cubicBezTo>
                      <a:pt x="167" y="22"/>
                      <a:pt x="170" y="22"/>
                      <a:pt x="173" y="22"/>
                    </a:cubicBezTo>
                    <a:cubicBezTo>
                      <a:pt x="175" y="22"/>
                      <a:pt x="177" y="22"/>
                      <a:pt x="179" y="23"/>
                    </a:cubicBezTo>
                    <a:cubicBezTo>
                      <a:pt x="181" y="24"/>
                      <a:pt x="182" y="26"/>
                      <a:pt x="184" y="27"/>
                    </a:cubicBezTo>
                    <a:cubicBezTo>
                      <a:pt x="186" y="28"/>
                      <a:pt x="188" y="27"/>
                      <a:pt x="189" y="26"/>
                    </a:cubicBezTo>
                    <a:cubicBezTo>
                      <a:pt x="189" y="25"/>
                      <a:pt x="190" y="24"/>
                      <a:pt x="190" y="23"/>
                    </a:cubicBezTo>
                    <a:cubicBezTo>
                      <a:pt x="190" y="22"/>
                      <a:pt x="190" y="21"/>
                      <a:pt x="191" y="20"/>
                    </a:cubicBezTo>
                    <a:cubicBezTo>
                      <a:pt x="192" y="19"/>
                      <a:pt x="194" y="19"/>
                      <a:pt x="195" y="19"/>
                    </a:cubicBezTo>
                    <a:cubicBezTo>
                      <a:pt x="197" y="19"/>
                      <a:pt x="199" y="19"/>
                      <a:pt x="202" y="18"/>
                    </a:cubicBezTo>
                    <a:cubicBezTo>
                      <a:pt x="204" y="18"/>
                      <a:pt x="207" y="18"/>
                      <a:pt x="209" y="17"/>
                    </a:cubicBezTo>
                    <a:cubicBezTo>
                      <a:pt x="211" y="16"/>
                      <a:pt x="212" y="14"/>
                      <a:pt x="214" y="14"/>
                    </a:cubicBezTo>
                    <a:cubicBezTo>
                      <a:pt x="216" y="13"/>
                      <a:pt x="218" y="13"/>
                      <a:pt x="220" y="12"/>
                    </a:cubicBezTo>
                    <a:cubicBezTo>
                      <a:pt x="221" y="12"/>
                      <a:pt x="223" y="10"/>
                      <a:pt x="224" y="8"/>
                    </a:cubicBezTo>
                    <a:cubicBezTo>
                      <a:pt x="225" y="7"/>
                      <a:pt x="226" y="5"/>
                      <a:pt x="226" y="2"/>
                    </a:cubicBezTo>
                    <a:cubicBezTo>
                      <a:pt x="226" y="2"/>
                      <a:pt x="226" y="2"/>
                      <a:pt x="226" y="1"/>
                    </a:cubicBezTo>
                    <a:cubicBezTo>
                      <a:pt x="226" y="1"/>
                      <a:pt x="227" y="1"/>
                      <a:pt x="228" y="0"/>
                    </a:cubicBezTo>
                    <a:cubicBezTo>
                      <a:pt x="228" y="0"/>
                      <a:pt x="229" y="0"/>
                      <a:pt x="231" y="0"/>
                    </a:cubicBezTo>
                    <a:cubicBezTo>
                      <a:pt x="233" y="0"/>
                      <a:pt x="234" y="1"/>
                      <a:pt x="235" y="3"/>
                    </a:cubicBezTo>
                    <a:cubicBezTo>
                      <a:pt x="236" y="5"/>
                      <a:pt x="234" y="7"/>
                      <a:pt x="233" y="9"/>
                    </a:cubicBezTo>
                    <a:cubicBezTo>
                      <a:pt x="231" y="13"/>
                      <a:pt x="237" y="13"/>
                      <a:pt x="240" y="14"/>
                    </a:cubicBezTo>
                    <a:cubicBezTo>
                      <a:pt x="239" y="17"/>
                      <a:pt x="241" y="19"/>
                      <a:pt x="242" y="21"/>
                    </a:cubicBezTo>
                    <a:cubicBezTo>
                      <a:pt x="243" y="23"/>
                      <a:pt x="241" y="26"/>
                      <a:pt x="239" y="28"/>
                    </a:cubicBezTo>
                    <a:cubicBezTo>
                      <a:pt x="237" y="33"/>
                      <a:pt x="235" y="39"/>
                      <a:pt x="236" y="45"/>
                    </a:cubicBezTo>
                    <a:cubicBezTo>
                      <a:pt x="237" y="47"/>
                      <a:pt x="238" y="49"/>
                      <a:pt x="240" y="51"/>
                    </a:cubicBezTo>
                    <a:cubicBezTo>
                      <a:pt x="240" y="52"/>
                      <a:pt x="241" y="54"/>
                      <a:pt x="241" y="55"/>
                    </a:cubicBezTo>
                    <a:cubicBezTo>
                      <a:pt x="242" y="56"/>
                      <a:pt x="241" y="58"/>
                      <a:pt x="242" y="59"/>
                    </a:cubicBezTo>
                    <a:cubicBezTo>
                      <a:pt x="243" y="61"/>
                      <a:pt x="245" y="63"/>
                      <a:pt x="247" y="64"/>
                    </a:cubicBezTo>
                    <a:cubicBezTo>
                      <a:pt x="249" y="66"/>
                      <a:pt x="251" y="68"/>
                      <a:pt x="254" y="68"/>
                    </a:cubicBezTo>
                    <a:cubicBezTo>
                      <a:pt x="255" y="68"/>
                      <a:pt x="256" y="68"/>
                      <a:pt x="257" y="68"/>
                    </a:cubicBezTo>
                    <a:cubicBezTo>
                      <a:pt x="258" y="68"/>
                      <a:pt x="259" y="68"/>
                      <a:pt x="260" y="68"/>
                    </a:cubicBezTo>
                    <a:cubicBezTo>
                      <a:pt x="262" y="67"/>
                      <a:pt x="261" y="65"/>
                      <a:pt x="263" y="63"/>
                    </a:cubicBezTo>
                    <a:cubicBezTo>
                      <a:pt x="264" y="63"/>
                      <a:pt x="265" y="63"/>
                      <a:pt x="266" y="63"/>
                    </a:cubicBezTo>
                    <a:cubicBezTo>
                      <a:pt x="267" y="63"/>
                      <a:pt x="269" y="63"/>
                      <a:pt x="270" y="63"/>
                    </a:cubicBezTo>
                    <a:cubicBezTo>
                      <a:pt x="273" y="63"/>
                      <a:pt x="276" y="62"/>
                      <a:pt x="278" y="61"/>
                    </a:cubicBezTo>
                    <a:cubicBezTo>
                      <a:pt x="279" y="61"/>
                      <a:pt x="280" y="60"/>
                      <a:pt x="281" y="59"/>
                    </a:cubicBezTo>
                    <a:cubicBezTo>
                      <a:pt x="281" y="58"/>
                      <a:pt x="281" y="57"/>
                      <a:pt x="283" y="57"/>
                    </a:cubicBezTo>
                    <a:cubicBezTo>
                      <a:pt x="285" y="56"/>
                      <a:pt x="288" y="57"/>
                      <a:pt x="290" y="57"/>
                    </a:cubicBezTo>
                    <a:cubicBezTo>
                      <a:pt x="291" y="57"/>
                      <a:pt x="293" y="57"/>
                      <a:pt x="294" y="56"/>
                    </a:cubicBezTo>
                    <a:cubicBezTo>
                      <a:pt x="294" y="56"/>
                      <a:pt x="295" y="57"/>
                      <a:pt x="296" y="57"/>
                    </a:cubicBezTo>
                    <a:cubicBezTo>
                      <a:pt x="298" y="58"/>
                      <a:pt x="301" y="59"/>
                      <a:pt x="303" y="58"/>
                    </a:cubicBezTo>
                    <a:cubicBezTo>
                      <a:pt x="305" y="58"/>
                      <a:pt x="307" y="56"/>
                      <a:pt x="307" y="55"/>
                    </a:cubicBezTo>
                    <a:cubicBezTo>
                      <a:pt x="307" y="53"/>
                      <a:pt x="305" y="51"/>
                      <a:pt x="305" y="49"/>
                    </a:cubicBezTo>
                    <a:cubicBezTo>
                      <a:pt x="304" y="47"/>
                      <a:pt x="305" y="47"/>
                      <a:pt x="307" y="48"/>
                    </a:cubicBezTo>
                    <a:cubicBezTo>
                      <a:pt x="310" y="49"/>
                      <a:pt x="312" y="49"/>
                      <a:pt x="314" y="48"/>
                    </a:cubicBezTo>
                    <a:cubicBezTo>
                      <a:pt x="317" y="47"/>
                      <a:pt x="320" y="45"/>
                      <a:pt x="322" y="46"/>
                    </a:cubicBezTo>
                    <a:cubicBezTo>
                      <a:pt x="324" y="47"/>
                      <a:pt x="326" y="49"/>
                      <a:pt x="328" y="50"/>
                    </a:cubicBezTo>
                    <a:cubicBezTo>
                      <a:pt x="333" y="53"/>
                      <a:pt x="337" y="54"/>
                      <a:pt x="343" y="51"/>
                    </a:cubicBezTo>
                    <a:cubicBezTo>
                      <a:pt x="345" y="50"/>
                      <a:pt x="347" y="50"/>
                      <a:pt x="349" y="51"/>
                    </a:cubicBezTo>
                    <a:cubicBezTo>
                      <a:pt x="351" y="52"/>
                      <a:pt x="354" y="52"/>
                      <a:pt x="356" y="51"/>
                    </a:cubicBezTo>
                    <a:cubicBezTo>
                      <a:pt x="359" y="51"/>
                      <a:pt x="361" y="49"/>
                      <a:pt x="362" y="47"/>
                    </a:cubicBezTo>
                    <a:cubicBezTo>
                      <a:pt x="363" y="45"/>
                      <a:pt x="364" y="42"/>
                      <a:pt x="365" y="40"/>
                    </a:cubicBezTo>
                    <a:cubicBezTo>
                      <a:pt x="367" y="36"/>
                      <a:pt x="369" y="31"/>
                      <a:pt x="372" y="27"/>
                    </a:cubicBezTo>
                    <a:cubicBezTo>
                      <a:pt x="374" y="25"/>
                      <a:pt x="376" y="23"/>
                      <a:pt x="377" y="22"/>
                    </a:cubicBezTo>
                    <a:cubicBezTo>
                      <a:pt x="379" y="20"/>
                      <a:pt x="380" y="18"/>
                      <a:pt x="380" y="15"/>
                    </a:cubicBezTo>
                    <a:cubicBezTo>
                      <a:pt x="383" y="15"/>
                      <a:pt x="380" y="15"/>
                      <a:pt x="380" y="15"/>
                    </a:cubicBezTo>
                    <a:close/>
                    <a:moveTo>
                      <a:pt x="407" y="92"/>
                    </a:moveTo>
                    <a:cubicBezTo>
                      <a:pt x="405" y="90"/>
                      <a:pt x="395" y="90"/>
                      <a:pt x="396" y="95"/>
                    </a:cubicBezTo>
                    <a:cubicBezTo>
                      <a:pt x="396" y="96"/>
                      <a:pt x="398" y="98"/>
                      <a:pt x="397" y="99"/>
                    </a:cubicBezTo>
                    <a:cubicBezTo>
                      <a:pt x="397" y="100"/>
                      <a:pt x="397" y="101"/>
                      <a:pt x="396" y="101"/>
                    </a:cubicBezTo>
                    <a:cubicBezTo>
                      <a:pt x="395" y="100"/>
                      <a:pt x="393" y="100"/>
                      <a:pt x="394" y="102"/>
                    </a:cubicBezTo>
                    <a:cubicBezTo>
                      <a:pt x="394" y="103"/>
                      <a:pt x="394" y="104"/>
                      <a:pt x="395" y="104"/>
                    </a:cubicBezTo>
                    <a:cubicBezTo>
                      <a:pt x="395" y="105"/>
                      <a:pt x="396" y="105"/>
                      <a:pt x="397" y="106"/>
                    </a:cubicBezTo>
                    <a:cubicBezTo>
                      <a:pt x="400" y="107"/>
                      <a:pt x="397" y="107"/>
                      <a:pt x="396" y="108"/>
                    </a:cubicBezTo>
                    <a:cubicBezTo>
                      <a:pt x="394" y="108"/>
                      <a:pt x="393" y="109"/>
                      <a:pt x="394" y="111"/>
                    </a:cubicBezTo>
                    <a:cubicBezTo>
                      <a:pt x="396" y="113"/>
                      <a:pt x="396" y="115"/>
                      <a:pt x="398" y="117"/>
                    </a:cubicBezTo>
                    <a:cubicBezTo>
                      <a:pt x="399" y="119"/>
                      <a:pt x="400" y="119"/>
                      <a:pt x="402" y="118"/>
                    </a:cubicBezTo>
                    <a:cubicBezTo>
                      <a:pt x="405" y="117"/>
                      <a:pt x="408" y="118"/>
                      <a:pt x="411" y="118"/>
                    </a:cubicBezTo>
                    <a:cubicBezTo>
                      <a:pt x="413" y="117"/>
                      <a:pt x="413" y="116"/>
                      <a:pt x="414" y="115"/>
                    </a:cubicBezTo>
                    <a:cubicBezTo>
                      <a:pt x="415" y="112"/>
                      <a:pt x="417" y="115"/>
                      <a:pt x="419" y="115"/>
                    </a:cubicBezTo>
                    <a:cubicBezTo>
                      <a:pt x="421" y="115"/>
                      <a:pt x="424" y="114"/>
                      <a:pt x="425" y="113"/>
                    </a:cubicBezTo>
                    <a:cubicBezTo>
                      <a:pt x="428" y="112"/>
                      <a:pt x="428" y="109"/>
                      <a:pt x="428" y="107"/>
                    </a:cubicBezTo>
                    <a:cubicBezTo>
                      <a:pt x="429" y="104"/>
                      <a:pt x="429" y="102"/>
                      <a:pt x="431" y="99"/>
                    </a:cubicBezTo>
                    <a:cubicBezTo>
                      <a:pt x="432" y="97"/>
                      <a:pt x="434" y="95"/>
                      <a:pt x="431" y="92"/>
                    </a:cubicBezTo>
                    <a:cubicBezTo>
                      <a:pt x="430" y="91"/>
                      <a:pt x="427" y="92"/>
                      <a:pt x="426" y="92"/>
                    </a:cubicBezTo>
                    <a:cubicBezTo>
                      <a:pt x="423" y="92"/>
                      <a:pt x="421" y="92"/>
                      <a:pt x="419" y="93"/>
                    </a:cubicBezTo>
                    <a:cubicBezTo>
                      <a:pt x="415" y="93"/>
                      <a:pt x="409" y="94"/>
                      <a:pt x="407" y="92"/>
                    </a:cubicBezTo>
                    <a:cubicBezTo>
                      <a:pt x="407" y="92"/>
                      <a:pt x="407" y="92"/>
                      <a:pt x="407" y="92"/>
                    </a:cubicBezTo>
                    <a:cubicBezTo>
                      <a:pt x="406" y="91"/>
                      <a:pt x="407" y="92"/>
                      <a:pt x="407" y="92"/>
                    </a:cubicBezTo>
                    <a:close/>
                    <a:moveTo>
                      <a:pt x="380" y="101"/>
                    </a:moveTo>
                    <a:cubicBezTo>
                      <a:pt x="379" y="102"/>
                      <a:pt x="379" y="104"/>
                      <a:pt x="378" y="106"/>
                    </a:cubicBezTo>
                    <a:cubicBezTo>
                      <a:pt x="377" y="107"/>
                      <a:pt x="375" y="109"/>
                      <a:pt x="376" y="110"/>
                    </a:cubicBezTo>
                    <a:cubicBezTo>
                      <a:pt x="377" y="112"/>
                      <a:pt x="378" y="110"/>
                      <a:pt x="379" y="109"/>
                    </a:cubicBezTo>
                    <a:cubicBezTo>
                      <a:pt x="380" y="108"/>
                      <a:pt x="380" y="107"/>
                      <a:pt x="382" y="106"/>
                    </a:cubicBezTo>
                    <a:cubicBezTo>
                      <a:pt x="383" y="105"/>
                      <a:pt x="384" y="105"/>
                      <a:pt x="385" y="104"/>
                    </a:cubicBezTo>
                    <a:cubicBezTo>
                      <a:pt x="386" y="102"/>
                      <a:pt x="386" y="101"/>
                      <a:pt x="386" y="99"/>
                    </a:cubicBezTo>
                    <a:cubicBezTo>
                      <a:pt x="386" y="98"/>
                      <a:pt x="384" y="98"/>
                      <a:pt x="383" y="98"/>
                    </a:cubicBezTo>
                    <a:cubicBezTo>
                      <a:pt x="381" y="99"/>
                      <a:pt x="380" y="100"/>
                      <a:pt x="380" y="102"/>
                    </a:cubicBezTo>
                    <a:cubicBezTo>
                      <a:pt x="380" y="101"/>
                      <a:pt x="380" y="101"/>
                      <a:pt x="380" y="101"/>
                    </a:cubicBezTo>
                    <a:cubicBezTo>
                      <a:pt x="380" y="102"/>
                      <a:pt x="380" y="101"/>
                      <a:pt x="380" y="101"/>
                    </a:cubicBezTo>
                    <a:close/>
                    <a:moveTo>
                      <a:pt x="407" y="84"/>
                    </a:moveTo>
                    <a:cubicBezTo>
                      <a:pt x="405" y="84"/>
                      <a:pt x="404" y="85"/>
                      <a:pt x="402" y="85"/>
                    </a:cubicBezTo>
                    <a:cubicBezTo>
                      <a:pt x="401" y="86"/>
                      <a:pt x="399" y="87"/>
                      <a:pt x="402" y="88"/>
                    </a:cubicBezTo>
                    <a:cubicBezTo>
                      <a:pt x="404" y="88"/>
                      <a:pt x="405" y="87"/>
                      <a:pt x="407" y="87"/>
                    </a:cubicBezTo>
                    <a:cubicBezTo>
                      <a:pt x="408" y="87"/>
                      <a:pt x="409" y="87"/>
                      <a:pt x="410" y="87"/>
                    </a:cubicBezTo>
                    <a:cubicBezTo>
                      <a:pt x="412" y="86"/>
                      <a:pt x="413" y="83"/>
                      <a:pt x="410" y="83"/>
                    </a:cubicBezTo>
                    <a:cubicBezTo>
                      <a:pt x="409" y="83"/>
                      <a:pt x="407" y="84"/>
                      <a:pt x="405" y="84"/>
                    </a:cubicBezTo>
                    <a:cubicBezTo>
                      <a:pt x="406" y="84"/>
                      <a:pt x="406" y="84"/>
                      <a:pt x="407" y="84"/>
                    </a:cubicBezTo>
                    <a:cubicBezTo>
                      <a:pt x="405" y="84"/>
                      <a:pt x="407" y="84"/>
                      <a:pt x="407" y="84"/>
                    </a:cubicBezTo>
                    <a:close/>
                    <a:moveTo>
                      <a:pt x="391" y="90"/>
                    </a:moveTo>
                    <a:cubicBezTo>
                      <a:pt x="390" y="90"/>
                      <a:pt x="389" y="92"/>
                      <a:pt x="390" y="92"/>
                    </a:cubicBezTo>
                    <a:cubicBezTo>
                      <a:pt x="391" y="93"/>
                      <a:pt x="393" y="92"/>
                      <a:pt x="393" y="91"/>
                    </a:cubicBezTo>
                    <a:cubicBezTo>
                      <a:pt x="394" y="91"/>
                      <a:pt x="396" y="89"/>
                      <a:pt x="394" y="89"/>
                    </a:cubicBezTo>
                    <a:cubicBezTo>
                      <a:pt x="392" y="88"/>
                      <a:pt x="391" y="89"/>
                      <a:pt x="390" y="90"/>
                    </a:cubicBezTo>
                    <a:cubicBezTo>
                      <a:pt x="390" y="90"/>
                      <a:pt x="390" y="90"/>
                      <a:pt x="391" y="90"/>
                    </a:cubicBezTo>
                    <a:cubicBezTo>
                      <a:pt x="390" y="90"/>
                      <a:pt x="391" y="90"/>
                      <a:pt x="391" y="90"/>
                    </a:cubicBezTo>
                    <a:close/>
                    <a:moveTo>
                      <a:pt x="403" y="78"/>
                    </a:moveTo>
                    <a:cubicBezTo>
                      <a:pt x="402" y="79"/>
                      <a:pt x="400" y="81"/>
                      <a:pt x="399" y="83"/>
                    </a:cubicBezTo>
                    <a:cubicBezTo>
                      <a:pt x="398" y="85"/>
                      <a:pt x="400" y="84"/>
                      <a:pt x="401" y="83"/>
                    </a:cubicBezTo>
                    <a:cubicBezTo>
                      <a:pt x="402" y="83"/>
                      <a:pt x="403" y="82"/>
                      <a:pt x="404" y="81"/>
                    </a:cubicBezTo>
                    <a:cubicBezTo>
                      <a:pt x="405" y="81"/>
                      <a:pt x="406" y="80"/>
                      <a:pt x="406" y="79"/>
                    </a:cubicBezTo>
                    <a:cubicBezTo>
                      <a:pt x="406" y="77"/>
                      <a:pt x="403" y="78"/>
                      <a:pt x="402" y="79"/>
                    </a:cubicBezTo>
                    <a:cubicBezTo>
                      <a:pt x="403" y="78"/>
                      <a:pt x="403" y="78"/>
                      <a:pt x="403" y="78"/>
                    </a:cubicBezTo>
                    <a:cubicBezTo>
                      <a:pt x="402" y="79"/>
                      <a:pt x="403" y="78"/>
                      <a:pt x="403" y="78"/>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22" name="Freeform 23">
                <a:extLst>
                  <a:ext uri="{FF2B5EF4-FFF2-40B4-BE49-F238E27FC236}">
                    <a16:creationId xmlns:a16="http://schemas.microsoft.com/office/drawing/2014/main" id="{259133E6-0C9E-A03B-99AE-6683FE674894}"/>
                  </a:ext>
                </a:extLst>
              </p:cNvPr>
              <p:cNvSpPr/>
              <p:nvPr>
                <p:custDataLst>
                  <p:tags r:id="rId160"/>
                </p:custDataLst>
              </p:nvPr>
            </p:nvSpPr>
            <p:spPr bwMode="auto">
              <a:xfrm>
                <a:off x="3987059" y="5195089"/>
                <a:ext cx="126280" cy="135208"/>
              </a:xfrm>
              <a:custGeom>
                <a:avLst/>
                <a:gdLst>
                  <a:gd name="T0" fmla="*/ 84 w 85"/>
                  <a:gd name="T1" fmla="*/ 69 h 91"/>
                  <a:gd name="T2" fmla="*/ 82 w 85"/>
                  <a:gd name="T3" fmla="*/ 62 h 91"/>
                  <a:gd name="T4" fmla="*/ 82 w 85"/>
                  <a:gd name="T5" fmla="*/ 53 h 91"/>
                  <a:gd name="T6" fmla="*/ 76 w 85"/>
                  <a:gd name="T7" fmla="*/ 37 h 91"/>
                  <a:gd name="T8" fmla="*/ 70 w 85"/>
                  <a:gd name="T9" fmla="*/ 32 h 91"/>
                  <a:gd name="T10" fmla="*/ 64 w 85"/>
                  <a:gd name="T11" fmla="*/ 26 h 91"/>
                  <a:gd name="T12" fmla="*/ 51 w 85"/>
                  <a:gd name="T13" fmla="*/ 18 h 91"/>
                  <a:gd name="T14" fmla="*/ 49 w 85"/>
                  <a:gd name="T15" fmla="*/ 16 h 91"/>
                  <a:gd name="T16" fmla="*/ 46 w 85"/>
                  <a:gd name="T17" fmla="*/ 17 h 91"/>
                  <a:gd name="T18" fmla="*/ 40 w 85"/>
                  <a:gd name="T19" fmla="*/ 16 h 91"/>
                  <a:gd name="T20" fmla="*/ 38 w 85"/>
                  <a:gd name="T21" fmla="*/ 11 h 91"/>
                  <a:gd name="T22" fmla="*/ 31 w 85"/>
                  <a:gd name="T23" fmla="*/ 5 h 91"/>
                  <a:gd name="T24" fmla="*/ 26 w 85"/>
                  <a:gd name="T25" fmla="*/ 1 h 91"/>
                  <a:gd name="T26" fmla="*/ 19 w 85"/>
                  <a:gd name="T27" fmla="*/ 3 h 91"/>
                  <a:gd name="T28" fmla="*/ 16 w 85"/>
                  <a:gd name="T29" fmla="*/ 2 h 91"/>
                  <a:gd name="T30" fmla="*/ 14 w 85"/>
                  <a:gd name="T31" fmla="*/ 3 h 91"/>
                  <a:gd name="T32" fmla="*/ 11 w 85"/>
                  <a:gd name="T33" fmla="*/ 11 h 91"/>
                  <a:gd name="T34" fmla="*/ 10 w 85"/>
                  <a:gd name="T35" fmla="*/ 19 h 91"/>
                  <a:gd name="T36" fmla="*/ 8 w 85"/>
                  <a:gd name="T37" fmla="*/ 28 h 91"/>
                  <a:gd name="T38" fmla="*/ 5 w 85"/>
                  <a:gd name="T39" fmla="*/ 36 h 91"/>
                  <a:gd name="T40" fmla="*/ 6 w 85"/>
                  <a:gd name="T41" fmla="*/ 46 h 91"/>
                  <a:gd name="T42" fmla="*/ 6 w 85"/>
                  <a:gd name="T43" fmla="*/ 54 h 91"/>
                  <a:gd name="T44" fmla="*/ 2 w 85"/>
                  <a:gd name="T45" fmla="*/ 60 h 91"/>
                  <a:gd name="T46" fmla="*/ 1 w 85"/>
                  <a:gd name="T47" fmla="*/ 63 h 91"/>
                  <a:gd name="T48" fmla="*/ 1 w 85"/>
                  <a:gd name="T49" fmla="*/ 67 h 91"/>
                  <a:gd name="T50" fmla="*/ 3 w 85"/>
                  <a:gd name="T51" fmla="*/ 75 h 91"/>
                  <a:gd name="T52" fmla="*/ 9 w 85"/>
                  <a:gd name="T53" fmla="*/ 80 h 91"/>
                  <a:gd name="T54" fmla="*/ 16 w 85"/>
                  <a:gd name="T55" fmla="*/ 82 h 91"/>
                  <a:gd name="T56" fmla="*/ 32 w 85"/>
                  <a:gd name="T57" fmla="*/ 87 h 91"/>
                  <a:gd name="T58" fmla="*/ 40 w 85"/>
                  <a:gd name="T59" fmla="*/ 90 h 91"/>
                  <a:gd name="T60" fmla="*/ 49 w 85"/>
                  <a:gd name="T61" fmla="*/ 89 h 91"/>
                  <a:gd name="T62" fmla="*/ 56 w 85"/>
                  <a:gd name="T63" fmla="*/ 91 h 91"/>
                  <a:gd name="T64" fmla="*/ 59 w 85"/>
                  <a:gd name="T65" fmla="*/ 91 h 91"/>
                  <a:gd name="T66" fmla="*/ 63 w 85"/>
                  <a:gd name="T67" fmla="*/ 89 h 91"/>
                  <a:gd name="T68" fmla="*/ 70 w 85"/>
                  <a:gd name="T69" fmla="*/ 87 h 91"/>
                  <a:gd name="T70" fmla="*/ 70 w 85"/>
                  <a:gd name="T71" fmla="*/ 83 h 91"/>
                  <a:gd name="T72" fmla="*/ 72 w 85"/>
                  <a:gd name="T73" fmla="*/ 82 h 91"/>
                  <a:gd name="T74" fmla="*/ 74 w 85"/>
                  <a:gd name="T75" fmla="*/ 81 h 91"/>
                  <a:gd name="T76" fmla="*/ 81 w 85"/>
                  <a:gd name="T77" fmla="*/ 78 h 91"/>
                  <a:gd name="T78" fmla="*/ 83 w 85"/>
                  <a:gd name="T79" fmla="*/ 72 h 91"/>
                  <a:gd name="T80" fmla="*/ 84 w 85"/>
                  <a:gd name="T81" fmla="*/ 70 h 91"/>
                  <a:gd name="T82" fmla="*/ 84 w 85"/>
                  <a:gd name="T83" fmla="*/ 68 h 91"/>
                  <a:gd name="T84" fmla="*/ 84 w 85"/>
                  <a:gd name="T85" fmla="*/ 69 h 91"/>
                  <a:gd name="T86" fmla="*/ 84 w 85"/>
                  <a:gd name="T87" fmla="*/ 6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91">
                    <a:moveTo>
                      <a:pt x="84" y="69"/>
                    </a:moveTo>
                    <a:cubicBezTo>
                      <a:pt x="83" y="67"/>
                      <a:pt x="82" y="65"/>
                      <a:pt x="82" y="62"/>
                    </a:cubicBezTo>
                    <a:cubicBezTo>
                      <a:pt x="82" y="59"/>
                      <a:pt x="83" y="57"/>
                      <a:pt x="82" y="53"/>
                    </a:cubicBezTo>
                    <a:cubicBezTo>
                      <a:pt x="81" y="48"/>
                      <a:pt x="80" y="42"/>
                      <a:pt x="76" y="37"/>
                    </a:cubicBezTo>
                    <a:cubicBezTo>
                      <a:pt x="74" y="35"/>
                      <a:pt x="72" y="34"/>
                      <a:pt x="70" y="32"/>
                    </a:cubicBezTo>
                    <a:cubicBezTo>
                      <a:pt x="68" y="30"/>
                      <a:pt x="66" y="28"/>
                      <a:pt x="64" y="26"/>
                    </a:cubicBezTo>
                    <a:cubicBezTo>
                      <a:pt x="60" y="23"/>
                      <a:pt x="54" y="23"/>
                      <a:pt x="51" y="18"/>
                    </a:cubicBezTo>
                    <a:cubicBezTo>
                      <a:pt x="50" y="17"/>
                      <a:pt x="50" y="16"/>
                      <a:pt x="49" y="16"/>
                    </a:cubicBezTo>
                    <a:cubicBezTo>
                      <a:pt x="48" y="15"/>
                      <a:pt x="47" y="16"/>
                      <a:pt x="46" y="17"/>
                    </a:cubicBezTo>
                    <a:cubicBezTo>
                      <a:pt x="44" y="18"/>
                      <a:pt x="41" y="19"/>
                      <a:pt x="40" y="16"/>
                    </a:cubicBezTo>
                    <a:cubicBezTo>
                      <a:pt x="39" y="14"/>
                      <a:pt x="39" y="12"/>
                      <a:pt x="38" y="11"/>
                    </a:cubicBezTo>
                    <a:cubicBezTo>
                      <a:pt x="36" y="9"/>
                      <a:pt x="33" y="7"/>
                      <a:pt x="31" y="5"/>
                    </a:cubicBezTo>
                    <a:cubicBezTo>
                      <a:pt x="30" y="4"/>
                      <a:pt x="27" y="0"/>
                      <a:pt x="26" y="1"/>
                    </a:cubicBezTo>
                    <a:cubicBezTo>
                      <a:pt x="23" y="3"/>
                      <a:pt x="22" y="4"/>
                      <a:pt x="19" y="3"/>
                    </a:cubicBezTo>
                    <a:cubicBezTo>
                      <a:pt x="18" y="3"/>
                      <a:pt x="17" y="2"/>
                      <a:pt x="16" y="2"/>
                    </a:cubicBezTo>
                    <a:cubicBezTo>
                      <a:pt x="15" y="1"/>
                      <a:pt x="15" y="1"/>
                      <a:pt x="14" y="3"/>
                    </a:cubicBezTo>
                    <a:cubicBezTo>
                      <a:pt x="12" y="5"/>
                      <a:pt x="11" y="7"/>
                      <a:pt x="11" y="11"/>
                    </a:cubicBezTo>
                    <a:cubicBezTo>
                      <a:pt x="11" y="14"/>
                      <a:pt x="11" y="16"/>
                      <a:pt x="10" y="19"/>
                    </a:cubicBezTo>
                    <a:cubicBezTo>
                      <a:pt x="9" y="22"/>
                      <a:pt x="8" y="25"/>
                      <a:pt x="8" y="28"/>
                    </a:cubicBezTo>
                    <a:cubicBezTo>
                      <a:pt x="7" y="31"/>
                      <a:pt x="5" y="33"/>
                      <a:pt x="5" y="36"/>
                    </a:cubicBezTo>
                    <a:cubicBezTo>
                      <a:pt x="5" y="39"/>
                      <a:pt x="5" y="43"/>
                      <a:pt x="6" y="46"/>
                    </a:cubicBezTo>
                    <a:cubicBezTo>
                      <a:pt x="6" y="49"/>
                      <a:pt x="6" y="51"/>
                      <a:pt x="6" y="54"/>
                    </a:cubicBezTo>
                    <a:cubicBezTo>
                      <a:pt x="6" y="57"/>
                      <a:pt x="4" y="58"/>
                      <a:pt x="2" y="60"/>
                    </a:cubicBezTo>
                    <a:cubicBezTo>
                      <a:pt x="2" y="61"/>
                      <a:pt x="1" y="62"/>
                      <a:pt x="1" y="63"/>
                    </a:cubicBezTo>
                    <a:cubicBezTo>
                      <a:pt x="1" y="65"/>
                      <a:pt x="0" y="66"/>
                      <a:pt x="1" y="67"/>
                    </a:cubicBezTo>
                    <a:cubicBezTo>
                      <a:pt x="1" y="70"/>
                      <a:pt x="2" y="73"/>
                      <a:pt x="3" y="75"/>
                    </a:cubicBezTo>
                    <a:cubicBezTo>
                      <a:pt x="5" y="77"/>
                      <a:pt x="7" y="78"/>
                      <a:pt x="9" y="80"/>
                    </a:cubicBezTo>
                    <a:cubicBezTo>
                      <a:pt x="11" y="82"/>
                      <a:pt x="14" y="82"/>
                      <a:pt x="16" y="82"/>
                    </a:cubicBezTo>
                    <a:cubicBezTo>
                      <a:pt x="22" y="82"/>
                      <a:pt x="27" y="84"/>
                      <a:pt x="32" y="87"/>
                    </a:cubicBezTo>
                    <a:cubicBezTo>
                      <a:pt x="35" y="88"/>
                      <a:pt x="37" y="90"/>
                      <a:pt x="40" y="90"/>
                    </a:cubicBezTo>
                    <a:cubicBezTo>
                      <a:pt x="43" y="90"/>
                      <a:pt x="46" y="89"/>
                      <a:pt x="49" y="89"/>
                    </a:cubicBezTo>
                    <a:cubicBezTo>
                      <a:pt x="51" y="89"/>
                      <a:pt x="53" y="90"/>
                      <a:pt x="56" y="91"/>
                    </a:cubicBezTo>
                    <a:cubicBezTo>
                      <a:pt x="57" y="91"/>
                      <a:pt x="58" y="91"/>
                      <a:pt x="59" y="91"/>
                    </a:cubicBezTo>
                    <a:cubicBezTo>
                      <a:pt x="61" y="91"/>
                      <a:pt x="62" y="90"/>
                      <a:pt x="63" y="89"/>
                    </a:cubicBezTo>
                    <a:cubicBezTo>
                      <a:pt x="65" y="89"/>
                      <a:pt x="69" y="89"/>
                      <a:pt x="70" y="87"/>
                    </a:cubicBezTo>
                    <a:cubicBezTo>
                      <a:pt x="71" y="86"/>
                      <a:pt x="70" y="84"/>
                      <a:pt x="70" y="83"/>
                    </a:cubicBezTo>
                    <a:cubicBezTo>
                      <a:pt x="71" y="83"/>
                      <a:pt x="72" y="83"/>
                      <a:pt x="72" y="82"/>
                    </a:cubicBezTo>
                    <a:cubicBezTo>
                      <a:pt x="73" y="82"/>
                      <a:pt x="74" y="82"/>
                      <a:pt x="74" y="81"/>
                    </a:cubicBezTo>
                    <a:cubicBezTo>
                      <a:pt x="77" y="80"/>
                      <a:pt x="80" y="81"/>
                      <a:pt x="81" y="78"/>
                    </a:cubicBezTo>
                    <a:cubicBezTo>
                      <a:pt x="82" y="76"/>
                      <a:pt x="82" y="74"/>
                      <a:pt x="83" y="72"/>
                    </a:cubicBezTo>
                    <a:cubicBezTo>
                      <a:pt x="83" y="71"/>
                      <a:pt x="83" y="71"/>
                      <a:pt x="84" y="70"/>
                    </a:cubicBezTo>
                    <a:cubicBezTo>
                      <a:pt x="84" y="69"/>
                      <a:pt x="85" y="69"/>
                      <a:pt x="84" y="68"/>
                    </a:cubicBezTo>
                    <a:cubicBezTo>
                      <a:pt x="84" y="69"/>
                      <a:pt x="84" y="69"/>
                      <a:pt x="84" y="69"/>
                    </a:cubicBezTo>
                    <a:cubicBezTo>
                      <a:pt x="82" y="66"/>
                      <a:pt x="84" y="69"/>
                      <a:pt x="84" y="69"/>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23" name="Freeform 26">
                <a:extLst>
                  <a:ext uri="{FF2B5EF4-FFF2-40B4-BE49-F238E27FC236}">
                    <a16:creationId xmlns:a16="http://schemas.microsoft.com/office/drawing/2014/main" id="{A3DCA298-7049-66DA-2DE3-CB137AF395A7}"/>
                  </a:ext>
                </a:extLst>
              </p:cNvPr>
              <p:cNvSpPr/>
              <p:nvPr>
                <p:custDataLst>
                  <p:tags r:id="rId161"/>
                </p:custDataLst>
              </p:nvPr>
            </p:nvSpPr>
            <p:spPr bwMode="auto">
              <a:xfrm>
                <a:off x="3407961" y="4408077"/>
                <a:ext cx="318887" cy="469401"/>
              </a:xfrm>
              <a:custGeom>
                <a:avLst/>
                <a:gdLst>
                  <a:gd name="T0" fmla="*/ 193 w 214"/>
                  <a:gd name="T1" fmla="*/ 304 h 315"/>
                  <a:gd name="T2" fmla="*/ 199 w 214"/>
                  <a:gd name="T3" fmla="*/ 294 h 315"/>
                  <a:gd name="T4" fmla="*/ 207 w 214"/>
                  <a:gd name="T5" fmla="*/ 278 h 315"/>
                  <a:gd name="T6" fmla="*/ 203 w 214"/>
                  <a:gd name="T7" fmla="*/ 257 h 315"/>
                  <a:gd name="T8" fmla="*/ 207 w 214"/>
                  <a:gd name="T9" fmla="*/ 232 h 315"/>
                  <a:gd name="T10" fmla="*/ 205 w 214"/>
                  <a:gd name="T11" fmla="*/ 198 h 315"/>
                  <a:gd name="T12" fmla="*/ 180 w 214"/>
                  <a:gd name="T13" fmla="*/ 184 h 315"/>
                  <a:gd name="T14" fmla="*/ 169 w 214"/>
                  <a:gd name="T15" fmla="*/ 171 h 315"/>
                  <a:gd name="T16" fmla="*/ 153 w 214"/>
                  <a:gd name="T17" fmla="*/ 165 h 315"/>
                  <a:gd name="T18" fmla="*/ 137 w 214"/>
                  <a:gd name="T19" fmla="*/ 159 h 315"/>
                  <a:gd name="T20" fmla="*/ 129 w 214"/>
                  <a:gd name="T21" fmla="*/ 138 h 315"/>
                  <a:gd name="T22" fmla="*/ 127 w 214"/>
                  <a:gd name="T23" fmla="*/ 124 h 315"/>
                  <a:gd name="T24" fmla="*/ 138 w 214"/>
                  <a:gd name="T25" fmla="*/ 107 h 315"/>
                  <a:gd name="T26" fmla="*/ 143 w 214"/>
                  <a:gd name="T27" fmla="*/ 86 h 315"/>
                  <a:gd name="T28" fmla="*/ 173 w 214"/>
                  <a:gd name="T29" fmla="*/ 74 h 315"/>
                  <a:gd name="T30" fmla="*/ 190 w 214"/>
                  <a:gd name="T31" fmla="*/ 72 h 315"/>
                  <a:gd name="T32" fmla="*/ 183 w 214"/>
                  <a:gd name="T33" fmla="*/ 57 h 315"/>
                  <a:gd name="T34" fmla="*/ 178 w 214"/>
                  <a:gd name="T35" fmla="*/ 40 h 315"/>
                  <a:gd name="T36" fmla="*/ 156 w 214"/>
                  <a:gd name="T37" fmla="*/ 42 h 315"/>
                  <a:gd name="T38" fmla="*/ 138 w 214"/>
                  <a:gd name="T39" fmla="*/ 35 h 315"/>
                  <a:gd name="T40" fmla="*/ 118 w 214"/>
                  <a:gd name="T41" fmla="*/ 17 h 315"/>
                  <a:gd name="T42" fmla="*/ 113 w 214"/>
                  <a:gd name="T43" fmla="*/ 6 h 315"/>
                  <a:gd name="T44" fmla="*/ 100 w 214"/>
                  <a:gd name="T45" fmla="*/ 8 h 315"/>
                  <a:gd name="T46" fmla="*/ 93 w 214"/>
                  <a:gd name="T47" fmla="*/ 31 h 315"/>
                  <a:gd name="T48" fmla="*/ 52 w 214"/>
                  <a:gd name="T49" fmla="*/ 59 h 315"/>
                  <a:gd name="T50" fmla="*/ 26 w 214"/>
                  <a:gd name="T51" fmla="*/ 75 h 315"/>
                  <a:gd name="T52" fmla="*/ 16 w 214"/>
                  <a:gd name="T53" fmla="*/ 65 h 315"/>
                  <a:gd name="T54" fmla="*/ 10 w 214"/>
                  <a:gd name="T55" fmla="*/ 62 h 315"/>
                  <a:gd name="T56" fmla="*/ 1 w 214"/>
                  <a:gd name="T57" fmla="*/ 82 h 315"/>
                  <a:gd name="T58" fmla="*/ 4 w 214"/>
                  <a:gd name="T59" fmla="*/ 101 h 315"/>
                  <a:gd name="T60" fmla="*/ 23 w 214"/>
                  <a:gd name="T61" fmla="*/ 116 h 315"/>
                  <a:gd name="T62" fmla="*/ 36 w 214"/>
                  <a:gd name="T63" fmla="*/ 138 h 315"/>
                  <a:gd name="T64" fmla="*/ 49 w 214"/>
                  <a:gd name="T65" fmla="*/ 160 h 315"/>
                  <a:gd name="T66" fmla="*/ 60 w 214"/>
                  <a:gd name="T67" fmla="*/ 183 h 315"/>
                  <a:gd name="T68" fmla="*/ 67 w 214"/>
                  <a:gd name="T69" fmla="*/ 197 h 315"/>
                  <a:gd name="T70" fmla="*/ 80 w 214"/>
                  <a:gd name="T71" fmla="*/ 219 h 315"/>
                  <a:gd name="T72" fmla="*/ 86 w 214"/>
                  <a:gd name="T73" fmla="*/ 240 h 315"/>
                  <a:gd name="T74" fmla="*/ 94 w 214"/>
                  <a:gd name="T75" fmla="*/ 253 h 315"/>
                  <a:gd name="T76" fmla="*/ 113 w 214"/>
                  <a:gd name="T77" fmla="*/ 268 h 315"/>
                  <a:gd name="T78" fmla="*/ 138 w 214"/>
                  <a:gd name="T79" fmla="*/ 283 h 315"/>
                  <a:gd name="T80" fmla="*/ 165 w 214"/>
                  <a:gd name="T81" fmla="*/ 295 h 315"/>
                  <a:gd name="T82" fmla="*/ 177 w 214"/>
                  <a:gd name="T83" fmla="*/ 310 h 315"/>
                  <a:gd name="T84" fmla="*/ 185 w 214"/>
                  <a:gd name="T85" fmla="*/ 31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4" h="315">
                    <a:moveTo>
                      <a:pt x="184" y="315"/>
                    </a:moveTo>
                    <a:cubicBezTo>
                      <a:pt x="187" y="314"/>
                      <a:pt x="189" y="313"/>
                      <a:pt x="191" y="312"/>
                    </a:cubicBezTo>
                    <a:cubicBezTo>
                      <a:pt x="194" y="310"/>
                      <a:pt x="192" y="306"/>
                      <a:pt x="193" y="304"/>
                    </a:cubicBezTo>
                    <a:cubicBezTo>
                      <a:pt x="194" y="302"/>
                      <a:pt x="196" y="302"/>
                      <a:pt x="198" y="301"/>
                    </a:cubicBezTo>
                    <a:cubicBezTo>
                      <a:pt x="199" y="300"/>
                      <a:pt x="198" y="299"/>
                      <a:pt x="197" y="298"/>
                    </a:cubicBezTo>
                    <a:cubicBezTo>
                      <a:pt x="197" y="297"/>
                      <a:pt x="198" y="295"/>
                      <a:pt x="199" y="294"/>
                    </a:cubicBezTo>
                    <a:cubicBezTo>
                      <a:pt x="202" y="290"/>
                      <a:pt x="206" y="286"/>
                      <a:pt x="210" y="281"/>
                    </a:cubicBezTo>
                    <a:cubicBezTo>
                      <a:pt x="210" y="281"/>
                      <a:pt x="210" y="280"/>
                      <a:pt x="209" y="280"/>
                    </a:cubicBezTo>
                    <a:cubicBezTo>
                      <a:pt x="208" y="279"/>
                      <a:pt x="207" y="279"/>
                      <a:pt x="207" y="278"/>
                    </a:cubicBezTo>
                    <a:cubicBezTo>
                      <a:pt x="205" y="276"/>
                      <a:pt x="204" y="273"/>
                      <a:pt x="204" y="271"/>
                    </a:cubicBezTo>
                    <a:cubicBezTo>
                      <a:pt x="203" y="268"/>
                      <a:pt x="202" y="266"/>
                      <a:pt x="204" y="264"/>
                    </a:cubicBezTo>
                    <a:cubicBezTo>
                      <a:pt x="205" y="261"/>
                      <a:pt x="204" y="259"/>
                      <a:pt x="203" y="257"/>
                    </a:cubicBezTo>
                    <a:cubicBezTo>
                      <a:pt x="201" y="252"/>
                      <a:pt x="207" y="248"/>
                      <a:pt x="209" y="245"/>
                    </a:cubicBezTo>
                    <a:cubicBezTo>
                      <a:pt x="211" y="243"/>
                      <a:pt x="210" y="242"/>
                      <a:pt x="209" y="240"/>
                    </a:cubicBezTo>
                    <a:cubicBezTo>
                      <a:pt x="207" y="238"/>
                      <a:pt x="207" y="235"/>
                      <a:pt x="207" y="232"/>
                    </a:cubicBezTo>
                    <a:cubicBezTo>
                      <a:pt x="208" y="226"/>
                      <a:pt x="211" y="221"/>
                      <a:pt x="213" y="215"/>
                    </a:cubicBezTo>
                    <a:cubicBezTo>
                      <a:pt x="214" y="212"/>
                      <a:pt x="212" y="209"/>
                      <a:pt x="211" y="207"/>
                    </a:cubicBezTo>
                    <a:cubicBezTo>
                      <a:pt x="209" y="204"/>
                      <a:pt x="207" y="201"/>
                      <a:pt x="205" y="198"/>
                    </a:cubicBezTo>
                    <a:cubicBezTo>
                      <a:pt x="203" y="193"/>
                      <a:pt x="199" y="186"/>
                      <a:pt x="193" y="188"/>
                    </a:cubicBezTo>
                    <a:cubicBezTo>
                      <a:pt x="190" y="189"/>
                      <a:pt x="188" y="191"/>
                      <a:pt x="185" y="189"/>
                    </a:cubicBezTo>
                    <a:cubicBezTo>
                      <a:pt x="182" y="188"/>
                      <a:pt x="180" y="187"/>
                      <a:pt x="180" y="184"/>
                    </a:cubicBezTo>
                    <a:cubicBezTo>
                      <a:pt x="180" y="177"/>
                      <a:pt x="181" y="170"/>
                      <a:pt x="181" y="163"/>
                    </a:cubicBezTo>
                    <a:cubicBezTo>
                      <a:pt x="179" y="164"/>
                      <a:pt x="177" y="166"/>
                      <a:pt x="176" y="167"/>
                    </a:cubicBezTo>
                    <a:cubicBezTo>
                      <a:pt x="174" y="169"/>
                      <a:pt x="172" y="170"/>
                      <a:pt x="169" y="171"/>
                    </a:cubicBezTo>
                    <a:cubicBezTo>
                      <a:pt x="165" y="172"/>
                      <a:pt x="161" y="173"/>
                      <a:pt x="157" y="172"/>
                    </a:cubicBezTo>
                    <a:cubicBezTo>
                      <a:pt x="155" y="172"/>
                      <a:pt x="154" y="171"/>
                      <a:pt x="153" y="169"/>
                    </a:cubicBezTo>
                    <a:cubicBezTo>
                      <a:pt x="153" y="168"/>
                      <a:pt x="154" y="167"/>
                      <a:pt x="153" y="165"/>
                    </a:cubicBezTo>
                    <a:cubicBezTo>
                      <a:pt x="153" y="164"/>
                      <a:pt x="152" y="164"/>
                      <a:pt x="151" y="163"/>
                    </a:cubicBezTo>
                    <a:cubicBezTo>
                      <a:pt x="148" y="163"/>
                      <a:pt x="146" y="163"/>
                      <a:pt x="143" y="162"/>
                    </a:cubicBezTo>
                    <a:cubicBezTo>
                      <a:pt x="141" y="162"/>
                      <a:pt x="136" y="162"/>
                      <a:pt x="137" y="159"/>
                    </a:cubicBezTo>
                    <a:cubicBezTo>
                      <a:pt x="137" y="157"/>
                      <a:pt x="140" y="157"/>
                      <a:pt x="140" y="155"/>
                    </a:cubicBezTo>
                    <a:cubicBezTo>
                      <a:pt x="140" y="153"/>
                      <a:pt x="139" y="151"/>
                      <a:pt x="137" y="150"/>
                    </a:cubicBezTo>
                    <a:cubicBezTo>
                      <a:pt x="133" y="147"/>
                      <a:pt x="130" y="143"/>
                      <a:pt x="129" y="138"/>
                    </a:cubicBezTo>
                    <a:cubicBezTo>
                      <a:pt x="129" y="135"/>
                      <a:pt x="127" y="135"/>
                      <a:pt x="126" y="133"/>
                    </a:cubicBezTo>
                    <a:cubicBezTo>
                      <a:pt x="124" y="131"/>
                      <a:pt x="122" y="128"/>
                      <a:pt x="125" y="127"/>
                    </a:cubicBezTo>
                    <a:cubicBezTo>
                      <a:pt x="126" y="126"/>
                      <a:pt x="127" y="125"/>
                      <a:pt x="127" y="124"/>
                    </a:cubicBezTo>
                    <a:cubicBezTo>
                      <a:pt x="127" y="123"/>
                      <a:pt x="127" y="122"/>
                      <a:pt x="127" y="120"/>
                    </a:cubicBezTo>
                    <a:cubicBezTo>
                      <a:pt x="128" y="117"/>
                      <a:pt x="128" y="115"/>
                      <a:pt x="131" y="113"/>
                    </a:cubicBezTo>
                    <a:cubicBezTo>
                      <a:pt x="133" y="112"/>
                      <a:pt x="138" y="110"/>
                      <a:pt x="138" y="107"/>
                    </a:cubicBezTo>
                    <a:cubicBezTo>
                      <a:pt x="137" y="103"/>
                      <a:pt x="137" y="100"/>
                      <a:pt x="139" y="96"/>
                    </a:cubicBezTo>
                    <a:cubicBezTo>
                      <a:pt x="140" y="94"/>
                      <a:pt x="141" y="93"/>
                      <a:pt x="141" y="91"/>
                    </a:cubicBezTo>
                    <a:cubicBezTo>
                      <a:pt x="141" y="89"/>
                      <a:pt x="142" y="88"/>
                      <a:pt x="143" y="86"/>
                    </a:cubicBezTo>
                    <a:cubicBezTo>
                      <a:pt x="145" y="83"/>
                      <a:pt x="149" y="82"/>
                      <a:pt x="152" y="80"/>
                    </a:cubicBezTo>
                    <a:cubicBezTo>
                      <a:pt x="156" y="78"/>
                      <a:pt x="159" y="76"/>
                      <a:pt x="163" y="75"/>
                    </a:cubicBezTo>
                    <a:cubicBezTo>
                      <a:pt x="166" y="74"/>
                      <a:pt x="170" y="75"/>
                      <a:pt x="173" y="74"/>
                    </a:cubicBezTo>
                    <a:cubicBezTo>
                      <a:pt x="176" y="73"/>
                      <a:pt x="178" y="69"/>
                      <a:pt x="181" y="69"/>
                    </a:cubicBezTo>
                    <a:cubicBezTo>
                      <a:pt x="183" y="69"/>
                      <a:pt x="185" y="69"/>
                      <a:pt x="186" y="70"/>
                    </a:cubicBezTo>
                    <a:cubicBezTo>
                      <a:pt x="187" y="71"/>
                      <a:pt x="189" y="72"/>
                      <a:pt x="190" y="72"/>
                    </a:cubicBezTo>
                    <a:cubicBezTo>
                      <a:pt x="189" y="70"/>
                      <a:pt x="188" y="68"/>
                      <a:pt x="186" y="67"/>
                    </a:cubicBezTo>
                    <a:cubicBezTo>
                      <a:pt x="185" y="65"/>
                      <a:pt x="182" y="65"/>
                      <a:pt x="181" y="64"/>
                    </a:cubicBezTo>
                    <a:cubicBezTo>
                      <a:pt x="180" y="62"/>
                      <a:pt x="182" y="59"/>
                      <a:pt x="183" y="57"/>
                    </a:cubicBezTo>
                    <a:cubicBezTo>
                      <a:pt x="184" y="55"/>
                      <a:pt x="185" y="52"/>
                      <a:pt x="187" y="49"/>
                    </a:cubicBezTo>
                    <a:cubicBezTo>
                      <a:pt x="188" y="47"/>
                      <a:pt x="188" y="46"/>
                      <a:pt x="186" y="44"/>
                    </a:cubicBezTo>
                    <a:cubicBezTo>
                      <a:pt x="183" y="43"/>
                      <a:pt x="181" y="41"/>
                      <a:pt x="178" y="40"/>
                    </a:cubicBezTo>
                    <a:cubicBezTo>
                      <a:pt x="175" y="39"/>
                      <a:pt x="173" y="41"/>
                      <a:pt x="170" y="41"/>
                    </a:cubicBezTo>
                    <a:cubicBezTo>
                      <a:pt x="167" y="41"/>
                      <a:pt x="165" y="39"/>
                      <a:pt x="162" y="39"/>
                    </a:cubicBezTo>
                    <a:cubicBezTo>
                      <a:pt x="159" y="39"/>
                      <a:pt x="158" y="42"/>
                      <a:pt x="156" y="42"/>
                    </a:cubicBezTo>
                    <a:cubicBezTo>
                      <a:pt x="154" y="43"/>
                      <a:pt x="150" y="43"/>
                      <a:pt x="148" y="43"/>
                    </a:cubicBezTo>
                    <a:cubicBezTo>
                      <a:pt x="145" y="43"/>
                      <a:pt x="143" y="43"/>
                      <a:pt x="141" y="41"/>
                    </a:cubicBezTo>
                    <a:cubicBezTo>
                      <a:pt x="139" y="39"/>
                      <a:pt x="139" y="37"/>
                      <a:pt x="138" y="35"/>
                    </a:cubicBezTo>
                    <a:cubicBezTo>
                      <a:pt x="136" y="33"/>
                      <a:pt x="134" y="33"/>
                      <a:pt x="133" y="31"/>
                    </a:cubicBezTo>
                    <a:cubicBezTo>
                      <a:pt x="132" y="29"/>
                      <a:pt x="132" y="26"/>
                      <a:pt x="130" y="24"/>
                    </a:cubicBezTo>
                    <a:cubicBezTo>
                      <a:pt x="127" y="20"/>
                      <a:pt x="120" y="21"/>
                      <a:pt x="118" y="17"/>
                    </a:cubicBezTo>
                    <a:cubicBezTo>
                      <a:pt x="117" y="16"/>
                      <a:pt x="118" y="15"/>
                      <a:pt x="118" y="14"/>
                    </a:cubicBezTo>
                    <a:cubicBezTo>
                      <a:pt x="118" y="13"/>
                      <a:pt x="118" y="12"/>
                      <a:pt x="118" y="11"/>
                    </a:cubicBezTo>
                    <a:cubicBezTo>
                      <a:pt x="116" y="9"/>
                      <a:pt x="115" y="7"/>
                      <a:pt x="113" y="6"/>
                    </a:cubicBezTo>
                    <a:cubicBezTo>
                      <a:pt x="111" y="4"/>
                      <a:pt x="109" y="3"/>
                      <a:pt x="107" y="3"/>
                    </a:cubicBezTo>
                    <a:cubicBezTo>
                      <a:pt x="104" y="2"/>
                      <a:pt x="101" y="2"/>
                      <a:pt x="98" y="0"/>
                    </a:cubicBezTo>
                    <a:cubicBezTo>
                      <a:pt x="98" y="3"/>
                      <a:pt x="99" y="6"/>
                      <a:pt x="100" y="8"/>
                    </a:cubicBezTo>
                    <a:cubicBezTo>
                      <a:pt x="101" y="11"/>
                      <a:pt x="103" y="13"/>
                      <a:pt x="102" y="16"/>
                    </a:cubicBezTo>
                    <a:cubicBezTo>
                      <a:pt x="102" y="19"/>
                      <a:pt x="100" y="21"/>
                      <a:pt x="99" y="23"/>
                    </a:cubicBezTo>
                    <a:cubicBezTo>
                      <a:pt x="97" y="26"/>
                      <a:pt x="95" y="28"/>
                      <a:pt x="93" y="31"/>
                    </a:cubicBezTo>
                    <a:cubicBezTo>
                      <a:pt x="89" y="36"/>
                      <a:pt x="86" y="40"/>
                      <a:pt x="80" y="43"/>
                    </a:cubicBezTo>
                    <a:cubicBezTo>
                      <a:pt x="75" y="45"/>
                      <a:pt x="69" y="47"/>
                      <a:pt x="64" y="49"/>
                    </a:cubicBezTo>
                    <a:cubicBezTo>
                      <a:pt x="59" y="51"/>
                      <a:pt x="54" y="54"/>
                      <a:pt x="52" y="59"/>
                    </a:cubicBezTo>
                    <a:cubicBezTo>
                      <a:pt x="49" y="64"/>
                      <a:pt x="47" y="70"/>
                      <a:pt x="45" y="75"/>
                    </a:cubicBezTo>
                    <a:cubicBezTo>
                      <a:pt x="44" y="80"/>
                      <a:pt x="40" y="84"/>
                      <a:pt x="35" y="84"/>
                    </a:cubicBezTo>
                    <a:cubicBezTo>
                      <a:pt x="30" y="83"/>
                      <a:pt x="30" y="77"/>
                      <a:pt x="26" y="75"/>
                    </a:cubicBezTo>
                    <a:cubicBezTo>
                      <a:pt x="23" y="74"/>
                      <a:pt x="21" y="75"/>
                      <a:pt x="18" y="76"/>
                    </a:cubicBezTo>
                    <a:cubicBezTo>
                      <a:pt x="15" y="76"/>
                      <a:pt x="12" y="74"/>
                      <a:pt x="12" y="71"/>
                    </a:cubicBezTo>
                    <a:cubicBezTo>
                      <a:pt x="13" y="68"/>
                      <a:pt x="14" y="66"/>
                      <a:pt x="16" y="65"/>
                    </a:cubicBezTo>
                    <a:cubicBezTo>
                      <a:pt x="17" y="64"/>
                      <a:pt x="18" y="64"/>
                      <a:pt x="17" y="62"/>
                    </a:cubicBezTo>
                    <a:cubicBezTo>
                      <a:pt x="17" y="60"/>
                      <a:pt x="16" y="59"/>
                      <a:pt x="16" y="57"/>
                    </a:cubicBezTo>
                    <a:cubicBezTo>
                      <a:pt x="14" y="58"/>
                      <a:pt x="12" y="60"/>
                      <a:pt x="10" y="62"/>
                    </a:cubicBezTo>
                    <a:cubicBezTo>
                      <a:pt x="8" y="64"/>
                      <a:pt x="6" y="66"/>
                      <a:pt x="4" y="68"/>
                    </a:cubicBezTo>
                    <a:cubicBezTo>
                      <a:pt x="3" y="70"/>
                      <a:pt x="1" y="71"/>
                      <a:pt x="0" y="74"/>
                    </a:cubicBezTo>
                    <a:cubicBezTo>
                      <a:pt x="0" y="77"/>
                      <a:pt x="0" y="80"/>
                      <a:pt x="1" y="82"/>
                    </a:cubicBezTo>
                    <a:cubicBezTo>
                      <a:pt x="1" y="85"/>
                      <a:pt x="3" y="87"/>
                      <a:pt x="4" y="90"/>
                    </a:cubicBezTo>
                    <a:cubicBezTo>
                      <a:pt x="5" y="93"/>
                      <a:pt x="6" y="95"/>
                      <a:pt x="6" y="98"/>
                    </a:cubicBezTo>
                    <a:cubicBezTo>
                      <a:pt x="6" y="99"/>
                      <a:pt x="5" y="100"/>
                      <a:pt x="4" y="101"/>
                    </a:cubicBezTo>
                    <a:cubicBezTo>
                      <a:pt x="4" y="101"/>
                      <a:pt x="3" y="102"/>
                      <a:pt x="3" y="103"/>
                    </a:cubicBezTo>
                    <a:cubicBezTo>
                      <a:pt x="3" y="105"/>
                      <a:pt x="7" y="105"/>
                      <a:pt x="8" y="106"/>
                    </a:cubicBezTo>
                    <a:cubicBezTo>
                      <a:pt x="14" y="109"/>
                      <a:pt x="19" y="112"/>
                      <a:pt x="23" y="116"/>
                    </a:cubicBezTo>
                    <a:cubicBezTo>
                      <a:pt x="25" y="118"/>
                      <a:pt x="27" y="120"/>
                      <a:pt x="28" y="123"/>
                    </a:cubicBezTo>
                    <a:cubicBezTo>
                      <a:pt x="29" y="125"/>
                      <a:pt x="30" y="128"/>
                      <a:pt x="32" y="131"/>
                    </a:cubicBezTo>
                    <a:cubicBezTo>
                      <a:pt x="33" y="133"/>
                      <a:pt x="35" y="136"/>
                      <a:pt x="36" y="138"/>
                    </a:cubicBezTo>
                    <a:cubicBezTo>
                      <a:pt x="38" y="140"/>
                      <a:pt x="40" y="142"/>
                      <a:pt x="42" y="145"/>
                    </a:cubicBezTo>
                    <a:cubicBezTo>
                      <a:pt x="43" y="147"/>
                      <a:pt x="43" y="150"/>
                      <a:pt x="44" y="152"/>
                    </a:cubicBezTo>
                    <a:cubicBezTo>
                      <a:pt x="46" y="155"/>
                      <a:pt x="48" y="158"/>
                      <a:pt x="49" y="160"/>
                    </a:cubicBezTo>
                    <a:cubicBezTo>
                      <a:pt x="50" y="163"/>
                      <a:pt x="51" y="166"/>
                      <a:pt x="53" y="168"/>
                    </a:cubicBezTo>
                    <a:cubicBezTo>
                      <a:pt x="54" y="171"/>
                      <a:pt x="55" y="174"/>
                      <a:pt x="56" y="177"/>
                    </a:cubicBezTo>
                    <a:cubicBezTo>
                      <a:pt x="57" y="179"/>
                      <a:pt x="58" y="181"/>
                      <a:pt x="60" y="183"/>
                    </a:cubicBezTo>
                    <a:cubicBezTo>
                      <a:pt x="60" y="184"/>
                      <a:pt x="61" y="185"/>
                      <a:pt x="62" y="187"/>
                    </a:cubicBezTo>
                    <a:cubicBezTo>
                      <a:pt x="62" y="188"/>
                      <a:pt x="62" y="189"/>
                      <a:pt x="62" y="191"/>
                    </a:cubicBezTo>
                    <a:cubicBezTo>
                      <a:pt x="63" y="193"/>
                      <a:pt x="66" y="195"/>
                      <a:pt x="67" y="197"/>
                    </a:cubicBezTo>
                    <a:cubicBezTo>
                      <a:pt x="69" y="199"/>
                      <a:pt x="71" y="201"/>
                      <a:pt x="71" y="204"/>
                    </a:cubicBezTo>
                    <a:cubicBezTo>
                      <a:pt x="72" y="207"/>
                      <a:pt x="73" y="210"/>
                      <a:pt x="75" y="212"/>
                    </a:cubicBezTo>
                    <a:cubicBezTo>
                      <a:pt x="76" y="215"/>
                      <a:pt x="78" y="217"/>
                      <a:pt x="80" y="219"/>
                    </a:cubicBezTo>
                    <a:cubicBezTo>
                      <a:pt x="82" y="221"/>
                      <a:pt x="83" y="223"/>
                      <a:pt x="84" y="226"/>
                    </a:cubicBezTo>
                    <a:cubicBezTo>
                      <a:pt x="86" y="229"/>
                      <a:pt x="87" y="231"/>
                      <a:pt x="85" y="234"/>
                    </a:cubicBezTo>
                    <a:cubicBezTo>
                      <a:pt x="84" y="237"/>
                      <a:pt x="84" y="238"/>
                      <a:pt x="86" y="240"/>
                    </a:cubicBezTo>
                    <a:cubicBezTo>
                      <a:pt x="87" y="243"/>
                      <a:pt x="89" y="245"/>
                      <a:pt x="90" y="247"/>
                    </a:cubicBezTo>
                    <a:cubicBezTo>
                      <a:pt x="90" y="248"/>
                      <a:pt x="91" y="250"/>
                      <a:pt x="91" y="251"/>
                    </a:cubicBezTo>
                    <a:cubicBezTo>
                      <a:pt x="92" y="252"/>
                      <a:pt x="93" y="252"/>
                      <a:pt x="94" y="253"/>
                    </a:cubicBezTo>
                    <a:cubicBezTo>
                      <a:pt x="97" y="254"/>
                      <a:pt x="99" y="256"/>
                      <a:pt x="100" y="258"/>
                    </a:cubicBezTo>
                    <a:cubicBezTo>
                      <a:pt x="102" y="260"/>
                      <a:pt x="103" y="263"/>
                      <a:pt x="105" y="264"/>
                    </a:cubicBezTo>
                    <a:cubicBezTo>
                      <a:pt x="107" y="266"/>
                      <a:pt x="110" y="267"/>
                      <a:pt x="113" y="268"/>
                    </a:cubicBezTo>
                    <a:cubicBezTo>
                      <a:pt x="117" y="270"/>
                      <a:pt x="120" y="272"/>
                      <a:pt x="124" y="274"/>
                    </a:cubicBezTo>
                    <a:cubicBezTo>
                      <a:pt x="128" y="276"/>
                      <a:pt x="131" y="277"/>
                      <a:pt x="134" y="280"/>
                    </a:cubicBezTo>
                    <a:cubicBezTo>
                      <a:pt x="135" y="281"/>
                      <a:pt x="136" y="282"/>
                      <a:pt x="138" y="283"/>
                    </a:cubicBezTo>
                    <a:cubicBezTo>
                      <a:pt x="140" y="283"/>
                      <a:pt x="142" y="284"/>
                      <a:pt x="143" y="284"/>
                    </a:cubicBezTo>
                    <a:cubicBezTo>
                      <a:pt x="148" y="285"/>
                      <a:pt x="151" y="287"/>
                      <a:pt x="155" y="289"/>
                    </a:cubicBezTo>
                    <a:cubicBezTo>
                      <a:pt x="158" y="291"/>
                      <a:pt x="162" y="293"/>
                      <a:pt x="165" y="295"/>
                    </a:cubicBezTo>
                    <a:cubicBezTo>
                      <a:pt x="168" y="297"/>
                      <a:pt x="167" y="301"/>
                      <a:pt x="169" y="304"/>
                    </a:cubicBezTo>
                    <a:cubicBezTo>
                      <a:pt x="170" y="305"/>
                      <a:pt x="172" y="305"/>
                      <a:pt x="173" y="306"/>
                    </a:cubicBezTo>
                    <a:cubicBezTo>
                      <a:pt x="174" y="307"/>
                      <a:pt x="176" y="309"/>
                      <a:pt x="177" y="310"/>
                    </a:cubicBezTo>
                    <a:cubicBezTo>
                      <a:pt x="179" y="311"/>
                      <a:pt x="181" y="312"/>
                      <a:pt x="182" y="313"/>
                    </a:cubicBezTo>
                    <a:cubicBezTo>
                      <a:pt x="183" y="314"/>
                      <a:pt x="184" y="314"/>
                      <a:pt x="184" y="315"/>
                    </a:cubicBezTo>
                    <a:cubicBezTo>
                      <a:pt x="184" y="315"/>
                      <a:pt x="185" y="314"/>
                      <a:pt x="185" y="314"/>
                    </a:cubicBezTo>
                    <a:cubicBezTo>
                      <a:pt x="185" y="315"/>
                      <a:pt x="185" y="315"/>
                      <a:pt x="184" y="315"/>
                    </a:cubicBezTo>
                    <a:cubicBezTo>
                      <a:pt x="186" y="314"/>
                      <a:pt x="184" y="315"/>
                      <a:pt x="184" y="315"/>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24" name="Freeform 27">
                <a:extLst>
                  <a:ext uri="{FF2B5EF4-FFF2-40B4-BE49-F238E27FC236}">
                    <a16:creationId xmlns:a16="http://schemas.microsoft.com/office/drawing/2014/main" id="{D2555FFB-C95D-0462-B0E4-17E14290D175}"/>
                  </a:ext>
                </a:extLst>
              </p:cNvPr>
              <p:cNvSpPr>
                <a:spLocks noEditPoints="1"/>
              </p:cNvSpPr>
              <p:nvPr>
                <p:custDataLst>
                  <p:tags r:id="rId162"/>
                </p:custDataLst>
              </p:nvPr>
            </p:nvSpPr>
            <p:spPr bwMode="auto">
              <a:xfrm>
                <a:off x="3147749" y="4369810"/>
                <a:ext cx="410726" cy="160719"/>
              </a:xfrm>
              <a:custGeom>
                <a:avLst/>
                <a:gdLst>
                  <a:gd name="T0" fmla="*/ 199 w 276"/>
                  <a:gd name="T1" fmla="*/ 78 h 108"/>
                  <a:gd name="T2" fmla="*/ 202 w 276"/>
                  <a:gd name="T3" fmla="*/ 66 h 108"/>
                  <a:gd name="T4" fmla="*/ 201 w 276"/>
                  <a:gd name="T5" fmla="*/ 59 h 108"/>
                  <a:gd name="T6" fmla="*/ 198 w 276"/>
                  <a:gd name="T7" fmla="*/ 67 h 108"/>
                  <a:gd name="T8" fmla="*/ 193 w 276"/>
                  <a:gd name="T9" fmla="*/ 70 h 108"/>
                  <a:gd name="T10" fmla="*/ 184 w 276"/>
                  <a:gd name="T11" fmla="*/ 66 h 108"/>
                  <a:gd name="T12" fmla="*/ 184 w 276"/>
                  <a:gd name="T13" fmla="*/ 60 h 108"/>
                  <a:gd name="T14" fmla="*/ 183 w 276"/>
                  <a:gd name="T15" fmla="*/ 45 h 108"/>
                  <a:gd name="T16" fmla="*/ 187 w 276"/>
                  <a:gd name="T17" fmla="*/ 40 h 108"/>
                  <a:gd name="T18" fmla="*/ 191 w 276"/>
                  <a:gd name="T19" fmla="*/ 36 h 108"/>
                  <a:gd name="T20" fmla="*/ 191 w 276"/>
                  <a:gd name="T21" fmla="*/ 30 h 108"/>
                  <a:gd name="T22" fmla="*/ 197 w 276"/>
                  <a:gd name="T23" fmla="*/ 20 h 108"/>
                  <a:gd name="T24" fmla="*/ 200 w 276"/>
                  <a:gd name="T25" fmla="*/ 12 h 108"/>
                  <a:gd name="T26" fmla="*/ 210 w 276"/>
                  <a:gd name="T27" fmla="*/ 8 h 108"/>
                  <a:gd name="T28" fmla="*/ 215 w 276"/>
                  <a:gd name="T29" fmla="*/ 0 h 108"/>
                  <a:gd name="T30" fmla="*/ 235 w 276"/>
                  <a:gd name="T31" fmla="*/ 12 h 108"/>
                  <a:gd name="T32" fmla="*/ 252 w 276"/>
                  <a:gd name="T33" fmla="*/ 22 h 108"/>
                  <a:gd name="T34" fmla="*/ 268 w 276"/>
                  <a:gd name="T35" fmla="*/ 24 h 108"/>
                  <a:gd name="T36" fmla="*/ 271 w 276"/>
                  <a:gd name="T37" fmla="*/ 27 h 108"/>
                  <a:gd name="T38" fmla="*/ 275 w 276"/>
                  <a:gd name="T39" fmla="*/ 43 h 108"/>
                  <a:gd name="T40" fmla="*/ 259 w 276"/>
                  <a:gd name="T41" fmla="*/ 64 h 108"/>
                  <a:gd name="T42" fmla="*/ 232 w 276"/>
                  <a:gd name="T43" fmla="*/ 76 h 108"/>
                  <a:gd name="T44" fmla="*/ 219 w 276"/>
                  <a:gd name="T45" fmla="*/ 98 h 108"/>
                  <a:gd name="T46" fmla="*/ 211 w 276"/>
                  <a:gd name="T47" fmla="*/ 107 h 108"/>
                  <a:gd name="T48" fmla="*/ 197 w 276"/>
                  <a:gd name="T49" fmla="*/ 99 h 108"/>
                  <a:gd name="T50" fmla="*/ 192 w 276"/>
                  <a:gd name="T51" fmla="*/ 92 h 108"/>
                  <a:gd name="T52" fmla="*/ 194 w 276"/>
                  <a:gd name="T53" fmla="*/ 85 h 108"/>
                  <a:gd name="T54" fmla="*/ 193 w 276"/>
                  <a:gd name="T55" fmla="*/ 82 h 108"/>
                  <a:gd name="T56" fmla="*/ 3 w 276"/>
                  <a:gd name="T57" fmla="*/ 24 h 108"/>
                  <a:gd name="T58" fmla="*/ 13 w 276"/>
                  <a:gd name="T59" fmla="*/ 35 h 108"/>
                  <a:gd name="T60" fmla="*/ 3 w 276"/>
                  <a:gd name="T61" fmla="*/ 42 h 108"/>
                  <a:gd name="T62" fmla="*/ 7 w 276"/>
                  <a:gd name="T63" fmla="*/ 36 h 108"/>
                  <a:gd name="T64" fmla="*/ 4 w 276"/>
                  <a:gd name="T65" fmla="*/ 30 h 108"/>
                  <a:gd name="T66" fmla="*/ 3 w 276"/>
                  <a:gd name="T67" fmla="*/ 24 h 108"/>
                  <a:gd name="T68" fmla="*/ 3 w 276"/>
                  <a:gd name="T69" fmla="*/ 24 h 108"/>
                  <a:gd name="T70" fmla="*/ 0 w 276"/>
                  <a:gd name="T71" fmla="*/ 32 h 108"/>
                  <a:gd name="T72" fmla="*/ 0 w 276"/>
                  <a:gd name="T73" fmla="*/ 32 h 108"/>
                  <a:gd name="T74" fmla="*/ 0 w 276"/>
                  <a:gd name="T75" fmla="*/ 32 h 108"/>
                  <a:gd name="T76" fmla="*/ 13 w 276"/>
                  <a:gd name="T77" fmla="*/ 31 h 108"/>
                  <a:gd name="T78" fmla="*/ 14 w 276"/>
                  <a:gd name="T79" fmla="*/ 29 h 108"/>
                  <a:gd name="T80" fmla="*/ 14 w 276"/>
                  <a:gd name="T81" fmla="*/ 29 h 108"/>
                  <a:gd name="T82" fmla="*/ 19 w 276"/>
                  <a:gd name="T83" fmla="*/ 36 h 108"/>
                  <a:gd name="T84" fmla="*/ 22 w 276"/>
                  <a:gd name="T85" fmla="*/ 35 h 108"/>
                  <a:gd name="T86" fmla="*/ 20 w 276"/>
                  <a:gd name="T87" fmla="*/ 34 h 108"/>
                  <a:gd name="T88" fmla="*/ 37 w 276"/>
                  <a:gd name="T89" fmla="*/ 38 h 108"/>
                  <a:gd name="T90" fmla="*/ 34 w 276"/>
                  <a:gd name="T91" fmla="*/ 41 h 108"/>
                  <a:gd name="T92" fmla="*/ 39 w 276"/>
                  <a:gd name="T93" fmla="*/ 37 h 108"/>
                  <a:gd name="T94" fmla="*/ 37 w 276"/>
                  <a:gd name="T95" fmla="*/ 38 h 108"/>
                  <a:gd name="T96" fmla="*/ 19 w 276"/>
                  <a:gd name="T97" fmla="*/ 47 h 108"/>
                  <a:gd name="T98" fmla="*/ 21 w 276"/>
                  <a:gd name="T99" fmla="*/ 48 h 108"/>
                  <a:gd name="T100" fmla="*/ 19 w 276"/>
                  <a:gd name="T101" fmla="*/ 47 h 108"/>
                  <a:gd name="T102" fmla="*/ 32 w 276"/>
                  <a:gd name="T103" fmla="*/ 48 h 108"/>
                  <a:gd name="T104" fmla="*/ 34 w 276"/>
                  <a:gd name="T105" fmla="*/ 50 h 108"/>
                  <a:gd name="T106" fmla="*/ 32 w 276"/>
                  <a:gd name="T107" fmla="*/ 48 h 108"/>
                  <a:gd name="T108" fmla="*/ 18 w 276"/>
                  <a:gd name="T109" fmla="*/ 19 h 108"/>
                  <a:gd name="T110" fmla="*/ 20 w 276"/>
                  <a:gd name="T111" fmla="*/ 20 h 108"/>
                  <a:gd name="T112" fmla="*/ 18 w 276"/>
                  <a:gd name="T113" fmla="*/ 19 h 108"/>
                  <a:gd name="T114" fmla="*/ 13 w 276"/>
                  <a:gd name="T115" fmla="*/ 14 h 108"/>
                  <a:gd name="T116" fmla="*/ 13 w 276"/>
                  <a:gd name="T117" fmla="*/ 15 h 108"/>
                  <a:gd name="T118" fmla="*/ 13 w 276"/>
                  <a:gd name="T119" fmla="*/ 1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6" h="108">
                    <a:moveTo>
                      <a:pt x="193" y="82"/>
                    </a:moveTo>
                    <a:cubicBezTo>
                      <a:pt x="195" y="81"/>
                      <a:pt x="197" y="80"/>
                      <a:pt x="199" y="78"/>
                    </a:cubicBezTo>
                    <a:cubicBezTo>
                      <a:pt x="200" y="76"/>
                      <a:pt x="200" y="73"/>
                      <a:pt x="202" y="71"/>
                    </a:cubicBezTo>
                    <a:cubicBezTo>
                      <a:pt x="202" y="69"/>
                      <a:pt x="202" y="68"/>
                      <a:pt x="202" y="66"/>
                    </a:cubicBezTo>
                    <a:cubicBezTo>
                      <a:pt x="201" y="65"/>
                      <a:pt x="201" y="64"/>
                      <a:pt x="201" y="62"/>
                    </a:cubicBezTo>
                    <a:cubicBezTo>
                      <a:pt x="201" y="62"/>
                      <a:pt x="202" y="59"/>
                      <a:pt x="201" y="59"/>
                    </a:cubicBezTo>
                    <a:cubicBezTo>
                      <a:pt x="199" y="59"/>
                      <a:pt x="199" y="63"/>
                      <a:pt x="199" y="64"/>
                    </a:cubicBezTo>
                    <a:cubicBezTo>
                      <a:pt x="199" y="65"/>
                      <a:pt x="200" y="69"/>
                      <a:pt x="198" y="67"/>
                    </a:cubicBezTo>
                    <a:cubicBezTo>
                      <a:pt x="196" y="66"/>
                      <a:pt x="196" y="64"/>
                      <a:pt x="195" y="66"/>
                    </a:cubicBezTo>
                    <a:cubicBezTo>
                      <a:pt x="194" y="68"/>
                      <a:pt x="194" y="69"/>
                      <a:pt x="193" y="70"/>
                    </a:cubicBezTo>
                    <a:cubicBezTo>
                      <a:pt x="192" y="71"/>
                      <a:pt x="188" y="69"/>
                      <a:pt x="187" y="68"/>
                    </a:cubicBezTo>
                    <a:cubicBezTo>
                      <a:pt x="186" y="68"/>
                      <a:pt x="185" y="67"/>
                      <a:pt x="184" y="66"/>
                    </a:cubicBezTo>
                    <a:cubicBezTo>
                      <a:pt x="183" y="65"/>
                      <a:pt x="182" y="65"/>
                      <a:pt x="181" y="64"/>
                    </a:cubicBezTo>
                    <a:cubicBezTo>
                      <a:pt x="179" y="62"/>
                      <a:pt x="183" y="61"/>
                      <a:pt x="184" y="60"/>
                    </a:cubicBezTo>
                    <a:cubicBezTo>
                      <a:pt x="184" y="58"/>
                      <a:pt x="184" y="55"/>
                      <a:pt x="183" y="53"/>
                    </a:cubicBezTo>
                    <a:cubicBezTo>
                      <a:pt x="183" y="50"/>
                      <a:pt x="184" y="48"/>
                      <a:pt x="183" y="45"/>
                    </a:cubicBezTo>
                    <a:cubicBezTo>
                      <a:pt x="183" y="44"/>
                      <a:pt x="183" y="43"/>
                      <a:pt x="183" y="42"/>
                    </a:cubicBezTo>
                    <a:cubicBezTo>
                      <a:pt x="184" y="41"/>
                      <a:pt x="185" y="40"/>
                      <a:pt x="187" y="40"/>
                    </a:cubicBezTo>
                    <a:cubicBezTo>
                      <a:pt x="188" y="40"/>
                      <a:pt x="188" y="39"/>
                      <a:pt x="189" y="38"/>
                    </a:cubicBezTo>
                    <a:cubicBezTo>
                      <a:pt x="189" y="37"/>
                      <a:pt x="190" y="37"/>
                      <a:pt x="191" y="36"/>
                    </a:cubicBezTo>
                    <a:cubicBezTo>
                      <a:pt x="191" y="35"/>
                      <a:pt x="191" y="34"/>
                      <a:pt x="191" y="33"/>
                    </a:cubicBezTo>
                    <a:cubicBezTo>
                      <a:pt x="190" y="32"/>
                      <a:pt x="190" y="31"/>
                      <a:pt x="191" y="30"/>
                    </a:cubicBezTo>
                    <a:cubicBezTo>
                      <a:pt x="192" y="28"/>
                      <a:pt x="193" y="27"/>
                      <a:pt x="195" y="26"/>
                    </a:cubicBezTo>
                    <a:cubicBezTo>
                      <a:pt x="197" y="24"/>
                      <a:pt x="197" y="22"/>
                      <a:pt x="197" y="20"/>
                    </a:cubicBezTo>
                    <a:cubicBezTo>
                      <a:pt x="197" y="18"/>
                      <a:pt x="196" y="16"/>
                      <a:pt x="196" y="13"/>
                    </a:cubicBezTo>
                    <a:cubicBezTo>
                      <a:pt x="197" y="11"/>
                      <a:pt x="199" y="12"/>
                      <a:pt x="200" y="12"/>
                    </a:cubicBezTo>
                    <a:cubicBezTo>
                      <a:pt x="202" y="12"/>
                      <a:pt x="203" y="10"/>
                      <a:pt x="204" y="9"/>
                    </a:cubicBezTo>
                    <a:cubicBezTo>
                      <a:pt x="206" y="8"/>
                      <a:pt x="208" y="8"/>
                      <a:pt x="210" y="8"/>
                    </a:cubicBezTo>
                    <a:cubicBezTo>
                      <a:pt x="212" y="8"/>
                      <a:pt x="214" y="7"/>
                      <a:pt x="214" y="5"/>
                    </a:cubicBezTo>
                    <a:cubicBezTo>
                      <a:pt x="215" y="4"/>
                      <a:pt x="214" y="2"/>
                      <a:pt x="215" y="0"/>
                    </a:cubicBezTo>
                    <a:cubicBezTo>
                      <a:pt x="219" y="3"/>
                      <a:pt x="223" y="7"/>
                      <a:pt x="228" y="10"/>
                    </a:cubicBezTo>
                    <a:cubicBezTo>
                      <a:pt x="230" y="11"/>
                      <a:pt x="232" y="11"/>
                      <a:pt x="235" y="12"/>
                    </a:cubicBezTo>
                    <a:cubicBezTo>
                      <a:pt x="237" y="13"/>
                      <a:pt x="237" y="16"/>
                      <a:pt x="239" y="18"/>
                    </a:cubicBezTo>
                    <a:cubicBezTo>
                      <a:pt x="242" y="21"/>
                      <a:pt x="248" y="22"/>
                      <a:pt x="252" y="22"/>
                    </a:cubicBezTo>
                    <a:cubicBezTo>
                      <a:pt x="255" y="21"/>
                      <a:pt x="257" y="19"/>
                      <a:pt x="260" y="20"/>
                    </a:cubicBezTo>
                    <a:cubicBezTo>
                      <a:pt x="263" y="20"/>
                      <a:pt x="265" y="22"/>
                      <a:pt x="268" y="24"/>
                    </a:cubicBezTo>
                    <a:cubicBezTo>
                      <a:pt x="269" y="24"/>
                      <a:pt x="271" y="25"/>
                      <a:pt x="271" y="25"/>
                    </a:cubicBezTo>
                    <a:cubicBezTo>
                      <a:pt x="271" y="26"/>
                      <a:pt x="271" y="27"/>
                      <a:pt x="271" y="27"/>
                    </a:cubicBezTo>
                    <a:cubicBezTo>
                      <a:pt x="271" y="30"/>
                      <a:pt x="272" y="33"/>
                      <a:pt x="273" y="35"/>
                    </a:cubicBezTo>
                    <a:cubicBezTo>
                      <a:pt x="274" y="38"/>
                      <a:pt x="276" y="40"/>
                      <a:pt x="275" y="43"/>
                    </a:cubicBezTo>
                    <a:cubicBezTo>
                      <a:pt x="274" y="46"/>
                      <a:pt x="272" y="48"/>
                      <a:pt x="270" y="50"/>
                    </a:cubicBezTo>
                    <a:cubicBezTo>
                      <a:pt x="267" y="55"/>
                      <a:pt x="263" y="60"/>
                      <a:pt x="259" y="64"/>
                    </a:cubicBezTo>
                    <a:cubicBezTo>
                      <a:pt x="254" y="68"/>
                      <a:pt x="249" y="69"/>
                      <a:pt x="243" y="71"/>
                    </a:cubicBezTo>
                    <a:cubicBezTo>
                      <a:pt x="239" y="72"/>
                      <a:pt x="235" y="74"/>
                      <a:pt x="232" y="76"/>
                    </a:cubicBezTo>
                    <a:cubicBezTo>
                      <a:pt x="228" y="78"/>
                      <a:pt x="226" y="82"/>
                      <a:pt x="224" y="85"/>
                    </a:cubicBezTo>
                    <a:cubicBezTo>
                      <a:pt x="222" y="90"/>
                      <a:pt x="220" y="94"/>
                      <a:pt x="219" y="98"/>
                    </a:cubicBezTo>
                    <a:cubicBezTo>
                      <a:pt x="218" y="100"/>
                      <a:pt x="218" y="103"/>
                      <a:pt x="216" y="104"/>
                    </a:cubicBezTo>
                    <a:cubicBezTo>
                      <a:pt x="215" y="106"/>
                      <a:pt x="213" y="107"/>
                      <a:pt x="211" y="107"/>
                    </a:cubicBezTo>
                    <a:cubicBezTo>
                      <a:pt x="207" y="108"/>
                      <a:pt x="206" y="102"/>
                      <a:pt x="203" y="100"/>
                    </a:cubicBezTo>
                    <a:cubicBezTo>
                      <a:pt x="201" y="99"/>
                      <a:pt x="199" y="99"/>
                      <a:pt x="197" y="99"/>
                    </a:cubicBezTo>
                    <a:cubicBezTo>
                      <a:pt x="195" y="99"/>
                      <a:pt x="193" y="100"/>
                      <a:pt x="191" y="99"/>
                    </a:cubicBezTo>
                    <a:cubicBezTo>
                      <a:pt x="188" y="98"/>
                      <a:pt x="190" y="93"/>
                      <a:pt x="192" y="92"/>
                    </a:cubicBezTo>
                    <a:cubicBezTo>
                      <a:pt x="194" y="92"/>
                      <a:pt x="195" y="90"/>
                      <a:pt x="195" y="88"/>
                    </a:cubicBezTo>
                    <a:cubicBezTo>
                      <a:pt x="194" y="87"/>
                      <a:pt x="194" y="86"/>
                      <a:pt x="194" y="85"/>
                    </a:cubicBezTo>
                    <a:cubicBezTo>
                      <a:pt x="194" y="84"/>
                      <a:pt x="192" y="82"/>
                      <a:pt x="193" y="82"/>
                    </a:cubicBezTo>
                    <a:cubicBezTo>
                      <a:pt x="193" y="82"/>
                      <a:pt x="193" y="82"/>
                      <a:pt x="193" y="82"/>
                    </a:cubicBezTo>
                    <a:cubicBezTo>
                      <a:pt x="196" y="81"/>
                      <a:pt x="193" y="82"/>
                      <a:pt x="193" y="82"/>
                    </a:cubicBezTo>
                    <a:close/>
                    <a:moveTo>
                      <a:pt x="3" y="24"/>
                    </a:moveTo>
                    <a:cubicBezTo>
                      <a:pt x="6" y="25"/>
                      <a:pt x="7" y="27"/>
                      <a:pt x="8" y="30"/>
                    </a:cubicBezTo>
                    <a:cubicBezTo>
                      <a:pt x="8" y="32"/>
                      <a:pt x="12" y="33"/>
                      <a:pt x="13" y="35"/>
                    </a:cubicBezTo>
                    <a:cubicBezTo>
                      <a:pt x="15" y="38"/>
                      <a:pt x="10" y="39"/>
                      <a:pt x="9" y="41"/>
                    </a:cubicBezTo>
                    <a:cubicBezTo>
                      <a:pt x="8" y="43"/>
                      <a:pt x="5" y="44"/>
                      <a:pt x="3" y="42"/>
                    </a:cubicBezTo>
                    <a:cubicBezTo>
                      <a:pt x="1" y="41"/>
                      <a:pt x="3" y="38"/>
                      <a:pt x="5" y="37"/>
                    </a:cubicBezTo>
                    <a:cubicBezTo>
                      <a:pt x="6" y="36"/>
                      <a:pt x="7" y="36"/>
                      <a:pt x="7" y="36"/>
                    </a:cubicBezTo>
                    <a:cubicBezTo>
                      <a:pt x="8" y="35"/>
                      <a:pt x="6" y="33"/>
                      <a:pt x="6" y="33"/>
                    </a:cubicBezTo>
                    <a:cubicBezTo>
                      <a:pt x="5" y="32"/>
                      <a:pt x="4" y="31"/>
                      <a:pt x="4" y="30"/>
                    </a:cubicBezTo>
                    <a:cubicBezTo>
                      <a:pt x="4" y="29"/>
                      <a:pt x="5" y="28"/>
                      <a:pt x="4" y="27"/>
                    </a:cubicBezTo>
                    <a:cubicBezTo>
                      <a:pt x="3" y="26"/>
                      <a:pt x="3" y="25"/>
                      <a:pt x="3" y="24"/>
                    </a:cubicBezTo>
                    <a:cubicBezTo>
                      <a:pt x="3" y="23"/>
                      <a:pt x="4" y="24"/>
                      <a:pt x="5" y="24"/>
                    </a:cubicBezTo>
                    <a:cubicBezTo>
                      <a:pt x="4" y="24"/>
                      <a:pt x="4" y="24"/>
                      <a:pt x="3" y="24"/>
                    </a:cubicBezTo>
                    <a:cubicBezTo>
                      <a:pt x="4" y="24"/>
                      <a:pt x="3" y="24"/>
                      <a:pt x="3" y="24"/>
                    </a:cubicBezTo>
                    <a:close/>
                    <a:moveTo>
                      <a:pt x="0" y="32"/>
                    </a:moveTo>
                    <a:cubicBezTo>
                      <a:pt x="0" y="33"/>
                      <a:pt x="3" y="33"/>
                      <a:pt x="2" y="32"/>
                    </a:cubicBezTo>
                    <a:cubicBezTo>
                      <a:pt x="2" y="31"/>
                      <a:pt x="0" y="30"/>
                      <a:pt x="0" y="32"/>
                    </a:cubicBezTo>
                    <a:cubicBezTo>
                      <a:pt x="0" y="32"/>
                      <a:pt x="0" y="32"/>
                      <a:pt x="0" y="32"/>
                    </a:cubicBezTo>
                    <a:cubicBezTo>
                      <a:pt x="0" y="32"/>
                      <a:pt x="0" y="32"/>
                      <a:pt x="0" y="32"/>
                    </a:cubicBezTo>
                    <a:close/>
                    <a:moveTo>
                      <a:pt x="14" y="29"/>
                    </a:moveTo>
                    <a:cubicBezTo>
                      <a:pt x="14" y="29"/>
                      <a:pt x="12" y="30"/>
                      <a:pt x="13" y="31"/>
                    </a:cubicBezTo>
                    <a:cubicBezTo>
                      <a:pt x="14" y="31"/>
                      <a:pt x="15" y="32"/>
                      <a:pt x="16" y="31"/>
                    </a:cubicBezTo>
                    <a:cubicBezTo>
                      <a:pt x="17" y="30"/>
                      <a:pt x="15" y="28"/>
                      <a:pt x="14" y="29"/>
                    </a:cubicBezTo>
                    <a:cubicBezTo>
                      <a:pt x="14" y="29"/>
                      <a:pt x="14" y="29"/>
                      <a:pt x="14" y="29"/>
                    </a:cubicBezTo>
                    <a:cubicBezTo>
                      <a:pt x="14" y="29"/>
                      <a:pt x="14" y="29"/>
                      <a:pt x="14" y="29"/>
                    </a:cubicBezTo>
                    <a:close/>
                    <a:moveTo>
                      <a:pt x="20" y="34"/>
                    </a:moveTo>
                    <a:cubicBezTo>
                      <a:pt x="19" y="35"/>
                      <a:pt x="19" y="35"/>
                      <a:pt x="19" y="36"/>
                    </a:cubicBezTo>
                    <a:cubicBezTo>
                      <a:pt x="19" y="37"/>
                      <a:pt x="19" y="39"/>
                      <a:pt x="21" y="38"/>
                    </a:cubicBezTo>
                    <a:cubicBezTo>
                      <a:pt x="21" y="38"/>
                      <a:pt x="23" y="36"/>
                      <a:pt x="22" y="35"/>
                    </a:cubicBezTo>
                    <a:cubicBezTo>
                      <a:pt x="22" y="34"/>
                      <a:pt x="20" y="34"/>
                      <a:pt x="20" y="34"/>
                    </a:cubicBezTo>
                    <a:cubicBezTo>
                      <a:pt x="20" y="34"/>
                      <a:pt x="20" y="34"/>
                      <a:pt x="20" y="34"/>
                    </a:cubicBezTo>
                    <a:cubicBezTo>
                      <a:pt x="19" y="34"/>
                      <a:pt x="20" y="34"/>
                      <a:pt x="20" y="34"/>
                    </a:cubicBezTo>
                    <a:close/>
                    <a:moveTo>
                      <a:pt x="37" y="38"/>
                    </a:moveTo>
                    <a:cubicBezTo>
                      <a:pt x="36" y="38"/>
                      <a:pt x="35" y="38"/>
                      <a:pt x="35" y="39"/>
                    </a:cubicBezTo>
                    <a:cubicBezTo>
                      <a:pt x="35" y="39"/>
                      <a:pt x="34" y="41"/>
                      <a:pt x="34" y="41"/>
                    </a:cubicBezTo>
                    <a:cubicBezTo>
                      <a:pt x="36" y="43"/>
                      <a:pt x="37" y="39"/>
                      <a:pt x="38" y="39"/>
                    </a:cubicBezTo>
                    <a:cubicBezTo>
                      <a:pt x="38" y="39"/>
                      <a:pt x="41" y="37"/>
                      <a:pt x="39" y="37"/>
                    </a:cubicBezTo>
                    <a:cubicBezTo>
                      <a:pt x="38" y="37"/>
                      <a:pt x="37" y="38"/>
                      <a:pt x="37" y="38"/>
                    </a:cubicBezTo>
                    <a:cubicBezTo>
                      <a:pt x="37" y="38"/>
                      <a:pt x="37" y="38"/>
                      <a:pt x="37" y="38"/>
                    </a:cubicBezTo>
                    <a:cubicBezTo>
                      <a:pt x="37" y="38"/>
                      <a:pt x="37" y="38"/>
                      <a:pt x="37" y="38"/>
                    </a:cubicBezTo>
                    <a:close/>
                    <a:moveTo>
                      <a:pt x="19" y="47"/>
                    </a:moveTo>
                    <a:cubicBezTo>
                      <a:pt x="19" y="47"/>
                      <a:pt x="18" y="48"/>
                      <a:pt x="19" y="48"/>
                    </a:cubicBezTo>
                    <a:cubicBezTo>
                      <a:pt x="19" y="49"/>
                      <a:pt x="21" y="49"/>
                      <a:pt x="21" y="48"/>
                    </a:cubicBezTo>
                    <a:cubicBezTo>
                      <a:pt x="23" y="47"/>
                      <a:pt x="20" y="46"/>
                      <a:pt x="19" y="47"/>
                    </a:cubicBezTo>
                    <a:cubicBezTo>
                      <a:pt x="19" y="47"/>
                      <a:pt x="19" y="47"/>
                      <a:pt x="19" y="47"/>
                    </a:cubicBezTo>
                    <a:cubicBezTo>
                      <a:pt x="19" y="47"/>
                      <a:pt x="19" y="47"/>
                      <a:pt x="19" y="47"/>
                    </a:cubicBezTo>
                    <a:close/>
                    <a:moveTo>
                      <a:pt x="32" y="48"/>
                    </a:moveTo>
                    <a:cubicBezTo>
                      <a:pt x="32" y="48"/>
                      <a:pt x="31" y="49"/>
                      <a:pt x="31" y="49"/>
                    </a:cubicBezTo>
                    <a:cubicBezTo>
                      <a:pt x="32" y="50"/>
                      <a:pt x="33" y="50"/>
                      <a:pt x="34" y="50"/>
                    </a:cubicBezTo>
                    <a:cubicBezTo>
                      <a:pt x="36" y="48"/>
                      <a:pt x="33" y="48"/>
                      <a:pt x="32" y="49"/>
                    </a:cubicBezTo>
                    <a:cubicBezTo>
                      <a:pt x="32" y="48"/>
                      <a:pt x="32" y="48"/>
                      <a:pt x="32" y="48"/>
                    </a:cubicBezTo>
                    <a:cubicBezTo>
                      <a:pt x="32" y="49"/>
                      <a:pt x="32" y="48"/>
                      <a:pt x="32" y="48"/>
                    </a:cubicBezTo>
                    <a:close/>
                    <a:moveTo>
                      <a:pt x="18" y="19"/>
                    </a:moveTo>
                    <a:cubicBezTo>
                      <a:pt x="16" y="19"/>
                      <a:pt x="18" y="20"/>
                      <a:pt x="19" y="20"/>
                    </a:cubicBezTo>
                    <a:cubicBezTo>
                      <a:pt x="19" y="20"/>
                      <a:pt x="20" y="20"/>
                      <a:pt x="20" y="20"/>
                    </a:cubicBezTo>
                    <a:cubicBezTo>
                      <a:pt x="20" y="19"/>
                      <a:pt x="18" y="19"/>
                      <a:pt x="18" y="19"/>
                    </a:cubicBezTo>
                    <a:cubicBezTo>
                      <a:pt x="18" y="19"/>
                      <a:pt x="18" y="19"/>
                      <a:pt x="18" y="19"/>
                    </a:cubicBezTo>
                    <a:cubicBezTo>
                      <a:pt x="16" y="19"/>
                      <a:pt x="18" y="19"/>
                      <a:pt x="18" y="19"/>
                    </a:cubicBezTo>
                    <a:close/>
                    <a:moveTo>
                      <a:pt x="13" y="14"/>
                    </a:moveTo>
                    <a:cubicBezTo>
                      <a:pt x="12" y="16"/>
                      <a:pt x="14" y="17"/>
                      <a:pt x="15" y="16"/>
                    </a:cubicBezTo>
                    <a:cubicBezTo>
                      <a:pt x="15" y="15"/>
                      <a:pt x="13" y="13"/>
                      <a:pt x="13" y="15"/>
                    </a:cubicBezTo>
                    <a:cubicBezTo>
                      <a:pt x="13" y="15"/>
                      <a:pt x="13" y="15"/>
                      <a:pt x="13" y="14"/>
                    </a:cubicBezTo>
                    <a:cubicBezTo>
                      <a:pt x="12" y="16"/>
                      <a:pt x="13" y="14"/>
                      <a:pt x="13" y="14"/>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25" name="Freeform 28">
                <a:extLst>
                  <a:ext uri="{FF2B5EF4-FFF2-40B4-BE49-F238E27FC236}">
                    <a16:creationId xmlns:a16="http://schemas.microsoft.com/office/drawing/2014/main" id="{057841CC-979E-C886-B3DB-743C856DCAE1}"/>
                  </a:ext>
                </a:extLst>
              </p:cNvPr>
              <p:cNvSpPr/>
              <p:nvPr>
                <p:custDataLst>
                  <p:tags r:id="rId163"/>
                </p:custDataLst>
              </p:nvPr>
            </p:nvSpPr>
            <p:spPr bwMode="auto">
              <a:xfrm>
                <a:off x="3184740" y="4039443"/>
                <a:ext cx="58675" cy="34440"/>
              </a:xfrm>
              <a:custGeom>
                <a:avLst/>
                <a:gdLst>
                  <a:gd name="T0" fmla="*/ 39 w 39"/>
                  <a:gd name="T1" fmla="*/ 16 h 23"/>
                  <a:gd name="T2" fmla="*/ 39 w 39"/>
                  <a:gd name="T3" fmla="*/ 12 h 23"/>
                  <a:gd name="T4" fmla="*/ 37 w 39"/>
                  <a:gd name="T5" fmla="*/ 10 h 23"/>
                  <a:gd name="T6" fmla="*/ 29 w 39"/>
                  <a:gd name="T7" fmla="*/ 10 h 23"/>
                  <a:gd name="T8" fmla="*/ 22 w 39"/>
                  <a:gd name="T9" fmla="*/ 6 h 23"/>
                  <a:gd name="T10" fmla="*/ 16 w 39"/>
                  <a:gd name="T11" fmla="*/ 0 h 23"/>
                  <a:gd name="T12" fmla="*/ 7 w 39"/>
                  <a:gd name="T13" fmla="*/ 5 h 23"/>
                  <a:gd name="T14" fmla="*/ 0 w 39"/>
                  <a:gd name="T15" fmla="*/ 12 h 23"/>
                  <a:gd name="T16" fmla="*/ 5 w 39"/>
                  <a:gd name="T17" fmla="*/ 15 h 23"/>
                  <a:gd name="T18" fmla="*/ 12 w 39"/>
                  <a:gd name="T19" fmla="*/ 17 h 23"/>
                  <a:gd name="T20" fmla="*/ 24 w 39"/>
                  <a:gd name="T21" fmla="*/ 21 h 23"/>
                  <a:gd name="T22" fmla="*/ 38 w 39"/>
                  <a:gd name="T23" fmla="*/ 22 h 23"/>
                  <a:gd name="T24" fmla="*/ 38 w 39"/>
                  <a:gd name="T25" fmla="*/ 19 h 23"/>
                  <a:gd name="T26" fmla="*/ 39 w 39"/>
                  <a:gd name="T27" fmla="*/ 16 h 23"/>
                  <a:gd name="T28" fmla="*/ 39 w 39"/>
                  <a:gd name="T29" fmla="*/ 15 h 23"/>
                  <a:gd name="T30" fmla="*/ 39 w 39"/>
                  <a:gd name="T31" fmla="*/ 16 h 23"/>
                  <a:gd name="T32" fmla="*/ 39 w 39"/>
                  <a:gd name="T33"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23">
                    <a:moveTo>
                      <a:pt x="39" y="16"/>
                    </a:moveTo>
                    <a:cubicBezTo>
                      <a:pt x="39" y="15"/>
                      <a:pt x="39" y="13"/>
                      <a:pt x="39" y="12"/>
                    </a:cubicBezTo>
                    <a:cubicBezTo>
                      <a:pt x="39" y="11"/>
                      <a:pt x="38" y="11"/>
                      <a:pt x="37" y="10"/>
                    </a:cubicBezTo>
                    <a:cubicBezTo>
                      <a:pt x="34" y="8"/>
                      <a:pt x="32" y="10"/>
                      <a:pt x="29" y="10"/>
                    </a:cubicBezTo>
                    <a:cubicBezTo>
                      <a:pt x="26" y="11"/>
                      <a:pt x="24" y="8"/>
                      <a:pt x="22" y="6"/>
                    </a:cubicBezTo>
                    <a:cubicBezTo>
                      <a:pt x="20" y="4"/>
                      <a:pt x="17" y="2"/>
                      <a:pt x="16" y="0"/>
                    </a:cubicBezTo>
                    <a:cubicBezTo>
                      <a:pt x="13" y="1"/>
                      <a:pt x="10" y="3"/>
                      <a:pt x="7" y="5"/>
                    </a:cubicBezTo>
                    <a:cubicBezTo>
                      <a:pt x="5" y="7"/>
                      <a:pt x="2" y="10"/>
                      <a:pt x="0" y="12"/>
                    </a:cubicBezTo>
                    <a:cubicBezTo>
                      <a:pt x="2" y="13"/>
                      <a:pt x="4" y="14"/>
                      <a:pt x="5" y="15"/>
                    </a:cubicBezTo>
                    <a:cubicBezTo>
                      <a:pt x="7" y="16"/>
                      <a:pt x="10" y="16"/>
                      <a:pt x="12" y="17"/>
                    </a:cubicBezTo>
                    <a:cubicBezTo>
                      <a:pt x="16" y="18"/>
                      <a:pt x="20" y="20"/>
                      <a:pt x="24" y="21"/>
                    </a:cubicBezTo>
                    <a:cubicBezTo>
                      <a:pt x="28" y="22"/>
                      <a:pt x="34" y="23"/>
                      <a:pt x="38" y="22"/>
                    </a:cubicBezTo>
                    <a:cubicBezTo>
                      <a:pt x="39" y="21"/>
                      <a:pt x="38" y="20"/>
                      <a:pt x="38" y="19"/>
                    </a:cubicBezTo>
                    <a:cubicBezTo>
                      <a:pt x="38" y="18"/>
                      <a:pt x="38" y="16"/>
                      <a:pt x="39" y="16"/>
                    </a:cubicBezTo>
                    <a:cubicBezTo>
                      <a:pt x="39" y="17"/>
                      <a:pt x="39" y="15"/>
                      <a:pt x="39" y="15"/>
                    </a:cubicBezTo>
                    <a:cubicBezTo>
                      <a:pt x="39" y="16"/>
                      <a:pt x="39" y="16"/>
                      <a:pt x="39" y="16"/>
                    </a:cubicBezTo>
                    <a:cubicBezTo>
                      <a:pt x="39" y="15"/>
                      <a:pt x="39" y="16"/>
                      <a:pt x="39" y="16"/>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26" name="Freeform 45">
                <a:extLst>
                  <a:ext uri="{FF2B5EF4-FFF2-40B4-BE49-F238E27FC236}">
                    <a16:creationId xmlns:a16="http://schemas.microsoft.com/office/drawing/2014/main" id="{8D26C076-555B-18D9-98D2-F73173033E54}"/>
                  </a:ext>
                </a:extLst>
              </p:cNvPr>
              <p:cNvSpPr>
                <a:spLocks noEditPoints="1"/>
              </p:cNvSpPr>
              <p:nvPr>
                <p:custDataLst>
                  <p:tags r:id="rId164"/>
                </p:custDataLst>
              </p:nvPr>
            </p:nvSpPr>
            <p:spPr bwMode="auto">
              <a:xfrm>
                <a:off x="3919455" y="5834139"/>
                <a:ext cx="84186" cy="35715"/>
              </a:xfrm>
              <a:custGeom>
                <a:avLst/>
                <a:gdLst>
                  <a:gd name="T0" fmla="*/ 3 w 57"/>
                  <a:gd name="T1" fmla="*/ 15 h 24"/>
                  <a:gd name="T2" fmla="*/ 0 w 57"/>
                  <a:gd name="T3" fmla="*/ 13 h 24"/>
                  <a:gd name="T4" fmla="*/ 1 w 57"/>
                  <a:gd name="T5" fmla="*/ 13 h 24"/>
                  <a:gd name="T6" fmla="*/ 25 w 57"/>
                  <a:gd name="T7" fmla="*/ 20 h 24"/>
                  <a:gd name="T8" fmla="*/ 30 w 57"/>
                  <a:gd name="T9" fmla="*/ 21 h 24"/>
                  <a:gd name="T10" fmla="*/ 34 w 57"/>
                  <a:gd name="T11" fmla="*/ 18 h 24"/>
                  <a:gd name="T12" fmla="*/ 40 w 57"/>
                  <a:gd name="T13" fmla="*/ 18 h 24"/>
                  <a:gd name="T14" fmla="*/ 40 w 57"/>
                  <a:gd name="T15" fmla="*/ 16 h 24"/>
                  <a:gd name="T16" fmla="*/ 33 w 57"/>
                  <a:gd name="T17" fmla="*/ 11 h 24"/>
                  <a:gd name="T18" fmla="*/ 29 w 57"/>
                  <a:gd name="T19" fmla="*/ 14 h 24"/>
                  <a:gd name="T20" fmla="*/ 37 w 57"/>
                  <a:gd name="T21" fmla="*/ 3 h 24"/>
                  <a:gd name="T22" fmla="*/ 48 w 57"/>
                  <a:gd name="T23" fmla="*/ 14 h 24"/>
                  <a:gd name="T24" fmla="*/ 53 w 57"/>
                  <a:gd name="T25" fmla="*/ 12 h 24"/>
                  <a:gd name="T26" fmla="*/ 51 w 57"/>
                  <a:gd name="T27" fmla="*/ 7 h 24"/>
                  <a:gd name="T28" fmla="*/ 47 w 57"/>
                  <a:gd name="T29" fmla="*/ 9 h 24"/>
                  <a:gd name="T30" fmla="*/ 44 w 57"/>
                  <a:gd name="T31" fmla="*/ 5 h 24"/>
                  <a:gd name="T32" fmla="*/ 42 w 57"/>
                  <a:gd name="T33" fmla="*/ 1 h 24"/>
                  <a:gd name="T34" fmla="*/ 36 w 57"/>
                  <a:gd name="T35" fmla="*/ 4 h 24"/>
                  <a:gd name="T36" fmla="*/ 37 w 57"/>
                  <a:gd name="T37" fmla="*/ 3 h 24"/>
                  <a:gd name="T38" fmla="*/ 51 w 57"/>
                  <a:gd name="T39" fmla="*/ 5 h 24"/>
                  <a:gd name="T40" fmla="*/ 54 w 57"/>
                  <a:gd name="T41" fmla="*/ 3 h 24"/>
                  <a:gd name="T42" fmla="*/ 51 w 57"/>
                  <a:gd name="T43" fmla="*/ 2 h 24"/>
                  <a:gd name="T44" fmla="*/ 31 w 57"/>
                  <a:gd name="T45" fmla="*/ 4 h 24"/>
                  <a:gd name="T46" fmla="*/ 23 w 57"/>
                  <a:gd name="T47" fmla="*/ 5 h 24"/>
                  <a:gd name="T48" fmla="*/ 18 w 57"/>
                  <a:gd name="T49" fmla="*/ 6 h 24"/>
                  <a:gd name="T50" fmla="*/ 13 w 57"/>
                  <a:gd name="T51" fmla="*/ 6 h 24"/>
                  <a:gd name="T52" fmla="*/ 19 w 57"/>
                  <a:gd name="T53" fmla="*/ 11 h 24"/>
                  <a:gd name="T54" fmla="*/ 13 w 57"/>
                  <a:gd name="T55" fmla="*/ 12 h 24"/>
                  <a:gd name="T56" fmla="*/ 9 w 57"/>
                  <a:gd name="T57" fmla="*/ 17 h 24"/>
                  <a:gd name="T58" fmla="*/ 7 w 57"/>
                  <a:gd name="T59" fmla="*/ 21 h 24"/>
                  <a:gd name="T60" fmla="*/ 12 w 57"/>
                  <a:gd name="T61" fmla="*/ 19 h 24"/>
                  <a:gd name="T62" fmla="*/ 20 w 57"/>
                  <a:gd name="T63" fmla="*/ 16 h 24"/>
                  <a:gd name="T64" fmla="*/ 27 w 57"/>
                  <a:gd name="T65" fmla="*/ 9 h 24"/>
                  <a:gd name="T66" fmla="*/ 30 w 57"/>
                  <a:gd name="T67" fmla="*/ 3 h 24"/>
                  <a:gd name="T68" fmla="*/ 31 w 57"/>
                  <a:gd name="T69" fmla="*/ 4 h 24"/>
                  <a:gd name="T70" fmla="*/ 12 w 57"/>
                  <a:gd name="T71" fmla="*/ 10 h 24"/>
                  <a:gd name="T72" fmla="*/ 9 w 57"/>
                  <a:gd name="T73" fmla="*/ 10 h 24"/>
                  <a:gd name="T74" fmla="*/ 9 w 57"/>
                  <a:gd name="T75"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 h="24">
                    <a:moveTo>
                      <a:pt x="1" y="13"/>
                    </a:moveTo>
                    <a:cubicBezTo>
                      <a:pt x="0" y="13"/>
                      <a:pt x="1" y="18"/>
                      <a:pt x="3" y="15"/>
                    </a:cubicBezTo>
                    <a:cubicBezTo>
                      <a:pt x="4" y="14"/>
                      <a:pt x="5" y="12"/>
                      <a:pt x="3" y="12"/>
                    </a:cubicBezTo>
                    <a:cubicBezTo>
                      <a:pt x="2" y="12"/>
                      <a:pt x="1" y="13"/>
                      <a:pt x="0" y="13"/>
                    </a:cubicBezTo>
                    <a:cubicBezTo>
                      <a:pt x="1" y="13"/>
                      <a:pt x="1" y="13"/>
                      <a:pt x="1" y="13"/>
                    </a:cubicBezTo>
                    <a:cubicBezTo>
                      <a:pt x="0" y="13"/>
                      <a:pt x="1" y="13"/>
                      <a:pt x="1" y="13"/>
                    </a:cubicBezTo>
                    <a:close/>
                    <a:moveTo>
                      <a:pt x="29" y="14"/>
                    </a:moveTo>
                    <a:cubicBezTo>
                      <a:pt x="28" y="16"/>
                      <a:pt x="25" y="17"/>
                      <a:pt x="25" y="20"/>
                    </a:cubicBezTo>
                    <a:cubicBezTo>
                      <a:pt x="25" y="21"/>
                      <a:pt x="28" y="24"/>
                      <a:pt x="30" y="24"/>
                    </a:cubicBezTo>
                    <a:cubicBezTo>
                      <a:pt x="31" y="23"/>
                      <a:pt x="30" y="21"/>
                      <a:pt x="30" y="21"/>
                    </a:cubicBezTo>
                    <a:cubicBezTo>
                      <a:pt x="30" y="20"/>
                      <a:pt x="36" y="22"/>
                      <a:pt x="35" y="20"/>
                    </a:cubicBezTo>
                    <a:cubicBezTo>
                      <a:pt x="35" y="19"/>
                      <a:pt x="34" y="18"/>
                      <a:pt x="34" y="18"/>
                    </a:cubicBezTo>
                    <a:cubicBezTo>
                      <a:pt x="33" y="17"/>
                      <a:pt x="35" y="17"/>
                      <a:pt x="35" y="18"/>
                    </a:cubicBezTo>
                    <a:cubicBezTo>
                      <a:pt x="37" y="18"/>
                      <a:pt x="38" y="18"/>
                      <a:pt x="40" y="18"/>
                    </a:cubicBezTo>
                    <a:cubicBezTo>
                      <a:pt x="40" y="18"/>
                      <a:pt x="41" y="18"/>
                      <a:pt x="41" y="17"/>
                    </a:cubicBezTo>
                    <a:cubicBezTo>
                      <a:pt x="41" y="17"/>
                      <a:pt x="40" y="16"/>
                      <a:pt x="40" y="16"/>
                    </a:cubicBezTo>
                    <a:cubicBezTo>
                      <a:pt x="38" y="15"/>
                      <a:pt x="37" y="14"/>
                      <a:pt x="36" y="13"/>
                    </a:cubicBezTo>
                    <a:cubicBezTo>
                      <a:pt x="35" y="12"/>
                      <a:pt x="34" y="11"/>
                      <a:pt x="33" y="11"/>
                    </a:cubicBezTo>
                    <a:cubicBezTo>
                      <a:pt x="31" y="11"/>
                      <a:pt x="30" y="14"/>
                      <a:pt x="29" y="15"/>
                    </a:cubicBezTo>
                    <a:cubicBezTo>
                      <a:pt x="29" y="15"/>
                      <a:pt x="29" y="15"/>
                      <a:pt x="29" y="14"/>
                    </a:cubicBezTo>
                    <a:cubicBezTo>
                      <a:pt x="29" y="15"/>
                      <a:pt x="29" y="14"/>
                      <a:pt x="29" y="14"/>
                    </a:cubicBezTo>
                    <a:close/>
                    <a:moveTo>
                      <a:pt x="37" y="3"/>
                    </a:moveTo>
                    <a:cubicBezTo>
                      <a:pt x="36" y="6"/>
                      <a:pt x="36" y="10"/>
                      <a:pt x="38" y="12"/>
                    </a:cubicBezTo>
                    <a:cubicBezTo>
                      <a:pt x="41" y="14"/>
                      <a:pt x="45" y="16"/>
                      <a:pt x="48" y="14"/>
                    </a:cubicBezTo>
                    <a:cubicBezTo>
                      <a:pt x="49" y="14"/>
                      <a:pt x="49" y="13"/>
                      <a:pt x="50" y="12"/>
                    </a:cubicBezTo>
                    <a:cubicBezTo>
                      <a:pt x="51" y="12"/>
                      <a:pt x="52" y="12"/>
                      <a:pt x="53" y="12"/>
                    </a:cubicBezTo>
                    <a:cubicBezTo>
                      <a:pt x="54" y="11"/>
                      <a:pt x="57" y="10"/>
                      <a:pt x="54" y="9"/>
                    </a:cubicBezTo>
                    <a:cubicBezTo>
                      <a:pt x="54" y="8"/>
                      <a:pt x="52" y="7"/>
                      <a:pt x="51" y="7"/>
                    </a:cubicBezTo>
                    <a:cubicBezTo>
                      <a:pt x="50" y="8"/>
                      <a:pt x="51" y="9"/>
                      <a:pt x="50" y="10"/>
                    </a:cubicBezTo>
                    <a:cubicBezTo>
                      <a:pt x="49" y="10"/>
                      <a:pt x="48" y="9"/>
                      <a:pt x="47" y="9"/>
                    </a:cubicBezTo>
                    <a:cubicBezTo>
                      <a:pt x="46" y="9"/>
                      <a:pt x="45" y="8"/>
                      <a:pt x="44" y="6"/>
                    </a:cubicBezTo>
                    <a:cubicBezTo>
                      <a:pt x="44" y="6"/>
                      <a:pt x="43" y="5"/>
                      <a:pt x="44" y="5"/>
                    </a:cubicBezTo>
                    <a:cubicBezTo>
                      <a:pt x="44" y="4"/>
                      <a:pt x="45" y="5"/>
                      <a:pt x="45" y="4"/>
                    </a:cubicBezTo>
                    <a:cubicBezTo>
                      <a:pt x="46" y="3"/>
                      <a:pt x="44" y="2"/>
                      <a:pt x="42" y="1"/>
                    </a:cubicBezTo>
                    <a:cubicBezTo>
                      <a:pt x="41" y="1"/>
                      <a:pt x="39" y="0"/>
                      <a:pt x="38" y="1"/>
                    </a:cubicBezTo>
                    <a:cubicBezTo>
                      <a:pt x="37" y="2"/>
                      <a:pt x="37" y="3"/>
                      <a:pt x="36" y="4"/>
                    </a:cubicBezTo>
                    <a:cubicBezTo>
                      <a:pt x="37" y="4"/>
                      <a:pt x="37" y="3"/>
                      <a:pt x="37" y="3"/>
                    </a:cubicBezTo>
                    <a:cubicBezTo>
                      <a:pt x="36" y="4"/>
                      <a:pt x="37" y="3"/>
                      <a:pt x="37" y="3"/>
                    </a:cubicBezTo>
                    <a:close/>
                    <a:moveTo>
                      <a:pt x="51" y="2"/>
                    </a:moveTo>
                    <a:cubicBezTo>
                      <a:pt x="50" y="3"/>
                      <a:pt x="49" y="4"/>
                      <a:pt x="51" y="5"/>
                    </a:cubicBezTo>
                    <a:cubicBezTo>
                      <a:pt x="52" y="5"/>
                      <a:pt x="54" y="5"/>
                      <a:pt x="55" y="5"/>
                    </a:cubicBezTo>
                    <a:cubicBezTo>
                      <a:pt x="56" y="5"/>
                      <a:pt x="54" y="3"/>
                      <a:pt x="54" y="3"/>
                    </a:cubicBezTo>
                    <a:cubicBezTo>
                      <a:pt x="53" y="2"/>
                      <a:pt x="52" y="2"/>
                      <a:pt x="51" y="3"/>
                    </a:cubicBezTo>
                    <a:cubicBezTo>
                      <a:pt x="51" y="3"/>
                      <a:pt x="51" y="2"/>
                      <a:pt x="51" y="2"/>
                    </a:cubicBezTo>
                    <a:cubicBezTo>
                      <a:pt x="51" y="3"/>
                      <a:pt x="51" y="2"/>
                      <a:pt x="51" y="2"/>
                    </a:cubicBezTo>
                    <a:close/>
                    <a:moveTo>
                      <a:pt x="31" y="4"/>
                    </a:moveTo>
                    <a:cubicBezTo>
                      <a:pt x="30" y="2"/>
                      <a:pt x="29" y="2"/>
                      <a:pt x="27" y="3"/>
                    </a:cubicBezTo>
                    <a:cubicBezTo>
                      <a:pt x="26" y="4"/>
                      <a:pt x="25" y="5"/>
                      <a:pt x="23" y="5"/>
                    </a:cubicBezTo>
                    <a:cubicBezTo>
                      <a:pt x="22" y="5"/>
                      <a:pt x="21" y="4"/>
                      <a:pt x="20" y="4"/>
                    </a:cubicBezTo>
                    <a:cubicBezTo>
                      <a:pt x="19" y="4"/>
                      <a:pt x="18" y="5"/>
                      <a:pt x="18" y="6"/>
                    </a:cubicBezTo>
                    <a:cubicBezTo>
                      <a:pt x="17" y="7"/>
                      <a:pt x="17" y="6"/>
                      <a:pt x="15" y="6"/>
                    </a:cubicBezTo>
                    <a:cubicBezTo>
                      <a:pt x="15" y="5"/>
                      <a:pt x="14" y="6"/>
                      <a:pt x="13" y="6"/>
                    </a:cubicBezTo>
                    <a:cubicBezTo>
                      <a:pt x="13" y="8"/>
                      <a:pt x="16" y="9"/>
                      <a:pt x="17" y="9"/>
                    </a:cubicBezTo>
                    <a:cubicBezTo>
                      <a:pt x="18" y="9"/>
                      <a:pt x="19" y="10"/>
                      <a:pt x="19" y="11"/>
                    </a:cubicBezTo>
                    <a:cubicBezTo>
                      <a:pt x="19" y="11"/>
                      <a:pt x="18" y="11"/>
                      <a:pt x="18" y="11"/>
                    </a:cubicBezTo>
                    <a:cubicBezTo>
                      <a:pt x="16" y="12"/>
                      <a:pt x="14" y="12"/>
                      <a:pt x="13" y="12"/>
                    </a:cubicBezTo>
                    <a:cubicBezTo>
                      <a:pt x="12" y="13"/>
                      <a:pt x="11" y="13"/>
                      <a:pt x="11" y="15"/>
                    </a:cubicBezTo>
                    <a:cubicBezTo>
                      <a:pt x="11" y="16"/>
                      <a:pt x="10" y="16"/>
                      <a:pt x="9" y="17"/>
                    </a:cubicBezTo>
                    <a:cubicBezTo>
                      <a:pt x="8" y="18"/>
                      <a:pt x="6" y="17"/>
                      <a:pt x="5" y="18"/>
                    </a:cubicBezTo>
                    <a:cubicBezTo>
                      <a:pt x="3" y="18"/>
                      <a:pt x="6" y="21"/>
                      <a:pt x="7" y="21"/>
                    </a:cubicBezTo>
                    <a:cubicBezTo>
                      <a:pt x="9" y="22"/>
                      <a:pt x="10" y="22"/>
                      <a:pt x="10" y="20"/>
                    </a:cubicBezTo>
                    <a:cubicBezTo>
                      <a:pt x="11" y="19"/>
                      <a:pt x="11" y="19"/>
                      <a:pt x="12" y="19"/>
                    </a:cubicBezTo>
                    <a:cubicBezTo>
                      <a:pt x="14" y="19"/>
                      <a:pt x="14" y="19"/>
                      <a:pt x="15" y="18"/>
                    </a:cubicBezTo>
                    <a:cubicBezTo>
                      <a:pt x="16" y="15"/>
                      <a:pt x="18" y="17"/>
                      <a:pt x="20" y="16"/>
                    </a:cubicBezTo>
                    <a:cubicBezTo>
                      <a:pt x="22" y="16"/>
                      <a:pt x="23" y="13"/>
                      <a:pt x="24" y="12"/>
                    </a:cubicBezTo>
                    <a:cubicBezTo>
                      <a:pt x="25" y="11"/>
                      <a:pt x="26" y="10"/>
                      <a:pt x="27" y="9"/>
                    </a:cubicBezTo>
                    <a:cubicBezTo>
                      <a:pt x="28" y="8"/>
                      <a:pt x="29" y="8"/>
                      <a:pt x="30" y="7"/>
                    </a:cubicBezTo>
                    <a:cubicBezTo>
                      <a:pt x="31" y="6"/>
                      <a:pt x="31" y="4"/>
                      <a:pt x="30" y="3"/>
                    </a:cubicBezTo>
                    <a:cubicBezTo>
                      <a:pt x="31" y="3"/>
                      <a:pt x="31" y="3"/>
                      <a:pt x="31" y="4"/>
                    </a:cubicBezTo>
                    <a:cubicBezTo>
                      <a:pt x="30" y="0"/>
                      <a:pt x="31" y="4"/>
                      <a:pt x="31" y="4"/>
                    </a:cubicBezTo>
                    <a:close/>
                    <a:moveTo>
                      <a:pt x="9" y="10"/>
                    </a:moveTo>
                    <a:cubicBezTo>
                      <a:pt x="8" y="12"/>
                      <a:pt x="12" y="12"/>
                      <a:pt x="12" y="10"/>
                    </a:cubicBezTo>
                    <a:cubicBezTo>
                      <a:pt x="12" y="10"/>
                      <a:pt x="11" y="9"/>
                      <a:pt x="10" y="9"/>
                    </a:cubicBezTo>
                    <a:cubicBezTo>
                      <a:pt x="9" y="9"/>
                      <a:pt x="9" y="9"/>
                      <a:pt x="9" y="10"/>
                    </a:cubicBezTo>
                    <a:cubicBezTo>
                      <a:pt x="9" y="10"/>
                      <a:pt x="9" y="10"/>
                      <a:pt x="9" y="10"/>
                    </a:cubicBezTo>
                    <a:cubicBezTo>
                      <a:pt x="9" y="11"/>
                      <a:pt x="9" y="10"/>
                      <a:pt x="9" y="10"/>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grpSp>
            <p:nvGrpSpPr>
              <p:cNvPr id="227" name="Group 226">
                <a:extLst>
                  <a:ext uri="{FF2B5EF4-FFF2-40B4-BE49-F238E27FC236}">
                    <a16:creationId xmlns:a16="http://schemas.microsoft.com/office/drawing/2014/main" id="{D6D30A4F-0753-13D9-25FE-1D03631CD5C3}"/>
                  </a:ext>
                </a:extLst>
              </p:cNvPr>
              <p:cNvGrpSpPr/>
              <p:nvPr>
                <p:custDataLst>
                  <p:tags r:id="rId165"/>
                </p:custDataLst>
              </p:nvPr>
            </p:nvGrpSpPr>
            <p:grpSpPr>
              <a:xfrm>
                <a:off x="3416889" y="4859621"/>
                <a:ext cx="350776" cy="1119930"/>
                <a:chOff x="3171826" y="5143501"/>
                <a:chExt cx="436563" cy="1393825"/>
              </a:xfrm>
            </p:grpSpPr>
            <p:sp>
              <p:nvSpPr>
                <p:cNvPr id="323" name="Freeform 25">
                  <a:extLst>
                    <a:ext uri="{FF2B5EF4-FFF2-40B4-BE49-F238E27FC236}">
                      <a16:creationId xmlns:a16="http://schemas.microsoft.com/office/drawing/2014/main" id="{018B38CD-8F93-7C20-9BCB-B206E1123E13}"/>
                    </a:ext>
                  </a:extLst>
                </p:cNvPr>
                <p:cNvSpPr>
                  <a:spLocks noEditPoints="1"/>
                </p:cNvSpPr>
                <p:nvPr>
                  <p:custDataLst>
                    <p:tags r:id="rId261"/>
                  </p:custDataLst>
                </p:nvPr>
              </p:nvSpPr>
              <p:spPr bwMode="auto">
                <a:xfrm>
                  <a:off x="3171826" y="5143501"/>
                  <a:ext cx="436563" cy="1393825"/>
                </a:xfrm>
                <a:custGeom>
                  <a:avLst/>
                  <a:gdLst>
                    <a:gd name="T0" fmla="*/ 125 w 235"/>
                    <a:gd name="T1" fmla="*/ 617 h 752"/>
                    <a:gd name="T2" fmla="*/ 156 w 235"/>
                    <a:gd name="T3" fmla="*/ 530 h 752"/>
                    <a:gd name="T4" fmla="*/ 149 w 235"/>
                    <a:gd name="T5" fmla="*/ 471 h 752"/>
                    <a:gd name="T6" fmla="*/ 167 w 235"/>
                    <a:gd name="T7" fmla="*/ 390 h 752"/>
                    <a:gd name="T8" fmla="*/ 185 w 235"/>
                    <a:gd name="T9" fmla="*/ 283 h 752"/>
                    <a:gd name="T10" fmla="*/ 187 w 235"/>
                    <a:gd name="T11" fmla="*/ 202 h 752"/>
                    <a:gd name="T12" fmla="*/ 232 w 235"/>
                    <a:gd name="T13" fmla="*/ 105 h 752"/>
                    <a:gd name="T14" fmla="*/ 201 w 235"/>
                    <a:gd name="T15" fmla="*/ 13 h 752"/>
                    <a:gd name="T16" fmla="*/ 181 w 235"/>
                    <a:gd name="T17" fmla="*/ 84 h 752"/>
                    <a:gd name="T18" fmla="*/ 170 w 235"/>
                    <a:gd name="T19" fmla="*/ 177 h 752"/>
                    <a:gd name="T20" fmla="*/ 157 w 235"/>
                    <a:gd name="T21" fmla="*/ 285 h 752"/>
                    <a:gd name="T22" fmla="*/ 131 w 235"/>
                    <a:gd name="T23" fmla="*/ 352 h 752"/>
                    <a:gd name="T24" fmla="*/ 122 w 235"/>
                    <a:gd name="T25" fmla="*/ 446 h 752"/>
                    <a:gd name="T26" fmla="*/ 145 w 235"/>
                    <a:gd name="T27" fmla="*/ 459 h 752"/>
                    <a:gd name="T28" fmla="*/ 132 w 235"/>
                    <a:gd name="T29" fmla="*/ 498 h 752"/>
                    <a:gd name="T30" fmla="*/ 131 w 235"/>
                    <a:gd name="T31" fmla="*/ 531 h 752"/>
                    <a:gd name="T32" fmla="*/ 111 w 235"/>
                    <a:gd name="T33" fmla="*/ 543 h 752"/>
                    <a:gd name="T34" fmla="*/ 118 w 235"/>
                    <a:gd name="T35" fmla="*/ 559 h 752"/>
                    <a:gd name="T36" fmla="*/ 123 w 235"/>
                    <a:gd name="T37" fmla="*/ 586 h 752"/>
                    <a:gd name="T38" fmla="*/ 120 w 235"/>
                    <a:gd name="T39" fmla="*/ 608 h 752"/>
                    <a:gd name="T40" fmla="*/ 114 w 235"/>
                    <a:gd name="T41" fmla="*/ 628 h 752"/>
                    <a:gd name="T42" fmla="*/ 122 w 235"/>
                    <a:gd name="T43" fmla="*/ 648 h 752"/>
                    <a:gd name="T44" fmla="*/ 131 w 235"/>
                    <a:gd name="T45" fmla="*/ 664 h 752"/>
                    <a:gd name="T46" fmla="*/ 152 w 235"/>
                    <a:gd name="T47" fmla="*/ 686 h 752"/>
                    <a:gd name="T48" fmla="*/ 157 w 235"/>
                    <a:gd name="T49" fmla="*/ 693 h 752"/>
                    <a:gd name="T50" fmla="*/ 172 w 235"/>
                    <a:gd name="T51" fmla="*/ 696 h 752"/>
                    <a:gd name="T52" fmla="*/ 0 w 235"/>
                    <a:gd name="T53" fmla="*/ 292 h 752"/>
                    <a:gd name="T54" fmla="*/ 122 w 235"/>
                    <a:gd name="T55" fmla="*/ 479 h 752"/>
                    <a:gd name="T56" fmla="*/ 132 w 235"/>
                    <a:gd name="T57" fmla="*/ 506 h 752"/>
                    <a:gd name="T58" fmla="*/ 116 w 235"/>
                    <a:gd name="T59" fmla="*/ 513 h 752"/>
                    <a:gd name="T60" fmla="*/ 120 w 235"/>
                    <a:gd name="T61" fmla="*/ 495 h 752"/>
                    <a:gd name="T62" fmla="*/ 119 w 235"/>
                    <a:gd name="T63" fmla="*/ 519 h 752"/>
                    <a:gd name="T64" fmla="*/ 117 w 235"/>
                    <a:gd name="T65" fmla="*/ 528 h 752"/>
                    <a:gd name="T66" fmla="*/ 121 w 235"/>
                    <a:gd name="T67" fmla="*/ 545 h 752"/>
                    <a:gd name="T68" fmla="*/ 90 w 235"/>
                    <a:gd name="T69" fmla="*/ 552 h 752"/>
                    <a:gd name="T70" fmla="*/ 113 w 235"/>
                    <a:gd name="T71" fmla="*/ 579 h 752"/>
                    <a:gd name="T72" fmla="*/ 107 w 235"/>
                    <a:gd name="T73" fmla="*/ 592 h 752"/>
                    <a:gd name="T74" fmla="*/ 93 w 235"/>
                    <a:gd name="T75" fmla="*/ 584 h 752"/>
                    <a:gd name="T76" fmla="*/ 108 w 235"/>
                    <a:gd name="T77" fmla="*/ 603 h 752"/>
                    <a:gd name="T78" fmla="*/ 96 w 235"/>
                    <a:gd name="T79" fmla="*/ 611 h 752"/>
                    <a:gd name="T80" fmla="*/ 93 w 235"/>
                    <a:gd name="T81" fmla="*/ 609 h 752"/>
                    <a:gd name="T82" fmla="*/ 94 w 235"/>
                    <a:gd name="T83" fmla="*/ 622 h 752"/>
                    <a:gd name="T84" fmla="*/ 106 w 235"/>
                    <a:gd name="T85" fmla="*/ 646 h 752"/>
                    <a:gd name="T86" fmla="*/ 93 w 235"/>
                    <a:gd name="T87" fmla="*/ 637 h 752"/>
                    <a:gd name="T88" fmla="*/ 120 w 235"/>
                    <a:gd name="T89" fmla="*/ 660 h 752"/>
                    <a:gd name="T90" fmla="*/ 103 w 235"/>
                    <a:gd name="T91" fmla="*/ 666 h 752"/>
                    <a:gd name="T92" fmla="*/ 125 w 235"/>
                    <a:gd name="T93" fmla="*/ 679 h 752"/>
                    <a:gd name="T94" fmla="*/ 125 w 235"/>
                    <a:gd name="T95" fmla="*/ 674 h 752"/>
                    <a:gd name="T96" fmla="*/ 135 w 235"/>
                    <a:gd name="T97" fmla="*/ 689 h 752"/>
                    <a:gd name="T98" fmla="*/ 139 w 235"/>
                    <a:gd name="T99" fmla="*/ 705 h 752"/>
                    <a:gd name="T100" fmla="*/ 108 w 235"/>
                    <a:gd name="T101" fmla="*/ 692 h 752"/>
                    <a:gd name="T102" fmla="*/ 123 w 235"/>
                    <a:gd name="T103" fmla="*/ 698 h 752"/>
                    <a:gd name="T104" fmla="*/ 130 w 235"/>
                    <a:gd name="T105" fmla="*/ 713 h 752"/>
                    <a:gd name="T106" fmla="*/ 122 w 235"/>
                    <a:gd name="T107" fmla="*/ 706 h 752"/>
                    <a:gd name="T108" fmla="*/ 146 w 235"/>
                    <a:gd name="T109" fmla="*/ 721 h 752"/>
                    <a:gd name="T110" fmla="*/ 160 w 235"/>
                    <a:gd name="T111" fmla="*/ 721 h 752"/>
                    <a:gd name="T112" fmla="*/ 176 w 235"/>
                    <a:gd name="T113" fmla="*/ 708 h 752"/>
                    <a:gd name="T114" fmla="*/ 159 w 235"/>
                    <a:gd name="T115" fmla="*/ 729 h 752"/>
                    <a:gd name="T116" fmla="*/ 208 w 235"/>
                    <a:gd name="T117" fmla="*/ 748 h 752"/>
                    <a:gd name="T118" fmla="*/ 203 w 235"/>
                    <a:gd name="T119" fmla="*/ 744 h 752"/>
                    <a:gd name="T120" fmla="*/ 190 w 235"/>
                    <a:gd name="T121" fmla="*/ 738 h 752"/>
                    <a:gd name="T122" fmla="*/ 174 w 235"/>
                    <a:gd name="T123" fmla="*/ 74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5" h="752">
                      <a:moveTo>
                        <a:pt x="209" y="679"/>
                      </a:moveTo>
                      <a:cubicBezTo>
                        <a:pt x="204" y="676"/>
                        <a:pt x="198" y="674"/>
                        <a:pt x="192" y="673"/>
                      </a:cubicBezTo>
                      <a:cubicBezTo>
                        <a:pt x="186" y="672"/>
                        <a:pt x="179" y="672"/>
                        <a:pt x="173" y="672"/>
                      </a:cubicBezTo>
                      <a:cubicBezTo>
                        <a:pt x="167" y="672"/>
                        <a:pt x="161" y="673"/>
                        <a:pt x="155" y="671"/>
                      </a:cubicBezTo>
                      <a:cubicBezTo>
                        <a:pt x="152" y="671"/>
                        <a:pt x="151" y="669"/>
                        <a:pt x="149" y="667"/>
                      </a:cubicBezTo>
                      <a:cubicBezTo>
                        <a:pt x="147" y="665"/>
                        <a:pt x="145" y="664"/>
                        <a:pt x="145" y="660"/>
                      </a:cubicBezTo>
                      <a:cubicBezTo>
                        <a:pt x="145" y="658"/>
                        <a:pt x="147" y="656"/>
                        <a:pt x="145" y="653"/>
                      </a:cubicBezTo>
                      <a:cubicBezTo>
                        <a:pt x="144" y="651"/>
                        <a:pt x="143" y="649"/>
                        <a:pt x="145" y="647"/>
                      </a:cubicBezTo>
                      <a:cubicBezTo>
                        <a:pt x="146" y="645"/>
                        <a:pt x="146" y="643"/>
                        <a:pt x="144" y="642"/>
                      </a:cubicBezTo>
                      <a:cubicBezTo>
                        <a:pt x="141" y="640"/>
                        <a:pt x="140" y="642"/>
                        <a:pt x="137" y="643"/>
                      </a:cubicBezTo>
                      <a:cubicBezTo>
                        <a:pt x="135" y="644"/>
                        <a:pt x="132" y="645"/>
                        <a:pt x="130" y="644"/>
                      </a:cubicBezTo>
                      <a:cubicBezTo>
                        <a:pt x="128" y="643"/>
                        <a:pt x="130" y="639"/>
                        <a:pt x="130" y="637"/>
                      </a:cubicBezTo>
                      <a:cubicBezTo>
                        <a:pt x="130" y="636"/>
                        <a:pt x="129" y="634"/>
                        <a:pt x="129" y="634"/>
                      </a:cubicBezTo>
                      <a:cubicBezTo>
                        <a:pt x="128" y="633"/>
                        <a:pt x="127" y="633"/>
                        <a:pt x="126" y="632"/>
                      </a:cubicBezTo>
                      <a:cubicBezTo>
                        <a:pt x="125" y="630"/>
                        <a:pt x="125" y="628"/>
                        <a:pt x="125" y="625"/>
                      </a:cubicBezTo>
                      <a:cubicBezTo>
                        <a:pt x="125" y="623"/>
                        <a:pt x="125" y="620"/>
                        <a:pt x="125" y="617"/>
                      </a:cubicBezTo>
                      <a:cubicBezTo>
                        <a:pt x="126" y="615"/>
                        <a:pt x="126" y="611"/>
                        <a:pt x="128" y="610"/>
                      </a:cubicBezTo>
                      <a:cubicBezTo>
                        <a:pt x="133" y="608"/>
                        <a:pt x="137" y="605"/>
                        <a:pt x="140" y="600"/>
                      </a:cubicBezTo>
                      <a:cubicBezTo>
                        <a:pt x="141" y="598"/>
                        <a:pt x="141" y="595"/>
                        <a:pt x="141" y="593"/>
                      </a:cubicBezTo>
                      <a:cubicBezTo>
                        <a:pt x="142" y="592"/>
                        <a:pt x="142" y="591"/>
                        <a:pt x="143" y="590"/>
                      </a:cubicBezTo>
                      <a:cubicBezTo>
                        <a:pt x="144" y="589"/>
                        <a:pt x="145" y="588"/>
                        <a:pt x="145" y="587"/>
                      </a:cubicBezTo>
                      <a:cubicBezTo>
                        <a:pt x="145" y="584"/>
                        <a:pt x="143" y="582"/>
                        <a:pt x="142" y="579"/>
                      </a:cubicBezTo>
                      <a:cubicBezTo>
                        <a:pt x="142" y="578"/>
                        <a:pt x="142" y="577"/>
                        <a:pt x="143" y="576"/>
                      </a:cubicBezTo>
                      <a:cubicBezTo>
                        <a:pt x="143" y="574"/>
                        <a:pt x="143" y="573"/>
                        <a:pt x="144" y="572"/>
                      </a:cubicBezTo>
                      <a:cubicBezTo>
                        <a:pt x="144" y="570"/>
                        <a:pt x="147" y="569"/>
                        <a:pt x="149" y="568"/>
                      </a:cubicBezTo>
                      <a:cubicBezTo>
                        <a:pt x="150" y="567"/>
                        <a:pt x="151" y="567"/>
                        <a:pt x="152" y="566"/>
                      </a:cubicBezTo>
                      <a:cubicBezTo>
                        <a:pt x="153" y="565"/>
                        <a:pt x="152" y="564"/>
                        <a:pt x="152" y="564"/>
                      </a:cubicBezTo>
                      <a:cubicBezTo>
                        <a:pt x="152" y="561"/>
                        <a:pt x="151" y="559"/>
                        <a:pt x="153" y="557"/>
                      </a:cubicBezTo>
                      <a:cubicBezTo>
                        <a:pt x="155" y="556"/>
                        <a:pt x="157" y="555"/>
                        <a:pt x="155" y="552"/>
                      </a:cubicBezTo>
                      <a:cubicBezTo>
                        <a:pt x="154" y="549"/>
                        <a:pt x="154" y="546"/>
                        <a:pt x="154" y="544"/>
                      </a:cubicBezTo>
                      <a:cubicBezTo>
                        <a:pt x="154" y="541"/>
                        <a:pt x="157" y="540"/>
                        <a:pt x="156" y="537"/>
                      </a:cubicBezTo>
                      <a:cubicBezTo>
                        <a:pt x="156" y="535"/>
                        <a:pt x="154" y="532"/>
                        <a:pt x="156" y="530"/>
                      </a:cubicBezTo>
                      <a:cubicBezTo>
                        <a:pt x="158" y="528"/>
                        <a:pt x="161" y="527"/>
                        <a:pt x="161" y="525"/>
                      </a:cubicBezTo>
                      <a:cubicBezTo>
                        <a:pt x="161" y="522"/>
                        <a:pt x="159" y="521"/>
                        <a:pt x="157" y="520"/>
                      </a:cubicBezTo>
                      <a:cubicBezTo>
                        <a:pt x="155" y="519"/>
                        <a:pt x="152" y="518"/>
                        <a:pt x="151" y="516"/>
                      </a:cubicBezTo>
                      <a:cubicBezTo>
                        <a:pt x="149" y="514"/>
                        <a:pt x="151" y="512"/>
                        <a:pt x="153" y="512"/>
                      </a:cubicBezTo>
                      <a:cubicBezTo>
                        <a:pt x="156" y="512"/>
                        <a:pt x="159" y="513"/>
                        <a:pt x="161" y="513"/>
                      </a:cubicBezTo>
                      <a:cubicBezTo>
                        <a:pt x="162" y="513"/>
                        <a:pt x="163" y="512"/>
                        <a:pt x="164" y="511"/>
                      </a:cubicBezTo>
                      <a:cubicBezTo>
                        <a:pt x="164" y="511"/>
                        <a:pt x="165" y="509"/>
                        <a:pt x="165" y="508"/>
                      </a:cubicBezTo>
                      <a:cubicBezTo>
                        <a:pt x="164" y="506"/>
                        <a:pt x="160" y="507"/>
                        <a:pt x="158" y="507"/>
                      </a:cubicBezTo>
                      <a:cubicBezTo>
                        <a:pt x="156" y="507"/>
                        <a:pt x="154" y="507"/>
                        <a:pt x="154" y="504"/>
                      </a:cubicBezTo>
                      <a:cubicBezTo>
                        <a:pt x="154" y="501"/>
                        <a:pt x="155" y="499"/>
                        <a:pt x="156" y="496"/>
                      </a:cubicBezTo>
                      <a:cubicBezTo>
                        <a:pt x="156" y="494"/>
                        <a:pt x="155" y="491"/>
                        <a:pt x="154" y="489"/>
                      </a:cubicBezTo>
                      <a:cubicBezTo>
                        <a:pt x="154" y="488"/>
                        <a:pt x="153" y="487"/>
                        <a:pt x="153" y="485"/>
                      </a:cubicBezTo>
                      <a:cubicBezTo>
                        <a:pt x="153" y="484"/>
                        <a:pt x="153" y="483"/>
                        <a:pt x="154" y="482"/>
                      </a:cubicBezTo>
                      <a:cubicBezTo>
                        <a:pt x="155" y="482"/>
                        <a:pt x="155" y="481"/>
                        <a:pt x="155" y="481"/>
                      </a:cubicBezTo>
                      <a:cubicBezTo>
                        <a:pt x="154" y="480"/>
                        <a:pt x="153" y="479"/>
                        <a:pt x="152" y="479"/>
                      </a:cubicBezTo>
                      <a:cubicBezTo>
                        <a:pt x="149" y="477"/>
                        <a:pt x="149" y="474"/>
                        <a:pt x="149" y="471"/>
                      </a:cubicBezTo>
                      <a:cubicBezTo>
                        <a:pt x="149" y="468"/>
                        <a:pt x="149" y="465"/>
                        <a:pt x="149" y="463"/>
                      </a:cubicBezTo>
                      <a:cubicBezTo>
                        <a:pt x="149" y="460"/>
                        <a:pt x="151" y="459"/>
                        <a:pt x="153" y="458"/>
                      </a:cubicBezTo>
                      <a:cubicBezTo>
                        <a:pt x="156" y="457"/>
                        <a:pt x="154" y="455"/>
                        <a:pt x="154" y="453"/>
                      </a:cubicBezTo>
                      <a:cubicBezTo>
                        <a:pt x="153" y="452"/>
                        <a:pt x="152" y="451"/>
                        <a:pt x="152" y="449"/>
                      </a:cubicBezTo>
                      <a:cubicBezTo>
                        <a:pt x="152" y="448"/>
                        <a:pt x="152" y="447"/>
                        <a:pt x="153" y="445"/>
                      </a:cubicBezTo>
                      <a:cubicBezTo>
                        <a:pt x="153" y="442"/>
                        <a:pt x="153" y="439"/>
                        <a:pt x="153" y="437"/>
                      </a:cubicBezTo>
                      <a:cubicBezTo>
                        <a:pt x="153" y="434"/>
                        <a:pt x="152" y="430"/>
                        <a:pt x="153" y="427"/>
                      </a:cubicBezTo>
                      <a:cubicBezTo>
                        <a:pt x="154" y="426"/>
                        <a:pt x="155" y="425"/>
                        <a:pt x="155" y="424"/>
                      </a:cubicBezTo>
                      <a:cubicBezTo>
                        <a:pt x="156" y="423"/>
                        <a:pt x="156" y="423"/>
                        <a:pt x="155" y="421"/>
                      </a:cubicBezTo>
                      <a:cubicBezTo>
                        <a:pt x="155" y="420"/>
                        <a:pt x="155" y="419"/>
                        <a:pt x="155" y="418"/>
                      </a:cubicBezTo>
                      <a:cubicBezTo>
                        <a:pt x="155" y="416"/>
                        <a:pt x="156" y="416"/>
                        <a:pt x="157" y="414"/>
                      </a:cubicBezTo>
                      <a:cubicBezTo>
                        <a:pt x="157" y="412"/>
                        <a:pt x="157" y="410"/>
                        <a:pt x="158" y="408"/>
                      </a:cubicBezTo>
                      <a:cubicBezTo>
                        <a:pt x="159" y="406"/>
                        <a:pt x="159" y="405"/>
                        <a:pt x="160" y="404"/>
                      </a:cubicBezTo>
                      <a:cubicBezTo>
                        <a:pt x="160" y="402"/>
                        <a:pt x="160" y="401"/>
                        <a:pt x="160" y="399"/>
                      </a:cubicBezTo>
                      <a:cubicBezTo>
                        <a:pt x="160" y="397"/>
                        <a:pt x="161" y="394"/>
                        <a:pt x="162" y="392"/>
                      </a:cubicBezTo>
                      <a:cubicBezTo>
                        <a:pt x="164" y="391"/>
                        <a:pt x="166" y="390"/>
                        <a:pt x="167" y="390"/>
                      </a:cubicBezTo>
                      <a:cubicBezTo>
                        <a:pt x="168" y="389"/>
                        <a:pt x="169" y="389"/>
                        <a:pt x="169" y="388"/>
                      </a:cubicBezTo>
                      <a:cubicBezTo>
                        <a:pt x="170" y="388"/>
                        <a:pt x="169" y="386"/>
                        <a:pt x="169" y="385"/>
                      </a:cubicBezTo>
                      <a:cubicBezTo>
                        <a:pt x="168" y="382"/>
                        <a:pt x="167" y="379"/>
                        <a:pt x="167" y="375"/>
                      </a:cubicBezTo>
                      <a:cubicBezTo>
                        <a:pt x="165" y="369"/>
                        <a:pt x="165" y="363"/>
                        <a:pt x="166" y="357"/>
                      </a:cubicBezTo>
                      <a:cubicBezTo>
                        <a:pt x="166" y="354"/>
                        <a:pt x="167" y="351"/>
                        <a:pt x="167" y="348"/>
                      </a:cubicBezTo>
                      <a:cubicBezTo>
                        <a:pt x="168" y="345"/>
                        <a:pt x="170" y="344"/>
                        <a:pt x="173" y="344"/>
                      </a:cubicBezTo>
                      <a:cubicBezTo>
                        <a:pt x="175" y="344"/>
                        <a:pt x="174" y="341"/>
                        <a:pt x="176" y="339"/>
                      </a:cubicBezTo>
                      <a:cubicBezTo>
                        <a:pt x="178" y="338"/>
                        <a:pt x="178" y="335"/>
                        <a:pt x="178" y="333"/>
                      </a:cubicBezTo>
                      <a:cubicBezTo>
                        <a:pt x="178" y="330"/>
                        <a:pt x="177" y="327"/>
                        <a:pt x="177" y="324"/>
                      </a:cubicBezTo>
                      <a:cubicBezTo>
                        <a:pt x="176" y="321"/>
                        <a:pt x="178" y="319"/>
                        <a:pt x="179" y="316"/>
                      </a:cubicBezTo>
                      <a:cubicBezTo>
                        <a:pt x="180" y="314"/>
                        <a:pt x="180" y="311"/>
                        <a:pt x="181" y="308"/>
                      </a:cubicBezTo>
                      <a:cubicBezTo>
                        <a:pt x="182" y="307"/>
                        <a:pt x="183" y="306"/>
                        <a:pt x="184" y="305"/>
                      </a:cubicBezTo>
                      <a:cubicBezTo>
                        <a:pt x="185" y="303"/>
                        <a:pt x="186" y="303"/>
                        <a:pt x="187" y="302"/>
                      </a:cubicBezTo>
                      <a:cubicBezTo>
                        <a:pt x="188" y="302"/>
                        <a:pt x="187" y="299"/>
                        <a:pt x="187" y="298"/>
                      </a:cubicBezTo>
                      <a:cubicBezTo>
                        <a:pt x="187" y="295"/>
                        <a:pt x="188" y="293"/>
                        <a:pt x="188" y="290"/>
                      </a:cubicBezTo>
                      <a:cubicBezTo>
                        <a:pt x="188" y="287"/>
                        <a:pt x="186" y="285"/>
                        <a:pt x="185" y="283"/>
                      </a:cubicBezTo>
                      <a:cubicBezTo>
                        <a:pt x="184" y="282"/>
                        <a:pt x="183" y="282"/>
                        <a:pt x="183" y="280"/>
                      </a:cubicBezTo>
                      <a:cubicBezTo>
                        <a:pt x="183" y="279"/>
                        <a:pt x="184" y="278"/>
                        <a:pt x="184" y="276"/>
                      </a:cubicBezTo>
                      <a:cubicBezTo>
                        <a:pt x="184" y="274"/>
                        <a:pt x="183" y="271"/>
                        <a:pt x="182" y="269"/>
                      </a:cubicBezTo>
                      <a:cubicBezTo>
                        <a:pt x="181" y="267"/>
                        <a:pt x="179" y="265"/>
                        <a:pt x="179" y="262"/>
                      </a:cubicBezTo>
                      <a:cubicBezTo>
                        <a:pt x="179" y="260"/>
                        <a:pt x="180" y="260"/>
                        <a:pt x="180" y="259"/>
                      </a:cubicBezTo>
                      <a:cubicBezTo>
                        <a:pt x="180" y="258"/>
                        <a:pt x="180" y="256"/>
                        <a:pt x="179" y="256"/>
                      </a:cubicBezTo>
                      <a:cubicBezTo>
                        <a:pt x="178" y="254"/>
                        <a:pt x="175" y="251"/>
                        <a:pt x="175" y="249"/>
                      </a:cubicBezTo>
                      <a:cubicBezTo>
                        <a:pt x="175" y="247"/>
                        <a:pt x="177" y="244"/>
                        <a:pt x="179" y="242"/>
                      </a:cubicBezTo>
                      <a:cubicBezTo>
                        <a:pt x="180" y="241"/>
                        <a:pt x="181" y="241"/>
                        <a:pt x="181" y="240"/>
                      </a:cubicBezTo>
                      <a:cubicBezTo>
                        <a:pt x="181" y="238"/>
                        <a:pt x="180" y="237"/>
                        <a:pt x="180" y="235"/>
                      </a:cubicBezTo>
                      <a:cubicBezTo>
                        <a:pt x="180" y="232"/>
                        <a:pt x="182" y="231"/>
                        <a:pt x="184" y="229"/>
                      </a:cubicBezTo>
                      <a:cubicBezTo>
                        <a:pt x="185" y="228"/>
                        <a:pt x="186" y="227"/>
                        <a:pt x="187" y="226"/>
                      </a:cubicBezTo>
                      <a:cubicBezTo>
                        <a:pt x="187" y="225"/>
                        <a:pt x="186" y="223"/>
                        <a:pt x="186" y="222"/>
                      </a:cubicBezTo>
                      <a:cubicBezTo>
                        <a:pt x="186" y="220"/>
                        <a:pt x="186" y="218"/>
                        <a:pt x="186" y="216"/>
                      </a:cubicBezTo>
                      <a:cubicBezTo>
                        <a:pt x="185" y="213"/>
                        <a:pt x="184" y="211"/>
                        <a:pt x="185" y="209"/>
                      </a:cubicBezTo>
                      <a:cubicBezTo>
                        <a:pt x="185" y="206"/>
                        <a:pt x="186" y="204"/>
                        <a:pt x="187" y="202"/>
                      </a:cubicBezTo>
                      <a:cubicBezTo>
                        <a:pt x="188" y="199"/>
                        <a:pt x="189" y="197"/>
                        <a:pt x="190" y="195"/>
                      </a:cubicBezTo>
                      <a:cubicBezTo>
                        <a:pt x="191" y="190"/>
                        <a:pt x="194" y="188"/>
                        <a:pt x="197" y="184"/>
                      </a:cubicBezTo>
                      <a:cubicBezTo>
                        <a:pt x="200" y="181"/>
                        <a:pt x="201" y="176"/>
                        <a:pt x="204" y="172"/>
                      </a:cubicBezTo>
                      <a:cubicBezTo>
                        <a:pt x="205" y="171"/>
                        <a:pt x="206" y="169"/>
                        <a:pt x="207" y="168"/>
                      </a:cubicBezTo>
                      <a:cubicBezTo>
                        <a:pt x="209" y="168"/>
                        <a:pt x="211" y="169"/>
                        <a:pt x="212" y="167"/>
                      </a:cubicBezTo>
                      <a:cubicBezTo>
                        <a:pt x="213" y="166"/>
                        <a:pt x="212" y="164"/>
                        <a:pt x="211" y="162"/>
                      </a:cubicBezTo>
                      <a:cubicBezTo>
                        <a:pt x="210" y="160"/>
                        <a:pt x="209" y="158"/>
                        <a:pt x="209" y="156"/>
                      </a:cubicBezTo>
                      <a:cubicBezTo>
                        <a:pt x="209" y="152"/>
                        <a:pt x="209" y="146"/>
                        <a:pt x="209" y="142"/>
                      </a:cubicBezTo>
                      <a:cubicBezTo>
                        <a:pt x="209" y="139"/>
                        <a:pt x="209" y="137"/>
                        <a:pt x="210" y="135"/>
                      </a:cubicBezTo>
                      <a:cubicBezTo>
                        <a:pt x="210" y="134"/>
                        <a:pt x="212" y="132"/>
                        <a:pt x="212" y="132"/>
                      </a:cubicBezTo>
                      <a:cubicBezTo>
                        <a:pt x="211" y="130"/>
                        <a:pt x="210" y="127"/>
                        <a:pt x="211" y="125"/>
                      </a:cubicBezTo>
                      <a:cubicBezTo>
                        <a:pt x="211" y="122"/>
                        <a:pt x="213" y="121"/>
                        <a:pt x="216" y="119"/>
                      </a:cubicBezTo>
                      <a:cubicBezTo>
                        <a:pt x="218" y="118"/>
                        <a:pt x="221" y="116"/>
                        <a:pt x="223" y="115"/>
                      </a:cubicBezTo>
                      <a:cubicBezTo>
                        <a:pt x="225" y="114"/>
                        <a:pt x="228" y="114"/>
                        <a:pt x="230" y="113"/>
                      </a:cubicBezTo>
                      <a:cubicBezTo>
                        <a:pt x="231" y="112"/>
                        <a:pt x="231" y="111"/>
                        <a:pt x="231" y="109"/>
                      </a:cubicBezTo>
                      <a:cubicBezTo>
                        <a:pt x="231" y="108"/>
                        <a:pt x="232" y="107"/>
                        <a:pt x="232" y="105"/>
                      </a:cubicBezTo>
                      <a:cubicBezTo>
                        <a:pt x="233" y="102"/>
                        <a:pt x="234" y="99"/>
                        <a:pt x="234" y="96"/>
                      </a:cubicBezTo>
                      <a:cubicBezTo>
                        <a:pt x="235" y="95"/>
                        <a:pt x="235" y="94"/>
                        <a:pt x="234" y="93"/>
                      </a:cubicBezTo>
                      <a:cubicBezTo>
                        <a:pt x="234" y="92"/>
                        <a:pt x="232" y="93"/>
                        <a:pt x="231" y="93"/>
                      </a:cubicBezTo>
                      <a:cubicBezTo>
                        <a:pt x="229" y="92"/>
                        <a:pt x="226" y="92"/>
                        <a:pt x="224" y="91"/>
                      </a:cubicBezTo>
                      <a:cubicBezTo>
                        <a:pt x="221" y="90"/>
                        <a:pt x="221" y="88"/>
                        <a:pt x="221" y="85"/>
                      </a:cubicBezTo>
                      <a:cubicBezTo>
                        <a:pt x="221" y="82"/>
                        <a:pt x="220" y="79"/>
                        <a:pt x="219" y="76"/>
                      </a:cubicBezTo>
                      <a:cubicBezTo>
                        <a:pt x="218" y="74"/>
                        <a:pt x="217" y="71"/>
                        <a:pt x="216" y="68"/>
                      </a:cubicBezTo>
                      <a:cubicBezTo>
                        <a:pt x="216" y="65"/>
                        <a:pt x="215" y="63"/>
                        <a:pt x="213" y="61"/>
                      </a:cubicBezTo>
                      <a:cubicBezTo>
                        <a:pt x="211" y="59"/>
                        <a:pt x="210" y="58"/>
                        <a:pt x="210" y="55"/>
                      </a:cubicBezTo>
                      <a:cubicBezTo>
                        <a:pt x="211" y="52"/>
                        <a:pt x="208" y="51"/>
                        <a:pt x="207" y="48"/>
                      </a:cubicBezTo>
                      <a:cubicBezTo>
                        <a:pt x="205" y="46"/>
                        <a:pt x="206" y="44"/>
                        <a:pt x="207" y="42"/>
                      </a:cubicBezTo>
                      <a:cubicBezTo>
                        <a:pt x="208" y="41"/>
                        <a:pt x="208" y="40"/>
                        <a:pt x="208" y="38"/>
                      </a:cubicBezTo>
                      <a:cubicBezTo>
                        <a:pt x="207" y="37"/>
                        <a:pt x="208" y="35"/>
                        <a:pt x="209" y="34"/>
                      </a:cubicBezTo>
                      <a:cubicBezTo>
                        <a:pt x="210" y="31"/>
                        <a:pt x="210" y="29"/>
                        <a:pt x="208" y="27"/>
                      </a:cubicBezTo>
                      <a:cubicBezTo>
                        <a:pt x="206" y="26"/>
                        <a:pt x="204" y="24"/>
                        <a:pt x="203" y="21"/>
                      </a:cubicBezTo>
                      <a:cubicBezTo>
                        <a:pt x="202" y="18"/>
                        <a:pt x="201" y="15"/>
                        <a:pt x="201" y="13"/>
                      </a:cubicBezTo>
                      <a:cubicBezTo>
                        <a:pt x="201" y="10"/>
                        <a:pt x="201" y="7"/>
                        <a:pt x="198" y="6"/>
                      </a:cubicBezTo>
                      <a:cubicBezTo>
                        <a:pt x="196" y="5"/>
                        <a:pt x="195" y="4"/>
                        <a:pt x="194" y="1"/>
                      </a:cubicBezTo>
                      <a:cubicBezTo>
                        <a:pt x="193" y="1"/>
                        <a:pt x="193" y="0"/>
                        <a:pt x="193" y="0"/>
                      </a:cubicBezTo>
                      <a:cubicBezTo>
                        <a:pt x="192" y="0"/>
                        <a:pt x="192" y="0"/>
                        <a:pt x="191" y="0"/>
                      </a:cubicBezTo>
                      <a:cubicBezTo>
                        <a:pt x="190" y="1"/>
                        <a:pt x="189" y="1"/>
                        <a:pt x="189" y="2"/>
                      </a:cubicBezTo>
                      <a:cubicBezTo>
                        <a:pt x="189" y="5"/>
                        <a:pt x="189" y="8"/>
                        <a:pt x="188" y="10"/>
                      </a:cubicBezTo>
                      <a:cubicBezTo>
                        <a:pt x="186" y="12"/>
                        <a:pt x="183" y="13"/>
                        <a:pt x="181" y="13"/>
                      </a:cubicBezTo>
                      <a:cubicBezTo>
                        <a:pt x="180" y="14"/>
                        <a:pt x="179" y="13"/>
                        <a:pt x="180" y="14"/>
                      </a:cubicBezTo>
                      <a:cubicBezTo>
                        <a:pt x="180" y="15"/>
                        <a:pt x="180" y="16"/>
                        <a:pt x="180" y="16"/>
                      </a:cubicBezTo>
                      <a:cubicBezTo>
                        <a:pt x="180" y="18"/>
                        <a:pt x="180" y="19"/>
                        <a:pt x="180" y="21"/>
                      </a:cubicBezTo>
                      <a:cubicBezTo>
                        <a:pt x="181" y="24"/>
                        <a:pt x="181" y="27"/>
                        <a:pt x="181" y="30"/>
                      </a:cubicBezTo>
                      <a:cubicBezTo>
                        <a:pt x="183" y="36"/>
                        <a:pt x="184" y="43"/>
                        <a:pt x="184" y="49"/>
                      </a:cubicBezTo>
                      <a:cubicBezTo>
                        <a:pt x="184" y="52"/>
                        <a:pt x="184" y="55"/>
                        <a:pt x="184" y="58"/>
                      </a:cubicBezTo>
                      <a:cubicBezTo>
                        <a:pt x="185" y="61"/>
                        <a:pt x="185" y="64"/>
                        <a:pt x="185" y="67"/>
                      </a:cubicBezTo>
                      <a:cubicBezTo>
                        <a:pt x="184" y="70"/>
                        <a:pt x="184" y="73"/>
                        <a:pt x="183" y="76"/>
                      </a:cubicBezTo>
                      <a:cubicBezTo>
                        <a:pt x="182" y="79"/>
                        <a:pt x="181" y="81"/>
                        <a:pt x="181" y="84"/>
                      </a:cubicBezTo>
                      <a:cubicBezTo>
                        <a:pt x="181" y="88"/>
                        <a:pt x="182" y="92"/>
                        <a:pt x="178" y="95"/>
                      </a:cubicBezTo>
                      <a:cubicBezTo>
                        <a:pt x="176" y="97"/>
                        <a:pt x="175" y="99"/>
                        <a:pt x="175" y="101"/>
                      </a:cubicBezTo>
                      <a:cubicBezTo>
                        <a:pt x="176" y="103"/>
                        <a:pt x="176" y="104"/>
                        <a:pt x="177" y="105"/>
                      </a:cubicBezTo>
                      <a:cubicBezTo>
                        <a:pt x="177" y="107"/>
                        <a:pt x="177" y="108"/>
                        <a:pt x="177" y="110"/>
                      </a:cubicBezTo>
                      <a:cubicBezTo>
                        <a:pt x="177" y="113"/>
                        <a:pt x="176" y="116"/>
                        <a:pt x="176" y="118"/>
                      </a:cubicBezTo>
                      <a:cubicBezTo>
                        <a:pt x="175" y="121"/>
                        <a:pt x="175" y="125"/>
                        <a:pt x="176" y="127"/>
                      </a:cubicBezTo>
                      <a:cubicBezTo>
                        <a:pt x="178" y="129"/>
                        <a:pt x="179" y="131"/>
                        <a:pt x="178" y="134"/>
                      </a:cubicBezTo>
                      <a:cubicBezTo>
                        <a:pt x="178" y="135"/>
                        <a:pt x="178" y="136"/>
                        <a:pt x="178" y="138"/>
                      </a:cubicBezTo>
                      <a:cubicBezTo>
                        <a:pt x="177" y="139"/>
                        <a:pt x="176" y="140"/>
                        <a:pt x="176" y="142"/>
                      </a:cubicBezTo>
                      <a:cubicBezTo>
                        <a:pt x="174" y="144"/>
                        <a:pt x="175" y="146"/>
                        <a:pt x="176" y="149"/>
                      </a:cubicBezTo>
                      <a:cubicBezTo>
                        <a:pt x="176" y="150"/>
                        <a:pt x="176" y="151"/>
                        <a:pt x="176" y="152"/>
                      </a:cubicBezTo>
                      <a:cubicBezTo>
                        <a:pt x="176" y="154"/>
                        <a:pt x="175" y="154"/>
                        <a:pt x="174" y="155"/>
                      </a:cubicBezTo>
                      <a:cubicBezTo>
                        <a:pt x="172" y="158"/>
                        <a:pt x="173" y="160"/>
                        <a:pt x="173" y="163"/>
                      </a:cubicBezTo>
                      <a:cubicBezTo>
                        <a:pt x="172" y="165"/>
                        <a:pt x="171" y="166"/>
                        <a:pt x="170" y="168"/>
                      </a:cubicBezTo>
                      <a:cubicBezTo>
                        <a:pt x="168" y="170"/>
                        <a:pt x="169" y="171"/>
                        <a:pt x="169" y="173"/>
                      </a:cubicBezTo>
                      <a:cubicBezTo>
                        <a:pt x="170" y="175"/>
                        <a:pt x="170" y="176"/>
                        <a:pt x="170" y="177"/>
                      </a:cubicBezTo>
                      <a:cubicBezTo>
                        <a:pt x="169" y="179"/>
                        <a:pt x="168" y="180"/>
                        <a:pt x="168" y="182"/>
                      </a:cubicBezTo>
                      <a:cubicBezTo>
                        <a:pt x="167" y="184"/>
                        <a:pt x="167" y="187"/>
                        <a:pt x="167" y="190"/>
                      </a:cubicBezTo>
                      <a:cubicBezTo>
                        <a:pt x="166" y="193"/>
                        <a:pt x="165" y="195"/>
                        <a:pt x="163" y="198"/>
                      </a:cubicBezTo>
                      <a:cubicBezTo>
                        <a:pt x="162" y="200"/>
                        <a:pt x="160" y="202"/>
                        <a:pt x="160" y="204"/>
                      </a:cubicBezTo>
                      <a:cubicBezTo>
                        <a:pt x="160" y="207"/>
                        <a:pt x="161" y="209"/>
                        <a:pt x="163" y="211"/>
                      </a:cubicBezTo>
                      <a:cubicBezTo>
                        <a:pt x="165" y="215"/>
                        <a:pt x="165" y="222"/>
                        <a:pt x="162" y="226"/>
                      </a:cubicBezTo>
                      <a:cubicBezTo>
                        <a:pt x="160" y="228"/>
                        <a:pt x="158" y="229"/>
                        <a:pt x="158" y="232"/>
                      </a:cubicBezTo>
                      <a:cubicBezTo>
                        <a:pt x="157" y="235"/>
                        <a:pt x="157" y="238"/>
                        <a:pt x="158" y="241"/>
                      </a:cubicBezTo>
                      <a:cubicBezTo>
                        <a:pt x="158" y="244"/>
                        <a:pt x="158" y="246"/>
                        <a:pt x="158" y="249"/>
                      </a:cubicBezTo>
                      <a:cubicBezTo>
                        <a:pt x="158" y="253"/>
                        <a:pt x="159" y="256"/>
                        <a:pt x="159" y="259"/>
                      </a:cubicBezTo>
                      <a:cubicBezTo>
                        <a:pt x="159" y="260"/>
                        <a:pt x="159" y="261"/>
                        <a:pt x="159" y="262"/>
                      </a:cubicBezTo>
                      <a:cubicBezTo>
                        <a:pt x="159" y="263"/>
                        <a:pt x="159" y="264"/>
                        <a:pt x="160" y="265"/>
                      </a:cubicBezTo>
                      <a:cubicBezTo>
                        <a:pt x="161" y="265"/>
                        <a:pt x="162" y="266"/>
                        <a:pt x="162" y="267"/>
                      </a:cubicBezTo>
                      <a:cubicBezTo>
                        <a:pt x="162" y="268"/>
                        <a:pt x="162" y="270"/>
                        <a:pt x="161" y="271"/>
                      </a:cubicBezTo>
                      <a:cubicBezTo>
                        <a:pt x="161" y="274"/>
                        <a:pt x="160" y="275"/>
                        <a:pt x="158" y="277"/>
                      </a:cubicBezTo>
                      <a:cubicBezTo>
                        <a:pt x="156" y="280"/>
                        <a:pt x="157" y="282"/>
                        <a:pt x="157" y="285"/>
                      </a:cubicBezTo>
                      <a:cubicBezTo>
                        <a:pt x="158" y="287"/>
                        <a:pt x="158" y="290"/>
                        <a:pt x="157" y="293"/>
                      </a:cubicBezTo>
                      <a:cubicBezTo>
                        <a:pt x="156" y="295"/>
                        <a:pt x="154" y="297"/>
                        <a:pt x="153" y="299"/>
                      </a:cubicBezTo>
                      <a:cubicBezTo>
                        <a:pt x="152" y="300"/>
                        <a:pt x="151" y="301"/>
                        <a:pt x="151" y="302"/>
                      </a:cubicBezTo>
                      <a:cubicBezTo>
                        <a:pt x="151" y="303"/>
                        <a:pt x="152" y="304"/>
                        <a:pt x="152" y="305"/>
                      </a:cubicBezTo>
                      <a:cubicBezTo>
                        <a:pt x="152" y="307"/>
                        <a:pt x="151" y="307"/>
                        <a:pt x="150" y="308"/>
                      </a:cubicBezTo>
                      <a:cubicBezTo>
                        <a:pt x="150" y="310"/>
                        <a:pt x="150" y="312"/>
                        <a:pt x="149" y="313"/>
                      </a:cubicBezTo>
                      <a:cubicBezTo>
                        <a:pt x="149" y="316"/>
                        <a:pt x="148" y="319"/>
                        <a:pt x="147" y="321"/>
                      </a:cubicBezTo>
                      <a:cubicBezTo>
                        <a:pt x="146" y="322"/>
                        <a:pt x="145" y="323"/>
                        <a:pt x="144" y="324"/>
                      </a:cubicBezTo>
                      <a:cubicBezTo>
                        <a:pt x="144" y="325"/>
                        <a:pt x="142" y="326"/>
                        <a:pt x="142" y="328"/>
                      </a:cubicBezTo>
                      <a:cubicBezTo>
                        <a:pt x="141" y="329"/>
                        <a:pt x="142" y="330"/>
                        <a:pt x="142" y="331"/>
                      </a:cubicBezTo>
                      <a:cubicBezTo>
                        <a:pt x="142" y="333"/>
                        <a:pt x="141" y="334"/>
                        <a:pt x="140" y="335"/>
                      </a:cubicBezTo>
                      <a:cubicBezTo>
                        <a:pt x="140" y="336"/>
                        <a:pt x="139" y="337"/>
                        <a:pt x="138" y="338"/>
                      </a:cubicBezTo>
                      <a:cubicBezTo>
                        <a:pt x="137" y="339"/>
                        <a:pt x="137" y="340"/>
                        <a:pt x="137" y="342"/>
                      </a:cubicBezTo>
                      <a:cubicBezTo>
                        <a:pt x="137" y="344"/>
                        <a:pt x="136" y="347"/>
                        <a:pt x="135" y="349"/>
                      </a:cubicBezTo>
                      <a:cubicBezTo>
                        <a:pt x="135" y="350"/>
                        <a:pt x="134" y="350"/>
                        <a:pt x="133" y="351"/>
                      </a:cubicBezTo>
                      <a:cubicBezTo>
                        <a:pt x="133" y="351"/>
                        <a:pt x="132" y="351"/>
                        <a:pt x="131" y="352"/>
                      </a:cubicBezTo>
                      <a:cubicBezTo>
                        <a:pt x="130" y="354"/>
                        <a:pt x="132" y="356"/>
                        <a:pt x="132" y="358"/>
                      </a:cubicBezTo>
                      <a:cubicBezTo>
                        <a:pt x="131" y="360"/>
                        <a:pt x="128" y="359"/>
                        <a:pt x="126" y="359"/>
                      </a:cubicBezTo>
                      <a:cubicBezTo>
                        <a:pt x="124" y="360"/>
                        <a:pt x="123" y="362"/>
                        <a:pt x="123" y="363"/>
                      </a:cubicBezTo>
                      <a:cubicBezTo>
                        <a:pt x="123" y="366"/>
                        <a:pt x="123" y="368"/>
                        <a:pt x="124" y="370"/>
                      </a:cubicBezTo>
                      <a:cubicBezTo>
                        <a:pt x="124" y="372"/>
                        <a:pt x="127" y="373"/>
                        <a:pt x="127" y="376"/>
                      </a:cubicBezTo>
                      <a:cubicBezTo>
                        <a:pt x="127" y="377"/>
                        <a:pt x="126" y="378"/>
                        <a:pt x="126" y="379"/>
                      </a:cubicBezTo>
                      <a:cubicBezTo>
                        <a:pt x="126" y="381"/>
                        <a:pt x="126" y="382"/>
                        <a:pt x="126" y="384"/>
                      </a:cubicBezTo>
                      <a:cubicBezTo>
                        <a:pt x="126" y="390"/>
                        <a:pt x="129" y="394"/>
                        <a:pt x="131" y="400"/>
                      </a:cubicBezTo>
                      <a:cubicBezTo>
                        <a:pt x="131" y="403"/>
                        <a:pt x="130" y="405"/>
                        <a:pt x="130" y="408"/>
                      </a:cubicBezTo>
                      <a:cubicBezTo>
                        <a:pt x="129" y="410"/>
                        <a:pt x="130" y="414"/>
                        <a:pt x="127" y="413"/>
                      </a:cubicBezTo>
                      <a:cubicBezTo>
                        <a:pt x="125" y="413"/>
                        <a:pt x="124" y="416"/>
                        <a:pt x="123" y="417"/>
                      </a:cubicBezTo>
                      <a:cubicBezTo>
                        <a:pt x="123" y="420"/>
                        <a:pt x="122" y="422"/>
                        <a:pt x="121" y="424"/>
                      </a:cubicBezTo>
                      <a:cubicBezTo>
                        <a:pt x="121" y="426"/>
                        <a:pt x="121" y="427"/>
                        <a:pt x="121" y="429"/>
                      </a:cubicBezTo>
                      <a:cubicBezTo>
                        <a:pt x="121" y="430"/>
                        <a:pt x="120" y="431"/>
                        <a:pt x="120" y="432"/>
                      </a:cubicBezTo>
                      <a:cubicBezTo>
                        <a:pt x="118" y="435"/>
                        <a:pt x="120" y="437"/>
                        <a:pt x="120" y="440"/>
                      </a:cubicBezTo>
                      <a:cubicBezTo>
                        <a:pt x="121" y="442"/>
                        <a:pt x="120" y="444"/>
                        <a:pt x="122" y="446"/>
                      </a:cubicBezTo>
                      <a:cubicBezTo>
                        <a:pt x="122" y="447"/>
                        <a:pt x="123" y="447"/>
                        <a:pt x="124" y="447"/>
                      </a:cubicBezTo>
                      <a:cubicBezTo>
                        <a:pt x="125" y="447"/>
                        <a:pt x="127" y="446"/>
                        <a:pt x="126" y="447"/>
                      </a:cubicBezTo>
                      <a:cubicBezTo>
                        <a:pt x="126" y="448"/>
                        <a:pt x="122" y="450"/>
                        <a:pt x="125" y="451"/>
                      </a:cubicBezTo>
                      <a:cubicBezTo>
                        <a:pt x="125" y="452"/>
                        <a:pt x="127" y="451"/>
                        <a:pt x="128" y="451"/>
                      </a:cubicBezTo>
                      <a:cubicBezTo>
                        <a:pt x="129" y="451"/>
                        <a:pt x="130" y="451"/>
                        <a:pt x="131" y="451"/>
                      </a:cubicBezTo>
                      <a:cubicBezTo>
                        <a:pt x="133" y="451"/>
                        <a:pt x="134" y="450"/>
                        <a:pt x="133" y="448"/>
                      </a:cubicBezTo>
                      <a:cubicBezTo>
                        <a:pt x="133" y="447"/>
                        <a:pt x="133" y="446"/>
                        <a:pt x="134" y="446"/>
                      </a:cubicBezTo>
                      <a:cubicBezTo>
                        <a:pt x="135" y="447"/>
                        <a:pt x="136" y="447"/>
                        <a:pt x="138" y="447"/>
                      </a:cubicBezTo>
                      <a:cubicBezTo>
                        <a:pt x="139" y="447"/>
                        <a:pt x="139" y="448"/>
                        <a:pt x="140" y="449"/>
                      </a:cubicBezTo>
                      <a:cubicBezTo>
                        <a:pt x="141" y="449"/>
                        <a:pt x="143" y="449"/>
                        <a:pt x="144" y="448"/>
                      </a:cubicBezTo>
                      <a:cubicBezTo>
                        <a:pt x="146" y="448"/>
                        <a:pt x="145" y="445"/>
                        <a:pt x="146" y="443"/>
                      </a:cubicBezTo>
                      <a:cubicBezTo>
                        <a:pt x="147" y="443"/>
                        <a:pt x="147" y="446"/>
                        <a:pt x="147" y="446"/>
                      </a:cubicBezTo>
                      <a:cubicBezTo>
                        <a:pt x="147" y="449"/>
                        <a:pt x="146" y="450"/>
                        <a:pt x="143" y="451"/>
                      </a:cubicBezTo>
                      <a:cubicBezTo>
                        <a:pt x="142" y="452"/>
                        <a:pt x="139" y="452"/>
                        <a:pt x="139" y="454"/>
                      </a:cubicBezTo>
                      <a:cubicBezTo>
                        <a:pt x="138" y="456"/>
                        <a:pt x="143" y="455"/>
                        <a:pt x="145" y="456"/>
                      </a:cubicBezTo>
                      <a:cubicBezTo>
                        <a:pt x="145" y="457"/>
                        <a:pt x="145" y="458"/>
                        <a:pt x="145" y="459"/>
                      </a:cubicBezTo>
                      <a:cubicBezTo>
                        <a:pt x="145" y="460"/>
                        <a:pt x="145" y="461"/>
                        <a:pt x="145" y="462"/>
                      </a:cubicBezTo>
                      <a:cubicBezTo>
                        <a:pt x="145" y="462"/>
                        <a:pt x="146" y="464"/>
                        <a:pt x="145" y="465"/>
                      </a:cubicBezTo>
                      <a:cubicBezTo>
                        <a:pt x="144" y="465"/>
                        <a:pt x="143" y="464"/>
                        <a:pt x="143" y="463"/>
                      </a:cubicBezTo>
                      <a:cubicBezTo>
                        <a:pt x="142" y="462"/>
                        <a:pt x="143" y="461"/>
                        <a:pt x="141" y="461"/>
                      </a:cubicBezTo>
                      <a:cubicBezTo>
                        <a:pt x="140" y="461"/>
                        <a:pt x="140" y="462"/>
                        <a:pt x="140" y="463"/>
                      </a:cubicBezTo>
                      <a:cubicBezTo>
                        <a:pt x="140" y="465"/>
                        <a:pt x="142" y="465"/>
                        <a:pt x="143" y="467"/>
                      </a:cubicBezTo>
                      <a:cubicBezTo>
                        <a:pt x="143" y="468"/>
                        <a:pt x="143" y="468"/>
                        <a:pt x="142" y="468"/>
                      </a:cubicBezTo>
                      <a:cubicBezTo>
                        <a:pt x="141" y="468"/>
                        <a:pt x="141" y="468"/>
                        <a:pt x="141" y="467"/>
                      </a:cubicBezTo>
                      <a:cubicBezTo>
                        <a:pt x="138" y="466"/>
                        <a:pt x="138" y="471"/>
                        <a:pt x="139" y="472"/>
                      </a:cubicBezTo>
                      <a:cubicBezTo>
                        <a:pt x="139" y="473"/>
                        <a:pt x="140" y="477"/>
                        <a:pt x="138" y="477"/>
                      </a:cubicBezTo>
                      <a:cubicBezTo>
                        <a:pt x="137" y="477"/>
                        <a:pt x="137" y="479"/>
                        <a:pt x="136" y="479"/>
                      </a:cubicBezTo>
                      <a:cubicBezTo>
                        <a:pt x="136" y="481"/>
                        <a:pt x="136" y="482"/>
                        <a:pt x="135" y="482"/>
                      </a:cubicBezTo>
                      <a:cubicBezTo>
                        <a:pt x="134" y="484"/>
                        <a:pt x="134" y="487"/>
                        <a:pt x="135" y="488"/>
                      </a:cubicBezTo>
                      <a:cubicBezTo>
                        <a:pt x="136" y="489"/>
                        <a:pt x="139" y="493"/>
                        <a:pt x="136" y="494"/>
                      </a:cubicBezTo>
                      <a:cubicBezTo>
                        <a:pt x="135" y="494"/>
                        <a:pt x="135" y="495"/>
                        <a:pt x="134" y="496"/>
                      </a:cubicBezTo>
                      <a:cubicBezTo>
                        <a:pt x="134" y="497"/>
                        <a:pt x="133" y="498"/>
                        <a:pt x="132" y="498"/>
                      </a:cubicBezTo>
                      <a:cubicBezTo>
                        <a:pt x="130" y="500"/>
                        <a:pt x="131" y="502"/>
                        <a:pt x="134" y="502"/>
                      </a:cubicBezTo>
                      <a:cubicBezTo>
                        <a:pt x="135" y="503"/>
                        <a:pt x="136" y="503"/>
                        <a:pt x="137" y="504"/>
                      </a:cubicBezTo>
                      <a:cubicBezTo>
                        <a:pt x="137" y="505"/>
                        <a:pt x="138" y="505"/>
                        <a:pt x="139" y="505"/>
                      </a:cubicBezTo>
                      <a:cubicBezTo>
                        <a:pt x="141" y="506"/>
                        <a:pt x="143" y="508"/>
                        <a:pt x="142" y="510"/>
                      </a:cubicBezTo>
                      <a:cubicBezTo>
                        <a:pt x="141" y="512"/>
                        <a:pt x="140" y="514"/>
                        <a:pt x="137" y="515"/>
                      </a:cubicBezTo>
                      <a:cubicBezTo>
                        <a:pt x="136" y="516"/>
                        <a:pt x="135" y="516"/>
                        <a:pt x="134" y="517"/>
                      </a:cubicBezTo>
                      <a:cubicBezTo>
                        <a:pt x="133" y="517"/>
                        <a:pt x="131" y="517"/>
                        <a:pt x="130" y="518"/>
                      </a:cubicBezTo>
                      <a:cubicBezTo>
                        <a:pt x="128" y="520"/>
                        <a:pt x="130" y="522"/>
                        <a:pt x="132" y="524"/>
                      </a:cubicBezTo>
                      <a:cubicBezTo>
                        <a:pt x="133" y="524"/>
                        <a:pt x="134" y="525"/>
                        <a:pt x="135" y="525"/>
                      </a:cubicBezTo>
                      <a:cubicBezTo>
                        <a:pt x="136" y="526"/>
                        <a:pt x="137" y="526"/>
                        <a:pt x="138" y="527"/>
                      </a:cubicBezTo>
                      <a:cubicBezTo>
                        <a:pt x="139" y="528"/>
                        <a:pt x="137" y="529"/>
                        <a:pt x="137" y="529"/>
                      </a:cubicBezTo>
                      <a:cubicBezTo>
                        <a:pt x="136" y="529"/>
                        <a:pt x="134" y="528"/>
                        <a:pt x="134" y="528"/>
                      </a:cubicBezTo>
                      <a:cubicBezTo>
                        <a:pt x="133" y="528"/>
                        <a:pt x="132" y="526"/>
                        <a:pt x="132" y="526"/>
                      </a:cubicBezTo>
                      <a:cubicBezTo>
                        <a:pt x="130" y="525"/>
                        <a:pt x="129" y="527"/>
                        <a:pt x="129" y="528"/>
                      </a:cubicBezTo>
                      <a:cubicBezTo>
                        <a:pt x="128" y="528"/>
                        <a:pt x="127" y="530"/>
                        <a:pt x="128" y="531"/>
                      </a:cubicBezTo>
                      <a:cubicBezTo>
                        <a:pt x="129" y="531"/>
                        <a:pt x="130" y="531"/>
                        <a:pt x="131" y="531"/>
                      </a:cubicBezTo>
                      <a:cubicBezTo>
                        <a:pt x="132" y="531"/>
                        <a:pt x="133" y="532"/>
                        <a:pt x="132" y="533"/>
                      </a:cubicBezTo>
                      <a:cubicBezTo>
                        <a:pt x="132" y="534"/>
                        <a:pt x="129" y="534"/>
                        <a:pt x="129" y="534"/>
                      </a:cubicBezTo>
                      <a:cubicBezTo>
                        <a:pt x="128" y="535"/>
                        <a:pt x="127" y="536"/>
                        <a:pt x="126" y="537"/>
                      </a:cubicBezTo>
                      <a:cubicBezTo>
                        <a:pt x="126" y="538"/>
                        <a:pt x="125" y="538"/>
                        <a:pt x="124" y="539"/>
                      </a:cubicBezTo>
                      <a:cubicBezTo>
                        <a:pt x="124" y="540"/>
                        <a:pt x="124" y="541"/>
                        <a:pt x="124" y="542"/>
                      </a:cubicBezTo>
                      <a:cubicBezTo>
                        <a:pt x="125" y="543"/>
                        <a:pt x="126" y="544"/>
                        <a:pt x="127" y="545"/>
                      </a:cubicBezTo>
                      <a:cubicBezTo>
                        <a:pt x="128" y="547"/>
                        <a:pt x="126" y="548"/>
                        <a:pt x="124" y="549"/>
                      </a:cubicBezTo>
                      <a:cubicBezTo>
                        <a:pt x="123" y="549"/>
                        <a:pt x="122" y="549"/>
                        <a:pt x="122" y="550"/>
                      </a:cubicBezTo>
                      <a:cubicBezTo>
                        <a:pt x="121" y="551"/>
                        <a:pt x="122" y="552"/>
                        <a:pt x="121" y="552"/>
                      </a:cubicBezTo>
                      <a:cubicBezTo>
                        <a:pt x="119" y="553"/>
                        <a:pt x="117" y="552"/>
                        <a:pt x="118" y="550"/>
                      </a:cubicBezTo>
                      <a:cubicBezTo>
                        <a:pt x="119" y="550"/>
                        <a:pt x="121" y="548"/>
                        <a:pt x="119" y="547"/>
                      </a:cubicBezTo>
                      <a:cubicBezTo>
                        <a:pt x="118" y="547"/>
                        <a:pt x="117" y="547"/>
                        <a:pt x="116" y="547"/>
                      </a:cubicBezTo>
                      <a:cubicBezTo>
                        <a:pt x="116" y="547"/>
                        <a:pt x="116" y="546"/>
                        <a:pt x="116" y="546"/>
                      </a:cubicBezTo>
                      <a:cubicBezTo>
                        <a:pt x="116" y="545"/>
                        <a:pt x="112" y="546"/>
                        <a:pt x="111" y="545"/>
                      </a:cubicBezTo>
                      <a:cubicBezTo>
                        <a:pt x="111" y="545"/>
                        <a:pt x="109" y="545"/>
                        <a:pt x="110" y="544"/>
                      </a:cubicBezTo>
                      <a:cubicBezTo>
                        <a:pt x="110" y="543"/>
                        <a:pt x="110" y="543"/>
                        <a:pt x="111" y="543"/>
                      </a:cubicBezTo>
                      <a:cubicBezTo>
                        <a:pt x="112" y="543"/>
                        <a:pt x="112" y="543"/>
                        <a:pt x="113" y="543"/>
                      </a:cubicBezTo>
                      <a:cubicBezTo>
                        <a:pt x="114" y="544"/>
                        <a:pt x="115" y="542"/>
                        <a:pt x="115" y="541"/>
                      </a:cubicBezTo>
                      <a:cubicBezTo>
                        <a:pt x="115" y="540"/>
                        <a:pt x="116" y="536"/>
                        <a:pt x="114" y="536"/>
                      </a:cubicBezTo>
                      <a:cubicBezTo>
                        <a:pt x="113" y="536"/>
                        <a:pt x="112" y="536"/>
                        <a:pt x="111" y="537"/>
                      </a:cubicBezTo>
                      <a:cubicBezTo>
                        <a:pt x="111" y="538"/>
                        <a:pt x="112" y="539"/>
                        <a:pt x="111" y="540"/>
                      </a:cubicBezTo>
                      <a:cubicBezTo>
                        <a:pt x="111" y="542"/>
                        <a:pt x="109" y="541"/>
                        <a:pt x="109" y="540"/>
                      </a:cubicBezTo>
                      <a:cubicBezTo>
                        <a:pt x="109" y="539"/>
                        <a:pt x="109" y="538"/>
                        <a:pt x="108" y="537"/>
                      </a:cubicBezTo>
                      <a:cubicBezTo>
                        <a:pt x="108" y="537"/>
                        <a:pt x="106" y="537"/>
                        <a:pt x="106" y="538"/>
                      </a:cubicBezTo>
                      <a:cubicBezTo>
                        <a:pt x="105" y="540"/>
                        <a:pt x="107" y="542"/>
                        <a:pt x="105" y="544"/>
                      </a:cubicBezTo>
                      <a:cubicBezTo>
                        <a:pt x="105" y="545"/>
                        <a:pt x="100" y="543"/>
                        <a:pt x="100" y="546"/>
                      </a:cubicBezTo>
                      <a:cubicBezTo>
                        <a:pt x="101" y="547"/>
                        <a:pt x="101" y="548"/>
                        <a:pt x="101" y="549"/>
                      </a:cubicBezTo>
                      <a:cubicBezTo>
                        <a:pt x="101" y="550"/>
                        <a:pt x="101" y="551"/>
                        <a:pt x="101" y="553"/>
                      </a:cubicBezTo>
                      <a:cubicBezTo>
                        <a:pt x="101" y="555"/>
                        <a:pt x="103" y="557"/>
                        <a:pt x="106" y="556"/>
                      </a:cubicBezTo>
                      <a:cubicBezTo>
                        <a:pt x="108" y="556"/>
                        <a:pt x="110" y="553"/>
                        <a:pt x="112" y="555"/>
                      </a:cubicBezTo>
                      <a:cubicBezTo>
                        <a:pt x="113" y="555"/>
                        <a:pt x="114" y="556"/>
                        <a:pt x="115" y="557"/>
                      </a:cubicBezTo>
                      <a:cubicBezTo>
                        <a:pt x="116" y="558"/>
                        <a:pt x="117" y="559"/>
                        <a:pt x="118" y="559"/>
                      </a:cubicBezTo>
                      <a:cubicBezTo>
                        <a:pt x="120" y="561"/>
                        <a:pt x="119" y="563"/>
                        <a:pt x="119" y="565"/>
                      </a:cubicBezTo>
                      <a:cubicBezTo>
                        <a:pt x="119" y="567"/>
                        <a:pt x="116" y="569"/>
                        <a:pt x="114" y="567"/>
                      </a:cubicBezTo>
                      <a:cubicBezTo>
                        <a:pt x="114" y="566"/>
                        <a:pt x="113" y="567"/>
                        <a:pt x="112" y="567"/>
                      </a:cubicBezTo>
                      <a:cubicBezTo>
                        <a:pt x="111" y="568"/>
                        <a:pt x="111" y="569"/>
                        <a:pt x="111" y="570"/>
                      </a:cubicBezTo>
                      <a:cubicBezTo>
                        <a:pt x="111" y="573"/>
                        <a:pt x="113" y="572"/>
                        <a:pt x="115" y="573"/>
                      </a:cubicBezTo>
                      <a:cubicBezTo>
                        <a:pt x="117" y="573"/>
                        <a:pt x="118" y="574"/>
                        <a:pt x="116" y="575"/>
                      </a:cubicBezTo>
                      <a:cubicBezTo>
                        <a:pt x="114" y="577"/>
                        <a:pt x="117" y="578"/>
                        <a:pt x="119" y="578"/>
                      </a:cubicBezTo>
                      <a:cubicBezTo>
                        <a:pt x="121" y="578"/>
                        <a:pt x="122" y="577"/>
                        <a:pt x="122" y="575"/>
                      </a:cubicBezTo>
                      <a:cubicBezTo>
                        <a:pt x="122" y="575"/>
                        <a:pt x="123" y="572"/>
                        <a:pt x="124" y="574"/>
                      </a:cubicBezTo>
                      <a:cubicBezTo>
                        <a:pt x="125" y="576"/>
                        <a:pt x="124" y="578"/>
                        <a:pt x="126" y="580"/>
                      </a:cubicBezTo>
                      <a:cubicBezTo>
                        <a:pt x="127" y="580"/>
                        <a:pt x="128" y="580"/>
                        <a:pt x="129" y="581"/>
                      </a:cubicBezTo>
                      <a:cubicBezTo>
                        <a:pt x="130" y="581"/>
                        <a:pt x="131" y="581"/>
                        <a:pt x="131" y="582"/>
                      </a:cubicBezTo>
                      <a:cubicBezTo>
                        <a:pt x="132" y="585"/>
                        <a:pt x="128" y="582"/>
                        <a:pt x="127" y="584"/>
                      </a:cubicBezTo>
                      <a:cubicBezTo>
                        <a:pt x="127" y="585"/>
                        <a:pt x="129" y="585"/>
                        <a:pt x="129" y="585"/>
                      </a:cubicBezTo>
                      <a:cubicBezTo>
                        <a:pt x="130" y="586"/>
                        <a:pt x="128" y="587"/>
                        <a:pt x="128" y="587"/>
                      </a:cubicBezTo>
                      <a:cubicBezTo>
                        <a:pt x="126" y="588"/>
                        <a:pt x="124" y="588"/>
                        <a:pt x="123" y="586"/>
                      </a:cubicBezTo>
                      <a:cubicBezTo>
                        <a:pt x="123" y="585"/>
                        <a:pt x="122" y="585"/>
                        <a:pt x="121" y="585"/>
                      </a:cubicBezTo>
                      <a:cubicBezTo>
                        <a:pt x="120" y="585"/>
                        <a:pt x="119" y="584"/>
                        <a:pt x="118" y="584"/>
                      </a:cubicBezTo>
                      <a:cubicBezTo>
                        <a:pt x="116" y="583"/>
                        <a:pt x="115" y="584"/>
                        <a:pt x="115" y="587"/>
                      </a:cubicBezTo>
                      <a:cubicBezTo>
                        <a:pt x="115" y="589"/>
                        <a:pt x="117" y="590"/>
                        <a:pt x="119" y="591"/>
                      </a:cubicBezTo>
                      <a:cubicBezTo>
                        <a:pt x="121" y="591"/>
                        <a:pt x="119" y="594"/>
                        <a:pt x="119" y="595"/>
                      </a:cubicBezTo>
                      <a:cubicBezTo>
                        <a:pt x="117" y="596"/>
                        <a:pt x="116" y="593"/>
                        <a:pt x="115" y="593"/>
                      </a:cubicBezTo>
                      <a:cubicBezTo>
                        <a:pt x="113" y="592"/>
                        <a:pt x="111" y="595"/>
                        <a:pt x="112" y="596"/>
                      </a:cubicBezTo>
                      <a:cubicBezTo>
                        <a:pt x="113" y="597"/>
                        <a:pt x="116" y="598"/>
                        <a:pt x="116" y="599"/>
                      </a:cubicBezTo>
                      <a:cubicBezTo>
                        <a:pt x="115" y="600"/>
                        <a:pt x="113" y="600"/>
                        <a:pt x="111" y="601"/>
                      </a:cubicBezTo>
                      <a:cubicBezTo>
                        <a:pt x="109" y="602"/>
                        <a:pt x="111" y="606"/>
                        <a:pt x="112" y="607"/>
                      </a:cubicBezTo>
                      <a:cubicBezTo>
                        <a:pt x="112" y="609"/>
                        <a:pt x="111" y="614"/>
                        <a:pt x="113" y="613"/>
                      </a:cubicBezTo>
                      <a:cubicBezTo>
                        <a:pt x="114" y="613"/>
                        <a:pt x="115" y="612"/>
                        <a:pt x="115" y="611"/>
                      </a:cubicBezTo>
                      <a:cubicBezTo>
                        <a:pt x="115" y="609"/>
                        <a:pt x="115" y="609"/>
                        <a:pt x="115" y="607"/>
                      </a:cubicBezTo>
                      <a:cubicBezTo>
                        <a:pt x="116" y="606"/>
                        <a:pt x="116" y="603"/>
                        <a:pt x="118" y="604"/>
                      </a:cubicBezTo>
                      <a:cubicBezTo>
                        <a:pt x="119" y="604"/>
                        <a:pt x="120" y="604"/>
                        <a:pt x="120" y="605"/>
                      </a:cubicBezTo>
                      <a:cubicBezTo>
                        <a:pt x="121" y="606"/>
                        <a:pt x="119" y="607"/>
                        <a:pt x="120" y="608"/>
                      </a:cubicBezTo>
                      <a:cubicBezTo>
                        <a:pt x="120" y="609"/>
                        <a:pt x="121" y="610"/>
                        <a:pt x="121" y="611"/>
                      </a:cubicBezTo>
                      <a:cubicBezTo>
                        <a:pt x="121" y="611"/>
                        <a:pt x="119" y="611"/>
                        <a:pt x="119" y="612"/>
                      </a:cubicBezTo>
                      <a:cubicBezTo>
                        <a:pt x="119" y="612"/>
                        <a:pt x="118" y="613"/>
                        <a:pt x="119" y="614"/>
                      </a:cubicBezTo>
                      <a:cubicBezTo>
                        <a:pt x="119" y="615"/>
                        <a:pt x="120" y="615"/>
                        <a:pt x="121" y="615"/>
                      </a:cubicBezTo>
                      <a:cubicBezTo>
                        <a:pt x="122" y="617"/>
                        <a:pt x="123" y="619"/>
                        <a:pt x="121" y="620"/>
                      </a:cubicBezTo>
                      <a:cubicBezTo>
                        <a:pt x="119" y="621"/>
                        <a:pt x="119" y="618"/>
                        <a:pt x="118" y="617"/>
                      </a:cubicBezTo>
                      <a:cubicBezTo>
                        <a:pt x="116" y="616"/>
                        <a:pt x="114" y="619"/>
                        <a:pt x="116" y="620"/>
                      </a:cubicBezTo>
                      <a:cubicBezTo>
                        <a:pt x="117" y="620"/>
                        <a:pt x="116" y="621"/>
                        <a:pt x="115" y="621"/>
                      </a:cubicBezTo>
                      <a:cubicBezTo>
                        <a:pt x="114" y="621"/>
                        <a:pt x="113" y="622"/>
                        <a:pt x="113" y="623"/>
                      </a:cubicBezTo>
                      <a:cubicBezTo>
                        <a:pt x="113" y="624"/>
                        <a:pt x="116" y="624"/>
                        <a:pt x="117" y="624"/>
                      </a:cubicBezTo>
                      <a:cubicBezTo>
                        <a:pt x="118" y="624"/>
                        <a:pt x="118" y="624"/>
                        <a:pt x="119" y="623"/>
                      </a:cubicBezTo>
                      <a:cubicBezTo>
                        <a:pt x="120" y="623"/>
                        <a:pt x="119" y="625"/>
                        <a:pt x="119" y="625"/>
                      </a:cubicBezTo>
                      <a:cubicBezTo>
                        <a:pt x="119" y="626"/>
                        <a:pt x="123" y="628"/>
                        <a:pt x="120" y="629"/>
                      </a:cubicBezTo>
                      <a:cubicBezTo>
                        <a:pt x="119" y="629"/>
                        <a:pt x="117" y="629"/>
                        <a:pt x="116" y="628"/>
                      </a:cubicBezTo>
                      <a:cubicBezTo>
                        <a:pt x="116" y="627"/>
                        <a:pt x="116" y="626"/>
                        <a:pt x="114" y="626"/>
                      </a:cubicBezTo>
                      <a:cubicBezTo>
                        <a:pt x="113" y="627"/>
                        <a:pt x="114" y="628"/>
                        <a:pt x="114" y="628"/>
                      </a:cubicBezTo>
                      <a:cubicBezTo>
                        <a:pt x="116" y="631"/>
                        <a:pt x="117" y="630"/>
                        <a:pt x="119" y="631"/>
                      </a:cubicBezTo>
                      <a:cubicBezTo>
                        <a:pt x="121" y="632"/>
                        <a:pt x="122" y="633"/>
                        <a:pt x="119" y="633"/>
                      </a:cubicBezTo>
                      <a:cubicBezTo>
                        <a:pt x="119" y="634"/>
                        <a:pt x="117" y="633"/>
                        <a:pt x="116" y="633"/>
                      </a:cubicBezTo>
                      <a:cubicBezTo>
                        <a:pt x="115" y="633"/>
                        <a:pt x="114" y="633"/>
                        <a:pt x="113" y="632"/>
                      </a:cubicBezTo>
                      <a:cubicBezTo>
                        <a:pt x="112" y="630"/>
                        <a:pt x="112" y="628"/>
                        <a:pt x="110" y="630"/>
                      </a:cubicBezTo>
                      <a:cubicBezTo>
                        <a:pt x="108" y="632"/>
                        <a:pt x="111" y="633"/>
                        <a:pt x="113" y="634"/>
                      </a:cubicBezTo>
                      <a:cubicBezTo>
                        <a:pt x="115" y="635"/>
                        <a:pt x="116" y="634"/>
                        <a:pt x="117" y="635"/>
                      </a:cubicBezTo>
                      <a:cubicBezTo>
                        <a:pt x="119" y="635"/>
                        <a:pt x="118" y="636"/>
                        <a:pt x="119" y="637"/>
                      </a:cubicBezTo>
                      <a:cubicBezTo>
                        <a:pt x="120" y="637"/>
                        <a:pt x="121" y="637"/>
                        <a:pt x="122" y="637"/>
                      </a:cubicBezTo>
                      <a:cubicBezTo>
                        <a:pt x="123" y="637"/>
                        <a:pt x="123" y="635"/>
                        <a:pt x="124" y="635"/>
                      </a:cubicBezTo>
                      <a:cubicBezTo>
                        <a:pt x="125" y="635"/>
                        <a:pt x="126" y="636"/>
                        <a:pt x="126" y="636"/>
                      </a:cubicBezTo>
                      <a:cubicBezTo>
                        <a:pt x="126" y="637"/>
                        <a:pt x="125" y="637"/>
                        <a:pt x="125" y="638"/>
                      </a:cubicBezTo>
                      <a:cubicBezTo>
                        <a:pt x="125" y="639"/>
                        <a:pt x="126" y="640"/>
                        <a:pt x="127" y="640"/>
                      </a:cubicBezTo>
                      <a:cubicBezTo>
                        <a:pt x="128" y="641"/>
                        <a:pt x="126" y="641"/>
                        <a:pt x="125" y="641"/>
                      </a:cubicBezTo>
                      <a:cubicBezTo>
                        <a:pt x="123" y="642"/>
                        <a:pt x="123" y="644"/>
                        <a:pt x="123" y="646"/>
                      </a:cubicBezTo>
                      <a:cubicBezTo>
                        <a:pt x="123" y="647"/>
                        <a:pt x="122" y="648"/>
                        <a:pt x="122" y="648"/>
                      </a:cubicBezTo>
                      <a:cubicBezTo>
                        <a:pt x="121" y="649"/>
                        <a:pt x="119" y="649"/>
                        <a:pt x="119" y="648"/>
                      </a:cubicBezTo>
                      <a:cubicBezTo>
                        <a:pt x="118" y="647"/>
                        <a:pt x="118" y="646"/>
                        <a:pt x="118" y="646"/>
                      </a:cubicBezTo>
                      <a:cubicBezTo>
                        <a:pt x="117" y="646"/>
                        <a:pt x="116" y="646"/>
                        <a:pt x="115" y="647"/>
                      </a:cubicBezTo>
                      <a:cubicBezTo>
                        <a:pt x="114" y="648"/>
                        <a:pt x="115" y="651"/>
                        <a:pt x="116" y="651"/>
                      </a:cubicBezTo>
                      <a:cubicBezTo>
                        <a:pt x="117" y="651"/>
                        <a:pt x="118" y="651"/>
                        <a:pt x="119" y="652"/>
                      </a:cubicBezTo>
                      <a:cubicBezTo>
                        <a:pt x="120" y="652"/>
                        <a:pt x="120" y="653"/>
                        <a:pt x="121" y="652"/>
                      </a:cubicBezTo>
                      <a:cubicBezTo>
                        <a:pt x="122" y="652"/>
                        <a:pt x="122" y="652"/>
                        <a:pt x="123" y="652"/>
                      </a:cubicBezTo>
                      <a:cubicBezTo>
                        <a:pt x="124" y="652"/>
                        <a:pt x="123" y="655"/>
                        <a:pt x="124" y="656"/>
                      </a:cubicBezTo>
                      <a:cubicBezTo>
                        <a:pt x="124" y="657"/>
                        <a:pt x="125" y="658"/>
                        <a:pt x="124" y="659"/>
                      </a:cubicBezTo>
                      <a:cubicBezTo>
                        <a:pt x="124" y="660"/>
                        <a:pt x="124" y="661"/>
                        <a:pt x="125" y="662"/>
                      </a:cubicBezTo>
                      <a:cubicBezTo>
                        <a:pt x="125" y="663"/>
                        <a:pt x="126" y="663"/>
                        <a:pt x="127" y="664"/>
                      </a:cubicBezTo>
                      <a:cubicBezTo>
                        <a:pt x="127" y="665"/>
                        <a:pt x="126" y="666"/>
                        <a:pt x="126" y="667"/>
                      </a:cubicBezTo>
                      <a:cubicBezTo>
                        <a:pt x="125" y="669"/>
                        <a:pt x="128" y="670"/>
                        <a:pt x="129" y="671"/>
                      </a:cubicBezTo>
                      <a:cubicBezTo>
                        <a:pt x="130" y="671"/>
                        <a:pt x="131" y="671"/>
                        <a:pt x="132" y="670"/>
                      </a:cubicBezTo>
                      <a:cubicBezTo>
                        <a:pt x="132" y="669"/>
                        <a:pt x="133" y="667"/>
                        <a:pt x="132" y="666"/>
                      </a:cubicBezTo>
                      <a:cubicBezTo>
                        <a:pt x="132" y="666"/>
                        <a:pt x="131" y="665"/>
                        <a:pt x="131" y="664"/>
                      </a:cubicBezTo>
                      <a:cubicBezTo>
                        <a:pt x="130" y="663"/>
                        <a:pt x="131" y="663"/>
                        <a:pt x="132" y="663"/>
                      </a:cubicBezTo>
                      <a:cubicBezTo>
                        <a:pt x="133" y="663"/>
                        <a:pt x="134" y="663"/>
                        <a:pt x="135" y="664"/>
                      </a:cubicBezTo>
                      <a:cubicBezTo>
                        <a:pt x="136" y="664"/>
                        <a:pt x="136" y="665"/>
                        <a:pt x="137" y="666"/>
                      </a:cubicBezTo>
                      <a:cubicBezTo>
                        <a:pt x="139" y="667"/>
                        <a:pt x="141" y="666"/>
                        <a:pt x="139" y="664"/>
                      </a:cubicBezTo>
                      <a:cubicBezTo>
                        <a:pt x="138" y="664"/>
                        <a:pt x="137" y="663"/>
                        <a:pt x="136" y="662"/>
                      </a:cubicBezTo>
                      <a:cubicBezTo>
                        <a:pt x="134" y="662"/>
                        <a:pt x="133" y="662"/>
                        <a:pt x="132" y="661"/>
                      </a:cubicBezTo>
                      <a:cubicBezTo>
                        <a:pt x="129" y="659"/>
                        <a:pt x="132" y="657"/>
                        <a:pt x="135" y="658"/>
                      </a:cubicBezTo>
                      <a:cubicBezTo>
                        <a:pt x="137" y="659"/>
                        <a:pt x="140" y="661"/>
                        <a:pt x="141" y="663"/>
                      </a:cubicBezTo>
                      <a:cubicBezTo>
                        <a:pt x="142" y="665"/>
                        <a:pt x="145" y="666"/>
                        <a:pt x="144" y="668"/>
                      </a:cubicBezTo>
                      <a:cubicBezTo>
                        <a:pt x="144" y="669"/>
                        <a:pt x="143" y="670"/>
                        <a:pt x="143" y="671"/>
                      </a:cubicBezTo>
                      <a:cubicBezTo>
                        <a:pt x="142" y="672"/>
                        <a:pt x="143" y="673"/>
                        <a:pt x="143" y="674"/>
                      </a:cubicBezTo>
                      <a:cubicBezTo>
                        <a:pt x="146" y="679"/>
                        <a:pt x="141" y="680"/>
                        <a:pt x="138" y="682"/>
                      </a:cubicBezTo>
                      <a:cubicBezTo>
                        <a:pt x="138" y="682"/>
                        <a:pt x="138" y="683"/>
                        <a:pt x="138" y="683"/>
                      </a:cubicBezTo>
                      <a:cubicBezTo>
                        <a:pt x="139" y="684"/>
                        <a:pt x="140" y="684"/>
                        <a:pt x="141" y="684"/>
                      </a:cubicBezTo>
                      <a:cubicBezTo>
                        <a:pt x="142" y="683"/>
                        <a:pt x="145" y="681"/>
                        <a:pt x="146" y="684"/>
                      </a:cubicBezTo>
                      <a:cubicBezTo>
                        <a:pt x="146" y="686"/>
                        <a:pt x="150" y="686"/>
                        <a:pt x="152" y="686"/>
                      </a:cubicBezTo>
                      <a:cubicBezTo>
                        <a:pt x="155" y="686"/>
                        <a:pt x="158" y="684"/>
                        <a:pt x="161" y="685"/>
                      </a:cubicBezTo>
                      <a:cubicBezTo>
                        <a:pt x="163" y="686"/>
                        <a:pt x="159" y="687"/>
                        <a:pt x="158" y="687"/>
                      </a:cubicBezTo>
                      <a:cubicBezTo>
                        <a:pt x="157" y="687"/>
                        <a:pt x="155" y="688"/>
                        <a:pt x="154" y="687"/>
                      </a:cubicBezTo>
                      <a:cubicBezTo>
                        <a:pt x="153" y="687"/>
                        <a:pt x="151" y="687"/>
                        <a:pt x="150" y="687"/>
                      </a:cubicBezTo>
                      <a:cubicBezTo>
                        <a:pt x="149" y="687"/>
                        <a:pt x="148" y="687"/>
                        <a:pt x="147" y="688"/>
                      </a:cubicBezTo>
                      <a:cubicBezTo>
                        <a:pt x="147" y="689"/>
                        <a:pt x="146" y="690"/>
                        <a:pt x="145" y="691"/>
                      </a:cubicBezTo>
                      <a:cubicBezTo>
                        <a:pt x="144" y="691"/>
                        <a:pt x="143" y="691"/>
                        <a:pt x="142" y="691"/>
                      </a:cubicBezTo>
                      <a:cubicBezTo>
                        <a:pt x="141" y="691"/>
                        <a:pt x="140" y="691"/>
                        <a:pt x="138" y="691"/>
                      </a:cubicBezTo>
                      <a:cubicBezTo>
                        <a:pt x="137" y="691"/>
                        <a:pt x="138" y="696"/>
                        <a:pt x="138" y="697"/>
                      </a:cubicBezTo>
                      <a:cubicBezTo>
                        <a:pt x="138" y="698"/>
                        <a:pt x="142" y="703"/>
                        <a:pt x="143" y="700"/>
                      </a:cubicBezTo>
                      <a:cubicBezTo>
                        <a:pt x="143" y="699"/>
                        <a:pt x="144" y="700"/>
                        <a:pt x="144" y="699"/>
                      </a:cubicBezTo>
                      <a:cubicBezTo>
                        <a:pt x="144" y="698"/>
                        <a:pt x="144" y="697"/>
                        <a:pt x="144" y="697"/>
                      </a:cubicBezTo>
                      <a:cubicBezTo>
                        <a:pt x="145" y="696"/>
                        <a:pt x="146" y="696"/>
                        <a:pt x="147" y="696"/>
                      </a:cubicBezTo>
                      <a:cubicBezTo>
                        <a:pt x="148" y="696"/>
                        <a:pt x="150" y="696"/>
                        <a:pt x="151" y="696"/>
                      </a:cubicBezTo>
                      <a:cubicBezTo>
                        <a:pt x="152" y="696"/>
                        <a:pt x="154" y="696"/>
                        <a:pt x="155" y="695"/>
                      </a:cubicBezTo>
                      <a:cubicBezTo>
                        <a:pt x="156" y="695"/>
                        <a:pt x="156" y="694"/>
                        <a:pt x="157" y="693"/>
                      </a:cubicBezTo>
                      <a:cubicBezTo>
                        <a:pt x="159" y="692"/>
                        <a:pt x="162" y="691"/>
                        <a:pt x="164" y="691"/>
                      </a:cubicBezTo>
                      <a:cubicBezTo>
                        <a:pt x="165" y="691"/>
                        <a:pt x="166" y="691"/>
                        <a:pt x="166" y="692"/>
                      </a:cubicBezTo>
                      <a:cubicBezTo>
                        <a:pt x="166" y="692"/>
                        <a:pt x="165" y="693"/>
                        <a:pt x="165" y="694"/>
                      </a:cubicBezTo>
                      <a:cubicBezTo>
                        <a:pt x="165" y="695"/>
                        <a:pt x="164" y="695"/>
                        <a:pt x="163" y="696"/>
                      </a:cubicBezTo>
                      <a:cubicBezTo>
                        <a:pt x="162" y="697"/>
                        <a:pt x="162" y="698"/>
                        <a:pt x="160" y="698"/>
                      </a:cubicBezTo>
                      <a:cubicBezTo>
                        <a:pt x="158" y="698"/>
                        <a:pt x="157" y="700"/>
                        <a:pt x="156" y="702"/>
                      </a:cubicBezTo>
                      <a:cubicBezTo>
                        <a:pt x="156" y="703"/>
                        <a:pt x="155" y="706"/>
                        <a:pt x="154" y="706"/>
                      </a:cubicBezTo>
                      <a:cubicBezTo>
                        <a:pt x="154" y="707"/>
                        <a:pt x="153" y="706"/>
                        <a:pt x="153" y="705"/>
                      </a:cubicBezTo>
                      <a:cubicBezTo>
                        <a:pt x="153" y="704"/>
                        <a:pt x="154" y="704"/>
                        <a:pt x="154" y="703"/>
                      </a:cubicBezTo>
                      <a:cubicBezTo>
                        <a:pt x="155" y="702"/>
                        <a:pt x="153" y="699"/>
                        <a:pt x="153" y="701"/>
                      </a:cubicBezTo>
                      <a:cubicBezTo>
                        <a:pt x="152" y="702"/>
                        <a:pt x="152" y="703"/>
                        <a:pt x="150" y="703"/>
                      </a:cubicBezTo>
                      <a:cubicBezTo>
                        <a:pt x="149" y="704"/>
                        <a:pt x="147" y="704"/>
                        <a:pt x="147" y="705"/>
                      </a:cubicBezTo>
                      <a:cubicBezTo>
                        <a:pt x="146" y="708"/>
                        <a:pt x="153" y="710"/>
                        <a:pt x="155" y="711"/>
                      </a:cubicBezTo>
                      <a:cubicBezTo>
                        <a:pt x="159" y="712"/>
                        <a:pt x="163" y="715"/>
                        <a:pt x="167" y="712"/>
                      </a:cubicBezTo>
                      <a:cubicBezTo>
                        <a:pt x="171" y="710"/>
                        <a:pt x="170" y="704"/>
                        <a:pt x="170" y="701"/>
                      </a:cubicBezTo>
                      <a:cubicBezTo>
                        <a:pt x="170" y="698"/>
                        <a:pt x="171" y="697"/>
                        <a:pt x="172" y="696"/>
                      </a:cubicBezTo>
                      <a:cubicBezTo>
                        <a:pt x="172" y="694"/>
                        <a:pt x="172" y="691"/>
                        <a:pt x="172" y="689"/>
                      </a:cubicBezTo>
                      <a:cubicBezTo>
                        <a:pt x="174" y="685"/>
                        <a:pt x="180" y="684"/>
                        <a:pt x="184" y="684"/>
                      </a:cubicBezTo>
                      <a:cubicBezTo>
                        <a:pt x="188" y="683"/>
                        <a:pt x="193" y="682"/>
                        <a:pt x="196" y="679"/>
                      </a:cubicBezTo>
                      <a:cubicBezTo>
                        <a:pt x="198" y="677"/>
                        <a:pt x="199" y="677"/>
                        <a:pt x="202" y="677"/>
                      </a:cubicBezTo>
                      <a:cubicBezTo>
                        <a:pt x="204" y="677"/>
                        <a:pt x="207" y="678"/>
                        <a:pt x="209" y="679"/>
                      </a:cubicBezTo>
                      <a:cubicBezTo>
                        <a:pt x="209" y="679"/>
                        <a:pt x="208" y="678"/>
                        <a:pt x="208" y="678"/>
                      </a:cubicBezTo>
                      <a:cubicBezTo>
                        <a:pt x="208" y="678"/>
                        <a:pt x="209" y="678"/>
                        <a:pt x="209" y="679"/>
                      </a:cubicBezTo>
                      <a:cubicBezTo>
                        <a:pt x="206" y="677"/>
                        <a:pt x="209" y="679"/>
                        <a:pt x="209" y="679"/>
                      </a:cubicBezTo>
                      <a:close/>
                      <a:moveTo>
                        <a:pt x="35" y="290"/>
                      </a:moveTo>
                      <a:cubicBezTo>
                        <a:pt x="36" y="289"/>
                        <a:pt x="39" y="289"/>
                        <a:pt x="38" y="291"/>
                      </a:cubicBezTo>
                      <a:cubicBezTo>
                        <a:pt x="37" y="293"/>
                        <a:pt x="36" y="293"/>
                        <a:pt x="34" y="293"/>
                      </a:cubicBezTo>
                      <a:cubicBezTo>
                        <a:pt x="33" y="293"/>
                        <a:pt x="32" y="293"/>
                        <a:pt x="33" y="291"/>
                      </a:cubicBezTo>
                      <a:cubicBezTo>
                        <a:pt x="33" y="290"/>
                        <a:pt x="34" y="290"/>
                        <a:pt x="35" y="290"/>
                      </a:cubicBezTo>
                      <a:cubicBezTo>
                        <a:pt x="35" y="290"/>
                        <a:pt x="35" y="290"/>
                        <a:pt x="35" y="290"/>
                      </a:cubicBezTo>
                      <a:cubicBezTo>
                        <a:pt x="36" y="289"/>
                        <a:pt x="35" y="290"/>
                        <a:pt x="35" y="290"/>
                      </a:cubicBezTo>
                      <a:close/>
                      <a:moveTo>
                        <a:pt x="0" y="292"/>
                      </a:moveTo>
                      <a:cubicBezTo>
                        <a:pt x="0" y="293"/>
                        <a:pt x="0" y="295"/>
                        <a:pt x="1" y="294"/>
                      </a:cubicBezTo>
                      <a:cubicBezTo>
                        <a:pt x="2" y="294"/>
                        <a:pt x="3" y="293"/>
                        <a:pt x="3" y="293"/>
                      </a:cubicBezTo>
                      <a:cubicBezTo>
                        <a:pt x="3" y="291"/>
                        <a:pt x="0" y="290"/>
                        <a:pt x="0" y="292"/>
                      </a:cubicBezTo>
                      <a:cubicBezTo>
                        <a:pt x="0" y="292"/>
                        <a:pt x="0" y="292"/>
                        <a:pt x="0" y="292"/>
                      </a:cubicBezTo>
                      <a:cubicBezTo>
                        <a:pt x="0" y="293"/>
                        <a:pt x="0" y="292"/>
                        <a:pt x="0" y="292"/>
                      </a:cubicBezTo>
                      <a:close/>
                      <a:moveTo>
                        <a:pt x="117" y="456"/>
                      </a:moveTo>
                      <a:cubicBezTo>
                        <a:pt x="116" y="457"/>
                        <a:pt x="115" y="458"/>
                        <a:pt x="115" y="459"/>
                      </a:cubicBezTo>
                      <a:cubicBezTo>
                        <a:pt x="114" y="460"/>
                        <a:pt x="115" y="461"/>
                        <a:pt x="115" y="462"/>
                      </a:cubicBezTo>
                      <a:cubicBezTo>
                        <a:pt x="115" y="466"/>
                        <a:pt x="114" y="468"/>
                        <a:pt x="115" y="472"/>
                      </a:cubicBezTo>
                      <a:cubicBezTo>
                        <a:pt x="116" y="474"/>
                        <a:pt x="116" y="476"/>
                        <a:pt x="113" y="478"/>
                      </a:cubicBezTo>
                      <a:cubicBezTo>
                        <a:pt x="112" y="478"/>
                        <a:pt x="111" y="479"/>
                        <a:pt x="111" y="480"/>
                      </a:cubicBezTo>
                      <a:cubicBezTo>
                        <a:pt x="111" y="481"/>
                        <a:pt x="113" y="482"/>
                        <a:pt x="114" y="482"/>
                      </a:cubicBezTo>
                      <a:cubicBezTo>
                        <a:pt x="115" y="483"/>
                        <a:pt x="116" y="483"/>
                        <a:pt x="117" y="483"/>
                      </a:cubicBezTo>
                      <a:cubicBezTo>
                        <a:pt x="118" y="483"/>
                        <a:pt x="119" y="484"/>
                        <a:pt x="120" y="484"/>
                      </a:cubicBezTo>
                      <a:cubicBezTo>
                        <a:pt x="122" y="485"/>
                        <a:pt x="124" y="484"/>
                        <a:pt x="123" y="482"/>
                      </a:cubicBezTo>
                      <a:cubicBezTo>
                        <a:pt x="123" y="481"/>
                        <a:pt x="121" y="479"/>
                        <a:pt x="122" y="479"/>
                      </a:cubicBezTo>
                      <a:cubicBezTo>
                        <a:pt x="123" y="478"/>
                        <a:pt x="125" y="479"/>
                        <a:pt x="127" y="478"/>
                      </a:cubicBezTo>
                      <a:cubicBezTo>
                        <a:pt x="128" y="477"/>
                        <a:pt x="124" y="475"/>
                        <a:pt x="124" y="475"/>
                      </a:cubicBezTo>
                      <a:cubicBezTo>
                        <a:pt x="123" y="474"/>
                        <a:pt x="124" y="473"/>
                        <a:pt x="125" y="473"/>
                      </a:cubicBezTo>
                      <a:cubicBezTo>
                        <a:pt x="126" y="473"/>
                        <a:pt x="126" y="472"/>
                        <a:pt x="125" y="471"/>
                      </a:cubicBezTo>
                      <a:cubicBezTo>
                        <a:pt x="125" y="470"/>
                        <a:pt x="123" y="469"/>
                        <a:pt x="122" y="468"/>
                      </a:cubicBezTo>
                      <a:cubicBezTo>
                        <a:pt x="121" y="467"/>
                        <a:pt x="120" y="465"/>
                        <a:pt x="123" y="466"/>
                      </a:cubicBezTo>
                      <a:cubicBezTo>
                        <a:pt x="125" y="466"/>
                        <a:pt x="124" y="464"/>
                        <a:pt x="125" y="463"/>
                      </a:cubicBezTo>
                      <a:cubicBezTo>
                        <a:pt x="127" y="461"/>
                        <a:pt x="129" y="460"/>
                        <a:pt x="127" y="457"/>
                      </a:cubicBezTo>
                      <a:cubicBezTo>
                        <a:pt x="126" y="456"/>
                        <a:pt x="125" y="456"/>
                        <a:pt x="125" y="454"/>
                      </a:cubicBezTo>
                      <a:cubicBezTo>
                        <a:pt x="124" y="453"/>
                        <a:pt x="123" y="453"/>
                        <a:pt x="122" y="454"/>
                      </a:cubicBezTo>
                      <a:cubicBezTo>
                        <a:pt x="121" y="454"/>
                        <a:pt x="120" y="453"/>
                        <a:pt x="119" y="453"/>
                      </a:cubicBezTo>
                      <a:cubicBezTo>
                        <a:pt x="118" y="453"/>
                        <a:pt x="117" y="455"/>
                        <a:pt x="117" y="456"/>
                      </a:cubicBezTo>
                      <a:cubicBezTo>
                        <a:pt x="116" y="456"/>
                        <a:pt x="116" y="456"/>
                        <a:pt x="116" y="457"/>
                      </a:cubicBezTo>
                      <a:cubicBezTo>
                        <a:pt x="116" y="456"/>
                        <a:pt x="116" y="456"/>
                        <a:pt x="117" y="456"/>
                      </a:cubicBezTo>
                      <a:cubicBezTo>
                        <a:pt x="116" y="456"/>
                        <a:pt x="117" y="456"/>
                        <a:pt x="117" y="456"/>
                      </a:cubicBezTo>
                      <a:close/>
                      <a:moveTo>
                        <a:pt x="132" y="506"/>
                      </a:moveTo>
                      <a:cubicBezTo>
                        <a:pt x="131" y="506"/>
                        <a:pt x="132" y="507"/>
                        <a:pt x="132" y="508"/>
                      </a:cubicBezTo>
                      <a:cubicBezTo>
                        <a:pt x="132" y="509"/>
                        <a:pt x="130" y="509"/>
                        <a:pt x="130" y="509"/>
                      </a:cubicBezTo>
                      <a:cubicBezTo>
                        <a:pt x="128" y="510"/>
                        <a:pt x="130" y="511"/>
                        <a:pt x="130" y="512"/>
                      </a:cubicBezTo>
                      <a:cubicBezTo>
                        <a:pt x="131" y="512"/>
                        <a:pt x="131" y="513"/>
                        <a:pt x="130" y="513"/>
                      </a:cubicBezTo>
                      <a:cubicBezTo>
                        <a:pt x="130" y="514"/>
                        <a:pt x="130" y="515"/>
                        <a:pt x="131" y="515"/>
                      </a:cubicBezTo>
                      <a:cubicBezTo>
                        <a:pt x="132" y="515"/>
                        <a:pt x="135" y="513"/>
                        <a:pt x="136" y="512"/>
                      </a:cubicBezTo>
                      <a:cubicBezTo>
                        <a:pt x="136" y="511"/>
                        <a:pt x="136" y="510"/>
                        <a:pt x="137" y="510"/>
                      </a:cubicBezTo>
                      <a:cubicBezTo>
                        <a:pt x="137" y="510"/>
                        <a:pt x="138" y="509"/>
                        <a:pt x="138" y="508"/>
                      </a:cubicBezTo>
                      <a:cubicBezTo>
                        <a:pt x="137" y="508"/>
                        <a:pt x="136" y="509"/>
                        <a:pt x="135" y="508"/>
                      </a:cubicBezTo>
                      <a:cubicBezTo>
                        <a:pt x="135" y="507"/>
                        <a:pt x="135" y="507"/>
                        <a:pt x="134" y="506"/>
                      </a:cubicBezTo>
                      <a:cubicBezTo>
                        <a:pt x="133" y="506"/>
                        <a:pt x="132" y="506"/>
                        <a:pt x="132" y="506"/>
                      </a:cubicBezTo>
                      <a:cubicBezTo>
                        <a:pt x="132" y="506"/>
                        <a:pt x="132" y="506"/>
                        <a:pt x="132" y="506"/>
                      </a:cubicBezTo>
                      <a:cubicBezTo>
                        <a:pt x="130" y="507"/>
                        <a:pt x="132" y="506"/>
                        <a:pt x="132" y="506"/>
                      </a:cubicBezTo>
                      <a:close/>
                      <a:moveTo>
                        <a:pt x="114" y="510"/>
                      </a:moveTo>
                      <a:cubicBezTo>
                        <a:pt x="115" y="510"/>
                        <a:pt x="117" y="510"/>
                        <a:pt x="118" y="512"/>
                      </a:cubicBezTo>
                      <a:cubicBezTo>
                        <a:pt x="120" y="514"/>
                        <a:pt x="117" y="513"/>
                        <a:pt x="116" y="513"/>
                      </a:cubicBezTo>
                      <a:cubicBezTo>
                        <a:pt x="114" y="514"/>
                        <a:pt x="113" y="514"/>
                        <a:pt x="112" y="512"/>
                      </a:cubicBezTo>
                      <a:cubicBezTo>
                        <a:pt x="112" y="511"/>
                        <a:pt x="114" y="510"/>
                        <a:pt x="115" y="510"/>
                      </a:cubicBezTo>
                      <a:cubicBezTo>
                        <a:pt x="115" y="510"/>
                        <a:pt x="114" y="510"/>
                        <a:pt x="114" y="510"/>
                      </a:cubicBezTo>
                      <a:cubicBezTo>
                        <a:pt x="115" y="510"/>
                        <a:pt x="114" y="510"/>
                        <a:pt x="114" y="510"/>
                      </a:cubicBezTo>
                      <a:close/>
                      <a:moveTo>
                        <a:pt x="122" y="509"/>
                      </a:moveTo>
                      <a:cubicBezTo>
                        <a:pt x="123" y="508"/>
                        <a:pt x="124" y="510"/>
                        <a:pt x="124" y="511"/>
                      </a:cubicBezTo>
                      <a:cubicBezTo>
                        <a:pt x="123" y="513"/>
                        <a:pt x="120" y="510"/>
                        <a:pt x="122" y="509"/>
                      </a:cubicBezTo>
                      <a:cubicBezTo>
                        <a:pt x="123" y="509"/>
                        <a:pt x="122" y="509"/>
                        <a:pt x="122" y="509"/>
                      </a:cubicBezTo>
                      <a:cubicBezTo>
                        <a:pt x="123" y="508"/>
                        <a:pt x="122" y="509"/>
                        <a:pt x="122" y="509"/>
                      </a:cubicBezTo>
                      <a:close/>
                      <a:moveTo>
                        <a:pt x="118" y="500"/>
                      </a:moveTo>
                      <a:cubicBezTo>
                        <a:pt x="119" y="499"/>
                        <a:pt x="123" y="502"/>
                        <a:pt x="119" y="504"/>
                      </a:cubicBezTo>
                      <a:cubicBezTo>
                        <a:pt x="117" y="505"/>
                        <a:pt x="118" y="501"/>
                        <a:pt x="118" y="500"/>
                      </a:cubicBezTo>
                      <a:cubicBezTo>
                        <a:pt x="118" y="500"/>
                        <a:pt x="118" y="500"/>
                        <a:pt x="118" y="500"/>
                      </a:cubicBezTo>
                      <a:cubicBezTo>
                        <a:pt x="118" y="499"/>
                        <a:pt x="118" y="500"/>
                        <a:pt x="118" y="500"/>
                      </a:cubicBezTo>
                      <a:close/>
                      <a:moveTo>
                        <a:pt x="118" y="492"/>
                      </a:moveTo>
                      <a:cubicBezTo>
                        <a:pt x="120" y="492"/>
                        <a:pt x="122" y="495"/>
                        <a:pt x="120" y="495"/>
                      </a:cubicBezTo>
                      <a:cubicBezTo>
                        <a:pt x="119" y="495"/>
                        <a:pt x="117" y="495"/>
                        <a:pt x="117" y="494"/>
                      </a:cubicBezTo>
                      <a:cubicBezTo>
                        <a:pt x="117" y="493"/>
                        <a:pt x="118" y="492"/>
                        <a:pt x="119" y="492"/>
                      </a:cubicBezTo>
                      <a:cubicBezTo>
                        <a:pt x="118" y="492"/>
                        <a:pt x="118" y="492"/>
                        <a:pt x="118" y="492"/>
                      </a:cubicBezTo>
                      <a:cubicBezTo>
                        <a:pt x="119" y="492"/>
                        <a:pt x="118" y="492"/>
                        <a:pt x="118" y="492"/>
                      </a:cubicBezTo>
                      <a:close/>
                      <a:moveTo>
                        <a:pt x="105" y="488"/>
                      </a:moveTo>
                      <a:cubicBezTo>
                        <a:pt x="107" y="487"/>
                        <a:pt x="109" y="490"/>
                        <a:pt x="106" y="490"/>
                      </a:cubicBezTo>
                      <a:cubicBezTo>
                        <a:pt x="106" y="490"/>
                        <a:pt x="104" y="489"/>
                        <a:pt x="104" y="488"/>
                      </a:cubicBezTo>
                      <a:cubicBezTo>
                        <a:pt x="104" y="488"/>
                        <a:pt x="105" y="487"/>
                        <a:pt x="106" y="487"/>
                      </a:cubicBezTo>
                      <a:cubicBezTo>
                        <a:pt x="105" y="487"/>
                        <a:pt x="105" y="487"/>
                        <a:pt x="105" y="488"/>
                      </a:cubicBezTo>
                      <a:cubicBezTo>
                        <a:pt x="106" y="487"/>
                        <a:pt x="105" y="488"/>
                        <a:pt x="105" y="488"/>
                      </a:cubicBezTo>
                      <a:close/>
                      <a:moveTo>
                        <a:pt x="119" y="519"/>
                      </a:moveTo>
                      <a:cubicBezTo>
                        <a:pt x="121" y="519"/>
                        <a:pt x="121" y="520"/>
                        <a:pt x="123" y="522"/>
                      </a:cubicBezTo>
                      <a:cubicBezTo>
                        <a:pt x="124" y="523"/>
                        <a:pt x="123" y="524"/>
                        <a:pt x="121" y="523"/>
                      </a:cubicBezTo>
                      <a:cubicBezTo>
                        <a:pt x="121" y="523"/>
                        <a:pt x="120" y="522"/>
                        <a:pt x="119" y="522"/>
                      </a:cubicBezTo>
                      <a:cubicBezTo>
                        <a:pt x="118" y="522"/>
                        <a:pt x="118" y="522"/>
                        <a:pt x="117" y="521"/>
                      </a:cubicBezTo>
                      <a:cubicBezTo>
                        <a:pt x="116" y="519"/>
                        <a:pt x="118" y="519"/>
                        <a:pt x="119" y="519"/>
                      </a:cubicBezTo>
                      <a:cubicBezTo>
                        <a:pt x="119" y="519"/>
                        <a:pt x="119" y="519"/>
                        <a:pt x="119" y="519"/>
                      </a:cubicBezTo>
                      <a:cubicBezTo>
                        <a:pt x="120" y="519"/>
                        <a:pt x="119" y="519"/>
                        <a:pt x="119" y="519"/>
                      </a:cubicBezTo>
                      <a:close/>
                      <a:moveTo>
                        <a:pt x="123" y="529"/>
                      </a:moveTo>
                      <a:cubicBezTo>
                        <a:pt x="123" y="528"/>
                        <a:pt x="124" y="528"/>
                        <a:pt x="124" y="529"/>
                      </a:cubicBezTo>
                      <a:cubicBezTo>
                        <a:pt x="124" y="529"/>
                        <a:pt x="124" y="530"/>
                        <a:pt x="124" y="530"/>
                      </a:cubicBezTo>
                      <a:cubicBezTo>
                        <a:pt x="124" y="531"/>
                        <a:pt x="124" y="532"/>
                        <a:pt x="124" y="533"/>
                      </a:cubicBezTo>
                      <a:cubicBezTo>
                        <a:pt x="124" y="534"/>
                        <a:pt x="122" y="533"/>
                        <a:pt x="122" y="533"/>
                      </a:cubicBezTo>
                      <a:cubicBezTo>
                        <a:pt x="122" y="532"/>
                        <a:pt x="122" y="531"/>
                        <a:pt x="122" y="531"/>
                      </a:cubicBezTo>
                      <a:cubicBezTo>
                        <a:pt x="122" y="530"/>
                        <a:pt x="123" y="529"/>
                        <a:pt x="123" y="528"/>
                      </a:cubicBezTo>
                      <a:cubicBezTo>
                        <a:pt x="123" y="529"/>
                        <a:pt x="123" y="529"/>
                        <a:pt x="123" y="529"/>
                      </a:cubicBezTo>
                      <a:cubicBezTo>
                        <a:pt x="123" y="528"/>
                        <a:pt x="123" y="529"/>
                        <a:pt x="123" y="529"/>
                      </a:cubicBezTo>
                      <a:close/>
                      <a:moveTo>
                        <a:pt x="117" y="528"/>
                      </a:moveTo>
                      <a:cubicBezTo>
                        <a:pt x="118" y="526"/>
                        <a:pt x="121" y="529"/>
                        <a:pt x="119" y="530"/>
                      </a:cubicBezTo>
                      <a:cubicBezTo>
                        <a:pt x="119" y="530"/>
                        <a:pt x="116" y="530"/>
                        <a:pt x="116" y="529"/>
                      </a:cubicBezTo>
                      <a:cubicBezTo>
                        <a:pt x="116" y="529"/>
                        <a:pt x="117" y="527"/>
                        <a:pt x="117" y="527"/>
                      </a:cubicBezTo>
                      <a:cubicBezTo>
                        <a:pt x="117" y="527"/>
                        <a:pt x="117" y="528"/>
                        <a:pt x="117" y="528"/>
                      </a:cubicBezTo>
                      <a:cubicBezTo>
                        <a:pt x="118" y="527"/>
                        <a:pt x="117" y="528"/>
                        <a:pt x="117" y="528"/>
                      </a:cubicBezTo>
                      <a:close/>
                      <a:moveTo>
                        <a:pt x="111" y="529"/>
                      </a:moveTo>
                      <a:cubicBezTo>
                        <a:pt x="112" y="528"/>
                        <a:pt x="113" y="530"/>
                        <a:pt x="113" y="531"/>
                      </a:cubicBezTo>
                      <a:cubicBezTo>
                        <a:pt x="113" y="532"/>
                        <a:pt x="113" y="533"/>
                        <a:pt x="111" y="533"/>
                      </a:cubicBezTo>
                      <a:cubicBezTo>
                        <a:pt x="111" y="533"/>
                        <a:pt x="108" y="534"/>
                        <a:pt x="109" y="533"/>
                      </a:cubicBezTo>
                      <a:cubicBezTo>
                        <a:pt x="110" y="531"/>
                        <a:pt x="111" y="530"/>
                        <a:pt x="112" y="529"/>
                      </a:cubicBezTo>
                      <a:cubicBezTo>
                        <a:pt x="112" y="529"/>
                        <a:pt x="112" y="529"/>
                        <a:pt x="111" y="529"/>
                      </a:cubicBezTo>
                      <a:cubicBezTo>
                        <a:pt x="112" y="528"/>
                        <a:pt x="111" y="529"/>
                        <a:pt x="111" y="529"/>
                      </a:cubicBezTo>
                      <a:close/>
                      <a:moveTo>
                        <a:pt x="103" y="535"/>
                      </a:moveTo>
                      <a:cubicBezTo>
                        <a:pt x="105" y="534"/>
                        <a:pt x="106" y="536"/>
                        <a:pt x="104" y="537"/>
                      </a:cubicBezTo>
                      <a:cubicBezTo>
                        <a:pt x="103" y="537"/>
                        <a:pt x="102" y="537"/>
                        <a:pt x="102" y="536"/>
                      </a:cubicBezTo>
                      <a:cubicBezTo>
                        <a:pt x="103" y="536"/>
                        <a:pt x="103" y="535"/>
                        <a:pt x="104" y="535"/>
                      </a:cubicBezTo>
                      <a:cubicBezTo>
                        <a:pt x="103" y="535"/>
                        <a:pt x="103" y="535"/>
                        <a:pt x="103" y="535"/>
                      </a:cubicBezTo>
                      <a:cubicBezTo>
                        <a:pt x="103" y="535"/>
                        <a:pt x="103" y="535"/>
                        <a:pt x="103" y="535"/>
                      </a:cubicBezTo>
                      <a:close/>
                      <a:moveTo>
                        <a:pt x="119" y="542"/>
                      </a:moveTo>
                      <a:cubicBezTo>
                        <a:pt x="121" y="541"/>
                        <a:pt x="123" y="544"/>
                        <a:pt x="121" y="545"/>
                      </a:cubicBezTo>
                      <a:cubicBezTo>
                        <a:pt x="120" y="546"/>
                        <a:pt x="117" y="543"/>
                        <a:pt x="120" y="542"/>
                      </a:cubicBezTo>
                      <a:cubicBezTo>
                        <a:pt x="120" y="542"/>
                        <a:pt x="119" y="542"/>
                        <a:pt x="119" y="542"/>
                      </a:cubicBezTo>
                      <a:cubicBezTo>
                        <a:pt x="120" y="542"/>
                        <a:pt x="119" y="542"/>
                        <a:pt x="119" y="542"/>
                      </a:cubicBezTo>
                      <a:close/>
                      <a:moveTo>
                        <a:pt x="111" y="523"/>
                      </a:moveTo>
                      <a:cubicBezTo>
                        <a:pt x="111" y="521"/>
                        <a:pt x="112" y="523"/>
                        <a:pt x="112" y="523"/>
                      </a:cubicBezTo>
                      <a:cubicBezTo>
                        <a:pt x="113" y="524"/>
                        <a:pt x="112" y="525"/>
                        <a:pt x="111" y="526"/>
                      </a:cubicBezTo>
                      <a:cubicBezTo>
                        <a:pt x="110" y="526"/>
                        <a:pt x="110" y="525"/>
                        <a:pt x="110" y="524"/>
                      </a:cubicBezTo>
                      <a:cubicBezTo>
                        <a:pt x="111" y="523"/>
                        <a:pt x="111" y="523"/>
                        <a:pt x="111" y="522"/>
                      </a:cubicBezTo>
                      <a:cubicBezTo>
                        <a:pt x="111" y="522"/>
                        <a:pt x="111" y="522"/>
                        <a:pt x="111" y="523"/>
                      </a:cubicBezTo>
                      <a:cubicBezTo>
                        <a:pt x="111" y="522"/>
                        <a:pt x="111" y="523"/>
                        <a:pt x="111" y="523"/>
                      </a:cubicBezTo>
                      <a:close/>
                      <a:moveTo>
                        <a:pt x="95" y="549"/>
                      </a:moveTo>
                      <a:cubicBezTo>
                        <a:pt x="96" y="547"/>
                        <a:pt x="100" y="545"/>
                        <a:pt x="99" y="548"/>
                      </a:cubicBezTo>
                      <a:cubicBezTo>
                        <a:pt x="99" y="549"/>
                        <a:pt x="99" y="551"/>
                        <a:pt x="98" y="551"/>
                      </a:cubicBezTo>
                      <a:cubicBezTo>
                        <a:pt x="97" y="552"/>
                        <a:pt x="95" y="552"/>
                        <a:pt x="94" y="553"/>
                      </a:cubicBezTo>
                      <a:cubicBezTo>
                        <a:pt x="93" y="553"/>
                        <a:pt x="92" y="554"/>
                        <a:pt x="91" y="553"/>
                      </a:cubicBezTo>
                      <a:cubicBezTo>
                        <a:pt x="90" y="553"/>
                        <a:pt x="89" y="553"/>
                        <a:pt x="90" y="552"/>
                      </a:cubicBezTo>
                      <a:cubicBezTo>
                        <a:pt x="91" y="551"/>
                        <a:pt x="92" y="551"/>
                        <a:pt x="93" y="550"/>
                      </a:cubicBezTo>
                      <a:cubicBezTo>
                        <a:pt x="94" y="550"/>
                        <a:pt x="95" y="549"/>
                        <a:pt x="95" y="548"/>
                      </a:cubicBezTo>
                      <a:cubicBezTo>
                        <a:pt x="95" y="548"/>
                        <a:pt x="95" y="548"/>
                        <a:pt x="95" y="549"/>
                      </a:cubicBezTo>
                      <a:cubicBezTo>
                        <a:pt x="96" y="547"/>
                        <a:pt x="95" y="549"/>
                        <a:pt x="95" y="549"/>
                      </a:cubicBezTo>
                      <a:close/>
                      <a:moveTo>
                        <a:pt x="92" y="560"/>
                      </a:moveTo>
                      <a:cubicBezTo>
                        <a:pt x="93" y="559"/>
                        <a:pt x="95" y="559"/>
                        <a:pt x="95" y="557"/>
                      </a:cubicBezTo>
                      <a:cubicBezTo>
                        <a:pt x="95" y="555"/>
                        <a:pt x="94" y="555"/>
                        <a:pt x="92" y="555"/>
                      </a:cubicBezTo>
                      <a:cubicBezTo>
                        <a:pt x="91" y="556"/>
                        <a:pt x="90" y="556"/>
                        <a:pt x="90" y="558"/>
                      </a:cubicBezTo>
                      <a:cubicBezTo>
                        <a:pt x="91" y="559"/>
                        <a:pt x="91" y="560"/>
                        <a:pt x="93" y="560"/>
                      </a:cubicBezTo>
                      <a:cubicBezTo>
                        <a:pt x="92" y="560"/>
                        <a:pt x="92" y="560"/>
                        <a:pt x="92" y="560"/>
                      </a:cubicBezTo>
                      <a:cubicBezTo>
                        <a:pt x="93" y="559"/>
                        <a:pt x="92" y="560"/>
                        <a:pt x="92" y="560"/>
                      </a:cubicBezTo>
                      <a:close/>
                      <a:moveTo>
                        <a:pt x="113" y="579"/>
                      </a:moveTo>
                      <a:cubicBezTo>
                        <a:pt x="114" y="579"/>
                        <a:pt x="115" y="579"/>
                        <a:pt x="116" y="580"/>
                      </a:cubicBezTo>
                      <a:cubicBezTo>
                        <a:pt x="116" y="581"/>
                        <a:pt x="115" y="581"/>
                        <a:pt x="114" y="581"/>
                      </a:cubicBezTo>
                      <a:cubicBezTo>
                        <a:pt x="113" y="581"/>
                        <a:pt x="112" y="582"/>
                        <a:pt x="111" y="580"/>
                      </a:cubicBezTo>
                      <a:cubicBezTo>
                        <a:pt x="111" y="579"/>
                        <a:pt x="113" y="579"/>
                        <a:pt x="113" y="579"/>
                      </a:cubicBezTo>
                      <a:cubicBezTo>
                        <a:pt x="113" y="579"/>
                        <a:pt x="113" y="579"/>
                        <a:pt x="113" y="579"/>
                      </a:cubicBezTo>
                      <a:cubicBezTo>
                        <a:pt x="114" y="579"/>
                        <a:pt x="113" y="579"/>
                        <a:pt x="113" y="579"/>
                      </a:cubicBezTo>
                      <a:close/>
                      <a:moveTo>
                        <a:pt x="108" y="575"/>
                      </a:moveTo>
                      <a:cubicBezTo>
                        <a:pt x="109" y="574"/>
                        <a:pt x="111" y="576"/>
                        <a:pt x="110" y="577"/>
                      </a:cubicBezTo>
                      <a:cubicBezTo>
                        <a:pt x="109" y="577"/>
                        <a:pt x="107" y="577"/>
                        <a:pt x="107" y="576"/>
                      </a:cubicBezTo>
                      <a:cubicBezTo>
                        <a:pt x="107" y="576"/>
                        <a:pt x="108" y="575"/>
                        <a:pt x="108" y="575"/>
                      </a:cubicBezTo>
                      <a:cubicBezTo>
                        <a:pt x="109" y="575"/>
                        <a:pt x="108" y="575"/>
                        <a:pt x="108" y="575"/>
                      </a:cubicBezTo>
                      <a:cubicBezTo>
                        <a:pt x="109" y="574"/>
                        <a:pt x="108" y="575"/>
                        <a:pt x="108" y="575"/>
                      </a:cubicBezTo>
                      <a:close/>
                      <a:moveTo>
                        <a:pt x="110" y="584"/>
                      </a:moveTo>
                      <a:cubicBezTo>
                        <a:pt x="110" y="583"/>
                        <a:pt x="114" y="584"/>
                        <a:pt x="112" y="587"/>
                      </a:cubicBezTo>
                      <a:cubicBezTo>
                        <a:pt x="111" y="589"/>
                        <a:pt x="110" y="584"/>
                        <a:pt x="110" y="584"/>
                      </a:cubicBezTo>
                      <a:cubicBezTo>
                        <a:pt x="110" y="584"/>
                        <a:pt x="110" y="584"/>
                        <a:pt x="110" y="584"/>
                      </a:cubicBezTo>
                      <a:cubicBezTo>
                        <a:pt x="110" y="583"/>
                        <a:pt x="110" y="584"/>
                        <a:pt x="110" y="584"/>
                      </a:cubicBezTo>
                      <a:close/>
                      <a:moveTo>
                        <a:pt x="103" y="593"/>
                      </a:moveTo>
                      <a:cubicBezTo>
                        <a:pt x="103" y="593"/>
                        <a:pt x="104" y="593"/>
                        <a:pt x="105" y="593"/>
                      </a:cubicBezTo>
                      <a:cubicBezTo>
                        <a:pt x="106" y="593"/>
                        <a:pt x="106" y="593"/>
                        <a:pt x="107" y="592"/>
                      </a:cubicBezTo>
                      <a:cubicBezTo>
                        <a:pt x="108" y="592"/>
                        <a:pt x="109" y="595"/>
                        <a:pt x="108" y="596"/>
                      </a:cubicBezTo>
                      <a:cubicBezTo>
                        <a:pt x="107" y="596"/>
                        <a:pt x="106" y="596"/>
                        <a:pt x="106" y="596"/>
                      </a:cubicBezTo>
                      <a:cubicBezTo>
                        <a:pt x="105" y="595"/>
                        <a:pt x="104" y="595"/>
                        <a:pt x="103" y="594"/>
                      </a:cubicBezTo>
                      <a:cubicBezTo>
                        <a:pt x="103" y="594"/>
                        <a:pt x="102" y="593"/>
                        <a:pt x="102" y="593"/>
                      </a:cubicBezTo>
                      <a:cubicBezTo>
                        <a:pt x="102" y="592"/>
                        <a:pt x="104" y="593"/>
                        <a:pt x="104" y="593"/>
                      </a:cubicBezTo>
                      <a:cubicBezTo>
                        <a:pt x="103" y="593"/>
                        <a:pt x="103" y="593"/>
                        <a:pt x="103" y="593"/>
                      </a:cubicBezTo>
                      <a:cubicBezTo>
                        <a:pt x="104" y="593"/>
                        <a:pt x="103" y="593"/>
                        <a:pt x="103" y="593"/>
                      </a:cubicBezTo>
                      <a:close/>
                      <a:moveTo>
                        <a:pt x="93" y="584"/>
                      </a:moveTo>
                      <a:cubicBezTo>
                        <a:pt x="92" y="585"/>
                        <a:pt x="91" y="586"/>
                        <a:pt x="92" y="587"/>
                      </a:cubicBezTo>
                      <a:cubicBezTo>
                        <a:pt x="94" y="588"/>
                        <a:pt x="95" y="588"/>
                        <a:pt x="96" y="590"/>
                      </a:cubicBezTo>
                      <a:cubicBezTo>
                        <a:pt x="96" y="591"/>
                        <a:pt x="95" y="593"/>
                        <a:pt x="95" y="594"/>
                      </a:cubicBezTo>
                      <a:cubicBezTo>
                        <a:pt x="96" y="595"/>
                        <a:pt x="98" y="596"/>
                        <a:pt x="98" y="595"/>
                      </a:cubicBezTo>
                      <a:cubicBezTo>
                        <a:pt x="99" y="594"/>
                        <a:pt x="98" y="592"/>
                        <a:pt x="97" y="591"/>
                      </a:cubicBezTo>
                      <a:cubicBezTo>
                        <a:pt x="97" y="589"/>
                        <a:pt x="97" y="587"/>
                        <a:pt x="96" y="587"/>
                      </a:cubicBezTo>
                      <a:cubicBezTo>
                        <a:pt x="95" y="586"/>
                        <a:pt x="94" y="581"/>
                        <a:pt x="92" y="585"/>
                      </a:cubicBezTo>
                      <a:cubicBezTo>
                        <a:pt x="92" y="585"/>
                        <a:pt x="93" y="584"/>
                        <a:pt x="93" y="584"/>
                      </a:cubicBezTo>
                      <a:cubicBezTo>
                        <a:pt x="92" y="585"/>
                        <a:pt x="93" y="584"/>
                        <a:pt x="93" y="584"/>
                      </a:cubicBezTo>
                      <a:close/>
                      <a:moveTo>
                        <a:pt x="97" y="576"/>
                      </a:moveTo>
                      <a:cubicBezTo>
                        <a:pt x="101" y="575"/>
                        <a:pt x="101" y="580"/>
                        <a:pt x="98" y="579"/>
                      </a:cubicBezTo>
                      <a:cubicBezTo>
                        <a:pt x="95" y="578"/>
                        <a:pt x="96" y="577"/>
                        <a:pt x="98" y="576"/>
                      </a:cubicBezTo>
                      <a:cubicBezTo>
                        <a:pt x="98" y="576"/>
                        <a:pt x="98" y="576"/>
                        <a:pt x="97" y="576"/>
                      </a:cubicBezTo>
                      <a:cubicBezTo>
                        <a:pt x="98" y="576"/>
                        <a:pt x="97" y="576"/>
                        <a:pt x="97" y="576"/>
                      </a:cubicBezTo>
                      <a:close/>
                      <a:moveTo>
                        <a:pt x="99" y="585"/>
                      </a:moveTo>
                      <a:cubicBezTo>
                        <a:pt x="99" y="584"/>
                        <a:pt x="101" y="584"/>
                        <a:pt x="101" y="585"/>
                      </a:cubicBezTo>
                      <a:cubicBezTo>
                        <a:pt x="101" y="585"/>
                        <a:pt x="101" y="588"/>
                        <a:pt x="101" y="588"/>
                      </a:cubicBezTo>
                      <a:cubicBezTo>
                        <a:pt x="100" y="590"/>
                        <a:pt x="100" y="588"/>
                        <a:pt x="99" y="588"/>
                      </a:cubicBezTo>
                      <a:cubicBezTo>
                        <a:pt x="98" y="586"/>
                        <a:pt x="98" y="585"/>
                        <a:pt x="99" y="584"/>
                      </a:cubicBezTo>
                      <a:cubicBezTo>
                        <a:pt x="99" y="584"/>
                        <a:pt x="99" y="584"/>
                        <a:pt x="99" y="585"/>
                      </a:cubicBezTo>
                      <a:cubicBezTo>
                        <a:pt x="99" y="584"/>
                        <a:pt x="99" y="585"/>
                        <a:pt x="99" y="585"/>
                      </a:cubicBezTo>
                      <a:close/>
                      <a:moveTo>
                        <a:pt x="103" y="600"/>
                      </a:moveTo>
                      <a:cubicBezTo>
                        <a:pt x="104" y="598"/>
                        <a:pt x="106" y="597"/>
                        <a:pt x="107" y="598"/>
                      </a:cubicBezTo>
                      <a:cubicBezTo>
                        <a:pt x="109" y="600"/>
                        <a:pt x="108" y="601"/>
                        <a:pt x="108" y="603"/>
                      </a:cubicBezTo>
                      <a:cubicBezTo>
                        <a:pt x="108" y="605"/>
                        <a:pt x="109" y="607"/>
                        <a:pt x="109" y="610"/>
                      </a:cubicBezTo>
                      <a:cubicBezTo>
                        <a:pt x="109" y="612"/>
                        <a:pt x="107" y="614"/>
                        <a:pt x="108" y="616"/>
                      </a:cubicBezTo>
                      <a:cubicBezTo>
                        <a:pt x="109" y="618"/>
                        <a:pt x="109" y="619"/>
                        <a:pt x="109" y="621"/>
                      </a:cubicBezTo>
                      <a:cubicBezTo>
                        <a:pt x="109" y="622"/>
                        <a:pt x="109" y="624"/>
                        <a:pt x="108" y="625"/>
                      </a:cubicBezTo>
                      <a:cubicBezTo>
                        <a:pt x="106" y="626"/>
                        <a:pt x="103" y="619"/>
                        <a:pt x="106" y="619"/>
                      </a:cubicBezTo>
                      <a:cubicBezTo>
                        <a:pt x="107" y="618"/>
                        <a:pt x="106" y="617"/>
                        <a:pt x="105" y="617"/>
                      </a:cubicBezTo>
                      <a:cubicBezTo>
                        <a:pt x="104" y="615"/>
                        <a:pt x="106" y="614"/>
                        <a:pt x="106" y="613"/>
                      </a:cubicBezTo>
                      <a:cubicBezTo>
                        <a:pt x="107" y="613"/>
                        <a:pt x="106" y="610"/>
                        <a:pt x="105" y="611"/>
                      </a:cubicBezTo>
                      <a:cubicBezTo>
                        <a:pt x="104" y="612"/>
                        <a:pt x="104" y="613"/>
                        <a:pt x="103" y="614"/>
                      </a:cubicBezTo>
                      <a:cubicBezTo>
                        <a:pt x="102" y="615"/>
                        <a:pt x="101" y="614"/>
                        <a:pt x="102" y="613"/>
                      </a:cubicBezTo>
                      <a:cubicBezTo>
                        <a:pt x="102" y="611"/>
                        <a:pt x="103" y="610"/>
                        <a:pt x="104" y="608"/>
                      </a:cubicBezTo>
                      <a:cubicBezTo>
                        <a:pt x="105" y="607"/>
                        <a:pt x="103" y="606"/>
                        <a:pt x="103" y="604"/>
                      </a:cubicBezTo>
                      <a:cubicBezTo>
                        <a:pt x="102" y="603"/>
                        <a:pt x="103" y="600"/>
                        <a:pt x="103" y="599"/>
                      </a:cubicBezTo>
                      <a:cubicBezTo>
                        <a:pt x="103" y="600"/>
                        <a:pt x="103" y="600"/>
                        <a:pt x="103" y="600"/>
                      </a:cubicBezTo>
                      <a:cubicBezTo>
                        <a:pt x="104" y="599"/>
                        <a:pt x="103" y="600"/>
                        <a:pt x="103" y="600"/>
                      </a:cubicBezTo>
                      <a:close/>
                      <a:moveTo>
                        <a:pt x="96" y="611"/>
                      </a:moveTo>
                      <a:cubicBezTo>
                        <a:pt x="98" y="611"/>
                        <a:pt x="99" y="610"/>
                        <a:pt x="99" y="612"/>
                      </a:cubicBezTo>
                      <a:cubicBezTo>
                        <a:pt x="100" y="613"/>
                        <a:pt x="99" y="615"/>
                        <a:pt x="99" y="616"/>
                      </a:cubicBezTo>
                      <a:cubicBezTo>
                        <a:pt x="99" y="618"/>
                        <a:pt x="100" y="619"/>
                        <a:pt x="100" y="621"/>
                      </a:cubicBezTo>
                      <a:cubicBezTo>
                        <a:pt x="100" y="622"/>
                        <a:pt x="99" y="622"/>
                        <a:pt x="98" y="621"/>
                      </a:cubicBezTo>
                      <a:cubicBezTo>
                        <a:pt x="98" y="620"/>
                        <a:pt x="98" y="619"/>
                        <a:pt x="98" y="618"/>
                      </a:cubicBezTo>
                      <a:cubicBezTo>
                        <a:pt x="98" y="617"/>
                        <a:pt x="97" y="616"/>
                        <a:pt x="96" y="616"/>
                      </a:cubicBezTo>
                      <a:cubicBezTo>
                        <a:pt x="94" y="615"/>
                        <a:pt x="94" y="614"/>
                        <a:pt x="95" y="613"/>
                      </a:cubicBezTo>
                      <a:cubicBezTo>
                        <a:pt x="95" y="612"/>
                        <a:pt x="96" y="611"/>
                        <a:pt x="97" y="611"/>
                      </a:cubicBezTo>
                      <a:cubicBezTo>
                        <a:pt x="97" y="611"/>
                        <a:pt x="97" y="611"/>
                        <a:pt x="96" y="611"/>
                      </a:cubicBezTo>
                      <a:cubicBezTo>
                        <a:pt x="98" y="611"/>
                        <a:pt x="96" y="611"/>
                        <a:pt x="96" y="611"/>
                      </a:cubicBezTo>
                      <a:close/>
                      <a:moveTo>
                        <a:pt x="93" y="609"/>
                      </a:moveTo>
                      <a:cubicBezTo>
                        <a:pt x="93" y="608"/>
                        <a:pt x="96" y="607"/>
                        <a:pt x="95" y="606"/>
                      </a:cubicBezTo>
                      <a:cubicBezTo>
                        <a:pt x="95" y="605"/>
                        <a:pt x="93" y="606"/>
                        <a:pt x="93" y="606"/>
                      </a:cubicBezTo>
                      <a:cubicBezTo>
                        <a:pt x="91" y="607"/>
                        <a:pt x="90" y="607"/>
                        <a:pt x="91" y="608"/>
                      </a:cubicBezTo>
                      <a:cubicBezTo>
                        <a:pt x="92" y="609"/>
                        <a:pt x="92" y="610"/>
                        <a:pt x="93" y="608"/>
                      </a:cubicBezTo>
                      <a:cubicBezTo>
                        <a:pt x="93" y="609"/>
                        <a:pt x="93" y="609"/>
                        <a:pt x="93" y="609"/>
                      </a:cubicBezTo>
                      <a:cubicBezTo>
                        <a:pt x="93" y="607"/>
                        <a:pt x="93" y="609"/>
                        <a:pt x="93" y="609"/>
                      </a:cubicBezTo>
                      <a:close/>
                      <a:moveTo>
                        <a:pt x="99" y="606"/>
                      </a:moveTo>
                      <a:cubicBezTo>
                        <a:pt x="100" y="605"/>
                        <a:pt x="101" y="607"/>
                        <a:pt x="100" y="607"/>
                      </a:cubicBezTo>
                      <a:cubicBezTo>
                        <a:pt x="99" y="608"/>
                        <a:pt x="98" y="606"/>
                        <a:pt x="100" y="605"/>
                      </a:cubicBezTo>
                      <a:cubicBezTo>
                        <a:pt x="100" y="605"/>
                        <a:pt x="99" y="606"/>
                        <a:pt x="99" y="606"/>
                      </a:cubicBezTo>
                      <a:cubicBezTo>
                        <a:pt x="100" y="605"/>
                        <a:pt x="99" y="606"/>
                        <a:pt x="99" y="606"/>
                      </a:cubicBezTo>
                      <a:close/>
                      <a:moveTo>
                        <a:pt x="93" y="601"/>
                      </a:moveTo>
                      <a:cubicBezTo>
                        <a:pt x="92" y="601"/>
                        <a:pt x="91" y="602"/>
                        <a:pt x="92" y="602"/>
                      </a:cubicBezTo>
                      <a:cubicBezTo>
                        <a:pt x="92" y="603"/>
                        <a:pt x="95" y="603"/>
                        <a:pt x="96" y="603"/>
                      </a:cubicBezTo>
                      <a:cubicBezTo>
                        <a:pt x="97" y="602"/>
                        <a:pt x="96" y="601"/>
                        <a:pt x="95" y="600"/>
                      </a:cubicBezTo>
                      <a:cubicBezTo>
                        <a:pt x="94" y="600"/>
                        <a:pt x="93" y="600"/>
                        <a:pt x="92" y="601"/>
                      </a:cubicBezTo>
                      <a:cubicBezTo>
                        <a:pt x="92" y="601"/>
                        <a:pt x="93" y="601"/>
                        <a:pt x="93" y="601"/>
                      </a:cubicBezTo>
                      <a:cubicBezTo>
                        <a:pt x="92" y="601"/>
                        <a:pt x="93" y="601"/>
                        <a:pt x="93" y="601"/>
                      </a:cubicBezTo>
                      <a:close/>
                      <a:moveTo>
                        <a:pt x="91" y="619"/>
                      </a:moveTo>
                      <a:cubicBezTo>
                        <a:pt x="90" y="620"/>
                        <a:pt x="90" y="620"/>
                        <a:pt x="91" y="621"/>
                      </a:cubicBezTo>
                      <a:cubicBezTo>
                        <a:pt x="92" y="622"/>
                        <a:pt x="93" y="623"/>
                        <a:pt x="94" y="622"/>
                      </a:cubicBezTo>
                      <a:cubicBezTo>
                        <a:pt x="95" y="620"/>
                        <a:pt x="92" y="618"/>
                        <a:pt x="91" y="619"/>
                      </a:cubicBezTo>
                      <a:cubicBezTo>
                        <a:pt x="91" y="619"/>
                        <a:pt x="91" y="619"/>
                        <a:pt x="91" y="619"/>
                      </a:cubicBezTo>
                      <a:cubicBezTo>
                        <a:pt x="91" y="619"/>
                        <a:pt x="91" y="619"/>
                        <a:pt x="91" y="619"/>
                      </a:cubicBezTo>
                      <a:close/>
                      <a:moveTo>
                        <a:pt x="108" y="637"/>
                      </a:moveTo>
                      <a:cubicBezTo>
                        <a:pt x="110" y="635"/>
                        <a:pt x="115" y="641"/>
                        <a:pt x="112" y="642"/>
                      </a:cubicBezTo>
                      <a:cubicBezTo>
                        <a:pt x="111" y="643"/>
                        <a:pt x="109" y="641"/>
                        <a:pt x="109" y="641"/>
                      </a:cubicBezTo>
                      <a:cubicBezTo>
                        <a:pt x="107" y="639"/>
                        <a:pt x="108" y="638"/>
                        <a:pt x="109" y="637"/>
                      </a:cubicBezTo>
                      <a:cubicBezTo>
                        <a:pt x="109" y="637"/>
                        <a:pt x="108" y="637"/>
                        <a:pt x="108" y="637"/>
                      </a:cubicBezTo>
                      <a:cubicBezTo>
                        <a:pt x="110" y="636"/>
                        <a:pt x="108" y="637"/>
                        <a:pt x="108" y="637"/>
                      </a:cubicBezTo>
                      <a:close/>
                      <a:moveTo>
                        <a:pt x="116" y="640"/>
                      </a:moveTo>
                      <a:cubicBezTo>
                        <a:pt x="117" y="638"/>
                        <a:pt x="121" y="640"/>
                        <a:pt x="120" y="642"/>
                      </a:cubicBezTo>
                      <a:cubicBezTo>
                        <a:pt x="120" y="643"/>
                        <a:pt x="118" y="644"/>
                        <a:pt x="117" y="643"/>
                      </a:cubicBezTo>
                      <a:cubicBezTo>
                        <a:pt x="116" y="641"/>
                        <a:pt x="116" y="641"/>
                        <a:pt x="117" y="639"/>
                      </a:cubicBezTo>
                      <a:cubicBezTo>
                        <a:pt x="117" y="639"/>
                        <a:pt x="117" y="639"/>
                        <a:pt x="116" y="640"/>
                      </a:cubicBezTo>
                      <a:cubicBezTo>
                        <a:pt x="117" y="638"/>
                        <a:pt x="116" y="640"/>
                        <a:pt x="116" y="640"/>
                      </a:cubicBezTo>
                      <a:close/>
                      <a:moveTo>
                        <a:pt x="106" y="646"/>
                      </a:moveTo>
                      <a:cubicBezTo>
                        <a:pt x="107" y="646"/>
                        <a:pt x="108" y="645"/>
                        <a:pt x="109" y="645"/>
                      </a:cubicBezTo>
                      <a:cubicBezTo>
                        <a:pt x="110" y="645"/>
                        <a:pt x="111" y="646"/>
                        <a:pt x="110" y="647"/>
                      </a:cubicBezTo>
                      <a:cubicBezTo>
                        <a:pt x="109" y="648"/>
                        <a:pt x="108" y="648"/>
                        <a:pt x="108" y="649"/>
                      </a:cubicBezTo>
                      <a:cubicBezTo>
                        <a:pt x="107" y="650"/>
                        <a:pt x="107" y="651"/>
                        <a:pt x="106" y="650"/>
                      </a:cubicBezTo>
                      <a:cubicBezTo>
                        <a:pt x="105" y="650"/>
                        <a:pt x="104" y="649"/>
                        <a:pt x="104" y="648"/>
                      </a:cubicBezTo>
                      <a:cubicBezTo>
                        <a:pt x="103" y="647"/>
                        <a:pt x="102" y="646"/>
                        <a:pt x="103" y="646"/>
                      </a:cubicBezTo>
                      <a:cubicBezTo>
                        <a:pt x="105" y="645"/>
                        <a:pt x="105" y="648"/>
                        <a:pt x="107" y="646"/>
                      </a:cubicBezTo>
                      <a:cubicBezTo>
                        <a:pt x="107" y="646"/>
                        <a:pt x="107" y="646"/>
                        <a:pt x="106" y="646"/>
                      </a:cubicBezTo>
                      <a:cubicBezTo>
                        <a:pt x="107" y="646"/>
                        <a:pt x="106" y="646"/>
                        <a:pt x="106" y="646"/>
                      </a:cubicBezTo>
                      <a:close/>
                      <a:moveTo>
                        <a:pt x="93" y="637"/>
                      </a:moveTo>
                      <a:cubicBezTo>
                        <a:pt x="92" y="639"/>
                        <a:pt x="93" y="640"/>
                        <a:pt x="94" y="641"/>
                      </a:cubicBezTo>
                      <a:cubicBezTo>
                        <a:pt x="94" y="642"/>
                        <a:pt x="95" y="642"/>
                        <a:pt x="95" y="641"/>
                      </a:cubicBezTo>
                      <a:cubicBezTo>
                        <a:pt x="96" y="641"/>
                        <a:pt x="96" y="640"/>
                        <a:pt x="96" y="640"/>
                      </a:cubicBezTo>
                      <a:cubicBezTo>
                        <a:pt x="96" y="639"/>
                        <a:pt x="96" y="638"/>
                        <a:pt x="95" y="637"/>
                      </a:cubicBezTo>
                      <a:cubicBezTo>
                        <a:pt x="93" y="637"/>
                        <a:pt x="93" y="637"/>
                        <a:pt x="93" y="638"/>
                      </a:cubicBezTo>
                      <a:cubicBezTo>
                        <a:pt x="93" y="638"/>
                        <a:pt x="93" y="637"/>
                        <a:pt x="93" y="637"/>
                      </a:cubicBezTo>
                      <a:cubicBezTo>
                        <a:pt x="92" y="639"/>
                        <a:pt x="93" y="637"/>
                        <a:pt x="93" y="637"/>
                      </a:cubicBezTo>
                      <a:close/>
                      <a:moveTo>
                        <a:pt x="97" y="630"/>
                      </a:moveTo>
                      <a:cubicBezTo>
                        <a:pt x="97" y="629"/>
                        <a:pt x="99" y="630"/>
                        <a:pt x="100" y="630"/>
                      </a:cubicBezTo>
                      <a:cubicBezTo>
                        <a:pt x="101" y="630"/>
                        <a:pt x="101" y="631"/>
                        <a:pt x="102" y="631"/>
                      </a:cubicBezTo>
                      <a:cubicBezTo>
                        <a:pt x="102" y="631"/>
                        <a:pt x="101" y="632"/>
                        <a:pt x="100" y="632"/>
                      </a:cubicBezTo>
                      <a:cubicBezTo>
                        <a:pt x="100" y="632"/>
                        <a:pt x="99" y="635"/>
                        <a:pt x="98" y="634"/>
                      </a:cubicBezTo>
                      <a:cubicBezTo>
                        <a:pt x="97" y="632"/>
                        <a:pt x="97" y="631"/>
                        <a:pt x="97" y="630"/>
                      </a:cubicBezTo>
                      <a:cubicBezTo>
                        <a:pt x="97" y="630"/>
                        <a:pt x="97" y="630"/>
                        <a:pt x="97" y="630"/>
                      </a:cubicBezTo>
                      <a:cubicBezTo>
                        <a:pt x="97" y="629"/>
                        <a:pt x="97" y="630"/>
                        <a:pt x="97" y="630"/>
                      </a:cubicBezTo>
                      <a:close/>
                      <a:moveTo>
                        <a:pt x="120" y="660"/>
                      </a:moveTo>
                      <a:cubicBezTo>
                        <a:pt x="120" y="659"/>
                        <a:pt x="122" y="659"/>
                        <a:pt x="122" y="660"/>
                      </a:cubicBezTo>
                      <a:cubicBezTo>
                        <a:pt x="123" y="661"/>
                        <a:pt x="122" y="661"/>
                        <a:pt x="122" y="662"/>
                      </a:cubicBezTo>
                      <a:cubicBezTo>
                        <a:pt x="122" y="663"/>
                        <a:pt x="123" y="663"/>
                        <a:pt x="123" y="664"/>
                      </a:cubicBezTo>
                      <a:cubicBezTo>
                        <a:pt x="124" y="666"/>
                        <a:pt x="121" y="664"/>
                        <a:pt x="120" y="664"/>
                      </a:cubicBezTo>
                      <a:cubicBezTo>
                        <a:pt x="119" y="663"/>
                        <a:pt x="120" y="661"/>
                        <a:pt x="120" y="659"/>
                      </a:cubicBezTo>
                      <a:cubicBezTo>
                        <a:pt x="120" y="660"/>
                        <a:pt x="120" y="660"/>
                        <a:pt x="120" y="660"/>
                      </a:cubicBezTo>
                      <a:cubicBezTo>
                        <a:pt x="120" y="659"/>
                        <a:pt x="120" y="660"/>
                        <a:pt x="120" y="660"/>
                      </a:cubicBezTo>
                      <a:close/>
                      <a:moveTo>
                        <a:pt x="115" y="663"/>
                      </a:moveTo>
                      <a:cubicBezTo>
                        <a:pt x="116" y="661"/>
                        <a:pt x="119" y="664"/>
                        <a:pt x="118" y="665"/>
                      </a:cubicBezTo>
                      <a:cubicBezTo>
                        <a:pt x="117" y="666"/>
                        <a:pt x="115" y="665"/>
                        <a:pt x="115" y="665"/>
                      </a:cubicBezTo>
                      <a:cubicBezTo>
                        <a:pt x="114" y="664"/>
                        <a:pt x="115" y="662"/>
                        <a:pt x="115" y="662"/>
                      </a:cubicBezTo>
                      <a:cubicBezTo>
                        <a:pt x="115" y="662"/>
                        <a:pt x="115" y="662"/>
                        <a:pt x="115" y="663"/>
                      </a:cubicBezTo>
                      <a:cubicBezTo>
                        <a:pt x="117" y="661"/>
                        <a:pt x="115" y="663"/>
                        <a:pt x="115" y="663"/>
                      </a:cubicBezTo>
                      <a:close/>
                      <a:moveTo>
                        <a:pt x="104" y="654"/>
                      </a:moveTo>
                      <a:cubicBezTo>
                        <a:pt x="106" y="653"/>
                        <a:pt x="109" y="656"/>
                        <a:pt x="106" y="657"/>
                      </a:cubicBezTo>
                      <a:cubicBezTo>
                        <a:pt x="106" y="657"/>
                        <a:pt x="105" y="657"/>
                        <a:pt x="105" y="657"/>
                      </a:cubicBezTo>
                      <a:cubicBezTo>
                        <a:pt x="105" y="658"/>
                        <a:pt x="104" y="659"/>
                        <a:pt x="104" y="658"/>
                      </a:cubicBezTo>
                      <a:cubicBezTo>
                        <a:pt x="102" y="658"/>
                        <a:pt x="104" y="655"/>
                        <a:pt x="104" y="654"/>
                      </a:cubicBezTo>
                      <a:cubicBezTo>
                        <a:pt x="104" y="654"/>
                        <a:pt x="104" y="654"/>
                        <a:pt x="104" y="654"/>
                      </a:cubicBezTo>
                      <a:cubicBezTo>
                        <a:pt x="106" y="653"/>
                        <a:pt x="104" y="654"/>
                        <a:pt x="104" y="654"/>
                      </a:cubicBezTo>
                      <a:close/>
                      <a:moveTo>
                        <a:pt x="101" y="668"/>
                      </a:moveTo>
                      <a:cubicBezTo>
                        <a:pt x="101" y="667"/>
                        <a:pt x="102" y="665"/>
                        <a:pt x="103" y="666"/>
                      </a:cubicBezTo>
                      <a:cubicBezTo>
                        <a:pt x="104" y="666"/>
                        <a:pt x="103" y="668"/>
                        <a:pt x="103" y="669"/>
                      </a:cubicBezTo>
                      <a:cubicBezTo>
                        <a:pt x="102" y="670"/>
                        <a:pt x="101" y="671"/>
                        <a:pt x="100" y="670"/>
                      </a:cubicBezTo>
                      <a:cubicBezTo>
                        <a:pt x="100" y="669"/>
                        <a:pt x="101" y="667"/>
                        <a:pt x="101" y="666"/>
                      </a:cubicBezTo>
                      <a:cubicBezTo>
                        <a:pt x="101" y="667"/>
                        <a:pt x="101" y="667"/>
                        <a:pt x="101" y="668"/>
                      </a:cubicBezTo>
                      <a:cubicBezTo>
                        <a:pt x="101" y="667"/>
                        <a:pt x="101" y="668"/>
                        <a:pt x="101" y="668"/>
                      </a:cubicBezTo>
                      <a:close/>
                      <a:moveTo>
                        <a:pt x="98" y="656"/>
                      </a:moveTo>
                      <a:cubicBezTo>
                        <a:pt x="98" y="655"/>
                        <a:pt x="100" y="656"/>
                        <a:pt x="100" y="656"/>
                      </a:cubicBezTo>
                      <a:cubicBezTo>
                        <a:pt x="100" y="657"/>
                        <a:pt x="99" y="659"/>
                        <a:pt x="98" y="659"/>
                      </a:cubicBezTo>
                      <a:cubicBezTo>
                        <a:pt x="98" y="660"/>
                        <a:pt x="96" y="659"/>
                        <a:pt x="97" y="659"/>
                      </a:cubicBezTo>
                      <a:cubicBezTo>
                        <a:pt x="98" y="658"/>
                        <a:pt x="98" y="656"/>
                        <a:pt x="98" y="655"/>
                      </a:cubicBezTo>
                      <a:cubicBezTo>
                        <a:pt x="98" y="656"/>
                        <a:pt x="98" y="656"/>
                        <a:pt x="98" y="656"/>
                      </a:cubicBezTo>
                      <a:cubicBezTo>
                        <a:pt x="98" y="655"/>
                        <a:pt x="98" y="656"/>
                        <a:pt x="98" y="656"/>
                      </a:cubicBezTo>
                      <a:close/>
                      <a:moveTo>
                        <a:pt x="125" y="674"/>
                      </a:moveTo>
                      <a:cubicBezTo>
                        <a:pt x="125" y="674"/>
                        <a:pt x="124" y="675"/>
                        <a:pt x="125" y="676"/>
                      </a:cubicBezTo>
                      <a:cubicBezTo>
                        <a:pt x="125" y="676"/>
                        <a:pt x="125" y="677"/>
                        <a:pt x="125" y="677"/>
                      </a:cubicBezTo>
                      <a:cubicBezTo>
                        <a:pt x="126" y="678"/>
                        <a:pt x="125" y="678"/>
                        <a:pt x="125" y="679"/>
                      </a:cubicBezTo>
                      <a:cubicBezTo>
                        <a:pt x="125" y="680"/>
                        <a:pt x="126" y="680"/>
                        <a:pt x="126" y="681"/>
                      </a:cubicBezTo>
                      <a:cubicBezTo>
                        <a:pt x="128" y="682"/>
                        <a:pt x="126" y="683"/>
                        <a:pt x="125" y="684"/>
                      </a:cubicBezTo>
                      <a:cubicBezTo>
                        <a:pt x="125" y="684"/>
                        <a:pt x="123" y="687"/>
                        <a:pt x="125" y="687"/>
                      </a:cubicBezTo>
                      <a:cubicBezTo>
                        <a:pt x="126" y="686"/>
                        <a:pt x="127" y="686"/>
                        <a:pt x="127" y="685"/>
                      </a:cubicBezTo>
                      <a:cubicBezTo>
                        <a:pt x="128" y="684"/>
                        <a:pt x="130" y="685"/>
                        <a:pt x="131" y="684"/>
                      </a:cubicBezTo>
                      <a:cubicBezTo>
                        <a:pt x="132" y="683"/>
                        <a:pt x="132" y="682"/>
                        <a:pt x="134" y="681"/>
                      </a:cubicBezTo>
                      <a:cubicBezTo>
                        <a:pt x="135" y="680"/>
                        <a:pt x="136" y="680"/>
                        <a:pt x="137" y="679"/>
                      </a:cubicBezTo>
                      <a:cubicBezTo>
                        <a:pt x="138" y="678"/>
                        <a:pt x="139" y="678"/>
                        <a:pt x="141" y="678"/>
                      </a:cubicBezTo>
                      <a:cubicBezTo>
                        <a:pt x="142" y="678"/>
                        <a:pt x="142" y="676"/>
                        <a:pt x="142" y="675"/>
                      </a:cubicBezTo>
                      <a:cubicBezTo>
                        <a:pt x="141" y="672"/>
                        <a:pt x="138" y="677"/>
                        <a:pt x="137" y="678"/>
                      </a:cubicBezTo>
                      <a:cubicBezTo>
                        <a:pt x="136" y="678"/>
                        <a:pt x="135" y="678"/>
                        <a:pt x="134" y="677"/>
                      </a:cubicBezTo>
                      <a:cubicBezTo>
                        <a:pt x="133" y="676"/>
                        <a:pt x="133" y="675"/>
                        <a:pt x="131" y="676"/>
                      </a:cubicBezTo>
                      <a:cubicBezTo>
                        <a:pt x="129" y="676"/>
                        <a:pt x="129" y="675"/>
                        <a:pt x="128" y="674"/>
                      </a:cubicBezTo>
                      <a:cubicBezTo>
                        <a:pt x="126" y="673"/>
                        <a:pt x="125" y="673"/>
                        <a:pt x="125" y="674"/>
                      </a:cubicBezTo>
                      <a:cubicBezTo>
                        <a:pt x="125" y="674"/>
                        <a:pt x="125" y="674"/>
                        <a:pt x="125" y="674"/>
                      </a:cubicBezTo>
                      <a:cubicBezTo>
                        <a:pt x="125" y="674"/>
                        <a:pt x="125" y="674"/>
                        <a:pt x="125" y="674"/>
                      </a:cubicBezTo>
                      <a:close/>
                      <a:moveTo>
                        <a:pt x="112" y="673"/>
                      </a:moveTo>
                      <a:cubicBezTo>
                        <a:pt x="113" y="672"/>
                        <a:pt x="116" y="675"/>
                        <a:pt x="116" y="676"/>
                      </a:cubicBezTo>
                      <a:cubicBezTo>
                        <a:pt x="117" y="677"/>
                        <a:pt x="121" y="678"/>
                        <a:pt x="118" y="679"/>
                      </a:cubicBezTo>
                      <a:cubicBezTo>
                        <a:pt x="117" y="680"/>
                        <a:pt x="115" y="680"/>
                        <a:pt x="114" y="679"/>
                      </a:cubicBezTo>
                      <a:cubicBezTo>
                        <a:pt x="113" y="679"/>
                        <a:pt x="115" y="677"/>
                        <a:pt x="115" y="677"/>
                      </a:cubicBezTo>
                      <a:cubicBezTo>
                        <a:pt x="114" y="675"/>
                        <a:pt x="111" y="675"/>
                        <a:pt x="113" y="673"/>
                      </a:cubicBezTo>
                      <a:cubicBezTo>
                        <a:pt x="113" y="673"/>
                        <a:pt x="113" y="673"/>
                        <a:pt x="112" y="673"/>
                      </a:cubicBezTo>
                      <a:cubicBezTo>
                        <a:pt x="113" y="672"/>
                        <a:pt x="112" y="673"/>
                        <a:pt x="112" y="673"/>
                      </a:cubicBezTo>
                      <a:close/>
                      <a:moveTo>
                        <a:pt x="104" y="675"/>
                      </a:moveTo>
                      <a:cubicBezTo>
                        <a:pt x="108" y="675"/>
                        <a:pt x="105" y="679"/>
                        <a:pt x="104" y="678"/>
                      </a:cubicBezTo>
                      <a:cubicBezTo>
                        <a:pt x="104" y="677"/>
                        <a:pt x="102" y="676"/>
                        <a:pt x="103" y="676"/>
                      </a:cubicBezTo>
                      <a:cubicBezTo>
                        <a:pt x="104" y="675"/>
                        <a:pt x="105" y="675"/>
                        <a:pt x="105" y="675"/>
                      </a:cubicBezTo>
                      <a:cubicBezTo>
                        <a:pt x="105" y="675"/>
                        <a:pt x="105" y="675"/>
                        <a:pt x="104" y="675"/>
                      </a:cubicBezTo>
                      <a:cubicBezTo>
                        <a:pt x="105" y="675"/>
                        <a:pt x="104" y="675"/>
                        <a:pt x="104" y="675"/>
                      </a:cubicBezTo>
                      <a:close/>
                      <a:moveTo>
                        <a:pt x="133" y="687"/>
                      </a:moveTo>
                      <a:cubicBezTo>
                        <a:pt x="134" y="686"/>
                        <a:pt x="135" y="687"/>
                        <a:pt x="135" y="689"/>
                      </a:cubicBezTo>
                      <a:cubicBezTo>
                        <a:pt x="135" y="690"/>
                        <a:pt x="133" y="691"/>
                        <a:pt x="134" y="692"/>
                      </a:cubicBezTo>
                      <a:cubicBezTo>
                        <a:pt x="134" y="692"/>
                        <a:pt x="136" y="694"/>
                        <a:pt x="135" y="695"/>
                      </a:cubicBezTo>
                      <a:cubicBezTo>
                        <a:pt x="134" y="695"/>
                        <a:pt x="133" y="694"/>
                        <a:pt x="132" y="695"/>
                      </a:cubicBezTo>
                      <a:cubicBezTo>
                        <a:pt x="131" y="695"/>
                        <a:pt x="131" y="695"/>
                        <a:pt x="130" y="695"/>
                      </a:cubicBezTo>
                      <a:cubicBezTo>
                        <a:pt x="129" y="695"/>
                        <a:pt x="128" y="694"/>
                        <a:pt x="129" y="693"/>
                      </a:cubicBezTo>
                      <a:cubicBezTo>
                        <a:pt x="129" y="693"/>
                        <a:pt x="130" y="693"/>
                        <a:pt x="130" y="692"/>
                      </a:cubicBezTo>
                      <a:cubicBezTo>
                        <a:pt x="130" y="692"/>
                        <a:pt x="129" y="691"/>
                        <a:pt x="129" y="691"/>
                      </a:cubicBezTo>
                      <a:cubicBezTo>
                        <a:pt x="128" y="689"/>
                        <a:pt x="131" y="689"/>
                        <a:pt x="132" y="689"/>
                      </a:cubicBezTo>
                      <a:cubicBezTo>
                        <a:pt x="132" y="688"/>
                        <a:pt x="133" y="687"/>
                        <a:pt x="134" y="687"/>
                      </a:cubicBezTo>
                      <a:cubicBezTo>
                        <a:pt x="133" y="687"/>
                        <a:pt x="133" y="687"/>
                        <a:pt x="133" y="687"/>
                      </a:cubicBezTo>
                      <a:cubicBezTo>
                        <a:pt x="134" y="686"/>
                        <a:pt x="133" y="687"/>
                        <a:pt x="133" y="687"/>
                      </a:cubicBezTo>
                      <a:close/>
                      <a:moveTo>
                        <a:pt x="133" y="698"/>
                      </a:moveTo>
                      <a:cubicBezTo>
                        <a:pt x="134" y="696"/>
                        <a:pt x="137" y="699"/>
                        <a:pt x="137" y="700"/>
                      </a:cubicBezTo>
                      <a:cubicBezTo>
                        <a:pt x="138" y="700"/>
                        <a:pt x="138" y="702"/>
                        <a:pt x="139" y="702"/>
                      </a:cubicBezTo>
                      <a:cubicBezTo>
                        <a:pt x="140" y="703"/>
                        <a:pt x="142" y="704"/>
                        <a:pt x="141" y="705"/>
                      </a:cubicBezTo>
                      <a:cubicBezTo>
                        <a:pt x="141" y="705"/>
                        <a:pt x="140" y="705"/>
                        <a:pt x="139" y="705"/>
                      </a:cubicBezTo>
                      <a:cubicBezTo>
                        <a:pt x="138" y="704"/>
                        <a:pt x="137" y="703"/>
                        <a:pt x="137" y="702"/>
                      </a:cubicBezTo>
                      <a:cubicBezTo>
                        <a:pt x="136" y="701"/>
                        <a:pt x="135" y="701"/>
                        <a:pt x="134" y="700"/>
                      </a:cubicBezTo>
                      <a:cubicBezTo>
                        <a:pt x="132" y="700"/>
                        <a:pt x="133" y="699"/>
                        <a:pt x="133" y="698"/>
                      </a:cubicBezTo>
                      <a:cubicBezTo>
                        <a:pt x="133" y="698"/>
                        <a:pt x="133" y="698"/>
                        <a:pt x="133" y="698"/>
                      </a:cubicBezTo>
                      <a:cubicBezTo>
                        <a:pt x="134" y="696"/>
                        <a:pt x="133" y="698"/>
                        <a:pt x="133" y="698"/>
                      </a:cubicBezTo>
                      <a:close/>
                      <a:moveTo>
                        <a:pt x="119" y="683"/>
                      </a:moveTo>
                      <a:cubicBezTo>
                        <a:pt x="122" y="681"/>
                        <a:pt x="123" y="683"/>
                        <a:pt x="121" y="685"/>
                      </a:cubicBezTo>
                      <a:cubicBezTo>
                        <a:pt x="120" y="686"/>
                        <a:pt x="119" y="686"/>
                        <a:pt x="118" y="685"/>
                      </a:cubicBezTo>
                      <a:cubicBezTo>
                        <a:pt x="118" y="684"/>
                        <a:pt x="119" y="683"/>
                        <a:pt x="120" y="682"/>
                      </a:cubicBezTo>
                      <a:cubicBezTo>
                        <a:pt x="120" y="682"/>
                        <a:pt x="119" y="683"/>
                        <a:pt x="119" y="683"/>
                      </a:cubicBezTo>
                      <a:cubicBezTo>
                        <a:pt x="120" y="682"/>
                        <a:pt x="119" y="683"/>
                        <a:pt x="119" y="683"/>
                      </a:cubicBezTo>
                      <a:close/>
                      <a:moveTo>
                        <a:pt x="107" y="689"/>
                      </a:moveTo>
                      <a:cubicBezTo>
                        <a:pt x="107" y="687"/>
                        <a:pt x="108" y="688"/>
                        <a:pt x="109" y="689"/>
                      </a:cubicBezTo>
                      <a:cubicBezTo>
                        <a:pt x="109" y="689"/>
                        <a:pt x="109" y="690"/>
                        <a:pt x="110" y="690"/>
                      </a:cubicBezTo>
                      <a:cubicBezTo>
                        <a:pt x="111" y="691"/>
                        <a:pt x="111" y="691"/>
                        <a:pt x="111" y="692"/>
                      </a:cubicBezTo>
                      <a:cubicBezTo>
                        <a:pt x="111" y="693"/>
                        <a:pt x="109" y="692"/>
                        <a:pt x="108" y="692"/>
                      </a:cubicBezTo>
                      <a:cubicBezTo>
                        <a:pt x="107" y="691"/>
                        <a:pt x="107" y="689"/>
                        <a:pt x="107" y="688"/>
                      </a:cubicBezTo>
                      <a:cubicBezTo>
                        <a:pt x="107" y="688"/>
                        <a:pt x="107" y="688"/>
                        <a:pt x="107" y="689"/>
                      </a:cubicBezTo>
                      <a:cubicBezTo>
                        <a:pt x="107" y="687"/>
                        <a:pt x="107" y="689"/>
                        <a:pt x="107" y="689"/>
                      </a:cubicBezTo>
                      <a:close/>
                      <a:moveTo>
                        <a:pt x="115" y="693"/>
                      </a:moveTo>
                      <a:cubicBezTo>
                        <a:pt x="115" y="693"/>
                        <a:pt x="119" y="693"/>
                        <a:pt x="118" y="695"/>
                      </a:cubicBezTo>
                      <a:cubicBezTo>
                        <a:pt x="118" y="696"/>
                        <a:pt x="115" y="695"/>
                        <a:pt x="114" y="696"/>
                      </a:cubicBezTo>
                      <a:cubicBezTo>
                        <a:pt x="114" y="696"/>
                        <a:pt x="113" y="696"/>
                        <a:pt x="112" y="696"/>
                      </a:cubicBezTo>
                      <a:cubicBezTo>
                        <a:pt x="111" y="695"/>
                        <a:pt x="111" y="694"/>
                        <a:pt x="112" y="694"/>
                      </a:cubicBezTo>
                      <a:cubicBezTo>
                        <a:pt x="113" y="693"/>
                        <a:pt x="114" y="693"/>
                        <a:pt x="115" y="693"/>
                      </a:cubicBezTo>
                      <a:cubicBezTo>
                        <a:pt x="115" y="693"/>
                        <a:pt x="115" y="693"/>
                        <a:pt x="115" y="693"/>
                      </a:cubicBezTo>
                      <a:cubicBezTo>
                        <a:pt x="116" y="693"/>
                        <a:pt x="115" y="693"/>
                        <a:pt x="115" y="693"/>
                      </a:cubicBezTo>
                      <a:close/>
                      <a:moveTo>
                        <a:pt x="122" y="695"/>
                      </a:moveTo>
                      <a:cubicBezTo>
                        <a:pt x="123" y="694"/>
                        <a:pt x="126" y="696"/>
                        <a:pt x="126" y="698"/>
                      </a:cubicBezTo>
                      <a:cubicBezTo>
                        <a:pt x="126" y="699"/>
                        <a:pt x="126" y="700"/>
                        <a:pt x="126" y="700"/>
                      </a:cubicBezTo>
                      <a:cubicBezTo>
                        <a:pt x="126" y="701"/>
                        <a:pt x="125" y="701"/>
                        <a:pt x="124" y="701"/>
                      </a:cubicBezTo>
                      <a:cubicBezTo>
                        <a:pt x="124" y="700"/>
                        <a:pt x="124" y="698"/>
                        <a:pt x="123" y="698"/>
                      </a:cubicBezTo>
                      <a:cubicBezTo>
                        <a:pt x="120" y="697"/>
                        <a:pt x="121" y="696"/>
                        <a:pt x="122" y="695"/>
                      </a:cubicBezTo>
                      <a:cubicBezTo>
                        <a:pt x="122" y="695"/>
                        <a:pt x="122" y="695"/>
                        <a:pt x="122" y="695"/>
                      </a:cubicBezTo>
                      <a:cubicBezTo>
                        <a:pt x="123" y="694"/>
                        <a:pt x="122" y="695"/>
                        <a:pt x="122" y="695"/>
                      </a:cubicBezTo>
                      <a:close/>
                      <a:moveTo>
                        <a:pt x="133" y="704"/>
                      </a:moveTo>
                      <a:cubicBezTo>
                        <a:pt x="135" y="703"/>
                        <a:pt x="135" y="705"/>
                        <a:pt x="136" y="706"/>
                      </a:cubicBezTo>
                      <a:cubicBezTo>
                        <a:pt x="137" y="708"/>
                        <a:pt x="139" y="708"/>
                        <a:pt x="141" y="708"/>
                      </a:cubicBezTo>
                      <a:cubicBezTo>
                        <a:pt x="143" y="707"/>
                        <a:pt x="143" y="709"/>
                        <a:pt x="143" y="710"/>
                      </a:cubicBezTo>
                      <a:cubicBezTo>
                        <a:pt x="144" y="712"/>
                        <a:pt x="147" y="711"/>
                        <a:pt x="148" y="713"/>
                      </a:cubicBezTo>
                      <a:cubicBezTo>
                        <a:pt x="148" y="714"/>
                        <a:pt x="148" y="715"/>
                        <a:pt x="146" y="715"/>
                      </a:cubicBezTo>
                      <a:cubicBezTo>
                        <a:pt x="144" y="715"/>
                        <a:pt x="145" y="717"/>
                        <a:pt x="143" y="718"/>
                      </a:cubicBezTo>
                      <a:cubicBezTo>
                        <a:pt x="142" y="719"/>
                        <a:pt x="138" y="721"/>
                        <a:pt x="137" y="720"/>
                      </a:cubicBezTo>
                      <a:cubicBezTo>
                        <a:pt x="135" y="719"/>
                        <a:pt x="136" y="717"/>
                        <a:pt x="137" y="716"/>
                      </a:cubicBezTo>
                      <a:cubicBezTo>
                        <a:pt x="138" y="716"/>
                        <a:pt x="141" y="715"/>
                        <a:pt x="140" y="714"/>
                      </a:cubicBezTo>
                      <a:cubicBezTo>
                        <a:pt x="139" y="713"/>
                        <a:pt x="136" y="712"/>
                        <a:pt x="135" y="713"/>
                      </a:cubicBezTo>
                      <a:cubicBezTo>
                        <a:pt x="133" y="714"/>
                        <a:pt x="133" y="716"/>
                        <a:pt x="131" y="716"/>
                      </a:cubicBezTo>
                      <a:cubicBezTo>
                        <a:pt x="130" y="716"/>
                        <a:pt x="129" y="714"/>
                        <a:pt x="130" y="713"/>
                      </a:cubicBezTo>
                      <a:cubicBezTo>
                        <a:pt x="131" y="711"/>
                        <a:pt x="132" y="710"/>
                        <a:pt x="133" y="710"/>
                      </a:cubicBezTo>
                      <a:cubicBezTo>
                        <a:pt x="134" y="710"/>
                        <a:pt x="134" y="710"/>
                        <a:pt x="135" y="710"/>
                      </a:cubicBezTo>
                      <a:cubicBezTo>
                        <a:pt x="136" y="710"/>
                        <a:pt x="136" y="709"/>
                        <a:pt x="135" y="708"/>
                      </a:cubicBezTo>
                      <a:cubicBezTo>
                        <a:pt x="134" y="708"/>
                        <a:pt x="132" y="709"/>
                        <a:pt x="132" y="707"/>
                      </a:cubicBezTo>
                      <a:cubicBezTo>
                        <a:pt x="131" y="706"/>
                        <a:pt x="132" y="705"/>
                        <a:pt x="133" y="704"/>
                      </a:cubicBezTo>
                      <a:cubicBezTo>
                        <a:pt x="133" y="704"/>
                        <a:pt x="133" y="704"/>
                        <a:pt x="133" y="704"/>
                      </a:cubicBezTo>
                      <a:cubicBezTo>
                        <a:pt x="134" y="703"/>
                        <a:pt x="133" y="704"/>
                        <a:pt x="133" y="704"/>
                      </a:cubicBezTo>
                      <a:close/>
                      <a:moveTo>
                        <a:pt x="125" y="708"/>
                      </a:moveTo>
                      <a:cubicBezTo>
                        <a:pt x="125" y="706"/>
                        <a:pt x="127" y="707"/>
                        <a:pt x="127" y="708"/>
                      </a:cubicBezTo>
                      <a:cubicBezTo>
                        <a:pt x="128" y="708"/>
                        <a:pt x="130" y="709"/>
                        <a:pt x="129" y="709"/>
                      </a:cubicBezTo>
                      <a:cubicBezTo>
                        <a:pt x="128" y="710"/>
                        <a:pt x="126" y="710"/>
                        <a:pt x="125" y="710"/>
                      </a:cubicBezTo>
                      <a:cubicBezTo>
                        <a:pt x="124" y="710"/>
                        <a:pt x="125" y="708"/>
                        <a:pt x="125" y="707"/>
                      </a:cubicBezTo>
                      <a:cubicBezTo>
                        <a:pt x="125" y="707"/>
                        <a:pt x="125" y="707"/>
                        <a:pt x="125" y="708"/>
                      </a:cubicBezTo>
                      <a:cubicBezTo>
                        <a:pt x="125" y="706"/>
                        <a:pt x="125" y="708"/>
                        <a:pt x="125" y="708"/>
                      </a:cubicBezTo>
                      <a:close/>
                      <a:moveTo>
                        <a:pt x="120" y="704"/>
                      </a:moveTo>
                      <a:cubicBezTo>
                        <a:pt x="121" y="703"/>
                        <a:pt x="124" y="705"/>
                        <a:pt x="122" y="706"/>
                      </a:cubicBezTo>
                      <a:cubicBezTo>
                        <a:pt x="122" y="706"/>
                        <a:pt x="120" y="707"/>
                        <a:pt x="120" y="706"/>
                      </a:cubicBezTo>
                      <a:cubicBezTo>
                        <a:pt x="120" y="705"/>
                        <a:pt x="120" y="705"/>
                        <a:pt x="121" y="704"/>
                      </a:cubicBezTo>
                      <a:cubicBezTo>
                        <a:pt x="121" y="704"/>
                        <a:pt x="121" y="704"/>
                        <a:pt x="120" y="704"/>
                      </a:cubicBezTo>
                      <a:cubicBezTo>
                        <a:pt x="121" y="703"/>
                        <a:pt x="120" y="704"/>
                        <a:pt x="120" y="704"/>
                      </a:cubicBezTo>
                      <a:close/>
                      <a:moveTo>
                        <a:pt x="129" y="718"/>
                      </a:moveTo>
                      <a:cubicBezTo>
                        <a:pt x="126" y="718"/>
                        <a:pt x="128" y="721"/>
                        <a:pt x="130" y="721"/>
                      </a:cubicBezTo>
                      <a:cubicBezTo>
                        <a:pt x="130" y="721"/>
                        <a:pt x="131" y="720"/>
                        <a:pt x="131" y="719"/>
                      </a:cubicBezTo>
                      <a:cubicBezTo>
                        <a:pt x="130" y="718"/>
                        <a:pt x="129" y="718"/>
                        <a:pt x="128" y="718"/>
                      </a:cubicBezTo>
                      <a:cubicBezTo>
                        <a:pt x="129" y="718"/>
                        <a:pt x="129" y="718"/>
                        <a:pt x="129" y="718"/>
                      </a:cubicBezTo>
                      <a:cubicBezTo>
                        <a:pt x="128" y="718"/>
                        <a:pt x="129" y="718"/>
                        <a:pt x="129" y="718"/>
                      </a:cubicBezTo>
                      <a:close/>
                      <a:moveTo>
                        <a:pt x="146" y="721"/>
                      </a:moveTo>
                      <a:cubicBezTo>
                        <a:pt x="145" y="721"/>
                        <a:pt x="144" y="722"/>
                        <a:pt x="145" y="722"/>
                      </a:cubicBezTo>
                      <a:cubicBezTo>
                        <a:pt x="146" y="723"/>
                        <a:pt x="147" y="723"/>
                        <a:pt x="148" y="723"/>
                      </a:cubicBezTo>
                      <a:cubicBezTo>
                        <a:pt x="149" y="721"/>
                        <a:pt x="147" y="720"/>
                        <a:pt x="145" y="721"/>
                      </a:cubicBezTo>
                      <a:cubicBezTo>
                        <a:pt x="146" y="721"/>
                        <a:pt x="146" y="721"/>
                        <a:pt x="146" y="721"/>
                      </a:cubicBezTo>
                      <a:cubicBezTo>
                        <a:pt x="146" y="721"/>
                        <a:pt x="146" y="721"/>
                        <a:pt x="146" y="721"/>
                      </a:cubicBezTo>
                      <a:close/>
                      <a:moveTo>
                        <a:pt x="150" y="717"/>
                      </a:moveTo>
                      <a:cubicBezTo>
                        <a:pt x="149" y="719"/>
                        <a:pt x="152" y="719"/>
                        <a:pt x="152" y="721"/>
                      </a:cubicBezTo>
                      <a:cubicBezTo>
                        <a:pt x="152" y="721"/>
                        <a:pt x="152" y="722"/>
                        <a:pt x="152" y="723"/>
                      </a:cubicBezTo>
                      <a:cubicBezTo>
                        <a:pt x="153" y="724"/>
                        <a:pt x="154" y="724"/>
                        <a:pt x="155" y="725"/>
                      </a:cubicBezTo>
                      <a:cubicBezTo>
                        <a:pt x="157" y="725"/>
                        <a:pt x="156" y="722"/>
                        <a:pt x="155" y="721"/>
                      </a:cubicBezTo>
                      <a:cubicBezTo>
                        <a:pt x="155" y="721"/>
                        <a:pt x="152" y="718"/>
                        <a:pt x="153" y="718"/>
                      </a:cubicBezTo>
                      <a:cubicBezTo>
                        <a:pt x="154" y="718"/>
                        <a:pt x="155" y="720"/>
                        <a:pt x="156" y="719"/>
                      </a:cubicBezTo>
                      <a:cubicBezTo>
                        <a:pt x="157" y="719"/>
                        <a:pt x="158" y="717"/>
                        <a:pt x="157" y="716"/>
                      </a:cubicBezTo>
                      <a:cubicBezTo>
                        <a:pt x="157" y="715"/>
                        <a:pt x="155" y="715"/>
                        <a:pt x="154" y="715"/>
                      </a:cubicBezTo>
                      <a:cubicBezTo>
                        <a:pt x="152" y="715"/>
                        <a:pt x="151" y="716"/>
                        <a:pt x="150" y="717"/>
                      </a:cubicBezTo>
                      <a:cubicBezTo>
                        <a:pt x="150" y="717"/>
                        <a:pt x="150" y="717"/>
                        <a:pt x="150" y="717"/>
                      </a:cubicBezTo>
                      <a:cubicBezTo>
                        <a:pt x="150" y="719"/>
                        <a:pt x="150" y="717"/>
                        <a:pt x="150" y="717"/>
                      </a:cubicBezTo>
                      <a:close/>
                      <a:moveTo>
                        <a:pt x="160" y="717"/>
                      </a:moveTo>
                      <a:cubicBezTo>
                        <a:pt x="161" y="717"/>
                        <a:pt x="163" y="717"/>
                        <a:pt x="164" y="719"/>
                      </a:cubicBezTo>
                      <a:cubicBezTo>
                        <a:pt x="165" y="721"/>
                        <a:pt x="162" y="720"/>
                        <a:pt x="161" y="720"/>
                      </a:cubicBezTo>
                      <a:cubicBezTo>
                        <a:pt x="161" y="720"/>
                        <a:pt x="160" y="721"/>
                        <a:pt x="160" y="721"/>
                      </a:cubicBezTo>
                      <a:cubicBezTo>
                        <a:pt x="159" y="721"/>
                        <a:pt x="159" y="720"/>
                        <a:pt x="158" y="720"/>
                      </a:cubicBezTo>
                      <a:cubicBezTo>
                        <a:pt x="158" y="718"/>
                        <a:pt x="160" y="717"/>
                        <a:pt x="160" y="717"/>
                      </a:cubicBezTo>
                      <a:cubicBezTo>
                        <a:pt x="160" y="717"/>
                        <a:pt x="160" y="717"/>
                        <a:pt x="160" y="717"/>
                      </a:cubicBezTo>
                      <a:cubicBezTo>
                        <a:pt x="161" y="717"/>
                        <a:pt x="160" y="717"/>
                        <a:pt x="160" y="717"/>
                      </a:cubicBezTo>
                      <a:close/>
                      <a:moveTo>
                        <a:pt x="166" y="721"/>
                      </a:moveTo>
                      <a:cubicBezTo>
                        <a:pt x="166" y="722"/>
                        <a:pt x="164" y="722"/>
                        <a:pt x="165" y="723"/>
                      </a:cubicBezTo>
                      <a:cubicBezTo>
                        <a:pt x="165" y="724"/>
                        <a:pt x="166" y="725"/>
                        <a:pt x="168" y="724"/>
                      </a:cubicBezTo>
                      <a:cubicBezTo>
                        <a:pt x="169" y="722"/>
                        <a:pt x="167" y="719"/>
                        <a:pt x="166" y="722"/>
                      </a:cubicBezTo>
                      <a:cubicBezTo>
                        <a:pt x="166" y="721"/>
                        <a:pt x="166" y="721"/>
                        <a:pt x="166" y="721"/>
                      </a:cubicBezTo>
                      <a:cubicBezTo>
                        <a:pt x="166" y="722"/>
                        <a:pt x="166" y="721"/>
                        <a:pt x="166" y="721"/>
                      </a:cubicBezTo>
                      <a:close/>
                      <a:moveTo>
                        <a:pt x="176" y="709"/>
                      </a:moveTo>
                      <a:cubicBezTo>
                        <a:pt x="177" y="707"/>
                        <a:pt x="177" y="710"/>
                        <a:pt x="177" y="711"/>
                      </a:cubicBezTo>
                      <a:cubicBezTo>
                        <a:pt x="178" y="711"/>
                        <a:pt x="178" y="712"/>
                        <a:pt x="178" y="712"/>
                      </a:cubicBezTo>
                      <a:cubicBezTo>
                        <a:pt x="178" y="713"/>
                        <a:pt x="180" y="715"/>
                        <a:pt x="179" y="715"/>
                      </a:cubicBezTo>
                      <a:cubicBezTo>
                        <a:pt x="178" y="718"/>
                        <a:pt x="176" y="715"/>
                        <a:pt x="175" y="714"/>
                      </a:cubicBezTo>
                      <a:cubicBezTo>
                        <a:pt x="172" y="712"/>
                        <a:pt x="175" y="710"/>
                        <a:pt x="176" y="708"/>
                      </a:cubicBezTo>
                      <a:cubicBezTo>
                        <a:pt x="176" y="709"/>
                        <a:pt x="176" y="709"/>
                        <a:pt x="176" y="709"/>
                      </a:cubicBezTo>
                      <a:cubicBezTo>
                        <a:pt x="177" y="707"/>
                        <a:pt x="176" y="709"/>
                        <a:pt x="176" y="709"/>
                      </a:cubicBezTo>
                      <a:close/>
                      <a:moveTo>
                        <a:pt x="171" y="716"/>
                      </a:moveTo>
                      <a:cubicBezTo>
                        <a:pt x="171" y="717"/>
                        <a:pt x="171" y="719"/>
                        <a:pt x="172" y="719"/>
                      </a:cubicBezTo>
                      <a:cubicBezTo>
                        <a:pt x="172" y="720"/>
                        <a:pt x="173" y="721"/>
                        <a:pt x="174" y="721"/>
                      </a:cubicBezTo>
                      <a:cubicBezTo>
                        <a:pt x="176" y="723"/>
                        <a:pt x="176" y="720"/>
                        <a:pt x="175" y="719"/>
                      </a:cubicBezTo>
                      <a:cubicBezTo>
                        <a:pt x="174" y="718"/>
                        <a:pt x="175" y="716"/>
                        <a:pt x="172" y="715"/>
                      </a:cubicBezTo>
                      <a:cubicBezTo>
                        <a:pt x="171" y="714"/>
                        <a:pt x="171" y="716"/>
                        <a:pt x="171" y="717"/>
                      </a:cubicBezTo>
                      <a:cubicBezTo>
                        <a:pt x="171" y="717"/>
                        <a:pt x="171" y="716"/>
                        <a:pt x="171" y="716"/>
                      </a:cubicBezTo>
                      <a:cubicBezTo>
                        <a:pt x="171" y="717"/>
                        <a:pt x="171" y="716"/>
                        <a:pt x="171" y="716"/>
                      </a:cubicBezTo>
                      <a:close/>
                      <a:moveTo>
                        <a:pt x="159" y="729"/>
                      </a:moveTo>
                      <a:cubicBezTo>
                        <a:pt x="160" y="728"/>
                        <a:pt x="160" y="728"/>
                        <a:pt x="161" y="729"/>
                      </a:cubicBezTo>
                      <a:cubicBezTo>
                        <a:pt x="162" y="729"/>
                        <a:pt x="162" y="731"/>
                        <a:pt x="161" y="731"/>
                      </a:cubicBezTo>
                      <a:cubicBezTo>
                        <a:pt x="160" y="731"/>
                        <a:pt x="158" y="731"/>
                        <a:pt x="158" y="730"/>
                      </a:cubicBezTo>
                      <a:cubicBezTo>
                        <a:pt x="158" y="729"/>
                        <a:pt x="158" y="728"/>
                        <a:pt x="159" y="728"/>
                      </a:cubicBezTo>
                      <a:cubicBezTo>
                        <a:pt x="159" y="728"/>
                        <a:pt x="159" y="728"/>
                        <a:pt x="159" y="729"/>
                      </a:cubicBezTo>
                      <a:cubicBezTo>
                        <a:pt x="159" y="728"/>
                        <a:pt x="159" y="729"/>
                        <a:pt x="159" y="729"/>
                      </a:cubicBezTo>
                      <a:close/>
                      <a:moveTo>
                        <a:pt x="169" y="728"/>
                      </a:moveTo>
                      <a:cubicBezTo>
                        <a:pt x="167" y="729"/>
                        <a:pt x="162" y="728"/>
                        <a:pt x="164" y="732"/>
                      </a:cubicBezTo>
                      <a:cubicBezTo>
                        <a:pt x="165" y="732"/>
                        <a:pt x="166" y="731"/>
                        <a:pt x="166" y="731"/>
                      </a:cubicBezTo>
                      <a:cubicBezTo>
                        <a:pt x="168" y="730"/>
                        <a:pt x="168" y="732"/>
                        <a:pt x="169" y="732"/>
                      </a:cubicBezTo>
                      <a:cubicBezTo>
                        <a:pt x="170" y="733"/>
                        <a:pt x="171" y="732"/>
                        <a:pt x="172" y="731"/>
                      </a:cubicBezTo>
                      <a:cubicBezTo>
                        <a:pt x="173" y="731"/>
                        <a:pt x="173" y="729"/>
                        <a:pt x="173" y="728"/>
                      </a:cubicBezTo>
                      <a:cubicBezTo>
                        <a:pt x="174" y="725"/>
                        <a:pt x="170" y="728"/>
                        <a:pt x="168" y="728"/>
                      </a:cubicBezTo>
                      <a:cubicBezTo>
                        <a:pt x="169" y="728"/>
                        <a:pt x="169" y="728"/>
                        <a:pt x="169" y="728"/>
                      </a:cubicBezTo>
                      <a:cubicBezTo>
                        <a:pt x="168" y="729"/>
                        <a:pt x="169" y="728"/>
                        <a:pt x="169" y="728"/>
                      </a:cubicBezTo>
                      <a:close/>
                      <a:moveTo>
                        <a:pt x="209" y="747"/>
                      </a:moveTo>
                      <a:cubicBezTo>
                        <a:pt x="208" y="747"/>
                        <a:pt x="208" y="747"/>
                        <a:pt x="207" y="748"/>
                      </a:cubicBezTo>
                      <a:cubicBezTo>
                        <a:pt x="207" y="748"/>
                        <a:pt x="208" y="749"/>
                        <a:pt x="207" y="750"/>
                      </a:cubicBezTo>
                      <a:cubicBezTo>
                        <a:pt x="206" y="751"/>
                        <a:pt x="205" y="749"/>
                        <a:pt x="205" y="748"/>
                      </a:cubicBezTo>
                      <a:cubicBezTo>
                        <a:pt x="206" y="747"/>
                        <a:pt x="207" y="745"/>
                        <a:pt x="208" y="745"/>
                      </a:cubicBezTo>
                      <a:cubicBezTo>
                        <a:pt x="209" y="746"/>
                        <a:pt x="210" y="747"/>
                        <a:pt x="208" y="748"/>
                      </a:cubicBezTo>
                      <a:cubicBezTo>
                        <a:pt x="208" y="747"/>
                        <a:pt x="209" y="747"/>
                        <a:pt x="209" y="747"/>
                      </a:cubicBezTo>
                      <a:cubicBezTo>
                        <a:pt x="208" y="747"/>
                        <a:pt x="209" y="747"/>
                        <a:pt x="209" y="747"/>
                      </a:cubicBezTo>
                      <a:close/>
                      <a:moveTo>
                        <a:pt x="190" y="748"/>
                      </a:moveTo>
                      <a:cubicBezTo>
                        <a:pt x="190" y="749"/>
                        <a:pt x="191" y="749"/>
                        <a:pt x="192" y="750"/>
                      </a:cubicBezTo>
                      <a:cubicBezTo>
                        <a:pt x="192" y="750"/>
                        <a:pt x="193" y="750"/>
                        <a:pt x="193" y="750"/>
                      </a:cubicBezTo>
                      <a:cubicBezTo>
                        <a:pt x="194" y="750"/>
                        <a:pt x="194" y="751"/>
                        <a:pt x="194" y="751"/>
                      </a:cubicBezTo>
                      <a:cubicBezTo>
                        <a:pt x="195" y="752"/>
                        <a:pt x="197" y="752"/>
                        <a:pt x="197" y="751"/>
                      </a:cubicBezTo>
                      <a:cubicBezTo>
                        <a:pt x="198" y="750"/>
                        <a:pt x="197" y="749"/>
                        <a:pt x="196" y="749"/>
                      </a:cubicBezTo>
                      <a:cubicBezTo>
                        <a:pt x="195" y="748"/>
                        <a:pt x="195" y="748"/>
                        <a:pt x="194" y="747"/>
                      </a:cubicBezTo>
                      <a:cubicBezTo>
                        <a:pt x="193" y="746"/>
                        <a:pt x="191" y="746"/>
                        <a:pt x="190" y="748"/>
                      </a:cubicBezTo>
                      <a:cubicBezTo>
                        <a:pt x="190" y="748"/>
                        <a:pt x="190" y="748"/>
                        <a:pt x="190" y="748"/>
                      </a:cubicBezTo>
                      <a:cubicBezTo>
                        <a:pt x="190" y="749"/>
                        <a:pt x="190" y="748"/>
                        <a:pt x="190" y="748"/>
                      </a:cubicBezTo>
                      <a:close/>
                      <a:moveTo>
                        <a:pt x="197" y="741"/>
                      </a:moveTo>
                      <a:cubicBezTo>
                        <a:pt x="198" y="741"/>
                        <a:pt x="199" y="741"/>
                        <a:pt x="200" y="741"/>
                      </a:cubicBezTo>
                      <a:cubicBezTo>
                        <a:pt x="201" y="742"/>
                        <a:pt x="202" y="743"/>
                        <a:pt x="203" y="743"/>
                      </a:cubicBezTo>
                      <a:cubicBezTo>
                        <a:pt x="203" y="743"/>
                        <a:pt x="204" y="744"/>
                        <a:pt x="203" y="744"/>
                      </a:cubicBezTo>
                      <a:cubicBezTo>
                        <a:pt x="202" y="745"/>
                        <a:pt x="201" y="744"/>
                        <a:pt x="200" y="744"/>
                      </a:cubicBezTo>
                      <a:cubicBezTo>
                        <a:pt x="199" y="744"/>
                        <a:pt x="194" y="746"/>
                        <a:pt x="195" y="744"/>
                      </a:cubicBezTo>
                      <a:cubicBezTo>
                        <a:pt x="195" y="743"/>
                        <a:pt x="196" y="742"/>
                        <a:pt x="198" y="741"/>
                      </a:cubicBezTo>
                      <a:cubicBezTo>
                        <a:pt x="198" y="741"/>
                        <a:pt x="197" y="741"/>
                        <a:pt x="197" y="741"/>
                      </a:cubicBezTo>
                      <a:cubicBezTo>
                        <a:pt x="198" y="741"/>
                        <a:pt x="197" y="741"/>
                        <a:pt x="197" y="741"/>
                      </a:cubicBezTo>
                      <a:close/>
                      <a:moveTo>
                        <a:pt x="207" y="741"/>
                      </a:moveTo>
                      <a:cubicBezTo>
                        <a:pt x="206" y="741"/>
                        <a:pt x="205" y="741"/>
                        <a:pt x="204" y="741"/>
                      </a:cubicBezTo>
                      <a:cubicBezTo>
                        <a:pt x="203" y="741"/>
                        <a:pt x="206" y="742"/>
                        <a:pt x="206" y="742"/>
                      </a:cubicBezTo>
                      <a:cubicBezTo>
                        <a:pt x="207" y="742"/>
                        <a:pt x="208" y="744"/>
                        <a:pt x="209" y="744"/>
                      </a:cubicBezTo>
                      <a:cubicBezTo>
                        <a:pt x="210" y="745"/>
                        <a:pt x="210" y="743"/>
                        <a:pt x="210" y="742"/>
                      </a:cubicBezTo>
                      <a:cubicBezTo>
                        <a:pt x="211" y="741"/>
                        <a:pt x="214" y="742"/>
                        <a:pt x="214" y="740"/>
                      </a:cubicBezTo>
                      <a:cubicBezTo>
                        <a:pt x="214" y="739"/>
                        <a:pt x="212" y="739"/>
                        <a:pt x="211" y="740"/>
                      </a:cubicBezTo>
                      <a:cubicBezTo>
                        <a:pt x="209" y="740"/>
                        <a:pt x="208" y="740"/>
                        <a:pt x="206" y="741"/>
                      </a:cubicBezTo>
                      <a:cubicBezTo>
                        <a:pt x="206" y="741"/>
                        <a:pt x="207" y="741"/>
                        <a:pt x="207" y="741"/>
                      </a:cubicBezTo>
                      <a:cubicBezTo>
                        <a:pt x="206" y="741"/>
                        <a:pt x="207" y="741"/>
                        <a:pt x="207" y="741"/>
                      </a:cubicBezTo>
                      <a:close/>
                      <a:moveTo>
                        <a:pt x="190" y="738"/>
                      </a:moveTo>
                      <a:cubicBezTo>
                        <a:pt x="189" y="739"/>
                        <a:pt x="188" y="739"/>
                        <a:pt x="188" y="739"/>
                      </a:cubicBezTo>
                      <a:cubicBezTo>
                        <a:pt x="188" y="740"/>
                        <a:pt x="188" y="741"/>
                        <a:pt x="189" y="742"/>
                      </a:cubicBezTo>
                      <a:cubicBezTo>
                        <a:pt x="190" y="742"/>
                        <a:pt x="192" y="741"/>
                        <a:pt x="193" y="741"/>
                      </a:cubicBezTo>
                      <a:cubicBezTo>
                        <a:pt x="193" y="740"/>
                        <a:pt x="194" y="741"/>
                        <a:pt x="195" y="740"/>
                      </a:cubicBezTo>
                      <a:cubicBezTo>
                        <a:pt x="195" y="740"/>
                        <a:pt x="194" y="739"/>
                        <a:pt x="194" y="738"/>
                      </a:cubicBezTo>
                      <a:cubicBezTo>
                        <a:pt x="192" y="737"/>
                        <a:pt x="190" y="737"/>
                        <a:pt x="190" y="739"/>
                      </a:cubicBezTo>
                      <a:cubicBezTo>
                        <a:pt x="190" y="738"/>
                        <a:pt x="190" y="738"/>
                        <a:pt x="190" y="738"/>
                      </a:cubicBezTo>
                      <a:cubicBezTo>
                        <a:pt x="189" y="739"/>
                        <a:pt x="190" y="738"/>
                        <a:pt x="190" y="738"/>
                      </a:cubicBezTo>
                      <a:close/>
                      <a:moveTo>
                        <a:pt x="177" y="742"/>
                      </a:moveTo>
                      <a:cubicBezTo>
                        <a:pt x="178" y="742"/>
                        <a:pt x="180" y="741"/>
                        <a:pt x="180" y="741"/>
                      </a:cubicBezTo>
                      <a:cubicBezTo>
                        <a:pt x="181" y="742"/>
                        <a:pt x="181" y="744"/>
                        <a:pt x="180" y="744"/>
                      </a:cubicBezTo>
                      <a:cubicBezTo>
                        <a:pt x="178" y="745"/>
                        <a:pt x="176" y="741"/>
                        <a:pt x="178" y="742"/>
                      </a:cubicBezTo>
                      <a:cubicBezTo>
                        <a:pt x="178" y="742"/>
                        <a:pt x="178" y="742"/>
                        <a:pt x="177" y="742"/>
                      </a:cubicBezTo>
                      <a:cubicBezTo>
                        <a:pt x="178" y="742"/>
                        <a:pt x="177" y="742"/>
                        <a:pt x="177" y="742"/>
                      </a:cubicBezTo>
                      <a:close/>
                      <a:moveTo>
                        <a:pt x="170" y="740"/>
                      </a:moveTo>
                      <a:cubicBezTo>
                        <a:pt x="172" y="740"/>
                        <a:pt x="173" y="739"/>
                        <a:pt x="174" y="740"/>
                      </a:cubicBezTo>
                      <a:cubicBezTo>
                        <a:pt x="175" y="741"/>
                        <a:pt x="174" y="742"/>
                        <a:pt x="173" y="742"/>
                      </a:cubicBezTo>
                      <a:cubicBezTo>
                        <a:pt x="172" y="742"/>
                        <a:pt x="171" y="741"/>
                        <a:pt x="170" y="741"/>
                      </a:cubicBezTo>
                      <a:cubicBezTo>
                        <a:pt x="169" y="740"/>
                        <a:pt x="170" y="739"/>
                        <a:pt x="171" y="740"/>
                      </a:cubicBezTo>
                      <a:cubicBezTo>
                        <a:pt x="171" y="740"/>
                        <a:pt x="171" y="740"/>
                        <a:pt x="170" y="740"/>
                      </a:cubicBezTo>
                      <a:cubicBezTo>
                        <a:pt x="171" y="740"/>
                        <a:pt x="170" y="740"/>
                        <a:pt x="170" y="740"/>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24" name="Freeform 51">
                  <a:extLst>
                    <a:ext uri="{FF2B5EF4-FFF2-40B4-BE49-F238E27FC236}">
                      <a16:creationId xmlns:a16="http://schemas.microsoft.com/office/drawing/2014/main" id="{28EB3828-F9AD-338D-A487-7F352BF84BCA}"/>
                    </a:ext>
                  </a:extLst>
                </p:cNvPr>
                <p:cNvSpPr/>
                <p:nvPr>
                  <p:custDataLst>
                    <p:tags r:id="rId262"/>
                  </p:custDataLst>
                </p:nvPr>
              </p:nvSpPr>
              <p:spPr bwMode="auto">
                <a:xfrm>
                  <a:off x="3495676" y="6403976"/>
                  <a:ext cx="63500" cy="109538"/>
                </a:xfrm>
                <a:custGeom>
                  <a:avLst/>
                  <a:gdLst>
                    <a:gd name="T0" fmla="*/ 2 w 34"/>
                    <a:gd name="T1" fmla="*/ 48 h 59"/>
                    <a:gd name="T2" fmla="*/ 6 w 34"/>
                    <a:gd name="T3" fmla="*/ 50 h 59"/>
                    <a:gd name="T4" fmla="*/ 9 w 34"/>
                    <a:gd name="T5" fmla="*/ 51 h 59"/>
                    <a:gd name="T6" fmla="*/ 8 w 34"/>
                    <a:gd name="T7" fmla="*/ 48 h 59"/>
                    <a:gd name="T8" fmla="*/ 12 w 34"/>
                    <a:gd name="T9" fmla="*/ 47 h 59"/>
                    <a:gd name="T10" fmla="*/ 13 w 34"/>
                    <a:gd name="T11" fmla="*/ 50 h 59"/>
                    <a:gd name="T12" fmla="*/ 15 w 34"/>
                    <a:gd name="T13" fmla="*/ 50 h 59"/>
                    <a:gd name="T14" fmla="*/ 17 w 34"/>
                    <a:gd name="T15" fmla="*/ 47 h 59"/>
                    <a:gd name="T16" fmla="*/ 20 w 34"/>
                    <a:gd name="T17" fmla="*/ 47 h 59"/>
                    <a:gd name="T18" fmla="*/ 23 w 34"/>
                    <a:gd name="T19" fmla="*/ 49 h 59"/>
                    <a:gd name="T20" fmla="*/ 22 w 34"/>
                    <a:gd name="T21" fmla="*/ 54 h 59"/>
                    <a:gd name="T22" fmla="*/ 26 w 34"/>
                    <a:gd name="T23" fmla="*/ 50 h 59"/>
                    <a:gd name="T24" fmla="*/ 27 w 34"/>
                    <a:gd name="T25" fmla="*/ 46 h 59"/>
                    <a:gd name="T26" fmla="*/ 21 w 34"/>
                    <a:gd name="T27" fmla="*/ 45 h 59"/>
                    <a:gd name="T28" fmla="*/ 14 w 34"/>
                    <a:gd name="T29" fmla="*/ 41 h 59"/>
                    <a:gd name="T30" fmla="*/ 9 w 34"/>
                    <a:gd name="T31" fmla="*/ 36 h 59"/>
                    <a:gd name="T32" fmla="*/ 9 w 34"/>
                    <a:gd name="T33" fmla="*/ 33 h 59"/>
                    <a:gd name="T34" fmla="*/ 11 w 34"/>
                    <a:gd name="T35" fmla="*/ 31 h 59"/>
                    <a:gd name="T36" fmla="*/ 14 w 34"/>
                    <a:gd name="T37" fmla="*/ 29 h 59"/>
                    <a:gd name="T38" fmla="*/ 18 w 34"/>
                    <a:gd name="T39" fmla="*/ 27 h 59"/>
                    <a:gd name="T40" fmla="*/ 23 w 34"/>
                    <a:gd name="T41" fmla="*/ 24 h 59"/>
                    <a:gd name="T42" fmla="*/ 18 w 34"/>
                    <a:gd name="T43" fmla="*/ 22 h 59"/>
                    <a:gd name="T44" fmla="*/ 14 w 34"/>
                    <a:gd name="T45" fmla="*/ 22 h 59"/>
                    <a:gd name="T46" fmla="*/ 11 w 34"/>
                    <a:gd name="T47" fmla="*/ 22 h 59"/>
                    <a:gd name="T48" fmla="*/ 5 w 34"/>
                    <a:gd name="T49" fmla="*/ 23 h 59"/>
                    <a:gd name="T50" fmla="*/ 3 w 34"/>
                    <a:gd name="T51" fmla="*/ 17 h 59"/>
                    <a:gd name="T52" fmla="*/ 4 w 34"/>
                    <a:gd name="T53" fmla="*/ 14 h 59"/>
                    <a:gd name="T54" fmla="*/ 7 w 34"/>
                    <a:gd name="T55" fmla="*/ 14 h 59"/>
                    <a:gd name="T56" fmla="*/ 7 w 34"/>
                    <a:gd name="T57" fmla="*/ 10 h 59"/>
                    <a:gd name="T58" fmla="*/ 5 w 34"/>
                    <a:gd name="T59" fmla="*/ 9 h 59"/>
                    <a:gd name="T60" fmla="*/ 7 w 34"/>
                    <a:gd name="T61" fmla="*/ 8 h 59"/>
                    <a:gd name="T62" fmla="*/ 12 w 34"/>
                    <a:gd name="T63" fmla="*/ 10 h 59"/>
                    <a:gd name="T64" fmla="*/ 16 w 34"/>
                    <a:gd name="T65" fmla="*/ 6 h 59"/>
                    <a:gd name="T66" fmla="*/ 28 w 34"/>
                    <a:gd name="T67" fmla="*/ 6 h 59"/>
                    <a:gd name="T68" fmla="*/ 30 w 34"/>
                    <a:gd name="T69" fmla="*/ 6 h 59"/>
                    <a:gd name="T70" fmla="*/ 33 w 34"/>
                    <a:gd name="T71" fmla="*/ 6 h 59"/>
                    <a:gd name="T72" fmla="*/ 34 w 34"/>
                    <a:gd name="T73" fmla="*/ 14 h 59"/>
                    <a:gd name="T74" fmla="*/ 33 w 34"/>
                    <a:gd name="T75" fmla="*/ 53 h 59"/>
                    <a:gd name="T76" fmla="*/ 33 w 34"/>
                    <a:gd name="T77" fmla="*/ 57 h 59"/>
                    <a:gd name="T78" fmla="*/ 31 w 34"/>
                    <a:gd name="T79" fmla="*/ 56 h 59"/>
                    <a:gd name="T80" fmla="*/ 28 w 34"/>
                    <a:gd name="T81" fmla="*/ 57 h 59"/>
                    <a:gd name="T82" fmla="*/ 20 w 34"/>
                    <a:gd name="T83" fmla="*/ 57 h 59"/>
                    <a:gd name="T84" fmla="*/ 17 w 34"/>
                    <a:gd name="T85" fmla="*/ 55 h 59"/>
                    <a:gd name="T86" fmla="*/ 14 w 34"/>
                    <a:gd name="T87" fmla="*/ 54 h 59"/>
                    <a:gd name="T88" fmla="*/ 12 w 34"/>
                    <a:gd name="T89" fmla="*/ 55 h 59"/>
                    <a:gd name="T90" fmla="*/ 10 w 34"/>
                    <a:gd name="T91" fmla="*/ 53 h 59"/>
                    <a:gd name="T92" fmla="*/ 8 w 34"/>
                    <a:gd name="T93" fmla="*/ 56 h 59"/>
                    <a:gd name="T94" fmla="*/ 7 w 34"/>
                    <a:gd name="T95" fmla="*/ 55 h 59"/>
                    <a:gd name="T96" fmla="*/ 3 w 34"/>
                    <a:gd name="T97" fmla="*/ 55 h 59"/>
                    <a:gd name="T98" fmla="*/ 2 w 34"/>
                    <a:gd name="T99" fmla="*/ 54 h 59"/>
                    <a:gd name="T100" fmla="*/ 3 w 34"/>
                    <a:gd name="T101" fmla="*/ 51 h 59"/>
                    <a:gd name="T102" fmla="*/ 0 w 34"/>
                    <a:gd name="T103" fmla="*/ 50 h 59"/>
                    <a:gd name="T104" fmla="*/ 2 w 34"/>
                    <a:gd name="T105" fmla="*/ 48 h 59"/>
                    <a:gd name="T106" fmla="*/ 2 w 34"/>
                    <a:gd name="T107" fmla="*/ 48 h 59"/>
                    <a:gd name="T108" fmla="*/ 2 w 34"/>
                    <a:gd name="T109" fmla="*/ 4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 h="59">
                      <a:moveTo>
                        <a:pt x="2" y="48"/>
                      </a:moveTo>
                      <a:cubicBezTo>
                        <a:pt x="2" y="47"/>
                        <a:pt x="5" y="50"/>
                        <a:pt x="6" y="50"/>
                      </a:cubicBezTo>
                      <a:cubicBezTo>
                        <a:pt x="6" y="51"/>
                        <a:pt x="8" y="51"/>
                        <a:pt x="9" y="51"/>
                      </a:cubicBezTo>
                      <a:cubicBezTo>
                        <a:pt x="9" y="50"/>
                        <a:pt x="8" y="49"/>
                        <a:pt x="8" y="48"/>
                      </a:cubicBezTo>
                      <a:cubicBezTo>
                        <a:pt x="8" y="46"/>
                        <a:pt x="11" y="46"/>
                        <a:pt x="12" y="47"/>
                      </a:cubicBezTo>
                      <a:cubicBezTo>
                        <a:pt x="13" y="48"/>
                        <a:pt x="13" y="49"/>
                        <a:pt x="13" y="50"/>
                      </a:cubicBezTo>
                      <a:cubicBezTo>
                        <a:pt x="13" y="50"/>
                        <a:pt x="15" y="51"/>
                        <a:pt x="15" y="50"/>
                      </a:cubicBezTo>
                      <a:cubicBezTo>
                        <a:pt x="16" y="49"/>
                        <a:pt x="14" y="46"/>
                        <a:pt x="17" y="47"/>
                      </a:cubicBezTo>
                      <a:cubicBezTo>
                        <a:pt x="18" y="47"/>
                        <a:pt x="19" y="47"/>
                        <a:pt x="20" y="47"/>
                      </a:cubicBezTo>
                      <a:cubicBezTo>
                        <a:pt x="21" y="47"/>
                        <a:pt x="23" y="48"/>
                        <a:pt x="23" y="49"/>
                      </a:cubicBezTo>
                      <a:cubicBezTo>
                        <a:pt x="22" y="51"/>
                        <a:pt x="20" y="52"/>
                        <a:pt x="22" y="54"/>
                      </a:cubicBezTo>
                      <a:cubicBezTo>
                        <a:pt x="23" y="55"/>
                        <a:pt x="25" y="51"/>
                        <a:pt x="26" y="50"/>
                      </a:cubicBezTo>
                      <a:cubicBezTo>
                        <a:pt x="27" y="49"/>
                        <a:pt x="30" y="47"/>
                        <a:pt x="27" y="46"/>
                      </a:cubicBezTo>
                      <a:cubicBezTo>
                        <a:pt x="25" y="45"/>
                        <a:pt x="23" y="46"/>
                        <a:pt x="21" y="45"/>
                      </a:cubicBezTo>
                      <a:cubicBezTo>
                        <a:pt x="19" y="43"/>
                        <a:pt x="17" y="42"/>
                        <a:pt x="14" y="41"/>
                      </a:cubicBezTo>
                      <a:cubicBezTo>
                        <a:pt x="11" y="40"/>
                        <a:pt x="9" y="39"/>
                        <a:pt x="9" y="36"/>
                      </a:cubicBezTo>
                      <a:cubicBezTo>
                        <a:pt x="9" y="35"/>
                        <a:pt x="8" y="34"/>
                        <a:pt x="9" y="33"/>
                      </a:cubicBezTo>
                      <a:cubicBezTo>
                        <a:pt x="9" y="32"/>
                        <a:pt x="10" y="31"/>
                        <a:pt x="11" y="31"/>
                      </a:cubicBezTo>
                      <a:cubicBezTo>
                        <a:pt x="12" y="30"/>
                        <a:pt x="13" y="30"/>
                        <a:pt x="14" y="29"/>
                      </a:cubicBezTo>
                      <a:cubicBezTo>
                        <a:pt x="15" y="28"/>
                        <a:pt x="16" y="28"/>
                        <a:pt x="18" y="27"/>
                      </a:cubicBezTo>
                      <a:cubicBezTo>
                        <a:pt x="20" y="27"/>
                        <a:pt x="22" y="26"/>
                        <a:pt x="23" y="24"/>
                      </a:cubicBezTo>
                      <a:cubicBezTo>
                        <a:pt x="24" y="21"/>
                        <a:pt x="20" y="22"/>
                        <a:pt x="18" y="22"/>
                      </a:cubicBezTo>
                      <a:cubicBezTo>
                        <a:pt x="17" y="22"/>
                        <a:pt x="15" y="22"/>
                        <a:pt x="14" y="22"/>
                      </a:cubicBezTo>
                      <a:cubicBezTo>
                        <a:pt x="13" y="22"/>
                        <a:pt x="12" y="22"/>
                        <a:pt x="11" y="22"/>
                      </a:cubicBezTo>
                      <a:cubicBezTo>
                        <a:pt x="9" y="24"/>
                        <a:pt x="7" y="26"/>
                        <a:pt x="5" y="23"/>
                      </a:cubicBezTo>
                      <a:cubicBezTo>
                        <a:pt x="3" y="22"/>
                        <a:pt x="3" y="19"/>
                        <a:pt x="3" y="17"/>
                      </a:cubicBezTo>
                      <a:cubicBezTo>
                        <a:pt x="3" y="16"/>
                        <a:pt x="3" y="15"/>
                        <a:pt x="4" y="14"/>
                      </a:cubicBezTo>
                      <a:cubicBezTo>
                        <a:pt x="5" y="13"/>
                        <a:pt x="6" y="15"/>
                        <a:pt x="7" y="14"/>
                      </a:cubicBezTo>
                      <a:cubicBezTo>
                        <a:pt x="9" y="13"/>
                        <a:pt x="8" y="11"/>
                        <a:pt x="7" y="10"/>
                      </a:cubicBezTo>
                      <a:cubicBezTo>
                        <a:pt x="6" y="10"/>
                        <a:pt x="5" y="10"/>
                        <a:pt x="5" y="9"/>
                      </a:cubicBezTo>
                      <a:cubicBezTo>
                        <a:pt x="5" y="8"/>
                        <a:pt x="7" y="8"/>
                        <a:pt x="7" y="8"/>
                      </a:cubicBezTo>
                      <a:cubicBezTo>
                        <a:pt x="9" y="8"/>
                        <a:pt x="10" y="10"/>
                        <a:pt x="12" y="10"/>
                      </a:cubicBezTo>
                      <a:cubicBezTo>
                        <a:pt x="15" y="10"/>
                        <a:pt x="15" y="8"/>
                        <a:pt x="16" y="6"/>
                      </a:cubicBezTo>
                      <a:cubicBezTo>
                        <a:pt x="19" y="0"/>
                        <a:pt x="24" y="5"/>
                        <a:pt x="28" y="6"/>
                      </a:cubicBezTo>
                      <a:cubicBezTo>
                        <a:pt x="29" y="7"/>
                        <a:pt x="29" y="6"/>
                        <a:pt x="30" y="6"/>
                      </a:cubicBezTo>
                      <a:cubicBezTo>
                        <a:pt x="31" y="5"/>
                        <a:pt x="32" y="5"/>
                        <a:pt x="33" y="6"/>
                      </a:cubicBezTo>
                      <a:cubicBezTo>
                        <a:pt x="34" y="6"/>
                        <a:pt x="34" y="13"/>
                        <a:pt x="34" y="14"/>
                      </a:cubicBezTo>
                      <a:cubicBezTo>
                        <a:pt x="33" y="27"/>
                        <a:pt x="33" y="40"/>
                        <a:pt x="33" y="53"/>
                      </a:cubicBezTo>
                      <a:cubicBezTo>
                        <a:pt x="33" y="55"/>
                        <a:pt x="33" y="56"/>
                        <a:pt x="33" y="57"/>
                      </a:cubicBezTo>
                      <a:cubicBezTo>
                        <a:pt x="32" y="57"/>
                        <a:pt x="32" y="56"/>
                        <a:pt x="31" y="56"/>
                      </a:cubicBezTo>
                      <a:cubicBezTo>
                        <a:pt x="29" y="55"/>
                        <a:pt x="28" y="55"/>
                        <a:pt x="28" y="57"/>
                      </a:cubicBezTo>
                      <a:cubicBezTo>
                        <a:pt x="26" y="59"/>
                        <a:pt x="23" y="58"/>
                        <a:pt x="20" y="57"/>
                      </a:cubicBezTo>
                      <a:cubicBezTo>
                        <a:pt x="19" y="56"/>
                        <a:pt x="18" y="56"/>
                        <a:pt x="17" y="55"/>
                      </a:cubicBezTo>
                      <a:cubicBezTo>
                        <a:pt x="17" y="54"/>
                        <a:pt x="16" y="53"/>
                        <a:pt x="14" y="54"/>
                      </a:cubicBezTo>
                      <a:cubicBezTo>
                        <a:pt x="14" y="54"/>
                        <a:pt x="12" y="56"/>
                        <a:pt x="12" y="55"/>
                      </a:cubicBezTo>
                      <a:cubicBezTo>
                        <a:pt x="12" y="54"/>
                        <a:pt x="12" y="52"/>
                        <a:pt x="10" y="53"/>
                      </a:cubicBezTo>
                      <a:cubicBezTo>
                        <a:pt x="9" y="54"/>
                        <a:pt x="9" y="55"/>
                        <a:pt x="8" y="56"/>
                      </a:cubicBezTo>
                      <a:cubicBezTo>
                        <a:pt x="8" y="56"/>
                        <a:pt x="7" y="55"/>
                        <a:pt x="7" y="55"/>
                      </a:cubicBezTo>
                      <a:cubicBezTo>
                        <a:pt x="7" y="51"/>
                        <a:pt x="4" y="55"/>
                        <a:pt x="3" y="55"/>
                      </a:cubicBezTo>
                      <a:cubicBezTo>
                        <a:pt x="2" y="55"/>
                        <a:pt x="1" y="54"/>
                        <a:pt x="2" y="54"/>
                      </a:cubicBezTo>
                      <a:cubicBezTo>
                        <a:pt x="2" y="53"/>
                        <a:pt x="4" y="53"/>
                        <a:pt x="3" y="51"/>
                      </a:cubicBezTo>
                      <a:cubicBezTo>
                        <a:pt x="2" y="51"/>
                        <a:pt x="1" y="51"/>
                        <a:pt x="0" y="50"/>
                      </a:cubicBezTo>
                      <a:cubicBezTo>
                        <a:pt x="0" y="49"/>
                        <a:pt x="1" y="48"/>
                        <a:pt x="2" y="48"/>
                      </a:cubicBezTo>
                      <a:cubicBezTo>
                        <a:pt x="2" y="48"/>
                        <a:pt x="2" y="48"/>
                        <a:pt x="2" y="48"/>
                      </a:cubicBezTo>
                      <a:cubicBezTo>
                        <a:pt x="2" y="47"/>
                        <a:pt x="2" y="48"/>
                        <a:pt x="2" y="48"/>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grpSp>
          <p:grpSp>
            <p:nvGrpSpPr>
              <p:cNvPr id="228" name="Group 227">
                <a:extLst>
                  <a:ext uri="{FF2B5EF4-FFF2-40B4-BE49-F238E27FC236}">
                    <a16:creationId xmlns:a16="http://schemas.microsoft.com/office/drawing/2014/main" id="{2F082A6C-EA76-BFE6-3AD7-A07DE7CE61AC}"/>
                  </a:ext>
                </a:extLst>
              </p:cNvPr>
              <p:cNvGrpSpPr/>
              <p:nvPr>
                <p:custDataLst>
                  <p:tags r:id="rId166"/>
                </p:custDataLst>
              </p:nvPr>
            </p:nvGrpSpPr>
            <p:grpSpPr>
              <a:xfrm>
                <a:off x="3604395" y="4970593"/>
                <a:ext cx="503842" cy="1002580"/>
                <a:chOff x="3405189" y="5281613"/>
                <a:chExt cx="627063" cy="1247775"/>
              </a:xfrm>
            </p:grpSpPr>
            <p:sp>
              <p:nvSpPr>
                <p:cNvPr id="319" name="Freeform 52">
                  <a:extLst>
                    <a:ext uri="{FF2B5EF4-FFF2-40B4-BE49-F238E27FC236}">
                      <a16:creationId xmlns:a16="http://schemas.microsoft.com/office/drawing/2014/main" id="{7D519AF8-2523-A045-4800-FE72584319DD}"/>
                    </a:ext>
                  </a:extLst>
                </p:cNvPr>
                <p:cNvSpPr/>
                <p:nvPr>
                  <p:custDataLst>
                    <p:tags r:id="rId257"/>
                  </p:custDataLst>
                </p:nvPr>
              </p:nvSpPr>
              <p:spPr bwMode="auto">
                <a:xfrm>
                  <a:off x="3571876" y="6513513"/>
                  <a:ext cx="39688" cy="15875"/>
                </a:xfrm>
                <a:custGeom>
                  <a:avLst/>
                  <a:gdLst>
                    <a:gd name="T0" fmla="*/ 0 w 21"/>
                    <a:gd name="T1" fmla="*/ 0 h 8"/>
                    <a:gd name="T2" fmla="*/ 1 w 21"/>
                    <a:gd name="T3" fmla="*/ 6 h 8"/>
                    <a:gd name="T4" fmla="*/ 6 w 21"/>
                    <a:gd name="T5" fmla="*/ 8 h 8"/>
                    <a:gd name="T6" fmla="*/ 9 w 21"/>
                    <a:gd name="T7" fmla="*/ 8 h 8"/>
                    <a:gd name="T8" fmla="*/ 10 w 21"/>
                    <a:gd name="T9" fmla="*/ 6 h 8"/>
                    <a:gd name="T10" fmla="*/ 12 w 21"/>
                    <a:gd name="T11" fmla="*/ 7 h 8"/>
                    <a:gd name="T12" fmla="*/ 16 w 21"/>
                    <a:gd name="T13" fmla="*/ 8 h 8"/>
                    <a:gd name="T14" fmla="*/ 19 w 21"/>
                    <a:gd name="T15" fmla="*/ 5 h 8"/>
                    <a:gd name="T16" fmla="*/ 15 w 21"/>
                    <a:gd name="T17" fmla="*/ 1 h 8"/>
                    <a:gd name="T18" fmla="*/ 8 w 21"/>
                    <a:gd name="T19" fmla="*/ 1 h 8"/>
                    <a:gd name="T20" fmla="*/ 0 w 21"/>
                    <a:gd name="T21" fmla="*/ 0 h 8"/>
                    <a:gd name="T22" fmla="*/ 0 w 21"/>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8">
                      <a:moveTo>
                        <a:pt x="0" y="0"/>
                      </a:moveTo>
                      <a:cubicBezTo>
                        <a:pt x="1" y="2"/>
                        <a:pt x="1" y="4"/>
                        <a:pt x="1" y="6"/>
                      </a:cubicBezTo>
                      <a:cubicBezTo>
                        <a:pt x="1" y="8"/>
                        <a:pt x="5" y="8"/>
                        <a:pt x="6" y="8"/>
                      </a:cubicBezTo>
                      <a:cubicBezTo>
                        <a:pt x="7" y="8"/>
                        <a:pt x="8" y="8"/>
                        <a:pt x="9" y="8"/>
                      </a:cubicBezTo>
                      <a:cubicBezTo>
                        <a:pt x="9" y="7"/>
                        <a:pt x="9" y="6"/>
                        <a:pt x="10" y="6"/>
                      </a:cubicBezTo>
                      <a:cubicBezTo>
                        <a:pt x="11" y="6"/>
                        <a:pt x="12" y="6"/>
                        <a:pt x="12" y="7"/>
                      </a:cubicBezTo>
                      <a:cubicBezTo>
                        <a:pt x="13" y="7"/>
                        <a:pt x="15" y="8"/>
                        <a:pt x="16" y="8"/>
                      </a:cubicBezTo>
                      <a:cubicBezTo>
                        <a:pt x="18" y="8"/>
                        <a:pt x="21" y="6"/>
                        <a:pt x="19" y="5"/>
                      </a:cubicBezTo>
                      <a:cubicBezTo>
                        <a:pt x="17" y="4"/>
                        <a:pt x="16" y="3"/>
                        <a:pt x="15" y="1"/>
                      </a:cubicBezTo>
                      <a:cubicBezTo>
                        <a:pt x="15" y="0"/>
                        <a:pt x="10" y="1"/>
                        <a:pt x="8" y="1"/>
                      </a:cubicBezTo>
                      <a:cubicBezTo>
                        <a:pt x="6" y="1"/>
                        <a:pt x="3" y="0"/>
                        <a:pt x="0" y="0"/>
                      </a:cubicBezTo>
                      <a:cubicBezTo>
                        <a:pt x="1" y="1"/>
                        <a:pt x="0" y="0"/>
                        <a:pt x="0" y="0"/>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grpSp>
              <p:nvGrpSpPr>
                <p:cNvPr id="320" name="Group 319">
                  <a:extLst>
                    <a:ext uri="{FF2B5EF4-FFF2-40B4-BE49-F238E27FC236}">
                      <a16:creationId xmlns:a16="http://schemas.microsoft.com/office/drawing/2014/main" id="{5DF44CD9-118B-7AC1-4A2A-C0146FF8B921}"/>
                    </a:ext>
                  </a:extLst>
                </p:cNvPr>
                <p:cNvGrpSpPr/>
                <p:nvPr>
                  <p:custDataLst>
                    <p:tags r:id="rId258"/>
                  </p:custDataLst>
                </p:nvPr>
              </p:nvGrpSpPr>
              <p:grpSpPr>
                <a:xfrm>
                  <a:off x="3405189" y="5281613"/>
                  <a:ext cx="627063" cy="1247775"/>
                  <a:chOff x="3405189" y="5281613"/>
                  <a:chExt cx="627063" cy="1247775"/>
                </a:xfrm>
              </p:grpSpPr>
              <p:sp>
                <p:nvSpPr>
                  <p:cNvPr id="321" name="Freeform 24">
                    <a:extLst>
                      <a:ext uri="{FF2B5EF4-FFF2-40B4-BE49-F238E27FC236}">
                        <a16:creationId xmlns:a16="http://schemas.microsoft.com/office/drawing/2014/main" id="{B4117E06-820F-30C9-56F7-EE276C4A09C6}"/>
                      </a:ext>
                    </a:extLst>
                  </p:cNvPr>
                  <p:cNvSpPr>
                    <a:spLocks noEditPoints="1"/>
                  </p:cNvSpPr>
                  <p:nvPr>
                    <p:custDataLst>
                      <p:tags r:id="rId259"/>
                    </p:custDataLst>
                  </p:nvPr>
                </p:nvSpPr>
                <p:spPr bwMode="auto">
                  <a:xfrm>
                    <a:off x="3405189" y="5281613"/>
                    <a:ext cx="627063" cy="1117600"/>
                  </a:xfrm>
                  <a:custGeom>
                    <a:avLst/>
                    <a:gdLst>
                      <a:gd name="T0" fmla="*/ 257 w 338"/>
                      <a:gd name="T1" fmla="*/ 235 h 603"/>
                      <a:gd name="T2" fmla="*/ 276 w 338"/>
                      <a:gd name="T3" fmla="*/ 260 h 603"/>
                      <a:gd name="T4" fmla="*/ 286 w 338"/>
                      <a:gd name="T5" fmla="*/ 273 h 603"/>
                      <a:gd name="T6" fmla="*/ 235 w 338"/>
                      <a:gd name="T7" fmla="*/ 318 h 603"/>
                      <a:gd name="T8" fmla="*/ 190 w 338"/>
                      <a:gd name="T9" fmla="*/ 321 h 603"/>
                      <a:gd name="T10" fmla="*/ 188 w 338"/>
                      <a:gd name="T11" fmla="*/ 345 h 603"/>
                      <a:gd name="T12" fmla="*/ 153 w 338"/>
                      <a:gd name="T13" fmla="*/ 359 h 603"/>
                      <a:gd name="T14" fmla="*/ 144 w 338"/>
                      <a:gd name="T15" fmla="*/ 377 h 603"/>
                      <a:gd name="T16" fmla="*/ 154 w 338"/>
                      <a:gd name="T17" fmla="*/ 402 h 603"/>
                      <a:gd name="T18" fmla="*/ 142 w 338"/>
                      <a:gd name="T19" fmla="*/ 423 h 603"/>
                      <a:gd name="T20" fmla="*/ 121 w 338"/>
                      <a:gd name="T21" fmla="*/ 446 h 603"/>
                      <a:gd name="T22" fmla="*/ 102 w 338"/>
                      <a:gd name="T23" fmla="*/ 467 h 603"/>
                      <a:gd name="T24" fmla="*/ 127 w 338"/>
                      <a:gd name="T25" fmla="*/ 489 h 603"/>
                      <a:gd name="T26" fmla="*/ 130 w 338"/>
                      <a:gd name="T27" fmla="*/ 510 h 603"/>
                      <a:gd name="T28" fmla="*/ 98 w 338"/>
                      <a:gd name="T29" fmla="*/ 535 h 603"/>
                      <a:gd name="T30" fmla="*/ 89 w 338"/>
                      <a:gd name="T31" fmla="*/ 554 h 603"/>
                      <a:gd name="T32" fmla="*/ 83 w 338"/>
                      <a:gd name="T33" fmla="*/ 553 h 603"/>
                      <a:gd name="T34" fmla="*/ 72 w 338"/>
                      <a:gd name="T35" fmla="*/ 573 h 603"/>
                      <a:gd name="T36" fmla="*/ 76 w 338"/>
                      <a:gd name="T37" fmla="*/ 587 h 603"/>
                      <a:gd name="T38" fmla="*/ 68 w 338"/>
                      <a:gd name="T39" fmla="*/ 597 h 603"/>
                      <a:gd name="T40" fmla="*/ 21 w 338"/>
                      <a:gd name="T41" fmla="*/ 586 h 603"/>
                      <a:gd name="T42" fmla="*/ 9 w 338"/>
                      <a:gd name="T43" fmla="*/ 567 h 603"/>
                      <a:gd name="T44" fmla="*/ 2 w 338"/>
                      <a:gd name="T45" fmla="*/ 556 h 603"/>
                      <a:gd name="T46" fmla="*/ 17 w 338"/>
                      <a:gd name="T47" fmla="*/ 523 h 603"/>
                      <a:gd name="T48" fmla="*/ 21 w 338"/>
                      <a:gd name="T49" fmla="*/ 497 h 603"/>
                      <a:gd name="T50" fmla="*/ 30 w 338"/>
                      <a:gd name="T51" fmla="*/ 471 h 603"/>
                      <a:gd name="T52" fmla="*/ 31 w 338"/>
                      <a:gd name="T53" fmla="*/ 444 h 603"/>
                      <a:gd name="T54" fmla="*/ 35 w 338"/>
                      <a:gd name="T55" fmla="*/ 430 h 603"/>
                      <a:gd name="T56" fmla="*/ 31 w 338"/>
                      <a:gd name="T57" fmla="*/ 405 h 603"/>
                      <a:gd name="T58" fmla="*/ 30 w 338"/>
                      <a:gd name="T59" fmla="*/ 378 h 603"/>
                      <a:gd name="T60" fmla="*/ 32 w 338"/>
                      <a:gd name="T61" fmla="*/ 348 h 603"/>
                      <a:gd name="T62" fmla="*/ 39 w 338"/>
                      <a:gd name="T63" fmla="*/ 319 h 603"/>
                      <a:gd name="T64" fmla="*/ 42 w 338"/>
                      <a:gd name="T65" fmla="*/ 281 h 603"/>
                      <a:gd name="T66" fmla="*/ 53 w 338"/>
                      <a:gd name="T67" fmla="*/ 265 h 603"/>
                      <a:gd name="T68" fmla="*/ 61 w 338"/>
                      <a:gd name="T69" fmla="*/ 231 h 603"/>
                      <a:gd name="T70" fmla="*/ 60 w 338"/>
                      <a:gd name="T71" fmla="*/ 207 h 603"/>
                      <a:gd name="T72" fmla="*/ 54 w 338"/>
                      <a:gd name="T73" fmla="*/ 179 h 603"/>
                      <a:gd name="T74" fmla="*/ 63 w 338"/>
                      <a:gd name="T75" fmla="*/ 153 h 603"/>
                      <a:gd name="T76" fmla="*/ 66 w 338"/>
                      <a:gd name="T77" fmla="*/ 120 h 603"/>
                      <a:gd name="T78" fmla="*/ 85 w 338"/>
                      <a:gd name="T79" fmla="*/ 96 h 603"/>
                      <a:gd name="T80" fmla="*/ 87 w 338"/>
                      <a:gd name="T81" fmla="*/ 60 h 603"/>
                      <a:gd name="T82" fmla="*/ 106 w 338"/>
                      <a:gd name="T83" fmla="*/ 40 h 603"/>
                      <a:gd name="T84" fmla="*/ 117 w 338"/>
                      <a:gd name="T85" fmla="*/ 10 h 603"/>
                      <a:gd name="T86" fmla="*/ 139 w 338"/>
                      <a:gd name="T87" fmla="*/ 6 h 603"/>
                      <a:gd name="T88" fmla="*/ 162 w 338"/>
                      <a:gd name="T89" fmla="*/ 11 h 603"/>
                      <a:gd name="T90" fmla="*/ 187 w 338"/>
                      <a:gd name="T91" fmla="*/ 9 h 603"/>
                      <a:gd name="T92" fmla="*/ 265 w 338"/>
                      <a:gd name="T93" fmla="*/ 61 h 603"/>
                      <a:gd name="T94" fmla="*/ 254 w 338"/>
                      <a:gd name="T95" fmla="*/ 94 h 603"/>
                      <a:gd name="T96" fmla="*/ 275 w 338"/>
                      <a:gd name="T97" fmla="*/ 102 h 603"/>
                      <a:gd name="T98" fmla="*/ 300 w 338"/>
                      <a:gd name="T99" fmla="*/ 101 h 603"/>
                      <a:gd name="T100" fmla="*/ 323 w 338"/>
                      <a:gd name="T101" fmla="*/ 72 h 603"/>
                      <a:gd name="T102" fmla="*/ 337 w 338"/>
                      <a:gd name="T103" fmla="*/ 91 h 603"/>
                      <a:gd name="T104" fmla="*/ 301 w 338"/>
                      <a:gd name="T105" fmla="*/ 118 h 603"/>
                      <a:gd name="T106" fmla="*/ 266 w 338"/>
                      <a:gd name="T107" fmla="*/ 163 h 603"/>
                      <a:gd name="T108" fmla="*/ 260 w 338"/>
                      <a:gd name="T109" fmla="*/ 206 h 603"/>
                      <a:gd name="T110" fmla="*/ 160 w 338"/>
                      <a:gd name="T111" fmla="*/ 385 h 603"/>
                      <a:gd name="T112" fmla="*/ 164 w 338"/>
                      <a:gd name="T113" fmla="*/ 398 h 603"/>
                      <a:gd name="T114" fmla="*/ 164 w 338"/>
                      <a:gd name="T115" fmla="*/ 384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8" h="603">
                        <a:moveTo>
                          <a:pt x="259" y="208"/>
                        </a:moveTo>
                        <a:cubicBezTo>
                          <a:pt x="258" y="206"/>
                          <a:pt x="256" y="210"/>
                          <a:pt x="256" y="211"/>
                        </a:cubicBezTo>
                        <a:cubicBezTo>
                          <a:pt x="255" y="214"/>
                          <a:pt x="255" y="217"/>
                          <a:pt x="255" y="220"/>
                        </a:cubicBezTo>
                        <a:cubicBezTo>
                          <a:pt x="255" y="223"/>
                          <a:pt x="255" y="225"/>
                          <a:pt x="255" y="228"/>
                        </a:cubicBezTo>
                        <a:cubicBezTo>
                          <a:pt x="255" y="231"/>
                          <a:pt x="255" y="233"/>
                          <a:pt x="257" y="235"/>
                        </a:cubicBezTo>
                        <a:cubicBezTo>
                          <a:pt x="259" y="236"/>
                          <a:pt x="261" y="238"/>
                          <a:pt x="263" y="239"/>
                        </a:cubicBezTo>
                        <a:cubicBezTo>
                          <a:pt x="266" y="239"/>
                          <a:pt x="269" y="240"/>
                          <a:pt x="271" y="242"/>
                        </a:cubicBezTo>
                        <a:cubicBezTo>
                          <a:pt x="273" y="244"/>
                          <a:pt x="274" y="247"/>
                          <a:pt x="276" y="248"/>
                        </a:cubicBezTo>
                        <a:cubicBezTo>
                          <a:pt x="278" y="250"/>
                          <a:pt x="279" y="251"/>
                          <a:pt x="278" y="254"/>
                        </a:cubicBezTo>
                        <a:cubicBezTo>
                          <a:pt x="277" y="256"/>
                          <a:pt x="276" y="258"/>
                          <a:pt x="276" y="260"/>
                        </a:cubicBezTo>
                        <a:cubicBezTo>
                          <a:pt x="276" y="261"/>
                          <a:pt x="277" y="263"/>
                          <a:pt x="277" y="264"/>
                        </a:cubicBezTo>
                        <a:cubicBezTo>
                          <a:pt x="277" y="265"/>
                          <a:pt x="278" y="267"/>
                          <a:pt x="279" y="268"/>
                        </a:cubicBezTo>
                        <a:cubicBezTo>
                          <a:pt x="279" y="268"/>
                          <a:pt x="281" y="268"/>
                          <a:pt x="282" y="268"/>
                        </a:cubicBezTo>
                        <a:cubicBezTo>
                          <a:pt x="283" y="268"/>
                          <a:pt x="284" y="269"/>
                          <a:pt x="285" y="270"/>
                        </a:cubicBezTo>
                        <a:cubicBezTo>
                          <a:pt x="285" y="270"/>
                          <a:pt x="286" y="271"/>
                          <a:pt x="286" y="273"/>
                        </a:cubicBezTo>
                        <a:cubicBezTo>
                          <a:pt x="286" y="274"/>
                          <a:pt x="286" y="276"/>
                          <a:pt x="286" y="277"/>
                        </a:cubicBezTo>
                        <a:cubicBezTo>
                          <a:pt x="287" y="283"/>
                          <a:pt x="282" y="287"/>
                          <a:pt x="279" y="291"/>
                        </a:cubicBezTo>
                        <a:cubicBezTo>
                          <a:pt x="276" y="296"/>
                          <a:pt x="273" y="301"/>
                          <a:pt x="269" y="305"/>
                        </a:cubicBezTo>
                        <a:cubicBezTo>
                          <a:pt x="265" y="309"/>
                          <a:pt x="259" y="310"/>
                          <a:pt x="253" y="312"/>
                        </a:cubicBezTo>
                        <a:cubicBezTo>
                          <a:pt x="247" y="314"/>
                          <a:pt x="241" y="316"/>
                          <a:pt x="235" y="318"/>
                        </a:cubicBezTo>
                        <a:cubicBezTo>
                          <a:pt x="229" y="319"/>
                          <a:pt x="222" y="320"/>
                          <a:pt x="216" y="321"/>
                        </a:cubicBezTo>
                        <a:cubicBezTo>
                          <a:pt x="213" y="321"/>
                          <a:pt x="210" y="321"/>
                          <a:pt x="207" y="321"/>
                        </a:cubicBezTo>
                        <a:cubicBezTo>
                          <a:pt x="204" y="321"/>
                          <a:pt x="202" y="319"/>
                          <a:pt x="199" y="319"/>
                        </a:cubicBezTo>
                        <a:cubicBezTo>
                          <a:pt x="196" y="319"/>
                          <a:pt x="194" y="318"/>
                          <a:pt x="192" y="317"/>
                        </a:cubicBezTo>
                        <a:cubicBezTo>
                          <a:pt x="189" y="317"/>
                          <a:pt x="190" y="320"/>
                          <a:pt x="190" y="321"/>
                        </a:cubicBezTo>
                        <a:cubicBezTo>
                          <a:pt x="190" y="323"/>
                          <a:pt x="191" y="326"/>
                          <a:pt x="193" y="328"/>
                        </a:cubicBezTo>
                        <a:cubicBezTo>
                          <a:pt x="194" y="330"/>
                          <a:pt x="196" y="332"/>
                          <a:pt x="194" y="334"/>
                        </a:cubicBezTo>
                        <a:cubicBezTo>
                          <a:pt x="193" y="335"/>
                          <a:pt x="191" y="336"/>
                          <a:pt x="191" y="338"/>
                        </a:cubicBezTo>
                        <a:cubicBezTo>
                          <a:pt x="190" y="339"/>
                          <a:pt x="190" y="340"/>
                          <a:pt x="190" y="341"/>
                        </a:cubicBezTo>
                        <a:cubicBezTo>
                          <a:pt x="190" y="343"/>
                          <a:pt x="188" y="344"/>
                          <a:pt x="188" y="345"/>
                        </a:cubicBezTo>
                        <a:cubicBezTo>
                          <a:pt x="185" y="350"/>
                          <a:pt x="195" y="351"/>
                          <a:pt x="193" y="356"/>
                        </a:cubicBezTo>
                        <a:cubicBezTo>
                          <a:pt x="192" y="358"/>
                          <a:pt x="190" y="359"/>
                          <a:pt x="188" y="360"/>
                        </a:cubicBezTo>
                        <a:cubicBezTo>
                          <a:pt x="185" y="361"/>
                          <a:pt x="182" y="363"/>
                          <a:pt x="179" y="364"/>
                        </a:cubicBezTo>
                        <a:cubicBezTo>
                          <a:pt x="174" y="366"/>
                          <a:pt x="167" y="365"/>
                          <a:pt x="162" y="363"/>
                        </a:cubicBezTo>
                        <a:cubicBezTo>
                          <a:pt x="159" y="362"/>
                          <a:pt x="156" y="360"/>
                          <a:pt x="153" y="359"/>
                        </a:cubicBezTo>
                        <a:cubicBezTo>
                          <a:pt x="152" y="359"/>
                          <a:pt x="151" y="359"/>
                          <a:pt x="149" y="358"/>
                        </a:cubicBezTo>
                        <a:cubicBezTo>
                          <a:pt x="149" y="357"/>
                          <a:pt x="147" y="356"/>
                          <a:pt x="146" y="356"/>
                        </a:cubicBezTo>
                        <a:cubicBezTo>
                          <a:pt x="144" y="357"/>
                          <a:pt x="143" y="359"/>
                          <a:pt x="143" y="360"/>
                        </a:cubicBezTo>
                        <a:cubicBezTo>
                          <a:pt x="143" y="363"/>
                          <a:pt x="145" y="366"/>
                          <a:pt x="145" y="369"/>
                        </a:cubicBezTo>
                        <a:cubicBezTo>
                          <a:pt x="145" y="372"/>
                          <a:pt x="145" y="375"/>
                          <a:pt x="144" y="377"/>
                        </a:cubicBezTo>
                        <a:cubicBezTo>
                          <a:pt x="143" y="380"/>
                          <a:pt x="144" y="382"/>
                          <a:pt x="146" y="384"/>
                        </a:cubicBezTo>
                        <a:cubicBezTo>
                          <a:pt x="148" y="386"/>
                          <a:pt x="155" y="391"/>
                          <a:pt x="151" y="394"/>
                        </a:cubicBezTo>
                        <a:cubicBezTo>
                          <a:pt x="150" y="395"/>
                          <a:pt x="148" y="395"/>
                          <a:pt x="147" y="396"/>
                        </a:cubicBezTo>
                        <a:cubicBezTo>
                          <a:pt x="145" y="397"/>
                          <a:pt x="145" y="398"/>
                          <a:pt x="147" y="399"/>
                        </a:cubicBezTo>
                        <a:cubicBezTo>
                          <a:pt x="149" y="400"/>
                          <a:pt x="152" y="401"/>
                          <a:pt x="154" y="402"/>
                        </a:cubicBezTo>
                        <a:cubicBezTo>
                          <a:pt x="157" y="402"/>
                          <a:pt x="154" y="404"/>
                          <a:pt x="153" y="405"/>
                        </a:cubicBezTo>
                        <a:cubicBezTo>
                          <a:pt x="151" y="406"/>
                          <a:pt x="148" y="406"/>
                          <a:pt x="146" y="407"/>
                        </a:cubicBezTo>
                        <a:cubicBezTo>
                          <a:pt x="144" y="409"/>
                          <a:pt x="144" y="412"/>
                          <a:pt x="143" y="414"/>
                        </a:cubicBezTo>
                        <a:cubicBezTo>
                          <a:pt x="141" y="416"/>
                          <a:pt x="140" y="417"/>
                          <a:pt x="140" y="419"/>
                        </a:cubicBezTo>
                        <a:cubicBezTo>
                          <a:pt x="140" y="421"/>
                          <a:pt x="141" y="422"/>
                          <a:pt x="142" y="423"/>
                        </a:cubicBezTo>
                        <a:cubicBezTo>
                          <a:pt x="142" y="425"/>
                          <a:pt x="142" y="426"/>
                          <a:pt x="142" y="428"/>
                        </a:cubicBezTo>
                        <a:cubicBezTo>
                          <a:pt x="142" y="433"/>
                          <a:pt x="134" y="433"/>
                          <a:pt x="134" y="438"/>
                        </a:cubicBezTo>
                        <a:cubicBezTo>
                          <a:pt x="134" y="440"/>
                          <a:pt x="137" y="443"/>
                          <a:pt x="135" y="445"/>
                        </a:cubicBezTo>
                        <a:cubicBezTo>
                          <a:pt x="133" y="446"/>
                          <a:pt x="129" y="444"/>
                          <a:pt x="128" y="444"/>
                        </a:cubicBezTo>
                        <a:cubicBezTo>
                          <a:pt x="125" y="443"/>
                          <a:pt x="123" y="444"/>
                          <a:pt x="121" y="446"/>
                        </a:cubicBezTo>
                        <a:cubicBezTo>
                          <a:pt x="118" y="447"/>
                          <a:pt x="116" y="448"/>
                          <a:pt x="113" y="449"/>
                        </a:cubicBezTo>
                        <a:cubicBezTo>
                          <a:pt x="112" y="450"/>
                          <a:pt x="110" y="451"/>
                          <a:pt x="109" y="453"/>
                        </a:cubicBezTo>
                        <a:cubicBezTo>
                          <a:pt x="108" y="454"/>
                          <a:pt x="108" y="455"/>
                          <a:pt x="108" y="456"/>
                        </a:cubicBezTo>
                        <a:cubicBezTo>
                          <a:pt x="107" y="458"/>
                          <a:pt x="106" y="459"/>
                          <a:pt x="105" y="460"/>
                        </a:cubicBezTo>
                        <a:cubicBezTo>
                          <a:pt x="104" y="462"/>
                          <a:pt x="102" y="465"/>
                          <a:pt x="102" y="467"/>
                        </a:cubicBezTo>
                        <a:cubicBezTo>
                          <a:pt x="102" y="470"/>
                          <a:pt x="102" y="473"/>
                          <a:pt x="103" y="475"/>
                        </a:cubicBezTo>
                        <a:cubicBezTo>
                          <a:pt x="105" y="477"/>
                          <a:pt x="107" y="479"/>
                          <a:pt x="109" y="481"/>
                        </a:cubicBezTo>
                        <a:cubicBezTo>
                          <a:pt x="111" y="483"/>
                          <a:pt x="113" y="485"/>
                          <a:pt x="116" y="486"/>
                        </a:cubicBezTo>
                        <a:cubicBezTo>
                          <a:pt x="118" y="487"/>
                          <a:pt x="120" y="487"/>
                          <a:pt x="123" y="488"/>
                        </a:cubicBezTo>
                        <a:cubicBezTo>
                          <a:pt x="124" y="488"/>
                          <a:pt x="126" y="489"/>
                          <a:pt x="127" y="489"/>
                        </a:cubicBezTo>
                        <a:cubicBezTo>
                          <a:pt x="128" y="489"/>
                          <a:pt x="130" y="489"/>
                          <a:pt x="131" y="490"/>
                        </a:cubicBezTo>
                        <a:cubicBezTo>
                          <a:pt x="134" y="493"/>
                          <a:pt x="133" y="499"/>
                          <a:pt x="130" y="501"/>
                        </a:cubicBezTo>
                        <a:cubicBezTo>
                          <a:pt x="128" y="502"/>
                          <a:pt x="124" y="502"/>
                          <a:pt x="123" y="504"/>
                        </a:cubicBezTo>
                        <a:cubicBezTo>
                          <a:pt x="122" y="505"/>
                          <a:pt x="128" y="505"/>
                          <a:pt x="129" y="505"/>
                        </a:cubicBezTo>
                        <a:cubicBezTo>
                          <a:pt x="132" y="506"/>
                          <a:pt x="131" y="508"/>
                          <a:pt x="130" y="510"/>
                        </a:cubicBezTo>
                        <a:cubicBezTo>
                          <a:pt x="129" y="513"/>
                          <a:pt x="127" y="514"/>
                          <a:pt x="124" y="515"/>
                        </a:cubicBezTo>
                        <a:cubicBezTo>
                          <a:pt x="122" y="516"/>
                          <a:pt x="119" y="516"/>
                          <a:pt x="117" y="518"/>
                        </a:cubicBezTo>
                        <a:cubicBezTo>
                          <a:pt x="114" y="520"/>
                          <a:pt x="112" y="522"/>
                          <a:pt x="109" y="523"/>
                        </a:cubicBezTo>
                        <a:cubicBezTo>
                          <a:pt x="107" y="525"/>
                          <a:pt x="105" y="526"/>
                          <a:pt x="103" y="528"/>
                        </a:cubicBezTo>
                        <a:cubicBezTo>
                          <a:pt x="101" y="530"/>
                          <a:pt x="99" y="533"/>
                          <a:pt x="98" y="535"/>
                        </a:cubicBezTo>
                        <a:cubicBezTo>
                          <a:pt x="98" y="536"/>
                          <a:pt x="97" y="537"/>
                          <a:pt x="97" y="538"/>
                        </a:cubicBezTo>
                        <a:cubicBezTo>
                          <a:pt x="98" y="538"/>
                          <a:pt x="99" y="538"/>
                          <a:pt x="99" y="539"/>
                        </a:cubicBezTo>
                        <a:cubicBezTo>
                          <a:pt x="100" y="542"/>
                          <a:pt x="99" y="545"/>
                          <a:pt x="98" y="547"/>
                        </a:cubicBezTo>
                        <a:cubicBezTo>
                          <a:pt x="98" y="549"/>
                          <a:pt x="98" y="551"/>
                          <a:pt x="95" y="552"/>
                        </a:cubicBezTo>
                        <a:cubicBezTo>
                          <a:pt x="93" y="552"/>
                          <a:pt x="91" y="554"/>
                          <a:pt x="89" y="554"/>
                        </a:cubicBezTo>
                        <a:cubicBezTo>
                          <a:pt x="86" y="554"/>
                          <a:pt x="86" y="550"/>
                          <a:pt x="85" y="549"/>
                        </a:cubicBezTo>
                        <a:cubicBezTo>
                          <a:pt x="84" y="548"/>
                          <a:pt x="81" y="545"/>
                          <a:pt x="82" y="548"/>
                        </a:cubicBezTo>
                        <a:cubicBezTo>
                          <a:pt x="82" y="549"/>
                          <a:pt x="83" y="551"/>
                          <a:pt x="81" y="551"/>
                        </a:cubicBezTo>
                        <a:cubicBezTo>
                          <a:pt x="80" y="551"/>
                          <a:pt x="77" y="550"/>
                          <a:pt x="78" y="552"/>
                        </a:cubicBezTo>
                        <a:cubicBezTo>
                          <a:pt x="78" y="554"/>
                          <a:pt x="82" y="553"/>
                          <a:pt x="83" y="553"/>
                        </a:cubicBezTo>
                        <a:cubicBezTo>
                          <a:pt x="84" y="553"/>
                          <a:pt x="85" y="554"/>
                          <a:pt x="85" y="555"/>
                        </a:cubicBezTo>
                        <a:cubicBezTo>
                          <a:pt x="86" y="556"/>
                          <a:pt x="84" y="556"/>
                          <a:pt x="83" y="556"/>
                        </a:cubicBezTo>
                        <a:cubicBezTo>
                          <a:pt x="81" y="557"/>
                          <a:pt x="79" y="560"/>
                          <a:pt x="78" y="562"/>
                        </a:cubicBezTo>
                        <a:cubicBezTo>
                          <a:pt x="76" y="564"/>
                          <a:pt x="74" y="567"/>
                          <a:pt x="74" y="570"/>
                        </a:cubicBezTo>
                        <a:cubicBezTo>
                          <a:pt x="74" y="571"/>
                          <a:pt x="73" y="572"/>
                          <a:pt x="72" y="573"/>
                        </a:cubicBezTo>
                        <a:cubicBezTo>
                          <a:pt x="72" y="573"/>
                          <a:pt x="71" y="573"/>
                          <a:pt x="70" y="574"/>
                        </a:cubicBezTo>
                        <a:cubicBezTo>
                          <a:pt x="70" y="574"/>
                          <a:pt x="69" y="575"/>
                          <a:pt x="70" y="576"/>
                        </a:cubicBezTo>
                        <a:cubicBezTo>
                          <a:pt x="70" y="577"/>
                          <a:pt x="72" y="576"/>
                          <a:pt x="72" y="575"/>
                        </a:cubicBezTo>
                        <a:cubicBezTo>
                          <a:pt x="74" y="575"/>
                          <a:pt x="75" y="580"/>
                          <a:pt x="75" y="581"/>
                        </a:cubicBezTo>
                        <a:cubicBezTo>
                          <a:pt x="75" y="582"/>
                          <a:pt x="77" y="586"/>
                          <a:pt x="76" y="587"/>
                        </a:cubicBezTo>
                        <a:cubicBezTo>
                          <a:pt x="76" y="587"/>
                          <a:pt x="69" y="587"/>
                          <a:pt x="70" y="588"/>
                        </a:cubicBezTo>
                        <a:cubicBezTo>
                          <a:pt x="70" y="590"/>
                          <a:pt x="74" y="589"/>
                          <a:pt x="75" y="589"/>
                        </a:cubicBezTo>
                        <a:cubicBezTo>
                          <a:pt x="80" y="588"/>
                          <a:pt x="81" y="597"/>
                          <a:pt x="83" y="600"/>
                        </a:cubicBezTo>
                        <a:cubicBezTo>
                          <a:pt x="83" y="601"/>
                          <a:pt x="84" y="602"/>
                          <a:pt x="85" y="603"/>
                        </a:cubicBezTo>
                        <a:cubicBezTo>
                          <a:pt x="80" y="601"/>
                          <a:pt x="74" y="598"/>
                          <a:pt x="68" y="597"/>
                        </a:cubicBezTo>
                        <a:cubicBezTo>
                          <a:pt x="61" y="596"/>
                          <a:pt x="55" y="596"/>
                          <a:pt x="49" y="596"/>
                        </a:cubicBezTo>
                        <a:cubicBezTo>
                          <a:pt x="42" y="596"/>
                          <a:pt x="36" y="596"/>
                          <a:pt x="30" y="595"/>
                        </a:cubicBezTo>
                        <a:cubicBezTo>
                          <a:pt x="29" y="595"/>
                          <a:pt x="27" y="595"/>
                          <a:pt x="27" y="594"/>
                        </a:cubicBezTo>
                        <a:cubicBezTo>
                          <a:pt x="26" y="593"/>
                          <a:pt x="26" y="592"/>
                          <a:pt x="25" y="591"/>
                        </a:cubicBezTo>
                        <a:cubicBezTo>
                          <a:pt x="23" y="590"/>
                          <a:pt x="21" y="589"/>
                          <a:pt x="21" y="586"/>
                        </a:cubicBezTo>
                        <a:cubicBezTo>
                          <a:pt x="21" y="584"/>
                          <a:pt x="23" y="582"/>
                          <a:pt x="22" y="579"/>
                        </a:cubicBezTo>
                        <a:cubicBezTo>
                          <a:pt x="21" y="578"/>
                          <a:pt x="20" y="577"/>
                          <a:pt x="20" y="576"/>
                        </a:cubicBezTo>
                        <a:cubicBezTo>
                          <a:pt x="20" y="575"/>
                          <a:pt x="21" y="574"/>
                          <a:pt x="21" y="573"/>
                        </a:cubicBezTo>
                        <a:cubicBezTo>
                          <a:pt x="24" y="569"/>
                          <a:pt x="19" y="565"/>
                          <a:pt x="15" y="565"/>
                        </a:cubicBezTo>
                        <a:cubicBezTo>
                          <a:pt x="13" y="565"/>
                          <a:pt x="11" y="567"/>
                          <a:pt x="9" y="567"/>
                        </a:cubicBezTo>
                        <a:cubicBezTo>
                          <a:pt x="8" y="568"/>
                          <a:pt x="7" y="568"/>
                          <a:pt x="5" y="568"/>
                        </a:cubicBezTo>
                        <a:cubicBezTo>
                          <a:pt x="5" y="568"/>
                          <a:pt x="6" y="566"/>
                          <a:pt x="6" y="566"/>
                        </a:cubicBezTo>
                        <a:cubicBezTo>
                          <a:pt x="6" y="564"/>
                          <a:pt x="6" y="562"/>
                          <a:pt x="6" y="561"/>
                        </a:cubicBezTo>
                        <a:cubicBezTo>
                          <a:pt x="5" y="560"/>
                          <a:pt x="5" y="559"/>
                          <a:pt x="5" y="558"/>
                        </a:cubicBezTo>
                        <a:cubicBezTo>
                          <a:pt x="4" y="557"/>
                          <a:pt x="3" y="557"/>
                          <a:pt x="2" y="556"/>
                        </a:cubicBezTo>
                        <a:cubicBezTo>
                          <a:pt x="0" y="555"/>
                          <a:pt x="1" y="551"/>
                          <a:pt x="1" y="549"/>
                        </a:cubicBezTo>
                        <a:cubicBezTo>
                          <a:pt x="1" y="545"/>
                          <a:pt x="2" y="543"/>
                          <a:pt x="2" y="540"/>
                        </a:cubicBezTo>
                        <a:cubicBezTo>
                          <a:pt x="3" y="537"/>
                          <a:pt x="6" y="537"/>
                          <a:pt x="7" y="536"/>
                        </a:cubicBezTo>
                        <a:cubicBezTo>
                          <a:pt x="10" y="534"/>
                          <a:pt x="12" y="532"/>
                          <a:pt x="14" y="530"/>
                        </a:cubicBezTo>
                        <a:cubicBezTo>
                          <a:pt x="16" y="528"/>
                          <a:pt x="17" y="526"/>
                          <a:pt x="17" y="523"/>
                        </a:cubicBezTo>
                        <a:cubicBezTo>
                          <a:pt x="17" y="522"/>
                          <a:pt x="17" y="521"/>
                          <a:pt x="18" y="519"/>
                        </a:cubicBezTo>
                        <a:cubicBezTo>
                          <a:pt x="18" y="518"/>
                          <a:pt x="19" y="517"/>
                          <a:pt x="20" y="516"/>
                        </a:cubicBezTo>
                        <a:cubicBezTo>
                          <a:pt x="21" y="514"/>
                          <a:pt x="22" y="512"/>
                          <a:pt x="21" y="510"/>
                        </a:cubicBezTo>
                        <a:cubicBezTo>
                          <a:pt x="20" y="508"/>
                          <a:pt x="18" y="506"/>
                          <a:pt x="18" y="503"/>
                        </a:cubicBezTo>
                        <a:cubicBezTo>
                          <a:pt x="19" y="501"/>
                          <a:pt x="19" y="498"/>
                          <a:pt x="21" y="497"/>
                        </a:cubicBezTo>
                        <a:cubicBezTo>
                          <a:pt x="23" y="496"/>
                          <a:pt x="26" y="495"/>
                          <a:pt x="28" y="493"/>
                        </a:cubicBezTo>
                        <a:cubicBezTo>
                          <a:pt x="29" y="492"/>
                          <a:pt x="28" y="489"/>
                          <a:pt x="28" y="488"/>
                        </a:cubicBezTo>
                        <a:cubicBezTo>
                          <a:pt x="27" y="485"/>
                          <a:pt x="30" y="484"/>
                          <a:pt x="32" y="482"/>
                        </a:cubicBezTo>
                        <a:cubicBezTo>
                          <a:pt x="33" y="480"/>
                          <a:pt x="31" y="478"/>
                          <a:pt x="31" y="475"/>
                        </a:cubicBezTo>
                        <a:cubicBezTo>
                          <a:pt x="30" y="474"/>
                          <a:pt x="30" y="473"/>
                          <a:pt x="30" y="471"/>
                        </a:cubicBezTo>
                        <a:cubicBezTo>
                          <a:pt x="30" y="470"/>
                          <a:pt x="31" y="469"/>
                          <a:pt x="32" y="467"/>
                        </a:cubicBezTo>
                        <a:cubicBezTo>
                          <a:pt x="33" y="465"/>
                          <a:pt x="32" y="463"/>
                          <a:pt x="32" y="460"/>
                        </a:cubicBezTo>
                        <a:cubicBezTo>
                          <a:pt x="31" y="457"/>
                          <a:pt x="33" y="457"/>
                          <a:pt x="35" y="455"/>
                        </a:cubicBezTo>
                        <a:cubicBezTo>
                          <a:pt x="37" y="454"/>
                          <a:pt x="38" y="451"/>
                          <a:pt x="37" y="449"/>
                        </a:cubicBezTo>
                        <a:cubicBezTo>
                          <a:pt x="36" y="446"/>
                          <a:pt x="34" y="445"/>
                          <a:pt x="31" y="444"/>
                        </a:cubicBezTo>
                        <a:cubicBezTo>
                          <a:pt x="30" y="443"/>
                          <a:pt x="26" y="441"/>
                          <a:pt x="26" y="440"/>
                        </a:cubicBezTo>
                        <a:cubicBezTo>
                          <a:pt x="27" y="439"/>
                          <a:pt x="31" y="441"/>
                          <a:pt x="31" y="441"/>
                        </a:cubicBezTo>
                        <a:cubicBezTo>
                          <a:pt x="34" y="441"/>
                          <a:pt x="37" y="442"/>
                          <a:pt x="39" y="439"/>
                        </a:cubicBezTo>
                        <a:cubicBezTo>
                          <a:pt x="40" y="438"/>
                          <a:pt x="42" y="435"/>
                          <a:pt x="41" y="433"/>
                        </a:cubicBezTo>
                        <a:cubicBezTo>
                          <a:pt x="39" y="431"/>
                          <a:pt x="37" y="430"/>
                          <a:pt x="35" y="430"/>
                        </a:cubicBezTo>
                        <a:cubicBezTo>
                          <a:pt x="34" y="430"/>
                          <a:pt x="32" y="431"/>
                          <a:pt x="30" y="431"/>
                        </a:cubicBezTo>
                        <a:cubicBezTo>
                          <a:pt x="29" y="430"/>
                          <a:pt x="31" y="425"/>
                          <a:pt x="31" y="424"/>
                        </a:cubicBezTo>
                        <a:cubicBezTo>
                          <a:pt x="33" y="421"/>
                          <a:pt x="32" y="418"/>
                          <a:pt x="31" y="415"/>
                        </a:cubicBezTo>
                        <a:cubicBezTo>
                          <a:pt x="30" y="413"/>
                          <a:pt x="28" y="412"/>
                          <a:pt x="30" y="410"/>
                        </a:cubicBezTo>
                        <a:cubicBezTo>
                          <a:pt x="31" y="408"/>
                          <a:pt x="32" y="407"/>
                          <a:pt x="31" y="405"/>
                        </a:cubicBezTo>
                        <a:cubicBezTo>
                          <a:pt x="30" y="404"/>
                          <a:pt x="28" y="404"/>
                          <a:pt x="27" y="403"/>
                        </a:cubicBezTo>
                        <a:cubicBezTo>
                          <a:pt x="25" y="401"/>
                          <a:pt x="26" y="397"/>
                          <a:pt x="26" y="395"/>
                        </a:cubicBezTo>
                        <a:cubicBezTo>
                          <a:pt x="25" y="393"/>
                          <a:pt x="24" y="389"/>
                          <a:pt x="26" y="387"/>
                        </a:cubicBezTo>
                        <a:cubicBezTo>
                          <a:pt x="27" y="385"/>
                          <a:pt x="30" y="386"/>
                          <a:pt x="31" y="383"/>
                        </a:cubicBezTo>
                        <a:cubicBezTo>
                          <a:pt x="31" y="382"/>
                          <a:pt x="30" y="380"/>
                          <a:pt x="30" y="378"/>
                        </a:cubicBezTo>
                        <a:cubicBezTo>
                          <a:pt x="29" y="377"/>
                          <a:pt x="29" y="376"/>
                          <a:pt x="28" y="375"/>
                        </a:cubicBezTo>
                        <a:cubicBezTo>
                          <a:pt x="28" y="374"/>
                          <a:pt x="29" y="372"/>
                          <a:pt x="29" y="371"/>
                        </a:cubicBezTo>
                        <a:cubicBezTo>
                          <a:pt x="29" y="368"/>
                          <a:pt x="29" y="364"/>
                          <a:pt x="29" y="361"/>
                        </a:cubicBezTo>
                        <a:cubicBezTo>
                          <a:pt x="29" y="359"/>
                          <a:pt x="28" y="355"/>
                          <a:pt x="30" y="353"/>
                        </a:cubicBezTo>
                        <a:cubicBezTo>
                          <a:pt x="31" y="351"/>
                          <a:pt x="33" y="350"/>
                          <a:pt x="32" y="348"/>
                        </a:cubicBezTo>
                        <a:cubicBezTo>
                          <a:pt x="32" y="347"/>
                          <a:pt x="31" y="346"/>
                          <a:pt x="31" y="344"/>
                        </a:cubicBezTo>
                        <a:cubicBezTo>
                          <a:pt x="31" y="343"/>
                          <a:pt x="32" y="342"/>
                          <a:pt x="33" y="341"/>
                        </a:cubicBezTo>
                        <a:cubicBezTo>
                          <a:pt x="33" y="339"/>
                          <a:pt x="33" y="336"/>
                          <a:pt x="34" y="334"/>
                        </a:cubicBezTo>
                        <a:cubicBezTo>
                          <a:pt x="36" y="331"/>
                          <a:pt x="36" y="328"/>
                          <a:pt x="36" y="325"/>
                        </a:cubicBezTo>
                        <a:cubicBezTo>
                          <a:pt x="36" y="323"/>
                          <a:pt x="37" y="320"/>
                          <a:pt x="39" y="319"/>
                        </a:cubicBezTo>
                        <a:cubicBezTo>
                          <a:pt x="41" y="318"/>
                          <a:pt x="44" y="317"/>
                          <a:pt x="45" y="315"/>
                        </a:cubicBezTo>
                        <a:cubicBezTo>
                          <a:pt x="47" y="313"/>
                          <a:pt x="45" y="310"/>
                          <a:pt x="45" y="308"/>
                        </a:cubicBezTo>
                        <a:cubicBezTo>
                          <a:pt x="44" y="305"/>
                          <a:pt x="43" y="302"/>
                          <a:pt x="43" y="299"/>
                        </a:cubicBezTo>
                        <a:cubicBezTo>
                          <a:pt x="42" y="296"/>
                          <a:pt x="42" y="293"/>
                          <a:pt x="42" y="290"/>
                        </a:cubicBezTo>
                        <a:cubicBezTo>
                          <a:pt x="42" y="287"/>
                          <a:pt x="42" y="284"/>
                          <a:pt x="42" y="281"/>
                        </a:cubicBezTo>
                        <a:cubicBezTo>
                          <a:pt x="42" y="279"/>
                          <a:pt x="43" y="278"/>
                          <a:pt x="43" y="277"/>
                        </a:cubicBezTo>
                        <a:cubicBezTo>
                          <a:pt x="43" y="276"/>
                          <a:pt x="43" y="274"/>
                          <a:pt x="44" y="273"/>
                        </a:cubicBezTo>
                        <a:cubicBezTo>
                          <a:pt x="45" y="271"/>
                          <a:pt x="48" y="273"/>
                          <a:pt x="50" y="271"/>
                        </a:cubicBezTo>
                        <a:cubicBezTo>
                          <a:pt x="50" y="270"/>
                          <a:pt x="50" y="269"/>
                          <a:pt x="51" y="268"/>
                        </a:cubicBezTo>
                        <a:cubicBezTo>
                          <a:pt x="51" y="267"/>
                          <a:pt x="53" y="266"/>
                          <a:pt x="53" y="265"/>
                        </a:cubicBezTo>
                        <a:cubicBezTo>
                          <a:pt x="54" y="263"/>
                          <a:pt x="54" y="259"/>
                          <a:pt x="54" y="256"/>
                        </a:cubicBezTo>
                        <a:cubicBezTo>
                          <a:pt x="54" y="253"/>
                          <a:pt x="52" y="251"/>
                          <a:pt x="53" y="248"/>
                        </a:cubicBezTo>
                        <a:cubicBezTo>
                          <a:pt x="53" y="245"/>
                          <a:pt x="56" y="243"/>
                          <a:pt x="56" y="240"/>
                        </a:cubicBezTo>
                        <a:cubicBezTo>
                          <a:pt x="56" y="237"/>
                          <a:pt x="57" y="235"/>
                          <a:pt x="59" y="233"/>
                        </a:cubicBezTo>
                        <a:cubicBezTo>
                          <a:pt x="60" y="232"/>
                          <a:pt x="60" y="231"/>
                          <a:pt x="61" y="231"/>
                        </a:cubicBezTo>
                        <a:cubicBezTo>
                          <a:pt x="62" y="230"/>
                          <a:pt x="63" y="230"/>
                          <a:pt x="63" y="228"/>
                        </a:cubicBezTo>
                        <a:cubicBezTo>
                          <a:pt x="64" y="227"/>
                          <a:pt x="63" y="226"/>
                          <a:pt x="63" y="225"/>
                        </a:cubicBezTo>
                        <a:cubicBezTo>
                          <a:pt x="63" y="224"/>
                          <a:pt x="64" y="222"/>
                          <a:pt x="64" y="221"/>
                        </a:cubicBezTo>
                        <a:cubicBezTo>
                          <a:pt x="64" y="218"/>
                          <a:pt x="65" y="216"/>
                          <a:pt x="64" y="213"/>
                        </a:cubicBezTo>
                        <a:cubicBezTo>
                          <a:pt x="63" y="211"/>
                          <a:pt x="61" y="209"/>
                          <a:pt x="60" y="207"/>
                        </a:cubicBezTo>
                        <a:cubicBezTo>
                          <a:pt x="59" y="206"/>
                          <a:pt x="60" y="204"/>
                          <a:pt x="60" y="203"/>
                        </a:cubicBezTo>
                        <a:cubicBezTo>
                          <a:pt x="60" y="202"/>
                          <a:pt x="60" y="200"/>
                          <a:pt x="60" y="199"/>
                        </a:cubicBezTo>
                        <a:cubicBezTo>
                          <a:pt x="59" y="196"/>
                          <a:pt x="58" y="194"/>
                          <a:pt x="57" y="192"/>
                        </a:cubicBezTo>
                        <a:cubicBezTo>
                          <a:pt x="55" y="190"/>
                          <a:pt x="55" y="188"/>
                          <a:pt x="56" y="186"/>
                        </a:cubicBezTo>
                        <a:cubicBezTo>
                          <a:pt x="57" y="183"/>
                          <a:pt x="56" y="181"/>
                          <a:pt x="54" y="179"/>
                        </a:cubicBezTo>
                        <a:cubicBezTo>
                          <a:pt x="52" y="177"/>
                          <a:pt x="51" y="175"/>
                          <a:pt x="52" y="172"/>
                        </a:cubicBezTo>
                        <a:cubicBezTo>
                          <a:pt x="53" y="171"/>
                          <a:pt x="54" y="170"/>
                          <a:pt x="55" y="169"/>
                        </a:cubicBezTo>
                        <a:cubicBezTo>
                          <a:pt x="55" y="169"/>
                          <a:pt x="56" y="168"/>
                          <a:pt x="57" y="167"/>
                        </a:cubicBezTo>
                        <a:cubicBezTo>
                          <a:pt x="57" y="165"/>
                          <a:pt x="55" y="161"/>
                          <a:pt x="57" y="159"/>
                        </a:cubicBezTo>
                        <a:cubicBezTo>
                          <a:pt x="59" y="157"/>
                          <a:pt x="61" y="155"/>
                          <a:pt x="63" y="153"/>
                        </a:cubicBezTo>
                        <a:cubicBezTo>
                          <a:pt x="63" y="152"/>
                          <a:pt x="63" y="151"/>
                          <a:pt x="63" y="150"/>
                        </a:cubicBezTo>
                        <a:cubicBezTo>
                          <a:pt x="63" y="148"/>
                          <a:pt x="62" y="147"/>
                          <a:pt x="62" y="145"/>
                        </a:cubicBezTo>
                        <a:cubicBezTo>
                          <a:pt x="62" y="143"/>
                          <a:pt x="61" y="140"/>
                          <a:pt x="61" y="137"/>
                        </a:cubicBezTo>
                        <a:cubicBezTo>
                          <a:pt x="61" y="134"/>
                          <a:pt x="62" y="131"/>
                          <a:pt x="63" y="128"/>
                        </a:cubicBezTo>
                        <a:cubicBezTo>
                          <a:pt x="64" y="125"/>
                          <a:pt x="65" y="123"/>
                          <a:pt x="66" y="120"/>
                        </a:cubicBezTo>
                        <a:cubicBezTo>
                          <a:pt x="67" y="118"/>
                          <a:pt x="69" y="116"/>
                          <a:pt x="71" y="114"/>
                        </a:cubicBezTo>
                        <a:cubicBezTo>
                          <a:pt x="73" y="112"/>
                          <a:pt x="75" y="109"/>
                          <a:pt x="76" y="107"/>
                        </a:cubicBezTo>
                        <a:cubicBezTo>
                          <a:pt x="77" y="104"/>
                          <a:pt x="78" y="101"/>
                          <a:pt x="80" y="99"/>
                        </a:cubicBezTo>
                        <a:cubicBezTo>
                          <a:pt x="80" y="98"/>
                          <a:pt x="81" y="97"/>
                          <a:pt x="83" y="96"/>
                        </a:cubicBezTo>
                        <a:cubicBezTo>
                          <a:pt x="83" y="96"/>
                          <a:pt x="84" y="97"/>
                          <a:pt x="85" y="96"/>
                        </a:cubicBezTo>
                        <a:cubicBezTo>
                          <a:pt x="88" y="96"/>
                          <a:pt x="89" y="92"/>
                          <a:pt x="88" y="90"/>
                        </a:cubicBezTo>
                        <a:cubicBezTo>
                          <a:pt x="87" y="87"/>
                          <a:pt x="86" y="85"/>
                          <a:pt x="85" y="82"/>
                        </a:cubicBezTo>
                        <a:cubicBezTo>
                          <a:pt x="85" y="79"/>
                          <a:pt x="85" y="76"/>
                          <a:pt x="85" y="72"/>
                        </a:cubicBezTo>
                        <a:cubicBezTo>
                          <a:pt x="85" y="69"/>
                          <a:pt x="85" y="66"/>
                          <a:pt x="86" y="63"/>
                        </a:cubicBezTo>
                        <a:cubicBezTo>
                          <a:pt x="86" y="62"/>
                          <a:pt x="86" y="61"/>
                          <a:pt x="87" y="60"/>
                        </a:cubicBezTo>
                        <a:cubicBezTo>
                          <a:pt x="88" y="59"/>
                          <a:pt x="88" y="59"/>
                          <a:pt x="88" y="58"/>
                        </a:cubicBezTo>
                        <a:cubicBezTo>
                          <a:pt x="88" y="56"/>
                          <a:pt x="86" y="54"/>
                          <a:pt x="87" y="52"/>
                        </a:cubicBezTo>
                        <a:cubicBezTo>
                          <a:pt x="87" y="49"/>
                          <a:pt x="90" y="48"/>
                          <a:pt x="92" y="47"/>
                        </a:cubicBezTo>
                        <a:cubicBezTo>
                          <a:pt x="94" y="45"/>
                          <a:pt x="97" y="44"/>
                          <a:pt x="99" y="43"/>
                        </a:cubicBezTo>
                        <a:cubicBezTo>
                          <a:pt x="101" y="42"/>
                          <a:pt x="104" y="41"/>
                          <a:pt x="106" y="40"/>
                        </a:cubicBezTo>
                        <a:cubicBezTo>
                          <a:pt x="107" y="38"/>
                          <a:pt x="108" y="35"/>
                          <a:pt x="108" y="33"/>
                        </a:cubicBezTo>
                        <a:cubicBezTo>
                          <a:pt x="109" y="29"/>
                          <a:pt x="110" y="26"/>
                          <a:pt x="110" y="23"/>
                        </a:cubicBezTo>
                        <a:cubicBezTo>
                          <a:pt x="111" y="22"/>
                          <a:pt x="111" y="21"/>
                          <a:pt x="111" y="19"/>
                        </a:cubicBezTo>
                        <a:cubicBezTo>
                          <a:pt x="111" y="18"/>
                          <a:pt x="110" y="17"/>
                          <a:pt x="111" y="16"/>
                        </a:cubicBezTo>
                        <a:cubicBezTo>
                          <a:pt x="111" y="13"/>
                          <a:pt x="115" y="11"/>
                          <a:pt x="117" y="10"/>
                        </a:cubicBezTo>
                        <a:cubicBezTo>
                          <a:pt x="119" y="8"/>
                          <a:pt x="121" y="7"/>
                          <a:pt x="123" y="5"/>
                        </a:cubicBezTo>
                        <a:cubicBezTo>
                          <a:pt x="124" y="5"/>
                          <a:pt x="124" y="3"/>
                          <a:pt x="125" y="2"/>
                        </a:cubicBezTo>
                        <a:cubicBezTo>
                          <a:pt x="125" y="2"/>
                          <a:pt x="125" y="0"/>
                          <a:pt x="126" y="0"/>
                        </a:cubicBezTo>
                        <a:cubicBezTo>
                          <a:pt x="128" y="2"/>
                          <a:pt x="131" y="6"/>
                          <a:pt x="134" y="7"/>
                        </a:cubicBezTo>
                        <a:cubicBezTo>
                          <a:pt x="136" y="7"/>
                          <a:pt x="137" y="6"/>
                          <a:pt x="139" y="6"/>
                        </a:cubicBezTo>
                        <a:cubicBezTo>
                          <a:pt x="140" y="6"/>
                          <a:pt x="142" y="6"/>
                          <a:pt x="143" y="6"/>
                        </a:cubicBezTo>
                        <a:cubicBezTo>
                          <a:pt x="146" y="6"/>
                          <a:pt x="148" y="6"/>
                          <a:pt x="150" y="8"/>
                        </a:cubicBezTo>
                        <a:cubicBezTo>
                          <a:pt x="152" y="9"/>
                          <a:pt x="153" y="11"/>
                          <a:pt x="154" y="14"/>
                        </a:cubicBezTo>
                        <a:cubicBezTo>
                          <a:pt x="155" y="15"/>
                          <a:pt x="156" y="19"/>
                          <a:pt x="158" y="17"/>
                        </a:cubicBezTo>
                        <a:cubicBezTo>
                          <a:pt x="160" y="16"/>
                          <a:pt x="161" y="13"/>
                          <a:pt x="162" y="11"/>
                        </a:cubicBezTo>
                        <a:cubicBezTo>
                          <a:pt x="162" y="9"/>
                          <a:pt x="163" y="8"/>
                          <a:pt x="163" y="7"/>
                        </a:cubicBezTo>
                        <a:cubicBezTo>
                          <a:pt x="164" y="6"/>
                          <a:pt x="164" y="4"/>
                          <a:pt x="165" y="4"/>
                        </a:cubicBezTo>
                        <a:cubicBezTo>
                          <a:pt x="167" y="3"/>
                          <a:pt x="171" y="3"/>
                          <a:pt x="173" y="4"/>
                        </a:cubicBezTo>
                        <a:cubicBezTo>
                          <a:pt x="176" y="4"/>
                          <a:pt x="179" y="3"/>
                          <a:pt x="182" y="4"/>
                        </a:cubicBezTo>
                        <a:cubicBezTo>
                          <a:pt x="184" y="5"/>
                          <a:pt x="186" y="7"/>
                          <a:pt x="187" y="9"/>
                        </a:cubicBezTo>
                        <a:cubicBezTo>
                          <a:pt x="189" y="12"/>
                          <a:pt x="191" y="14"/>
                          <a:pt x="193" y="16"/>
                        </a:cubicBezTo>
                        <a:cubicBezTo>
                          <a:pt x="200" y="24"/>
                          <a:pt x="207" y="36"/>
                          <a:pt x="218" y="38"/>
                        </a:cubicBezTo>
                        <a:cubicBezTo>
                          <a:pt x="224" y="39"/>
                          <a:pt x="230" y="39"/>
                          <a:pt x="234" y="43"/>
                        </a:cubicBezTo>
                        <a:cubicBezTo>
                          <a:pt x="239" y="47"/>
                          <a:pt x="244" y="51"/>
                          <a:pt x="249" y="53"/>
                        </a:cubicBezTo>
                        <a:cubicBezTo>
                          <a:pt x="254" y="56"/>
                          <a:pt x="260" y="58"/>
                          <a:pt x="265" y="61"/>
                        </a:cubicBezTo>
                        <a:cubicBezTo>
                          <a:pt x="267" y="62"/>
                          <a:pt x="269" y="64"/>
                          <a:pt x="269" y="67"/>
                        </a:cubicBezTo>
                        <a:cubicBezTo>
                          <a:pt x="270" y="69"/>
                          <a:pt x="267" y="72"/>
                          <a:pt x="265" y="73"/>
                        </a:cubicBezTo>
                        <a:cubicBezTo>
                          <a:pt x="263" y="75"/>
                          <a:pt x="261" y="77"/>
                          <a:pt x="260" y="80"/>
                        </a:cubicBezTo>
                        <a:cubicBezTo>
                          <a:pt x="259" y="82"/>
                          <a:pt x="259" y="85"/>
                          <a:pt x="257" y="87"/>
                        </a:cubicBezTo>
                        <a:cubicBezTo>
                          <a:pt x="256" y="89"/>
                          <a:pt x="255" y="92"/>
                          <a:pt x="254" y="94"/>
                        </a:cubicBezTo>
                        <a:cubicBezTo>
                          <a:pt x="253" y="96"/>
                          <a:pt x="253" y="99"/>
                          <a:pt x="256" y="100"/>
                        </a:cubicBezTo>
                        <a:cubicBezTo>
                          <a:pt x="258" y="100"/>
                          <a:pt x="261" y="99"/>
                          <a:pt x="264" y="99"/>
                        </a:cubicBezTo>
                        <a:cubicBezTo>
                          <a:pt x="267" y="99"/>
                          <a:pt x="270" y="100"/>
                          <a:pt x="273" y="100"/>
                        </a:cubicBezTo>
                        <a:cubicBezTo>
                          <a:pt x="273" y="100"/>
                          <a:pt x="273" y="101"/>
                          <a:pt x="273" y="101"/>
                        </a:cubicBezTo>
                        <a:cubicBezTo>
                          <a:pt x="274" y="101"/>
                          <a:pt x="274" y="102"/>
                          <a:pt x="275" y="102"/>
                        </a:cubicBezTo>
                        <a:cubicBezTo>
                          <a:pt x="276" y="103"/>
                          <a:pt x="278" y="103"/>
                          <a:pt x="280" y="103"/>
                        </a:cubicBezTo>
                        <a:cubicBezTo>
                          <a:pt x="282" y="102"/>
                          <a:pt x="283" y="102"/>
                          <a:pt x="285" y="102"/>
                        </a:cubicBezTo>
                        <a:cubicBezTo>
                          <a:pt x="287" y="102"/>
                          <a:pt x="288" y="102"/>
                          <a:pt x="289" y="103"/>
                        </a:cubicBezTo>
                        <a:cubicBezTo>
                          <a:pt x="291" y="103"/>
                          <a:pt x="292" y="104"/>
                          <a:pt x="294" y="104"/>
                        </a:cubicBezTo>
                        <a:cubicBezTo>
                          <a:pt x="296" y="104"/>
                          <a:pt x="298" y="102"/>
                          <a:pt x="300" y="101"/>
                        </a:cubicBezTo>
                        <a:cubicBezTo>
                          <a:pt x="303" y="100"/>
                          <a:pt x="306" y="101"/>
                          <a:pt x="307" y="98"/>
                        </a:cubicBezTo>
                        <a:cubicBezTo>
                          <a:pt x="307" y="97"/>
                          <a:pt x="307" y="96"/>
                          <a:pt x="308" y="95"/>
                        </a:cubicBezTo>
                        <a:cubicBezTo>
                          <a:pt x="309" y="94"/>
                          <a:pt x="310" y="93"/>
                          <a:pt x="311" y="93"/>
                        </a:cubicBezTo>
                        <a:cubicBezTo>
                          <a:pt x="313" y="91"/>
                          <a:pt x="316" y="89"/>
                          <a:pt x="318" y="87"/>
                        </a:cubicBezTo>
                        <a:cubicBezTo>
                          <a:pt x="322" y="83"/>
                          <a:pt x="322" y="77"/>
                          <a:pt x="323" y="72"/>
                        </a:cubicBezTo>
                        <a:cubicBezTo>
                          <a:pt x="323" y="71"/>
                          <a:pt x="323" y="71"/>
                          <a:pt x="324" y="71"/>
                        </a:cubicBezTo>
                        <a:cubicBezTo>
                          <a:pt x="325" y="70"/>
                          <a:pt x="325" y="70"/>
                          <a:pt x="326" y="70"/>
                        </a:cubicBezTo>
                        <a:cubicBezTo>
                          <a:pt x="327" y="69"/>
                          <a:pt x="329" y="69"/>
                          <a:pt x="330" y="69"/>
                        </a:cubicBezTo>
                        <a:cubicBezTo>
                          <a:pt x="333" y="69"/>
                          <a:pt x="335" y="72"/>
                          <a:pt x="336" y="74"/>
                        </a:cubicBezTo>
                        <a:cubicBezTo>
                          <a:pt x="338" y="79"/>
                          <a:pt x="337" y="86"/>
                          <a:pt x="337" y="91"/>
                        </a:cubicBezTo>
                        <a:cubicBezTo>
                          <a:pt x="336" y="97"/>
                          <a:pt x="330" y="98"/>
                          <a:pt x="325" y="100"/>
                        </a:cubicBezTo>
                        <a:cubicBezTo>
                          <a:pt x="323" y="101"/>
                          <a:pt x="320" y="102"/>
                          <a:pt x="318" y="103"/>
                        </a:cubicBezTo>
                        <a:cubicBezTo>
                          <a:pt x="315" y="105"/>
                          <a:pt x="313" y="106"/>
                          <a:pt x="311" y="108"/>
                        </a:cubicBezTo>
                        <a:cubicBezTo>
                          <a:pt x="309" y="109"/>
                          <a:pt x="307" y="110"/>
                          <a:pt x="305" y="112"/>
                        </a:cubicBezTo>
                        <a:cubicBezTo>
                          <a:pt x="303" y="113"/>
                          <a:pt x="302" y="115"/>
                          <a:pt x="301" y="118"/>
                        </a:cubicBezTo>
                        <a:cubicBezTo>
                          <a:pt x="301" y="120"/>
                          <a:pt x="300" y="122"/>
                          <a:pt x="298" y="124"/>
                        </a:cubicBezTo>
                        <a:cubicBezTo>
                          <a:pt x="296" y="126"/>
                          <a:pt x="293" y="127"/>
                          <a:pt x="291" y="129"/>
                        </a:cubicBezTo>
                        <a:cubicBezTo>
                          <a:pt x="286" y="133"/>
                          <a:pt x="282" y="138"/>
                          <a:pt x="277" y="143"/>
                        </a:cubicBezTo>
                        <a:cubicBezTo>
                          <a:pt x="273" y="147"/>
                          <a:pt x="269" y="151"/>
                          <a:pt x="267" y="157"/>
                        </a:cubicBezTo>
                        <a:cubicBezTo>
                          <a:pt x="265" y="159"/>
                          <a:pt x="266" y="161"/>
                          <a:pt x="266" y="163"/>
                        </a:cubicBezTo>
                        <a:cubicBezTo>
                          <a:pt x="266" y="166"/>
                          <a:pt x="265" y="168"/>
                          <a:pt x="265" y="170"/>
                        </a:cubicBezTo>
                        <a:cubicBezTo>
                          <a:pt x="263" y="175"/>
                          <a:pt x="262" y="180"/>
                          <a:pt x="260" y="184"/>
                        </a:cubicBezTo>
                        <a:cubicBezTo>
                          <a:pt x="259" y="188"/>
                          <a:pt x="260" y="192"/>
                          <a:pt x="260" y="196"/>
                        </a:cubicBezTo>
                        <a:cubicBezTo>
                          <a:pt x="261" y="199"/>
                          <a:pt x="261" y="201"/>
                          <a:pt x="261" y="204"/>
                        </a:cubicBezTo>
                        <a:cubicBezTo>
                          <a:pt x="261" y="205"/>
                          <a:pt x="261" y="206"/>
                          <a:pt x="260" y="206"/>
                        </a:cubicBezTo>
                        <a:cubicBezTo>
                          <a:pt x="260" y="207"/>
                          <a:pt x="259" y="209"/>
                          <a:pt x="259" y="208"/>
                        </a:cubicBezTo>
                        <a:cubicBezTo>
                          <a:pt x="259" y="208"/>
                          <a:pt x="259" y="208"/>
                          <a:pt x="259" y="208"/>
                        </a:cubicBezTo>
                        <a:cubicBezTo>
                          <a:pt x="259" y="206"/>
                          <a:pt x="259" y="208"/>
                          <a:pt x="259" y="208"/>
                        </a:cubicBezTo>
                        <a:close/>
                        <a:moveTo>
                          <a:pt x="164" y="384"/>
                        </a:moveTo>
                        <a:cubicBezTo>
                          <a:pt x="163" y="385"/>
                          <a:pt x="162" y="385"/>
                          <a:pt x="160" y="385"/>
                        </a:cubicBezTo>
                        <a:cubicBezTo>
                          <a:pt x="159" y="386"/>
                          <a:pt x="158" y="386"/>
                          <a:pt x="158" y="388"/>
                        </a:cubicBezTo>
                        <a:cubicBezTo>
                          <a:pt x="159" y="388"/>
                          <a:pt x="162" y="392"/>
                          <a:pt x="159" y="392"/>
                        </a:cubicBezTo>
                        <a:cubicBezTo>
                          <a:pt x="158" y="391"/>
                          <a:pt x="157" y="390"/>
                          <a:pt x="157" y="392"/>
                        </a:cubicBezTo>
                        <a:cubicBezTo>
                          <a:pt x="156" y="393"/>
                          <a:pt x="157" y="394"/>
                          <a:pt x="157" y="395"/>
                        </a:cubicBezTo>
                        <a:cubicBezTo>
                          <a:pt x="158" y="396"/>
                          <a:pt x="162" y="398"/>
                          <a:pt x="164" y="398"/>
                        </a:cubicBezTo>
                        <a:cubicBezTo>
                          <a:pt x="166" y="397"/>
                          <a:pt x="168" y="397"/>
                          <a:pt x="168" y="394"/>
                        </a:cubicBezTo>
                        <a:cubicBezTo>
                          <a:pt x="169" y="392"/>
                          <a:pt x="169" y="390"/>
                          <a:pt x="169" y="389"/>
                        </a:cubicBezTo>
                        <a:cubicBezTo>
                          <a:pt x="169" y="387"/>
                          <a:pt x="169" y="385"/>
                          <a:pt x="168" y="384"/>
                        </a:cubicBezTo>
                        <a:cubicBezTo>
                          <a:pt x="166" y="383"/>
                          <a:pt x="164" y="384"/>
                          <a:pt x="163" y="385"/>
                        </a:cubicBezTo>
                        <a:cubicBezTo>
                          <a:pt x="163" y="385"/>
                          <a:pt x="164" y="384"/>
                          <a:pt x="164" y="384"/>
                        </a:cubicBezTo>
                        <a:cubicBezTo>
                          <a:pt x="163" y="385"/>
                          <a:pt x="164" y="384"/>
                          <a:pt x="164" y="384"/>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22" name="Freeform 53">
                    <a:extLst>
                      <a:ext uri="{FF2B5EF4-FFF2-40B4-BE49-F238E27FC236}">
                        <a16:creationId xmlns:a16="http://schemas.microsoft.com/office/drawing/2014/main" id="{8E3E9357-09F5-7727-999C-6D845E3B99F5}"/>
                      </a:ext>
                    </a:extLst>
                  </p:cNvPr>
                  <p:cNvSpPr/>
                  <p:nvPr>
                    <p:custDataLst>
                      <p:tags r:id="rId260"/>
                    </p:custDataLst>
                  </p:nvPr>
                </p:nvSpPr>
                <p:spPr bwMode="auto">
                  <a:xfrm>
                    <a:off x="3560764" y="6440488"/>
                    <a:ext cx="109538" cy="88900"/>
                  </a:xfrm>
                  <a:custGeom>
                    <a:avLst/>
                    <a:gdLst>
                      <a:gd name="T0" fmla="*/ 24 w 59"/>
                      <a:gd name="T1" fmla="*/ 39 h 48"/>
                      <a:gd name="T2" fmla="*/ 18 w 59"/>
                      <a:gd name="T3" fmla="*/ 39 h 48"/>
                      <a:gd name="T4" fmla="*/ 10 w 59"/>
                      <a:gd name="T5" fmla="*/ 38 h 48"/>
                      <a:gd name="T6" fmla="*/ 1 w 59"/>
                      <a:gd name="T7" fmla="*/ 38 h 48"/>
                      <a:gd name="T8" fmla="*/ 0 w 59"/>
                      <a:gd name="T9" fmla="*/ 37 h 48"/>
                      <a:gd name="T10" fmla="*/ 1 w 59"/>
                      <a:gd name="T11" fmla="*/ 34 h 48"/>
                      <a:gd name="T12" fmla="*/ 1 w 59"/>
                      <a:gd name="T13" fmla="*/ 0 h 48"/>
                      <a:gd name="T14" fmla="*/ 5 w 59"/>
                      <a:gd name="T15" fmla="*/ 3 h 48"/>
                      <a:gd name="T16" fmla="*/ 10 w 59"/>
                      <a:gd name="T17" fmla="*/ 8 h 48"/>
                      <a:gd name="T18" fmla="*/ 15 w 59"/>
                      <a:gd name="T19" fmla="*/ 14 h 48"/>
                      <a:gd name="T20" fmla="*/ 22 w 59"/>
                      <a:gd name="T21" fmla="*/ 19 h 48"/>
                      <a:gd name="T22" fmla="*/ 36 w 59"/>
                      <a:gd name="T23" fmla="*/ 29 h 48"/>
                      <a:gd name="T24" fmla="*/ 44 w 59"/>
                      <a:gd name="T25" fmla="*/ 33 h 48"/>
                      <a:gd name="T26" fmla="*/ 51 w 59"/>
                      <a:gd name="T27" fmla="*/ 35 h 48"/>
                      <a:gd name="T28" fmla="*/ 57 w 59"/>
                      <a:gd name="T29" fmla="*/ 33 h 48"/>
                      <a:gd name="T30" fmla="*/ 58 w 59"/>
                      <a:gd name="T31" fmla="*/ 35 h 48"/>
                      <a:gd name="T32" fmla="*/ 57 w 59"/>
                      <a:gd name="T33" fmla="*/ 39 h 48"/>
                      <a:gd name="T34" fmla="*/ 52 w 59"/>
                      <a:gd name="T35" fmla="*/ 41 h 48"/>
                      <a:gd name="T36" fmla="*/ 45 w 59"/>
                      <a:gd name="T37" fmla="*/ 42 h 48"/>
                      <a:gd name="T38" fmla="*/ 38 w 59"/>
                      <a:gd name="T39" fmla="*/ 44 h 48"/>
                      <a:gd name="T40" fmla="*/ 35 w 59"/>
                      <a:gd name="T41" fmla="*/ 46 h 48"/>
                      <a:gd name="T42" fmla="*/ 32 w 59"/>
                      <a:gd name="T43" fmla="*/ 41 h 48"/>
                      <a:gd name="T44" fmla="*/ 28 w 59"/>
                      <a:gd name="T45" fmla="*/ 41 h 48"/>
                      <a:gd name="T46" fmla="*/ 24 w 59"/>
                      <a:gd name="T47" fmla="*/ 39 h 48"/>
                      <a:gd name="T48" fmla="*/ 24 w 59"/>
                      <a:gd name="T49"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48">
                        <a:moveTo>
                          <a:pt x="24" y="39"/>
                        </a:moveTo>
                        <a:cubicBezTo>
                          <a:pt x="23" y="38"/>
                          <a:pt x="20" y="39"/>
                          <a:pt x="18" y="39"/>
                        </a:cubicBezTo>
                        <a:cubicBezTo>
                          <a:pt x="15" y="39"/>
                          <a:pt x="12" y="38"/>
                          <a:pt x="10" y="38"/>
                        </a:cubicBezTo>
                        <a:cubicBezTo>
                          <a:pt x="7" y="38"/>
                          <a:pt x="4" y="38"/>
                          <a:pt x="1" y="38"/>
                        </a:cubicBezTo>
                        <a:cubicBezTo>
                          <a:pt x="0" y="38"/>
                          <a:pt x="0" y="38"/>
                          <a:pt x="0" y="37"/>
                        </a:cubicBezTo>
                        <a:cubicBezTo>
                          <a:pt x="0" y="36"/>
                          <a:pt x="0" y="35"/>
                          <a:pt x="1" y="34"/>
                        </a:cubicBezTo>
                        <a:cubicBezTo>
                          <a:pt x="1" y="22"/>
                          <a:pt x="1" y="11"/>
                          <a:pt x="1" y="0"/>
                        </a:cubicBezTo>
                        <a:cubicBezTo>
                          <a:pt x="2" y="2"/>
                          <a:pt x="2" y="2"/>
                          <a:pt x="5" y="3"/>
                        </a:cubicBezTo>
                        <a:cubicBezTo>
                          <a:pt x="7" y="4"/>
                          <a:pt x="8" y="5"/>
                          <a:pt x="10" y="8"/>
                        </a:cubicBezTo>
                        <a:cubicBezTo>
                          <a:pt x="12" y="10"/>
                          <a:pt x="14" y="12"/>
                          <a:pt x="15" y="14"/>
                        </a:cubicBezTo>
                        <a:cubicBezTo>
                          <a:pt x="17" y="16"/>
                          <a:pt x="19" y="18"/>
                          <a:pt x="22" y="19"/>
                        </a:cubicBezTo>
                        <a:cubicBezTo>
                          <a:pt x="26" y="23"/>
                          <a:pt x="31" y="26"/>
                          <a:pt x="36" y="29"/>
                        </a:cubicBezTo>
                        <a:cubicBezTo>
                          <a:pt x="39" y="30"/>
                          <a:pt x="41" y="32"/>
                          <a:pt x="44" y="33"/>
                        </a:cubicBezTo>
                        <a:cubicBezTo>
                          <a:pt x="46" y="34"/>
                          <a:pt x="48" y="35"/>
                          <a:pt x="51" y="35"/>
                        </a:cubicBezTo>
                        <a:cubicBezTo>
                          <a:pt x="53" y="34"/>
                          <a:pt x="55" y="33"/>
                          <a:pt x="57" y="33"/>
                        </a:cubicBezTo>
                        <a:cubicBezTo>
                          <a:pt x="58" y="33"/>
                          <a:pt x="59" y="34"/>
                          <a:pt x="58" y="35"/>
                        </a:cubicBezTo>
                        <a:cubicBezTo>
                          <a:pt x="58" y="36"/>
                          <a:pt x="58" y="37"/>
                          <a:pt x="57" y="39"/>
                        </a:cubicBezTo>
                        <a:cubicBezTo>
                          <a:pt x="57" y="41"/>
                          <a:pt x="54" y="41"/>
                          <a:pt x="52" y="41"/>
                        </a:cubicBezTo>
                        <a:cubicBezTo>
                          <a:pt x="50" y="41"/>
                          <a:pt x="47" y="41"/>
                          <a:pt x="45" y="42"/>
                        </a:cubicBezTo>
                        <a:cubicBezTo>
                          <a:pt x="44" y="44"/>
                          <a:pt x="40" y="43"/>
                          <a:pt x="38" y="44"/>
                        </a:cubicBezTo>
                        <a:cubicBezTo>
                          <a:pt x="38" y="44"/>
                          <a:pt x="35" y="48"/>
                          <a:pt x="35" y="46"/>
                        </a:cubicBezTo>
                        <a:cubicBezTo>
                          <a:pt x="35" y="44"/>
                          <a:pt x="35" y="42"/>
                          <a:pt x="32" y="41"/>
                        </a:cubicBezTo>
                        <a:cubicBezTo>
                          <a:pt x="31" y="41"/>
                          <a:pt x="29" y="41"/>
                          <a:pt x="28" y="41"/>
                        </a:cubicBezTo>
                        <a:cubicBezTo>
                          <a:pt x="27" y="40"/>
                          <a:pt x="26" y="40"/>
                          <a:pt x="24" y="39"/>
                        </a:cubicBezTo>
                        <a:cubicBezTo>
                          <a:pt x="23" y="39"/>
                          <a:pt x="24" y="39"/>
                          <a:pt x="24" y="39"/>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grpSp>
          </p:grpSp>
          <p:sp>
            <p:nvSpPr>
              <p:cNvPr id="229" name="Freeform 79">
                <a:extLst>
                  <a:ext uri="{FF2B5EF4-FFF2-40B4-BE49-F238E27FC236}">
                    <a16:creationId xmlns:a16="http://schemas.microsoft.com/office/drawing/2014/main" id="{29D2E82C-96BE-3E30-8F35-C9D0EB8A8F50}"/>
                  </a:ext>
                </a:extLst>
              </p:cNvPr>
              <p:cNvSpPr/>
              <p:nvPr>
                <p:custDataLst>
                  <p:tags r:id="rId167"/>
                </p:custDataLst>
              </p:nvPr>
            </p:nvSpPr>
            <p:spPr bwMode="auto">
              <a:xfrm>
                <a:off x="3483217" y="3933573"/>
                <a:ext cx="54849" cy="20408"/>
              </a:xfrm>
              <a:custGeom>
                <a:avLst/>
                <a:gdLst>
                  <a:gd name="T0" fmla="*/ 14 w 37"/>
                  <a:gd name="T1" fmla="*/ 0 h 14"/>
                  <a:gd name="T2" fmla="*/ 25 w 37"/>
                  <a:gd name="T3" fmla="*/ 3 h 14"/>
                  <a:gd name="T4" fmla="*/ 31 w 37"/>
                  <a:gd name="T5" fmla="*/ 6 h 14"/>
                  <a:gd name="T6" fmla="*/ 36 w 37"/>
                  <a:gd name="T7" fmla="*/ 8 h 14"/>
                  <a:gd name="T8" fmla="*/ 35 w 37"/>
                  <a:gd name="T9" fmla="*/ 11 h 14"/>
                  <a:gd name="T10" fmla="*/ 28 w 37"/>
                  <a:gd name="T11" fmla="*/ 10 h 14"/>
                  <a:gd name="T12" fmla="*/ 23 w 37"/>
                  <a:gd name="T13" fmla="*/ 9 h 14"/>
                  <a:gd name="T14" fmla="*/ 21 w 37"/>
                  <a:gd name="T15" fmla="*/ 12 h 14"/>
                  <a:gd name="T16" fmla="*/ 19 w 37"/>
                  <a:gd name="T17" fmla="*/ 13 h 14"/>
                  <a:gd name="T18" fmla="*/ 14 w 37"/>
                  <a:gd name="T19" fmla="*/ 11 h 14"/>
                  <a:gd name="T20" fmla="*/ 9 w 37"/>
                  <a:gd name="T21" fmla="*/ 9 h 14"/>
                  <a:gd name="T22" fmla="*/ 3 w 37"/>
                  <a:gd name="T23" fmla="*/ 6 h 14"/>
                  <a:gd name="T24" fmla="*/ 0 w 37"/>
                  <a:gd name="T25" fmla="*/ 4 h 14"/>
                  <a:gd name="T26" fmla="*/ 4 w 37"/>
                  <a:gd name="T27" fmla="*/ 2 h 14"/>
                  <a:gd name="T28" fmla="*/ 15 w 37"/>
                  <a:gd name="T29" fmla="*/ 0 h 14"/>
                  <a:gd name="T30" fmla="*/ 14 w 37"/>
                  <a:gd name="T31" fmla="*/ 0 h 14"/>
                  <a:gd name="T32" fmla="*/ 14 w 37"/>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14">
                    <a:moveTo>
                      <a:pt x="14" y="0"/>
                    </a:moveTo>
                    <a:cubicBezTo>
                      <a:pt x="18" y="0"/>
                      <a:pt x="21" y="1"/>
                      <a:pt x="25" y="3"/>
                    </a:cubicBezTo>
                    <a:cubicBezTo>
                      <a:pt x="27" y="4"/>
                      <a:pt x="29" y="5"/>
                      <a:pt x="31" y="6"/>
                    </a:cubicBezTo>
                    <a:cubicBezTo>
                      <a:pt x="33" y="7"/>
                      <a:pt x="35" y="7"/>
                      <a:pt x="36" y="8"/>
                    </a:cubicBezTo>
                    <a:cubicBezTo>
                      <a:pt x="37" y="10"/>
                      <a:pt x="36" y="11"/>
                      <a:pt x="35" y="11"/>
                    </a:cubicBezTo>
                    <a:cubicBezTo>
                      <a:pt x="33" y="11"/>
                      <a:pt x="31" y="10"/>
                      <a:pt x="28" y="10"/>
                    </a:cubicBezTo>
                    <a:cubicBezTo>
                      <a:pt x="27" y="10"/>
                      <a:pt x="25" y="9"/>
                      <a:pt x="23" y="9"/>
                    </a:cubicBezTo>
                    <a:cubicBezTo>
                      <a:pt x="21" y="10"/>
                      <a:pt x="21" y="11"/>
                      <a:pt x="21" y="12"/>
                    </a:cubicBezTo>
                    <a:cubicBezTo>
                      <a:pt x="21" y="14"/>
                      <a:pt x="20" y="14"/>
                      <a:pt x="19" y="13"/>
                    </a:cubicBezTo>
                    <a:cubicBezTo>
                      <a:pt x="18" y="12"/>
                      <a:pt x="16" y="11"/>
                      <a:pt x="14" y="11"/>
                    </a:cubicBezTo>
                    <a:cubicBezTo>
                      <a:pt x="12" y="11"/>
                      <a:pt x="10" y="10"/>
                      <a:pt x="9" y="9"/>
                    </a:cubicBezTo>
                    <a:cubicBezTo>
                      <a:pt x="7" y="8"/>
                      <a:pt x="5" y="7"/>
                      <a:pt x="3" y="6"/>
                    </a:cubicBezTo>
                    <a:cubicBezTo>
                      <a:pt x="3" y="5"/>
                      <a:pt x="0" y="5"/>
                      <a:pt x="0" y="4"/>
                    </a:cubicBezTo>
                    <a:cubicBezTo>
                      <a:pt x="1" y="2"/>
                      <a:pt x="3" y="2"/>
                      <a:pt x="4" y="2"/>
                    </a:cubicBezTo>
                    <a:cubicBezTo>
                      <a:pt x="8" y="1"/>
                      <a:pt x="12" y="0"/>
                      <a:pt x="15" y="0"/>
                    </a:cubicBezTo>
                    <a:cubicBezTo>
                      <a:pt x="15" y="0"/>
                      <a:pt x="14" y="0"/>
                      <a:pt x="14" y="0"/>
                    </a:cubicBezTo>
                    <a:cubicBezTo>
                      <a:pt x="17" y="0"/>
                      <a:pt x="14" y="0"/>
                      <a:pt x="14" y="0"/>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30" name="Freeform 87">
                <a:extLst>
                  <a:ext uri="{FF2B5EF4-FFF2-40B4-BE49-F238E27FC236}">
                    <a16:creationId xmlns:a16="http://schemas.microsoft.com/office/drawing/2014/main" id="{463EB4EA-1FCC-DC06-AC23-58604C21C35C}"/>
                  </a:ext>
                </a:extLst>
              </p:cNvPr>
              <p:cNvSpPr/>
              <p:nvPr>
                <p:custDataLst>
                  <p:tags r:id="rId168"/>
                </p:custDataLst>
              </p:nvPr>
            </p:nvSpPr>
            <p:spPr bwMode="auto">
              <a:xfrm>
                <a:off x="3762563" y="3933573"/>
                <a:ext cx="43369" cy="16583"/>
              </a:xfrm>
              <a:custGeom>
                <a:avLst/>
                <a:gdLst>
                  <a:gd name="T0" fmla="*/ 14 w 29"/>
                  <a:gd name="T1" fmla="*/ 0 h 11"/>
                  <a:gd name="T2" fmla="*/ 24 w 29"/>
                  <a:gd name="T3" fmla="*/ 1 h 11"/>
                  <a:gd name="T4" fmla="*/ 28 w 29"/>
                  <a:gd name="T5" fmla="*/ 1 h 11"/>
                  <a:gd name="T6" fmla="*/ 28 w 29"/>
                  <a:gd name="T7" fmla="*/ 4 h 11"/>
                  <a:gd name="T8" fmla="*/ 23 w 29"/>
                  <a:gd name="T9" fmla="*/ 9 h 11"/>
                  <a:gd name="T10" fmla="*/ 14 w 29"/>
                  <a:gd name="T11" fmla="*/ 9 h 11"/>
                  <a:gd name="T12" fmla="*/ 5 w 29"/>
                  <a:gd name="T13" fmla="*/ 10 h 11"/>
                  <a:gd name="T14" fmla="*/ 1 w 29"/>
                  <a:gd name="T15" fmla="*/ 4 h 11"/>
                  <a:gd name="T16" fmla="*/ 3 w 29"/>
                  <a:gd name="T17" fmla="*/ 1 h 11"/>
                  <a:gd name="T18" fmla="*/ 8 w 29"/>
                  <a:gd name="T19" fmla="*/ 0 h 11"/>
                  <a:gd name="T20" fmla="*/ 16 w 29"/>
                  <a:gd name="T21" fmla="*/ 0 h 11"/>
                  <a:gd name="T22" fmla="*/ 14 w 29"/>
                  <a:gd name="T23" fmla="*/ 0 h 11"/>
                  <a:gd name="T24" fmla="*/ 14 w 29"/>
                  <a:gd name="T2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11">
                    <a:moveTo>
                      <a:pt x="14" y="0"/>
                    </a:moveTo>
                    <a:cubicBezTo>
                      <a:pt x="17" y="0"/>
                      <a:pt x="21" y="1"/>
                      <a:pt x="24" y="1"/>
                    </a:cubicBezTo>
                    <a:cubicBezTo>
                      <a:pt x="25" y="1"/>
                      <a:pt x="27" y="1"/>
                      <a:pt x="28" y="1"/>
                    </a:cubicBezTo>
                    <a:cubicBezTo>
                      <a:pt x="29" y="2"/>
                      <a:pt x="29" y="3"/>
                      <a:pt x="28" y="4"/>
                    </a:cubicBezTo>
                    <a:cubicBezTo>
                      <a:pt x="27" y="6"/>
                      <a:pt x="25" y="8"/>
                      <a:pt x="23" y="9"/>
                    </a:cubicBezTo>
                    <a:cubicBezTo>
                      <a:pt x="20" y="11"/>
                      <a:pt x="17" y="9"/>
                      <a:pt x="14" y="9"/>
                    </a:cubicBezTo>
                    <a:cubicBezTo>
                      <a:pt x="11" y="9"/>
                      <a:pt x="9" y="11"/>
                      <a:pt x="5" y="10"/>
                    </a:cubicBezTo>
                    <a:cubicBezTo>
                      <a:pt x="3" y="9"/>
                      <a:pt x="0" y="8"/>
                      <a:pt x="1" y="4"/>
                    </a:cubicBezTo>
                    <a:cubicBezTo>
                      <a:pt x="2" y="3"/>
                      <a:pt x="2" y="2"/>
                      <a:pt x="3" y="1"/>
                    </a:cubicBezTo>
                    <a:cubicBezTo>
                      <a:pt x="4" y="0"/>
                      <a:pt x="6" y="0"/>
                      <a:pt x="8" y="0"/>
                    </a:cubicBezTo>
                    <a:cubicBezTo>
                      <a:pt x="10" y="0"/>
                      <a:pt x="13" y="0"/>
                      <a:pt x="16" y="0"/>
                    </a:cubicBezTo>
                    <a:cubicBezTo>
                      <a:pt x="15" y="0"/>
                      <a:pt x="14" y="0"/>
                      <a:pt x="14" y="0"/>
                    </a:cubicBezTo>
                    <a:cubicBezTo>
                      <a:pt x="17" y="0"/>
                      <a:pt x="14" y="0"/>
                      <a:pt x="14" y="0"/>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31" name="Freeform 88">
                <a:extLst>
                  <a:ext uri="{FF2B5EF4-FFF2-40B4-BE49-F238E27FC236}">
                    <a16:creationId xmlns:a16="http://schemas.microsoft.com/office/drawing/2014/main" id="{CEFB0439-17A1-4A35-3166-986D7003B5ED}"/>
                  </a:ext>
                </a:extLst>
              </p:cNvPr>
              <p:cNvSpPr/>
              <p:nvPr>
                <p:custDataLst>
                  <p:tags r:id="rId169"/>
                </p:custDataLst>
              </p:nvPr>
            </p:nvSpPr>
            <p:spPr bwMode="auto">
              <a:xfrm>
                <a:off x="3578883" y="3890204"/>
                <a:ext cx="70155" cy="56125"/>
              </a:xfrm>
              <a:custGeom>
                <a:avLst/>
                <a:gdLst>
                  <a:gd name="T0" fmla="*/ 38 w 47"/>
                  <a:gd name="T1" fmla="*/ 7 h 38"/>
                  <a:gd name="T2" fmla="*/ 45 w 47"/>
                  <a:gd name="T3" fmla="*/ 7 h 38"/>
                  <a:gd name="T4" fmla="*/ 46 w 47"/>
                  <a:gd name="T5" fmla="*/ 17 h 38"/>
                  <a:gd name="T6" fmla="*/ 44 w 47"/>
                  <a:gd name="T7" fmla="*/ 24 h 38"/>
                  <a:gd name="T8" fmla="*/ 43 w 47"/>
                  <a:gd name="T9" fmla="*/ 31 h 38"/>
                  <a:gd name="T10" fmla="*/ 46 w 47"/>
                  <a:gd name="T11" fmla="*/ 35 h 38"/>
                  <a:gd name="T12" fmla="*/ 38 w 47"/>
                  <a:gd name="T13" fmla="*/ 34 h 38"/>
                  <a:gd name="T14" fmla="*/ 34 w 47"/>
                  <a:gd name="T15" fmla="*/ 34 h 38"/>
                  <a:gd name="T16" fmla="*/ 30 w 47"/>
                  <a:gd name="T17" fmla="*/ 35 h 38"/>
                  <a:gd name="T18" fmla="*/ 26 w 47"/>
                  <a:gd name="T19" fmla="*/ 34 h 38"/>
                  <a:gd name="T20" fmla="*/ 22 w 47"/>
                  <a:gd name="T21" fmla="*/ 34 h 38"/>
                  <a:gd name="T22" fmla="*/ 14 w 47"/>
                  <a:gd name="T23" fmla="*/ 32 h 38"/>
                  <a:gd name="T24" fmla="*/ 15 w 47"/>
                  <a:gd name="T25" fmla="*/ 36 h 38"/>
                  <a:gd name="T26" fmla="*/ 14 w 47"/>
                  <a:gd name="T27" fmla="*/ 37 h 38"/>
                  <a:gd name="T28" fmla="*/ 11 w 47"/>
                  <a:gd name="T29" fmla="*/ 37 h 38"/>
                  <a:gd name="T30" fmla="*/ 8 w 47"/>
                  <a:gd name="T31" fmla="*/ 37 h 38"/>
                  <a:gd name="T32" fmla="*/ 9 w 47"/>
                  <a:gd name="T33" fmla="*/ 35 h 38"/>
                  <a:gd name="T34" fmla="*/ 5 w 47"/>
                  <a:gd name="T35" fmla="*/ 33 h 38"/>
                  <a:gd name="T36" fmla="*/ 1 w 47"/>
                  <a:gd name="T37" fmla="*/ 30 h 38"/>
                  <a:gd name="T38" fmla="*/ 1 w 47"/>
                  <a:gd name="T39" fmla="*/ 28 h 38"/>
                  <a:gd name="T40" fmla="*/ 4 w 47"/>
                  <a:gd name="T41" fmla="*/ 27 h 38"/>
                  <a:gd name="T42" fmla="*/ 12 w 47"/>
                  <a:gd name="T43" fmla="*/ 28 h 38"/>
                  <a:gd name="T44" fmla="*/ 21 w 47"/>
                  <a:gd name="T45" fmla="*/ 29 h 38"/>
                  <a:gd name="T46" fmla="*/ 28 w 47"/>
                  <a:gd name="T47" fmla="*/ 30 h 38"/>
                  <a:gd name="T48" fmla="*/ 32 w 47"/>
                  <a:gd name="T49" fmla="*/ 29 h 38"/>
                  <a:gd name="T50" fmla="*/ 34 w 47"/>
                  <a:gd name="T51" fmla="*/ 28 h 38"/>
                  <a:gd name="T52" fmla="*/ 38 w 47"/>
                  <a:gd name="T53" fmla="*/ 27 h 38"/>
                  <a:gd name="T54" fmla="*/ 32 w 47"/>
                  <a:gd name="T55" fmla="*/ 23 h 38"/>
                  <a:gd name="T56" fmla="*/ 31 w 47"/>
                  <a:gd name="T57" fmla="*/ 20 h 38"/>
                  <a:gd name="T58" fmla="*/ 30 w 47"/>
                  <a:gd name="T59" fmla="*/ 17 h 38"/>
                  <a:gd name="T60" fmla="*/ 31 w 47"/>
                  <a:gd name="T61" fmla="*/ 14 h 38"/>
                  <a:gd name="T62" fmla="*/ 29 w 47"/>
                  <a:gd name="T63" fmla="*/ 11 h 38"/>
                  <a:gd name="T64" fmla="*/ 23 w 47"/>
                  <a:gd name="T65" fmla="*/ 10 h 38"/>
                  <a:gd name="T66" fmla="*/ 20 w 47"/>
                  <a:gd name="T67" fmla="*/ 9 h 38"/>
                  <a:gd name="T68" fmla="*/ 18 w 47"/>
                  <a:gd name="T69" fmla="*/ 6 h 38"/>
                  <a:gd name="T70" fmla="*/ 22 w 47"/>
                  <a:gd name="T71" fmla="*/ 5 h 38"/>
                  <a:gd name="T72" fmla="*/ 27 w 47"/>
                  <a:gd name="T73" fmla="*/ 4 h 38"/>
                  <a:gd name="T74" fmla="*/ 27 w 47"/>
                  <a:gd name="T75" fmla="*/ 2 h 38"/>
                  <a:gd name="T76" fmla="*/ 28 w 47"/>
                  <a:gd name="T77" fmla="*/ 0 h 38"/>
                  <a:gd name="T78" fmla="*/ 32 w 47"/>
                  <a:gd name="T79" fmla="*/ 2 h 38"/>
                  <a:gd name="T80" fmla="*/ 35 w 47"/>
                  <a:gd name="T81" fmla="*/ 4 h 38"/>
                  <a:gd name="T82" fmla="*/ 37 w 47"/>
                  <a:gd name="T83" fmla="*/ 7 h 38"/>
                  <a:gd name="T84" fmla="*/ 39 w 47"/>
                  <a:gd name="T85" fmla="*/ 8 h 38"/>
                  <a:gd name="T86" fmla="*/ 38 w 47"/>
                  <a:gd name="T87" fmla="*/ 7 h 38"/>
                  <a:gd name="T88" fmla="*/ 38 w 47"/>
                  <a:gd name="T89"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 h="38">
                    <a:moveTo>
                      <a:pt x="38" y="7"/>
                    </a:moveTo>
                    <a:cubicBezTo>
                      <a:pt x="41" y="8"/>
                      <a:pt x="42" y="8"/>
                      <a:pt x="45" y="7"/>
                    </a:cubicBezTo>
                    <a:cubicBezTo>
                      <a:pt x="46" y="11"/>
                      <a:pt x="46" y="14"/>
                      <a:pt x="46" y="17"/>
                    </a:cubicBezTo>
                    <a:cubicBezTo>
                      <a:pt x="46" y="20"/>
                      <a:pt x="47" y="23"/>
                      <a:pt x="44" y="24"/>
                    </a:cubicBezTo>
                    <a:cubicBezTo>
                      <a:pt x="42" y="26"/>
                      <a:pt x="41" y="29"/>
                      <a:pt x="43" y="31"/>
                    </a:cubicBezTo>
                    <a:cubicBezTo>
                      <a:pt x="44" y="32"/>
                      <a:pt x="46" y="33"/>
                      <a:pt x="46" y="35"/>
                    </a:cubicBezTo>
                    <a:cubicBezTo>
                      <a:pt x="43" y="35"/>
                      <a:pt x="41" y="35"/>
                      <a:pt x="38" y="34"/>
                    </a:cubicBezTo>
                    <a:cubicBezTo>
                      <a:pt x="37" y="34"/>
                      <a:pt x="35" y="34"/>
                      <a:pt x="34" y="34"/>
                    </a:cubicBezTo>
                    <a:cubicBezTo>
                      <a:pt x="32" y="34"/>
                      <a:pt x="31" y="35"/>
                      <a:pt x="30" y="35"/>
                    </a:cubicBezTo>
                    <a:cubicBezTo>
                      <a:pt x="28" y="35"/>
                      <a:pt x="27" y="35"/>
                      <a:pt x="26" y="34"/>
                    </a:cubicBezTo>
                    <a:cubicBezTo>
                      <a:pt x="25" y="34"/>
                      <a:pt x="23" y="34"/>
                      <a:pt x="22" y="34"/>
                    </a:cubicBezTo>
                    <a:cubicBezTo>
                      <a:pt x="20" y="34"/>
                      <a:pt x="16" y="31"/>
                      <a:pt x="14" y="32"/>
                    </a:cubicBezTo>
                    <a:cubicBezTo>
                      <a:pt x="12" y="33"/>
                      <a:pt x="15" y="35"/>
                      <a:pt x="15" y="36"/>
                    </a:cubicBezTo>
                    <a:cubicBezTo>
                      <a:pt x="15" y="37"/>
                      <a:pt x="14" y="37"/>
                      <a:pt x="14" y="37"/>
                    </a:cubicBezTo>
                    <a:cubicBezTo>
                      <a:pt x="13" y="36"/>
                      <a:pt x="12" y="36"/>
                      <a:pt x="11" y="37"/>
                    </a:cubicBezTo>
                    <a:cubicBezTo>
                      <a:pt x="10" y="37"/>
                      <a:pt x="9" y="38"/>
                      <a:pt x="8" y="37"/>
                    </a:cubicBezTo>
                    <a:cubicBezTo>
                      <a:pt x="8" y="36"/>
                      <a:pt x="9" y="35"/>
                      <a:pt x="9" y="35"/>
                    </a:cubicBezTo>
                    <a:cubicBezTo>
                      <a:pt x="9" y="34"/>
                      <a:pt x="6" y="33"/>
                      <a:pt x="5" y="33"/>
                    </a:cubicBezTo>
                    <a:cubicBezTo>
                      <a:pt x="3" y="33"/>
                      <a:pt x="0" y="33"/>
                      <a:pt x="1" y="30"/>
                    </a:cubicBezTo>
                    <a:cubicBezTo>
                      <a:pt x="1" y="29"/>
                      <a:pt x="1" y="28"/>
                      <a:pt x="1" y="28"/>
                    </a:cubicBezTo>
                    <a:cubicBezTo>
                      <a:pt x="1" y="26"/>
                      <a:pt x="3" y="27"/>
                      <a:pt x="4" y="27"/>
                    </a:cubicBezTo>
                    <a:cubicBezTo>
                      <a:pt x="7" y="27"/>
                      <a:pt x="9" y="27"/>
                      <a:pt x="12" y="28"/>
                    </a:cubicBezTo>
                    <a:cubicBezTo>
                      <a:pt x="15" y="29"/>
                      <a:pt x="18" y="29"/>
                      <a:pt x="21" y="29"/>
                    </a:cubicBezTo>
                    <a:cubicBezTo>
                      <a:pt x="24" y="29"/>
                      <a:pt x="26" y="30"/>
                      <a:pt x="28" y="30"/>
                    </a:cubicBezTo>
                    <a:cubicBezTo>
                      <a:pt x="30" y="30"/>
                      <a:pt x="31" y="30"/>
                      <a:pt x="32" y="29"/>
                    </a:cubicBezTo>
                    <a:cubicBezTo>
                      <a:pt x="33" y="29"/>
                      <a:pt x="33" y="28"/>
                      <a:pt x="34" y="28"/>
                    </a:cubicBezTo>
                    <a:cubicBezTo>
                      <a:pt x="35" y="28"/>
                      <a:pt x="38" y="28"/>
                      <a:pt x="38" y="27"/>
                    </a:cubicBezTo>
                    <a:cubicBezTo>
                      <a:pt x="37" y="24"/>
                      <a:pt x="34" y="24"/>
                      <a:pt x="32" y="23"/>
                    </a:cubicBezTo>
                    <a:cubicBezTo>
                      <a:pt x="31" y="22"/>
                      <a:pt x="32" y="21"/>
                      <a:pt x="31" y="20"/>
                    </a:cubicBezTo>
                    <a:cubicBezTo>
                      <a:pt x="30" y="19"/>
                      <a:pt x="29" y="18"/>
                      <a:pt x="30" y="17"/>
                    </a:cubicBezTo>
                    <a:cubicBezTo>
                      <a:pt x="31" y="16"/>
                      <a:pt x="31" y="15"/>
                      <a:pt x="31" y="14"/>
                    </a:cubicBezTo>
                    <a:cubicBezTo>
                      <a:pt x="31" y="13"/>
                      <a:pt x="30" y="12"/>
                      <a:pt x="29" y="11"/>
                    </a:cubicBezTo>
                    <a:cubicBezTo>
                      <a:pt x="27" y="10"/>
                      <a:pt x="25" y="10"/>
                      <a:pt x="23" y="10"/>
                    </a:cubicBezTo>
                    <a:cubicBezTo>
                      <a:pt x="22" y="10"/>
                      <a:pt x="20" y="10"/>
                      <a:pt x="20" y="9"/>
                    </a:cubicBezTo>
                    <a:cubicBezTo>
                      <a:pt x="19" y="9"/>
                      <a:pt x="18" y="7"/>
                      <a:pt x="18" y="6"/>
                    </a:cubicBezTo>
                    <a:cubicBezTo>
                      <a:pt x="19" y="5"/>
                      <a:pt x="21" y="5"/>
                      <a:pt x="22" y="5"/>
                    </a:cubicBezTo>
                    <a:cubicBezTo>
                      <a:pt x="24" y="5"/>
                      <a:pt x="25" y="4"/>
                      <a:pt x="27" y="4"/>
                    </a:cubicBezTo>
                    <a:cubicBezTo>
                      <a:pt x="28" y="4"/>
                      <a:pt x="28" y="3"/>
                      <a:pt x="27" y="2"/>
                    </a:cubicBezTo>
                    <a:cubicBezTo>
                      <a:pt x="26" y="1"/>
                      <a:pt x="27" y="1"/>
                      <a:pt x="28" y="0"/>
                    </a:cubicBezTo>
                    <a:cubicBezTo>
                      <a:pt x="29" y="0"/>
                      <a:pt x="31" y="1"/>
                      <a:pt x="32" y="2"/>
                    </a:cubicBezTo>
                    <a:cubicBezTo>
                      <a:pt x="33" y="2"/>
                      <a:pt x="34" y="3"/>
                      <a:pt x="35" y="4"/>
                    </a:cubicBezTo>
                    <a:cubicBezTo>
                      <a:pt x="36" y="5"/>
                      <a:pt x="36" y="6"/>
                      <a:pt x="37" y="7"/>
                    </a:cubicBezTo>
                    <a:cubicBezTo>
                      <a:pt x="37" y="8"/>
                      <a:pt x="39" y="8"/>
                      <a:pt x="39" y="8"/>
                    </a:cubicBezTo>
                    <a:cubicBezTo>
                      <a:pt x="39" y="8"/>
                      <a:pt x="39" y="8"/>
                      <a:pt x="38" y="7"/>
                    </a:cubicBezTo>
                    <a:cubicBezTo>
                      <a:pt x="39" y="8"/>
                      <a:pt x="38" y="7"/>
                      <a:pt x="38" y="7"/>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32" name="Freeform 89">
                <a:extLst>
                  <a:ext uri="{FF2B5EF4-FFF2-40B4-BE49-F238E27FC236}">
                    <a16:creationId xmlns:a16="http://schemas.microsoft.com/office/drawing/2014/main" id="{1EA17F7E-C7A6-863D-524F-F1A27D7AD46A}"/>
                  </a:ext>
                </a:extLst>
              </p:cNvPr>
              <p:cNvSpPr/>
              <p:nvPr>
                <p:custDataLst>
                  <p:tags r:id="rId170"/>
                </p:custDataLst>
              </p:nvPr>
            </p:nvSpPr>
            <p:spPr bwMode="auto">
              <a:xfrm>
                <a:off x="3645212" y="3895306"/>
                <a:ext cx="90565" cy="59951"/>
              </a:xfrm>
              <a:custGeom>
                <a:avLst/>
                <a:gdLst>
                  <a:gd name="T0" fmla="*/ 3 w 61"/>
                  <a:gd name="T1" fmla="*/ 3 h 41"/>
                  <a:gd name="T2" fmla="*/ 4 w 61"/>
                  <a:gd name="T3" fmla="*/ 12 h 41"/>
                  <a:gd name="T4" fmla="*/ 4 w 61"/>
                  <a:gd name="T5" fmla="*/ 21 h 41"/>
                  <a:gd name="T6" fmla="*/ 1 w 61"/>
                  <a:gd name="T7" fmla="*/ 23 h 41"/>
                  <a:gd name="T8" fmla="*/ 0 w 61"/>
                  <a:gd name="T9" fmla="*/ 26 h 41"/>
                  <a:gd name="T10" fmla="*/ 2 w 61"/>
                  <a:gd name="T11" fmla="*/ 28 h 41"/>
                  <a:gd name="T12" fmla="*/ 4 w 61"/>
                  <a:gd name="T13" fmla="*/ 32 h 41"/>
                  <a:gd name="T14" fmla="*/ 5 w 61"/>
                  <a:gd name="T15" fmla="*/ 38 h 41"/>
                  <a:gd name="T16" fmla="*/ 8 w 61"/>
                  <a:gd name="T17" fmla="*/ 40 h 41"/>
                  <a:gd name="T18" fmla="*/ 10 w 61"/>
                  <a:gd name="T19" fmla="*/ 40 h 41"/>
                  <a:gd name="T20" fmla="*/ 12 w 61"/>
                  <a:gd name="T21" fmla="*/ 34 h 41"/>
                  <a:gd name="T22" fmla="*/ 16 w 61"/>
                  <a:gd name="T23" fmla="*/ 30 h 41"/>
                  <a:gd name="T24" fmla="*/ 22 w 61"/>
                  <a:gd name="T25" fmla="*/ 28 h 41"/>
                  <a:gd name="T26" fmla="*/ 23 w 61"/>
                  <a:gd name="T27" fmla="*/ 30 h 41"/>
                  <a:gd name="T28" fmla="*/ 26 w 61"/>
                  <a:gd name="T29" fmla="*/ 32 h 41"/>
                  <a:gd name="T30" fmla="*/ 32 w 61"/>
                  <a:gd name="T31" fmla="*/ 31 h 41"/>
                  <a:gd name="T32" fmla="*/ 35 w 61"/>
                  <a:gd name="T33" fmla="*/ 27 h 41"/>
                  <a:gd name="T34" fmla="*/ 40 w 61"/>
                  <a:gd name="T35" fmla="*/ 28 h 41"/>
                  <a:gd name="T36" fmla="*/ 43 w 61"/>
                  <a:gd name="T37" fmla="*/ 28 h 41"/>
                  <a:gd name="T38" fmla="*/ 48 w 61"/>
                  <a:gd name="T39" fmla="*/ 28 h 41"/>
                  <a:gd name="T40" fmla="*/ 54 w 61"/>
                  <a:gd name="T41" fmla="*/ 29 h 41"/>
                  <a:gd name="T42" fmla="*/ 56 w 61"/>
                  <a:gd name="T43" fmla="*/ 31 h 41"/>
                  <a:gd name="T44" fmla="*/ 58 w 61"/>
                  <a:gd name="T45" fmla="*/ 27 h 41"/>
                  <a:gd name="T46" fmla="*/ 61 w 61"/>
                  <a:gd name="T47" fmla="*/ 22 h 41"/>
                  <a:gd name="T48" fmla="*/ 59 w 61"/>
                  <a:gd name="T49" fmla="*/ 21 h 41"/>
                  <a:gd name="T50" fmla="*/ 57 w 61"/>
                  <a:gd name="T51" fmla="*/ 19 h 41"/>
                  <a:gd name="T52" fmla="*/ 50 w 61"/>
                  <a:gd name="T53" fmla="*/ 18 h 41"/>
                  <a:gd name="T54" fmla="*/ 45 w 61"/>
                  <a:gd name="T55" fmla="*/ 16 h 41"/>
                  <a:gd name="T56" fmla="*/ 41 w 61"/>
                  <a:gd name="T57" fmla="*/ 16 h 41"/>
                  <a:gd name="T58" fmla="*/ 39 w 61"/>
                  <a:gd name="T59" fmla="*/ 15 h 41"/>
                  <a:gd name="T60" fmla="*/ 41 w 61"/>
                  <a:gd name="T61" fmla="*/ 13 h 41"/>
                  <a:gd name="T62" fmla="*/ 43 w 61"/>
                  <a:gd name="T63" fmla="*/ 12 h 41"/>
                  <a:gd name="T64" fmla="*/ 39 w 61"/>
                  <a:gd name="T65" fmla="*/ 12 h 41"/>
                  <a:gd name="T66" fmla="*/ 35 w 61"/>
                  <a:gd name="T67" fmla="*/ 8 h 41"/>
                  <a:gd name="T68" fmla="*/ 34 w 61"/>
                  <a:gd name="T69" fmla="*/ 4 h 41"/>
                  <a:gd name="T70" fmla="*/ 27 w 61"/>
                  <a:gd name="T71" fmla="*/ 4 h 41"/>
                  <a:gd name="T72" fmla="*/ 20 w 61"/>
                  <a:gd name="T73" fmla="*/ 1 h 41"/>
                  <a:gd name="T74" fmla="*/ 14 w 61"/>
                  <a:gd name="T75" fmla="*/ 2 h 41"/>
                  <a:gd name="T76" fmla="*/ 7 w 61"/>
                  <a:gd name="T77" fmla="*/ 2 h 41"/>
                  <a:gd name="T78" fmla="*/ 3 w 61"/>
                  <a:gd name="T79" fmla="*/ 2 h 41"/>
                  <a:gd name="T80" fmla="*/ 3 w 61"/>
                  <a:gd name="T81" fmla="*/ 4 h 41"/>
                  <a:gd name="T82" fmla="*/ 3 w 61"/>
                  <a:gd name="T83" fmla="*/ 3 h 41"/>
                  <a:gd name="T84" fmla="*/ 3 w 61"/>
                  <a:gd name="T85"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41">
                    <a:moveTo>
                      <a:pt x="3" y="3"/>
                    </a:moveTo>
                    <a:cubicBezTo>
                      <a:pt x="4" y="6"/>
                      <a:pt x="4" y="9"/>
                      <a:pt x="4" y="12"/>
                    </a:cubicBezTo>
                    <a:cubicBezTo>
                      <a:pt x="4" y="15"/>
                      <a:pt x="5" y="18"/>
                      <a:pt x="4" y="21"/>
                    </a:cubicBezTo>
                    <a:cubicBezTo>
                      <a:pt x="3" y="22"/>
                      <a:pt x="2" y="22"/>
                      <a:pt x="1" y="23"/>
                    </a:cubicBezTo>
                    <a:cubicBezTo>
                      <a:pt x="1" y="24"/>
                      <a:pt x="0" y="25"/>
                      <a:pt x="0" y="26"/>
                    </a:cubicBezTo>
                    <a:cubicBezTo>
                      <a:pt x="1" y="27"/>
                      <a:pt x="2" y="27"/>
                      <a:pt x="2" y="28"/>
                    </a:cubicBezTo>
                    <a:cubicBezTo>
                      <a:pt x="3" y="29"/>
                      <a:pt x="4" y="30"/>
                      <a:pt x="4" y="32"/>
                    </a:cubicBezTo>
                    <a:cubicBezTo>
                      <a:pt x="5" y="34"/>
                      <a:pt x="3" y="36"/>
                      <a:pt x="5" y="38"/>
                    </a:cubicBezTo>
                    <a:cubicBezTo>
                      <a:pt x="6" y="39"/>
                      <a:pt x="7" y="39"/>
                      <a:pt x="8" y="40"/>
                    </a:cubicBezTo>
                    <a:cubicBezTo>
                      <a:pt x="8" y="40"/>
                      <a:pt x="9" y="41"/>
                      <a:pt x="10" y="40"/>
                    </a:cubicBezTo>
                    <a:cubicBezTo>
                      <a:pt x="12" y="38"/>
                      <a:pt x="11" y="36"/>
                      <a:pt x="12" y="34"/>
                    </a:cubicBezTo>
                    <a:cubicBezTo>
                      <a:pt x="13" y="31"/>
                      <a:pt x="14" y="31"/>
                      <a:pt x="16" y="30"/>
                    </a:cubicBezTo>
                    <a:cubicBezTo>
                      <a:pt x="18" y="30"/>
                      <a:pt x="20" y="28"/>
                      <a:pt x="22" y="28"/>
                    </a:cubicBezTo>
                    <a:cubicBezTo>
                      <a:pt x="23" y="28"/>
                      <a:pt x="23" y="29"/>
                      <a:pt x="23" y="30"/>
                    </a:cubicBezTo>
                    <a:cubicBezTo>
                      <a:pt x="23" y="32"/>
                      <a:pt x="25" y="32"/>
                      <a:pt x="26" y="32"/>
                    </a:cubicBezTo>
                    <a:cubicBezTo>
                      <a:pt x="28" y="32"/>
                      <a:pt x="30" y="32"/>
                      <a:pt x="32" y="31"/>
                    </a:cubicBezTo>
                    <a:cubicBezTo>
                      <a:pt x="33" y="29"/>
                      <a:pt x="33" y="28"/>
                      <a:pt x="35" y="27"/>
                    </a:cubicBezTo>
                    <a:cubicBezTo>
                      <a:pt x="37" y="26"/>
                      <a:pt x="38" y="28"/>
                      <a:pt x="40" y="28"/>
                    </a:cubicBezTo>
                    <a:cubicBezTo>
                      <a:pt x="41" y="29"/>
                      <a:pt x="42" y="29"/>
                      <a:pt x="43" y="28"/>
                    </a:cubicBezTo>
                    <a:cubicBezTo>
                      <a:pt x="45" y="28"/>
                      <a:pt x="46" y="28"/>
                      <a:pt x="48" y="28"/>
                    </a:cubicBezTo>
                    <a:cubicBezTo>
                      <a:pt x="50" y="28"/>
                      <a:pt x="53" y="27"/>
                      <a:pt x="54" y="29"/>
                    </a:cubicBezTo>
                    <a:cubicBezTo>
                      <a:pt x="55" y="30"/>
                      <a:pt x="55" y="34"/>
                      <a:pt x="56" y="31"/>
                    </a:cubicBezTo>
                    <a:cubicBezTo>
                      <a:pt x="57" y="30"/>
                      <a:pt x="57" y="29"/>
                      <a:pt x="58" y="27"/>
                    </a:cubicBezTo>
                    <a:cubicBezTo>
                      <a:pt x="59" y="25"/>
                      <a:pt x="61" y="25"/>
                      <a:pt x="61" y="22"/>
                    </a:cubicBezTo>
                    <a:cubicBezTo>
                      <a:pt x="61" y="22"/>
                      <a:pt x="60" y="21"/>
                      <a:pt x="59" y="21"/>
                    </a:cubicBezTo>
                    <a:cubicBezTo>
                      <a:pt x="58" y="21"/>
                      <a:pt x="58" y="20"/>
                      <a:pt x="57" y="19"/>
                    </a:cubicBezTo>
                    <a:cubicBezTo>
                      <a:pt x="55" y="18"/>
                      <a:pt x="52" y="18"/>
                      <a:pt x="50" y="18"/>
                    </a:cubicBezTo>
                    <a:cubicBezTo>
                      <a:pt x="48" y="17"/>
                      <a:pt x="47" y="16"/>
                      <a:pt x="45" y="16"/>
                    </a:cubicBezTo>
                    <a:cubicBezTo>
                      <a:pt x="44" y="16"/>
                      <a:pt x="42" y="16"/>
                      <a:pt x="41" y="16"/>
                    </a:cubicBezTo>
                    <a:cubicBezTo>
                      <a:pt x="40" y="16"/>
                      <a:pt x="39" y="16"/>
                      <a:pt x="39" y="15"/>
                    </a:cubicBezTo>
                    <a:cubicBezTo>
                      <a:pt x="39" y="14"/>
                      <a:pt x="40" y="13"/>
                      <a:pt x="41" y="13"/>
                    </a:cubicBezTo>
                    <a:cubicBezTo>
                      <a:pt x="41" y="13"/>
                      <a:pt x="44" y="13"/>
                      <a:pt x="43" y="12"/>
                    </a:cubicBezTo>
                    <a:cubicBezTo>
                      <a:pt x="42" y="11"/>
                      <a:pt x="40" y="12"/>
                      <a:pt x="39" y="12"/>
                    </a:cubicBezTo>
                    <a:cubicBezTo>
                      <a:pt x="37" y="12"/>
                      <a:pt x="36" y="10"/>
                      <a:pt x="35" y="8"/>
                    </a:cubicBezTo>
                    <a:cubicBezTo>
                      <a:pt x="35" y="7"/>
                      <a:pt x="36" y="4"/>
                      <a:pt x="34" y="4"/>
                    </a:cubicBezTo>
                    <a:cubicBezTo>
                      <a:pt x="32" y="4"/>
                      <a:pt x="29" y="4"/>
                      <a:pt x="27" y="4"/>
                    </a:cubicBezTo>
                    <a:cubicBezTo>
                      <a:pt x="24" y="4"/>
                      <a:pt x="23" y="2"/>
                      <a:pt x="20" y="1"/>
                    </a:cubicBezTo>
                    <a:cubicBezTo>
                      <a:pt x="18" y="0"/>
                      <a:pt x="16" y="1"/>
                      <a:pt x="14" y="2"/>
                    </a:cubicBezTo>
                    <a:cubicBezTo>
                      <a:pt x="12" y="3"/>
                      <a:pt x="9" y="2"/>
                      <a:pt x="7" y="2"/>
                    </a:cubicBezTo>
                    <a:cubicBezTo>
                      <a:pt x="6" y="2"/>
                      <a:pt x="4" y="2"/>
                      <a:pt x="3" y="2"/>
                    </a:cubicBezTo>
                    <a:cubicBezTo>
                      <a:pt x="3" y="3"/>
                      <a:pt x="3" y="3"/>
                      <a:pt x="3" y="4"/>
                    </a:cubicBezTo>
                    <a:cubicBezTo>
                      <a:pt x="3" y="4"/>
                      <a:pt x="3" y="3"/>
                      <a:pt x="3" y="3"/>
                    </a:cubicBezTo>
                    <a:cubicBezTo>
                      <a:pt x="4" y="6"/>
                      <a:pt x="3" y="3"/>
                      <a:pt x="3" y="3"/>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33" name="Freeform 90">
                <a:extLst>
                  <a:ext uri="{FF2B5EF4-FFF2-40B4-BE49-F238E27FC236}">
                    <a16:creationId xmlns:a16="http://schemas.microsoft.com/office/drawing/2014/main" id="{41DB9123-17D8-2738-D99E-FF12966E7DD4}"/>
                  </a:ext>
                </a:extLst>
              </p:cNvPr>
              <p:cNvSpPr/>
              <p:nvPr>
                <p:custDataLst>
                  <p:tags r:id="rId171"/>
                </p:custDataLst>
              </p:nvPr>
            </p:nvSpPr>
            <p:spPr bwMode="auto">
              <a:xfrm>
                <a:off x="3600568" y="3853213"/>
                <a:ext cx="19133" cy="17858"/>
              </a:xfrm>
              <a:custGeom>
                <a:avLst/>
                <a:gdLst>
                  <a:gd name="T0" fmla="*/ 4 w 13"/>
                  <a:gd name="T1" fmla="*/ 6 h 12"/>
                  <a:gd name="T2" fmla="*/ 7 w 13"/>
                  <a:gd name="T3" fmla="*/ 6 h 12"/>
                  <a:gd name="T4" fmla="*/ 9 w 13"/>
                  <a:gd name="T5" fmla="*/ 7 h 12"/>
                  <a:gd name="T6" fmla="*/ 10 w 13"/>
                  <a:gd name="T7" fmla="*/ 4 h 12"/>
                  <a:gd name="T8" fmla="*/ 12 w 13"/>
                  <a:gd name="T9" fmla="*/ 1 h 12"/>
                  <a:gd name="T10" fmla="*/ 11 w 13"/>
                  <a:gd name="T11" fmla="*/ 3 h 12"/>
                  <a:gd name="T12" fmla="*/ 10 w 13"/>
                  <a:gd name="T13" fmla="*/ 6 h 12"/>
                  <a:gd name="T14" fmla="*/ 8 w 13"/>
                  <a:gd name="T15" fmla="*/ 11 h 12"/>
                  <a:gd name="T16" fmla="*/ 3 w 13"/>
                  <a:gd name="T17" fmla="*/ 11 h 12"/>
                  <a:gd name="T18" fmla="*/ 1 w 13"/>
                  <a:gd name="T19" fmla="*/ 8 h 12"/>
                  <a:gd name="T20" fmla="*/ 5 w 13"/>
                  <a:gd name="T21" fmla="*/ 6 h 12"/>
                  <a:gd name="T22" fmla="*/ 4 w 13"/>
                  <a:gd name="T23" fmla="*/ 6 h 12"/>
                  <a:gd name="T24" fmla="*/ 4 w 13"/>
                  <a:gd name="T25"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2">
                    <a:moveTo>
                      <a:pt x="4" y="6"/>
                    </a:moveTo>
                    <a:cubicBezTo>
                      <a:pt x="5" y="6"/>
                      <a:pt x="6" y="5"/>
                      <a:pt x="7" y="6"/>
                    </a:cubicBezTo>
                    <a:cubicBezTo>
                      <a:pt x="7" y="6"/>
                      <a:pt x="8" y="7"/>
                      <a:pt x="9" y="7"/>
                    </a:cubicBezTo>
                    <a:cubicBezTo>
                      <a:pt x="10" y="7"/>
                      <a:pt x="10" y="5"/>
                      <a:pt x="10" y="4"/>
                    </a:cubicBezTo>
                    <a:cubicBezTo>
                      <a:pt x="10" y="3"/>
                      <a:pt x="11" y="0"/>
                      <a:pt x="12" y="1"/>
                    </a:cubicBezTo>
                    <a:cubicBezTo>
                      <a:pt x="13" y="1"/>
                      <a:pt x="11" y="3"/>
                      <a:pt x="11" y="3"/>
                    </a:cubicBezTo>
                    <a:cubicBezTo>
                      <a:pt x="10" y="4"/>
                      <a:pt x="11" y="5"/>
                      <a:pt x="10" y="6"/>
                    </a:cubicBezTo>
                    <a:cubicBezTo>
                      <a:pt x="10" y="8"/>
                      <a:pt x="10" y="10"/>
                      <a:pt x="8" y="11"/>
                    </a:cubicBezTo>
                    <a:cubicBezTo>
                      <a:pt x="6" y="11"/>
                      <a:pt x="4" y="12"/>
                      <a:pt x="3" y="11"/>
                    </a:cubicBezTo>
                    <a:cubicBezTo>
                      <a:pt x="1" y="11"/>
                      <a:pt x="0" y="10"/>
                      <a:pt x="1" y="8"/>
                    </a:cubicBezTo>
                    <a:cubicBezTo>
                      <a:pt x="2" y="7"/>
                      <a:pt x="4" y="7"/>
                      <a:pt x="5" y="6"/>
                    </a:cubicBezTo>
                    <a:cubicBezTo>
                      <a:pt x="4" y="6"/>
                      <a:pt x="4" y="6"/>
                      <a:pt x="4" y="6"/>
                    </a:cubicBezTo>
                    <a:cubicBezTo>
                      <a:pt x="5" y="5"/>
                      <a:pt x="4" y="6"/>
                      <a:pt x="4" y="6"/>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34" name="Freeform 97">
                <a:extLst>
                  <a:ext uri="{FF2B5EF4-FFF2-40B4-BE49-F238E27FC236}">
                    <a16:creationId xmlns:a16="http://schemas.microsoft.com/office/drawing/2014/main" id="{55220F6D-95E0-F0BB-0999-6D92DE930A8F}"/>
                  </a:ext>
                </a:extLst>
              </p:cNvPr>
              <p:cNvSpPr/>
              <p:nvPr>
                <p:custDataLst>
                  <p:tags r:id="rId172"/>
                </p:custDataLst>
              </p:nvPr>
            </p:nvSpPr>
            <p:spPr bwMode="auto">
              <a:xfrm>
                <a:off x="3358213" y="3843009"/>
                <a:ext cx="19133" cy="16583"/>
              </a:xfrm>
              <a:custGeom>
                <a:avLst/>
                <a:gdLst>
                  <a:gd name="T0" fmla="*/ 5 w 13"/>
                  <a:gd name="T1" fmla="*/ 1 h 11"/>
                  <a:gd name="T2" fmla="*/ 2 w 13"/>
                  <a:gd name="T3" fmla="*/ 5 h 11"/>
                  <a:gd name="T4" fmla="*/ 5 w 13"/>
                  <a:gd name="T5" fmla="*/ 9 h 11"/>
                  <a:gd name="T6" fmla="*/ 9 w 13"/>
                  <a:gd name="T7" fmla="*/ 8 h 11"/>
                  <a:gd name="T8" fmla="*/ 10 w 13"/>
                  <a:gd name="T9" fmla="*/ 1 h 11"/>
                  <a:gd name="T10" fmla="*/ 4 w 13"/>
                  <a:gd name="T11" fmla="*/ 2 h 11"/>
                  <a:gd name="T12" fmla="*/ 5 w 13"/>
                  <a:gd name="T13" fmla="*/ 1 h 11"/>
                  <a:gd name="T14" fmla="*/ 5 w 13"/>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1">
                    <a:moveTo>
                      <a:pt x="5" y="1"/>
                    </a:moveTo>
                    <a:cubicBezTo>
                      <a:pt x="3" y="3"/>
                      <a:pt x="0" y="2"/>
                      <a:pt x="2" y="5"/>
                    </a:cubicBezTo>
                    <a:cubicBezTo>
                      <a:pt x="3" y="6"/>
                      <a:pt x="4" y="8"/>
                      <a:pt x="5" y="9"/>
                    </a:cubicBezTo>
                    <a:cubicBezTo>
                      <a:pt x="6" y="11"/>
                      <a:pt x="7" y="10"/>
                      <a:pt x="9" y="8"/>
                    </a:cubicBezTo>
                    <a:cubicBezTo>
                      <a:pt x="10" y="7"/>
                      <a:pt x="13" y="3"/>
                      <a:pt x="10" y="1"/>
                    </a:cubicBezTo>
                    <a:cubicBezTo>
                      <a:pt x="8" y="0"/>
                      <a:pt x="6" y="1"/>
                      <a:pt x="4" y="2"/>
                    </a:cubicBezTo>
                    <a:cubicBezTo>
                      <a:pt x="4" y="2"/>
                      <a:pt x="5" y="2"/>
                      <a:pt x="5" y="1"/>
                    </a:cubicBezTo>
                    <a:cubicBezTo>
                      <a:pt x="4" y="2"/>
                      <a:pt x="5" y="1"/>
                      <a:pt x="5" y="1"/>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35" name="Freeform 98">
                <a:extLst>
                  <a:ext uri="{FF2B5EF4-FFF2-40B4-BE49-F238E27FC236}">
                    <a16:creationId xmlns:a16="http://schemas.microsoft.com/office/drawing/2014/main" id="{E5C9F8CA-BDDE-95DA-D660-054F13A99066}"/>
                  </a:ext>
                </a:extLst>
              </p:cNvPr>
              <p:cNvSpPr/>
              <p:nvPr>
                <p:custDataLst>
                  <p:tags r:id="rId173"/>
                </p:custDataLst>
              </p:nvPr>
            </p:nvSpPr>
            <p:spPr bwMode="auto">
              <a:xfrm>
                <a:off x="3316121" y="3808570"/>
                <a:ext cx="271692" cy="90565"/>
              </a:xfrm>
              <a:custGeom>
                <a:avLst/>
                <a:gdLst>
                  <a:gd name="T0" fmla="*/ 22 w 183"/>
                  <a:gd name="T1" fmla="*/ 7 h 61"/>
                  <a:gd name="T2" fmla="*/ 40 w 183"/>
                  <a:gd name="T3" fmla="*/ 4 h 61"/>
                  <a:gd name="T4" fmla="*/ 57 w 183"/>
                  <a:gd name="T5" fmla="*/ 2 h 61"/>
                  <a:gd name="T6" fmla="*/ 73 w 183"/>
                  <a:gd name="T7" fmla="*/ 3 h 61"/>
                  <a:gd name="T8" fmla="*/ 80 w 183"/>
                  <a:gd name="T9" fmla="*/ 6 h 61"/>
                  <a:gd name="T10" fmla="*/ 92 w 183"/>
                  <a:gd name="T11" fmla="*/ 12 h 61"/>
                  <a:gd name="T12" fmla="*/ 107 w 183"/>
                  <a:gd name="T13" fmla="*/ 16 h 61"/>
                  <a:gd name="T14" fmla="*/ 122 w 183"/>
                  <a:gd name="T15" fmla="*/ 25 h 61"/>
                  <a:gd name="T16" fmla="*/ 136 w 183"/>
                  <a:gd name="T17" fmla="*/ 31 h 61"/>
                  <a:gd name="T18" fmla="*/ 149 w 183"/>
                  <a:gd name="T19" fmla="*/ 36 h 61"/>
                  <a:gd name="T20" fmla="*/ 159 w 183"/>
                  <a:gd name="T21" fmla="*/ 39 h 61"/>
                  <a:gd name="T22" fmla="*/ 165 w 183"/>
                  <a:gd name="T23" fmla="*/ 44 h 61"/>
                  <a:gd name="T24" fmla="*/ 180 w 183"/>
                  <a:gd name="T25" fmla="*/ 52 h 61"/>
                  <a:gd name="T26" fmla="*/ 182 w 183"/>
                  <a:gd name="T27" fmla="*/ 56 h 61"/>
                  <a:gd name="T28" fmla="*/ 169 w 183"/>
                  <a:gd name="T29" fmla="*/ 57 h 61"/>
                  <a:gd name="T30" fmla="*/ 153 w 183"/>
                  <a:gd name="T31" fmla="*/ 59 h 61"/>
                  <a:gd name="T32" fmla="*/ 136 w 183"/>
                  <a:gd name="T33" fmla="*/ 59 h 61"/>
                  <a:gd name="T34" fmla="*/ 123 w 183"/>
                  <a:gd name="T35" fmla="*/ 58 h 61"/>
                  <a:gd name="T36" fmla="*/ 130 w 183"/>
                  <a:gd name="T37" fmla="*/ 51 h 61"/>
                  <a:gd name="T38" fmla="*/ 130 w 183"/>
                  <a:gd name="T39" fmla="*/ 46 h 61"/>
                  <a:gd name="T40" fmla="*/ 117 w 183"/>
                  <a:gd name="T41" fmla="*/ 45 h 61"/>
                  <a:gd name="T42" fmla="*/ 110 w 183"/>
                  <a:gd name="T43" fmla="*/ 37 h 61"/>
                  <a:gd name="T44" fmla="*/ 103 w 183"/>
                  <a:gd name="T45" fmla="*/ 29 h 61"/>
                  <a:gd name="T46" fmla="*/ 85 w 183"/>
                  <a:gd name="T47" fmla="*/ 26 h 61"/>
                  <a:gd name="T48" fmla="*/ 70 w 183"/>
                  <a:gd name="T49" fmla="*/ 21 h 61"/>
                  <a:gd name="T50" fmla="*/ 64 w 183"/>
                  <a:gd name="T51" fmla="*/ 18 h 61"/>
                  <a:gd name="T52" fmla="*/ 50 w 183"/>
                  <a:gd name="T53" fmla="*/ 16 h 61"/>
                  <a:gd name="T54" fmla="*/ 50 w 183"/>
                  <a:gd name="T55" fmla="*/ 10 h 61"/>
                  <a:gd name="T56" fmla="*/ 33 w 183"/>
                  <a:gd name="T57" fmla="*/ 13 h 61"/>
                  <a:gd name="T58" fmla="*/ 27 w 183"/>
                  <a:gd name="T59" fmla="*/ 18 h 61"/>
                  <a:gd name="T60" fmla="*/ 17 w 183"/>
                  <a:gd name="T61" fmla="*/ 19 h 61"/>
                  <a:gd name="T62" fmla="*/ 10 w 183"/>
                  <a:gd name="T63" fmla="*/ 25 h 61"/>
                  <a:gd name="T64" fmla="*/ 1 w 183"/>
                  <a:gd name="T65" fmla="*/ 25 h 61"/>
                  <a:gd name="T66" fmla="*/ 7 w 183"/>
                  <a:gd name="T67" fmla="*/ 22 h 61"/>
                  <a:gd name="T68" fmla="*/ 10 w 183"/>
                  <a:gd name="T69" fmla="*/ 18 h 61"/>
                  <a:gd name="T70" fmla="*/ 15 w 183"/>
                  <a:gd name="T71" fmla="*/ 1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3" h="61">
                    <a:moveTo>
                      <a:pt x="15" y="11"/>
                    </a:moveTo>
                    <a:cubicBezTo>
                      <a:pt x="17" y="9"/>
                      <a:pt x="20" y="8"/>
                      <a:pt x="22" y="7"/>
                    </a:cubicBezTo>
                    <a:cubicBezTo>
                      <a:pt x="25" y="6"/>
                      <a:pt x="28" y="7"/>
                      <a:pt x="31" y="6"/>
                    </a:cubicBezTo>
                    <a:cubicBezTo>
                      <a:pt x="34" y="5"/>
                      <a:pt x="37" y="5"/>
                      <a:pt x="40" y="4"/>
                    </a:cubicBezTo>
                    <a:cubicBezTo>
                      <a:pt x="43" y="3"/>
                      <a:pt x="46" y="2"/>
                      <a:pt x="49" y="1"/>
                    </a:cubicBezTo>
                    <a:cubicBezTo>
                      <a:pt x="52" y="0"/>
                      <a:pt x="54" y="1"/>
                      <a:pt x="57" y="2"/>
                    </a:cubicBezTo>
                    <a:cubicBezTo>
                      <a:pt x="60" y="3"/>
                      <a:pt x="63" y="3"/>
                      <a:pt x="66" y="2"/>
                    </a:cubicBezTo>
                    <a:cubicBezTo>
                      <a:pt x="68" y="2"/>
                      <a:pt x="71" y="2"/>
                      <a:pt x="73" y="3"/>
                    </a:cubicBezTo>
                    <a:cubicBezTo>
                      <a:pt x="74" y="3"/>
                      <a:pt x="76" y="3"/>
                      <a:pt x="77" y="4"/>
                    </a:cubicBezTo>
                    <a:cubicBezTo>
                      <a:pt x="78" y="5"/>
                      <a:pt x="78" y="6"/>
                      <a:pt x="80" y="6"/>
                    </a:cubicBezTo>
                    <a:cubicBezTo>
                      <a:pt x="82" y="7"/>
                      <a:pt x="84" y="6"/>
                      <a:pt x="87" y="7"/>
                    </a:cubicBezTo>
                    <a:cubicBezTo>
                      <a:pt x="89" y="7"/>
                      <a:pt x="91" y="10"/>
                      <a:pt x="92" y="12"/>
                    </a:cubicBezTo>
                    <a:cubicBezTo>
                      <a:pt x="94" y="14"/>
                      <a:pt x="96" y="16"/>
                      <a:pt x="99" y="16"/>
                    </a:cubicBezTo>
                    <a:cubicBezTo>
                      <a:pt x="102" y="16"/>
                      <a:pt x="104" y="15"/>
                      <a:pt x="107" y="16"/>
                    </a:cubicBezTo>
                    <a:cubicBezTo>
                      <a:pt x="110" y="17"/>
                      <a:pt x="113" y="18"/>
                      <a:pt x="115" y="20"/>
                    </a:cubicBezTo>
                    <a:cubicBezTo>
                      <a:pt x="118" y="21"/>
                      <a:pt x="120" y="23"/>
                      <a:pt x="122" y="25"/>
                    </a:cubicBezTo>
                    <a:cubicBezTo>
                      <a:pt x="124" y="27"/>
                      <a:pt x="126" y="27"/>
                      <a:pt x="129" y="28"/>
                    </a:cubicBezTo>
                    <a:cubicBezTo>
                      <a:pt x="132" y="28"/>
                      <a:pt x="134" y="29"/>
                      <a:pt x="136" y="31"/>
                    </a:cubicBezTo>
                    <a:cubicBezTo>
                      <a:pt x="138" y="32"/>
                      <a:pt x="140" y="33"/>
                      <a:pt x="143" y="34"/>
                    </a:cubicBezTo>
                    <a:cubicBezTo>
                      <a:pt x="145" y="34"/>
                      <a:pt x="147" y="34"/>
                      <a:pt x="149" y="36"/>
                    </a:cubicBezTo>
                    <a:cubicBezTo>
                      <a:pt x="151" y="38"/>
                      <a:pt x="153" y="37"/>
                      <a:pt x="156" y="37"/>
                    </a:cubicBezTo>
                    <a:cubicBezTo>
                      <a:pt x="157" y="37"/>
                      <a:pt x="158" y="38"/>
                      <a:pt x="159" y="39"/>
                    </a:cubicBezTo>
                    <a:cubicBezTo>
                      <a:pt x="160" y="40"/>
                      <a:pt x="159" y="41"/>
                      <a:pt x="159" y="42"/>
                    </a:cubicBezTo>
                    <a:cubicBezTo>
                      <a:pt x="160" y="44"/>
                      <a:pt x="164" y="44"/>
                      <a:pt x="165" y="44"/>
                    </a:cubicBezTo>
                    <a:cubicBezTo>
                      <a:pt x="169" y="44"/>
                      <a:pt x="171" y="45"/>
                      <a:pt x="174" y="47"/>
                    </a:cubicBezTo>
                    <a:cubicBezTo>
                      <a:pt x="176" y="48"/>
                      <a:pt x="178" y="50"/>
                      <a:pt x="180" y="52"/>
                    </a:cubicBezTo>
                    <a:cubicBezTo>
                      <a:pt x="181" y="52"/>
                      <a:pt x="183" y="53"/>
                      <a:pt x="183" y="54"/>
                    </a:cubicBezTo>
                    <a:cubicBezTo>
                      <a:pt x="183" y="55"/>
                      <a:pt x="183" y="56"/>
                      <a:pt x="182" y="56"/>
                    </a:cubicBezTo>
                    <a:cubicBezTo>
                      <a:pt x="180" y="57"/>
                      <a:pt x="178" y="57"/>
                      <a:pt x="177" y="57"/>
                    </a:cubicBezTo>
                    <a:cubicBezTo>
                      <a:pt x="174" y="57"/>
                      <a:pt x="171" y="56"/>
                      <a:pt x="169" y="57"/>
                    </a:cubicBezTo>
                    <a:cubicBezTo>
                      <a:pt x="166" y="57"/>
                      <a:pt x="164" y="59"/>
                      <a:pt x="162" y="60"/>
                    </a:cubicBezTo>
                    <a:cubicBezTo>
                      <a:pt x="159" y="61"/>
                      <a:pt x="156" y="59"/>
                      <a:pt x="153" y="59"/>
                    </a:cubicBezTo>
                    <a:cubicBezTo>
                      <a:pt x="151" y="58"/>
                      <a:pt x="148" y="59"/>
                      <a:pt x="145" y="59"/>
                    </a:cubicBezTo>
                    <a:cubicBezTo>
                      <a:pt x="142" y="59"/>
                      <a:pt x="139" y="59"/>
                      <a:pt x="136" y="59"/>
                    </a:cubicBezTo>
                    <a:cubicBezTo>
                      <a:pt x="133" y="59"/>
                      <a:pt x="130" y="58"/>
                      <a:pt x="127" y="59"/>
                    </a:cubicBezTo>
                    <a:cubicBezTo>
                      <a:pt x="126" y="59"/>
                      <a:pt x="122" y="61"/>
                      <a:pt x="123" y="58"/>
                    </a:cubicBezTo>
                    <a:cubicBezTo>
                      <a:pt x="124" y="56"/>
                      <a:pt x="126" y="55"/>
                      <a:pt x="127" y="54"/>
                    </a:cubicBezTo>
                    <a:cubicBezTo>
                      <a:pt x="129" y="53"/>
                      <a:pt x="130" y="52"/>
                      <a:pt x="130" y="51"/>
                    </a:cubicBezTo>
                    <a:cubicBezTo>
                      <a:pt x="132" y="50"/>
                      <a:pt x="132" y="50"/>
                      <a:pt x="131" y="48"/>
                    </a:cubicBezTo>
                    <a:cubicBezTo>
                      <a:pt x="131" y="47"/>
                      <a:pt x="131" y="47"/>
                      <a:pt x="130" y="46"/>
                    </a:cubicBezTo>
                    <a:cubicBezTo>
                      <a:pt x="129" y="46"/>
                      <a:pt x="127" y="45"/>
                      <a:pt x="126" y="45"/>
                    </a:cubicBezTo>
                    <a:cubicBezTo>
                      <a:pt x="123" y="45"/>
                      <a:pt x="120" y="45"/>
                      <a:pt x="117" y="45"/>
                    </a:cubicBezTo>
                    <a:cubicBezTo>
                      <a:pt x="114" y="44"/>
                      <a:pt x="113" y="42"/>
                      <a:pt x="112" y="40"/>
                    </a:cubicBezTo>
                    <a:cubicBezTo>
                      <a:pt x="111" y="39"/>
                      <a:pt x="110" y="38"/>
                      <a:pt x="110" y="37"/>
                    </a:cubicBezTo>
                    <a:cubicBezTo>
                      <a:pt x="109" y="35"/>
                      <a:pt x="109" y="33"/>
                      <a:pt x="109" y="32"/>
                    </a:cubicBezTo>
                    <a:cubicBezTo>
                      <a:pt x="108" y="30"/>
                      <a:pt x="105" y="29"/>
                      <a:pt x="103" y="29"/>
                    </a:cubicBezTo>
                    <a:cubicBezTo>
                      <a:pt x="100" y="29"/>
                      <a:pt x="96" y="29"/>
                      <a:pt x="93" y="28"/>
                    </a:cubicBezTo>
                    <a:cubicBezTo>
                      <a:pt x="91" y="28"/>
                      <a:pt x="88" y="28"/>
                      <a:pt x="85" y="26"/>
                    </a:cubicBezTo>
                    <a:cubicBezTo>
                      <a:pt x="83" y="25"/>
                      <a:pt x="81" y="23"/>
                      <a:pt x="79" y="22"/>
                    </a:cubicBezTo>
                    <a:cubicBezTo>
                      <a:pt x="76" y="21"/>
                      <a:pt x="73" y="22"/>
                      <a:pt x="70" y="21"/>
                    </a:cubicBezTo>
                    <a:cubicBezTo>
                      <a:pt x="69" y="21"/>
                      <a:pt x="67" y="21"/>
                      <a:pt x="66" y="20"/>
                    </a:cubicBezTo>
                    <a:cubicBezTo>
                      <a:pt x="65" y="19"/>
                      <a:pt x="65" y="18"/>
                      <a:pt x="64" y="18"/>
                    </a:cubicBezTo>
                    <a:cubicBezTo>
                      <a:pt x="61" y="17"/>
                      <a:pt x="58" y="18"/>
                      <a:pt x="56" y="19"/>
                    </a:cubicBezTo>
                    <a:cubicBezTo>
                      <a:pt x="55" y="19"/>
                      <a:pt x="49" y="18"/>
                      <a:pt x="50" y="16"/>
                    </a:cubicBezTo>
                    <a:cubicBezTo>
                      <a:pt x="50" y="14"/>
                      <a:pt x="53" y="15"/>
                      <a:pt x="54" y="14"/>
                    </a:cubicBezTo>
                    <a:cubicBezTo>
                      <a:pt x="57" y="11"/>
                      <a:pt x="51" y="10"/>
                      <a:pt x="50" y="10"/>
                    </a:cubicBezTo>
                    <a:cubicBezTo>
                      <a:pt x="46" y="10"/>
                      <a:pt x="42" y="8"/>
                      <a:pt x="38" y="10"/>
                    </a:cubicBezTo>
                    <a:cubicBezTo>
                      <a:pt x="36" y="11"/>
                      <a:pt x="35" y="12"/>
                      <a:pt x="33" y="13"/>
                    </a:cubicBezTo>
                    <a:cubicBezTo>
                      <a:pt x="32" y="14"/>
                      <a:pt x="30" y="14"/>
                      <a:pt x="29" y="15"/>
                    </a:cubicBezTo>
                    <a:cubicBezTo>
                      <a:pt x="28" y="16"/>
                      <a:pt x="28" y="18"/>
                      <a:pt x="27" y="18"/>
                    </a:cubicBezTo>
                    <a:cubicBezTo>
                      <a:pt x="25" y="19"/>
                      <a:pt x="24" y="19"/>
                      <a:pt x="22" y="19"/>
                    </a:cubicBezTo>
                    <a:cubicBezTo>
                      <a:pt x="20" y="18"/>
                      <a:pt x="19" y="18"/>
                      <a:pt x="17" y="19"/>
                    </a:cubicBezTo>
                    <a:cubicBezTo>
                      <a:pt x="16" y="20"/>
                      <a:pt x="15" y="22"/>
                      <a:pt x="14" y="23"/>
                    </a:cubicBezTo>
                    <a:cubicBezTo>
                      <a:pt x="13" y="24"/>
                      <a:pt x="11" y="24"/>
                      <a:pt x="10" y="25"/>
                    </a:cubicBezTo>
                    <a:cubicBezTo>
                      <a:pt x="8" y="26"/>
                      <a:pt x="9" y="27"/>
                      <a:pt x="6" y="26"/>
                    </a:cubicBezTo>
                    <a:cubicBezTo>
                      <a:pt x="5" y="26"/>
                      <a:pt x="2" y="26"/>
                      <a:pt x="1" y="25"/>
                    </a:cubicBezTo>
                    <a:cubicBezTo>
                      <a:pt x="0" y="24"/>
                      <a:pt x="1" y="22"/>
                      <a:pt x="2" y="22"/>
                    </a:cubicBezTo>
                    <a:cubicBezTo>
                      <a:pt x="4" y="22"/>
                      <a:pt x="6" y="22"/>
                      <a:pt x="7" y="22"/>
                    </a:cubicBezTo>
                    <a:cubicBezTo>
                      <a:pt x="8" y="21"/>
                      <a:pt x="9" y="21"/>
                      <a:pt x="10" y="20"/>
                    </a:cubicBezTo>
                    <a:cubicBezTo>
                      <a:pt x="11" y="19"/>
                      <a:pt x="10" y="19"/>
                      <a:pt x="10" y="18"/>
                    </a:cubicBezTo>
                    <a:cubicBezTo>
                      <a:pt x="10" y="14"/>
                      <a:pt x="14" y="11"/>
                      <a:pt x="17" y="10"/>
                    </a:cubicBezTo>
                    <a:cubicBezTo>
                      <a:pt x="16" y="10"/>
                      <a:pt x="16" y="10"/>
                      <a:pt x="15" y="11"/>
                    </a:cubicBezTo>
                    <a:cubicBezTo>
                      <a:pt x="18" y="9"/>
                      <a:pt x="15" y="11"/>
                      <a:pt x="15" y="11"/>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36" name="Freeform 139">
                <a:extLst>
                  <a:ext uri="{FF2B5EF4-FFF2-40B4-BE49-F238E27FC236}">
                    <a16:creationId xmlns:a16="http://schemas.microsoft.com/office/drawing/2014/main" id="{4D78DA89-3E66-D7EB-2E09-EB21C53DE4CA}"/>
                  </a:ext>
                </a:extLst>
              </p:cNvPr>
              <p:cNvSpPr>
                <a:spLocks noEditPoints="1"/>
              </p:cNvSpPr>
              <p:nvPr>
                <p:custDataLst>
                  <p:tags r:id="rId174"/>
                </p:custDataLst>
              </p:nvPr>
            </p:nvSpPr>
            <p:spPr bwMode="auto">
              <a:xfrm>
                <a:off x="3617150" y="1526615"/>
                <a:ext cx="1548514" cy="1141615"/>
              </a:xfrm>
              <a:custGeom>
                <a:avLst/>
                <a:gdLst>
                  <a:gd name="T0" fmla="*/ 377 w 1040"/>
                  <a:gd name="T1" fmla="*/ 52 h 767"/>
                  <a:gd name="T2" fmla="*/ 493 w 1040"/>
                  <a:gd name="T3" fmla="*/ 51 h 767"/>
                  <a:gd name="T4" fmla="*/ 483 w 1040"/>
                  <a:gd name="T5" fmla="*/ 31 h 767"/>
                  <a:gd name="T6" fmla="*/ 608 w 1040"/>
                  <a:gd name="T7" fmla="*/ 27 h 767"/>
                  <a:gd name="T8" fmla="*/ 803 w 1040"/>
                  <a:gd name="T9" fmla="*/ 13 h 767"/>
                  <a:gd name="T10" fmla="*/ 771 w 1040"/>
                  <a:gd name="T11" fmla="*/ 22 h 767"/>
                  <a:gd name="T12" fmla="*/ 761 w 1040"/>
                  <a:gd name="T13" fmla="*/ 61 h 767"/>
                  <a:gd name="T14" fmla="*/ 782 w 1040"/>
                  <a:gd name="T15" fmla="*/ 86 h 767"/>
                  <a:gd name="T16" fmla="*/ 887 w 1040"/>
                  <a:gd name="T17" fmla="*/ 88 h 767"/>
                  <a:gd name="T18" fmla="*/ 996 w 1040"/>
                  <a:gd name="T19" fmla="*/ 111 h 767"/>
                  <a:gd name="T20" fmla="*/ 899 w 1040"/>
                  <a:gd name="T21" fmla="*/ 141 h 767"/>
                  <a:gd name="T22" fmla="*/ 885 w 1040"/>
                  <a:gd name="T23" fmla="*/ 201 h 767"/>
                  <a:gd name="T24" fmla="*/ 898 w 1040"/>
                  <a:gd name="T25" fmla="*/ 243 h 767"/>
                  <a:gd name="T26" fmla="*/ 860 w 1040"/>
                  <a:gd name="T27" fmla="*/ 278 h 767"/>
                  <a:gd name="T28" fmla="*/ 907 w 1040"/>
                  <a:gd name="T29" fmla="*/ 324 h 767"/>
                  <a:gd name="T30" fmla="*/ 863 w 1040"/>
                  <a:gd name="T31" fmla="*/ 326 h 767"/>
                  <a:gd name="T32" fmla="*/ 869 w 1040"/>
                  <a:gd name="T33" fmla="*/ 346 h 767"/>
                  <a:gd name="T34" fmla="*/ 845 w 1040"/>
                  <a:gd name="T35" fmla="*/ 381 h 767"/>
                  <a:gd name="T36" fmla="*/ 785 w 1040"/>
                  <a:gd name="T37" fmla="*/ 386 h 767"/>
                  <a:gd name="T38" fmla="*/ 822 w 1040"/>
                  <a:gd name="T39" fmla="*/ 407 h 767"/>
                  <a:gd name="T40" fmla="*/ 871 w 1040"/>
                  <a:gd name="T41" fmla="*/ 445 h 767"/>
                  <a:gd name="T42" fmla="*/ 832 w 1040"/>
                  <a:gd name="T43" fmla="*/ 464 h 767"/>
                  <a:gd name="T44" fmla="*/ 805 w 1040"/>
                  <a:gd name="T45" fmla="*/ 451 h 767"/>
                  <a:gd name="T46" fmla="*/ 781 w 1040"/>
                  <a:gd name="T47" fmla="*/ 481 h 767"/>
                  <a:gd name="T48" fmla="*/ 806 w 1040"/>
                  <a:gd name="T49" fmla="*/ 520 h 767"/>
                  <a:gd name="T50" fmla="*/ 694 w 1040"/>
                  <a:gd name="T51" fmla="*/ 536 h 767"/>
                  <a:gd name="T52" fmla="*/ 635 w 1040"/>
                  <a:gd name="T53" fmla="*/ 596 h 767"/>
                  <a:gd name="T54" fmla="*/ 590 w 1040"/>
                  <a:gd name="T55" fmla="*/ 615 h 767"/>
                  <a:gd name="T56" fmla="*/ 552 w 1040"/>
                  <a:gd name="T57" fmla="*/ 667 h 767"/>
                  <a:gd name="T58" fmla="*/ 523 w 1040"/>
                  <a:gd name="T59" fmla="*/ 709 h 767"/>
                  <a:gd name="T60" fmla="*/ 492 w 1040"/>
                  <a:gd name="T61" fmla="*/ 752 h 767"/>
                  <a:gd name="T62" fmla="*/ 467 w 1040"/>
                  <a:gd name="T63" fmla="*/ 747 h 767"/>
                  <a:gd name="T64" fmla="*/ 425 w 1040"/>
                  <a:gd name="T65" fmla="*/ 733 h 767"/>
                  <a:gd name="T66" fmla="*/ 397 w 1040"/>
                  <a:gd name="T67" fmla="*/ 688 h 767"/>
                  <a:gd name="T68" fmla="*/ 387 w 1040"/>
                  <a:gd name="T69" fmla="*/ 656 h 767"/>
                  <a:gd name="T70" fmla="*/ 365 w 1040"/>
                  <a:gd name="T71" fmla="*/ 635 h 767"/>
                  <a:gd name="T72" fmla="*/ 352 w 1040"/>
                  <a:gd name="T73" fmla="*/ 608 h 767"/>
                  <a:gd name="T74" fmla="*/ 333 w 1040"/>
                  <a:gd name="T75" fmla="*/ 601 h 767"/>
                  <a:gd name="T76" fmla="*/ 354 w 1040"/>
                  <a:gd name="T77" fmla="*/ 570 h 767"/>
                  <a:gd name="T78" fmla="*/ 393 w 1040"/>
                  <a:gd name="T79" fmla="*/ 560 h 767"/>
                  <a:gd name="T80" fmla="*/ 375 w 1040"/>
                  <a:gd name="T81" fmla="*/ 531 h 767"/>
                  <a:gd name="T82" fmla="*/ 380 w 1040"/>
                  <a:gd name="T83" fmla="*/ 505 h 767"/>
                  <a:gd name="T84" fmla="*/ 380 w 1040"/>
                  <a:gd name="T85" fmla="*/ 477 h 767"/>
                  <a:gd name="T86" fmla="*/ 352 w 1040"/>
                  <a:gd name="T87" fmla="*/ 448 h 767"/>
                  <a:gd name="T88" fmla="*/ 309 w 1040"/>
                  <a:gd name="T89" fmla="*/ 447 h 767"/>
                  <a:gd name="T90" fmla="*/ 300 w 1040"/>
                  <a:gd name="T91" fmla="*/ 394 h 767"/>
                  <a:gd name="T92" fmla="*/ 250 w 1040"/>
                  <a:gd name="T93" fmla="*/ 319 h 767"/>
                  <a:gd name="T94" fmla="*/ 61 w 1040"/>
                  <a:gd name="T95" fmla="*/ 282 h 767"/>
                  <a:gd name="T96" fmla="*/ 103 w 1040"/>
                  <a:gd name="T97" fmla="*/ 254 h 767"/>
                  <a:gd name="T98" fmla="*/ 4 w 1040"/>
                  <a:gd name="T99" fmla="*/ 219 h 767"/>
                  <a:gd name="T100" fmla="*/ 141 w 1040"/>
                  <a:gd name="T101" fmla="*/ 144 h 767"/>
                  <a:gd name="T102" fmla="*/ 202 w 1040"/>
                  <a:gd name="T103" fmla="*/ 82 h 767"/>
                  <a:gd name="T104" fmla="*/ 339 w 1040"/>
                  <a:gd name="T105" fmla="*/ 487 h 767"/>
                  <a:gd name="T106" fmla="*/ 307 w 1040"/>
                  <a:gd name="T107" fmla="*/ 475 h 767"/>
                  <a:gd name="T108" fmla="*/ 378 w 1040"/>
                  <a:gd name="T109" fmla="*/ 494 h 767"/>
                  <a:gd name="T110" fmla="*/ 341 w 1040"/>
                  <a:gd name="T111" fmla="*/ 546 h 767"/>
                  <a:gd name="T112" fmla="*/ 805 w 1040"/>
                  <a:gd name="T113" fmla="*/ 459 h 767"/>
                  <a:gd name="T114" fmla="*/ 856 w 1040"/>
                  <a:gd name="T115" fmla="*/ 402 h 767"/>
                  <a:gd name="T116" fmla="*/ 882 w 1040"/>
                  <a:gd name="T117" fmla="*/ 393 h 767"/>
                  <a:gd name="T118" fmla="*/ 925 w 1040"/>
                  <a:gd name="T119" fmla="*/ 329 h 767"/>
                  <a:gd name="T120" fmla="*/ 919 w 1040"/>
                  <a:gd name="T121" fmla="*/ 278 h 767"/>
                  <a:gd name="T122" fmla="*/ 943 w 1040"/>
                  <a:gd name="T123" fmla="*/ 180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0" h="767">
                    <a:moveTo>
                      <a:pt x="282" y="57"/>
                    </a:moveTo>
                    <a:cubicBezTo>
                      <a:pt x="285" y="58"/>
                      <a:pt x="287" y="57"/>
                      <a:pt x="290" y="57"/>
                    </a:cubicBezTo>
                    <a:cubicBezTo>
                      <a:pt x="293" y="56"/>
                      <a:pt x="297" y="56"/>
                      <a:pt x="300" y="56"/>
                    </a:cubicBezTo>
                    <a:cubicBezTo>
                      <a:pt x="303" y="56"/>
                      <a:pt x="306" y="55"/>
                      <a:pt x="309" y="54"/>
                    </a:cubicBezTo>
                    <a:cubicBezTo>
                      <a:pt x="311" y="54"/>
                      <a:pt x="314" y="53"/>
                      <a:pt x="317" y="54"/>
                    </a:cubicBezTo>
                    <a:cubicBezTo>
                      <a:pt x="319" y="54"/>
                      <a:pt x="322" y="55"/>
                      <a:pt x="324" y="57"/>
                    </a:cubicBezTo>
                    <a:cubicBezTo>
                      <a:pt x="325" y="58"/>
                      <a:pt x="326" y="61"/>
                      <a:pt x="328" y="62"/>
                    </a:cubicBezTo>
                    <a:cubicBezTo>
                      <a:pt x="329" y="63"/>
                      <a:pt x="331" y="64"/>
                      <a:pt x="331" y="65"/>
                    </a:cubicBezTo>
                    <a:cubicBezTo>
                      <a:pt x="331" y="66"/>
                      <a:pt x="331" y="67"/>
                      <a:pt x="331" y="68"/>
                    </a:cubicBezTo>
                    <a:cubicBezTo>
                      <a:pt x="331" y="69"/>
                      <a:pt x="332" y="70"/>
                      <a:pt x="333" y="71"/>
                    </a:cubicBezTo>
                    <a:cubicBezTo>
                      <a:pt x="334" y="74"/>
                      <a:pt x="331" y="76"/>
                      <a:pt x="330" y="77"/>
                    </a:cubicBezTo>
                    <a:cubicBezTo>
                      <a:pt x="328" y="79"/>
                      <a:pt x="326" y="81"/>
                      <a:pt x="328" y="84"/>
                    </a:cubicBezTo>
                    <a:cubicBezTo>
                      <a:pt x="328" y="85"/>
                      <a:pt x="331" y="87"/>
                      <a:pt x="332" y="88"/>
                    </a:cubicBezTo>
                    <a:cubicBezTo>
                      <a:pt x="333" y="88"/>
                      <a:pt x="334" y="87"/>
                      <a:pt x="333" y="86"/>
                    </a:cubicBezTo>
                    <a:cubicBezTo>
                      <a:pt x="333" y="85"/>
                      <a:pt x="333" y="84"/>
                      <a:pt x="332" y="82"/>
                    </a:cubicBezTo>
                    <a:cubicBezTo>
                      <a:pt x="332" y="79"/>
                      <a:pt x="334" y="78"/>
                      <a:pt x="336" y="77"/>
                    </a:cubicBezTo>
                    <a:cubicBezTo>
                      <a:pt x="338" y="75"/>
                      <a:pt x="340" y="72"/>
                      <a:pt x="341" y="70"/>
                    </a:cubicBezTo>
                    <a:cubicBezTo>
                      <a:pt x="341" y="68"/>
                      <a:pt x="344" y="67"/>
                      <a:pt x="346" y="68"/>
                    </a:cubicBezTo>
                    <a:cubicBezTo>
                      <a:pt x="348" y="70"/>
                      <a:pt x="351" y="69"/>
                      <a:pt x="353" y="69"/>
                    </a:cubicBezTo>
                    <a:cubicBezTo>
                      <a:pt x="360" y="69"/>
                      <a:pt x="365" y="71"/>
                      <a:pt x="370" y="74"/>
                    </a:cubicBezTo>
                    <a:cubicBezTo>
                      <a:pt x="373" y="75"/>
                      <a:pt x="375" y="76"/>
                      <a:pt x="378" y="76"/>
                    </a:cubicBezTo>
                    <a:cubicBezTo>
                      <a:pt x="381" y="77"/>
                      <a:pt x="384" y="77"/>
                      <a:pt x="386" y="79"/>
                    </a:cubicBezTo>
                    <a:cubicBezTo>
                      <a:pt x="387" y="82"/>
                      <a:pt x="389" y="82"/>
                      <a:pt x="391" y="83"/>
                    </a:cubicBezTo>
                    <a:cubicBezTo>
                      <a:pt x="392" y="83"/>
                      <a:pt x="394" y="84"/>
                      <a:pt x="395" y="83"/>
                    </a:cubicBezTo>
                    <a:cubicBezTo>
                      <a:pt x="397" y="83"/>
                      <a:pt x="396" y="82"/>
                      <a:pt x="395" y="81"/>
                    </a:cubicBezTo>
                    <a:cubicBezTo>
                      <a:pt x="393" y="80"/>
                      <a:pt x="390" y="79"/>
                      <a:pt x="388" y="78"/>
                    </a:cubicBezTo>
                    <a:cubicBezTo>
                      <a:pt x="386" y="76"/>
                      <a:pt x="383" y="75"/>
                      <a:pt x="381" y="74"/>
                    </a:cubicBezTo>
                    <a:cubicBezTo>
                      <a:pt x="378" y="73"/>
                      <a:pt x="383" y="72"/>
                      <a:pt x="384" y="73"/>
                    </a:cubicBezTo>
                    <a:cubicBezTo>
                      <a:pt x="385" y="73"/>
                      <a:pt x="387" y="73"/>
                      <a:pt x="388" y="73"/>
                    </a:cubicBezTo>
                    <a:cubicBezTo>
                      <a:pt x="389" y="74"/>
                      <a:pt x="391" y="73"/>
                      <a:pt x="392" y="73"/>
                    </a:cubicBezTo>
                    <a:cubicBezTo>
                      <a:pt x="394" y="74"/>
                      <a:pt x="395" y="74"/>
                      <a:pt x="396" y="73"/>
                    </a:cubicBezTo>
                    <a:cubicBezTo>
                      <a:pt x="398" y="73"/>
                      <a:pt x="399" y="73"/>
                      <a:pt x="400" y="73"/>
                    </a:cubicBezTo>
                    <a:cubicBezTo>
                      <a:pt x="403" y="72"/>
                      <a:pt x="401" y="70"/>
                      <a:pt x="399" y="70"/>
                    </a:cubicBezTo>
                    <a:cubicBezTo>
                      <a:pt x="397" y="69"/>
                      <a:pt x="394" y="69"/>
                      <a:pt x="392" y="67"/>
                    </a:cubicBezTo>
                    <a:cubicBezTo>
                      <a:pt x="392" y="67"/>
                      <a:pt x="391" y="66"/>
                      <a:pt x="390" y="65"/>
                    </a:cubicBezTo>
                    <a:cubicBezTo>
                      <a:pt x="388" y="64"/>
                      <a:pt x="387" y="64"/>
                      <a:pt x="385" y="63"/>
                    </a:cubicBezTo>
                    <a:cubicBezTo>
                      <a:pt x="382" y="62"/>
                      <a:pt x="381" y="61"/>
                      <a:pt x="380" y="58"/>
                    </a:cubicBezTo>
                    <a:cubicBezTo>
                      <a:pt x="380" y="56"/>
                      <a:pt x="378" y="54"/>
                      <a:pt x="377" y="52"/>
                    </a:cubicBezTo>
                    <a:cubicBezTo>
                      <a:pt x="377" y="51"/>
                      <a:pt x="373" y="48"/>
                      <a:pt x="376" y="47"/>
                    </a:cubicBezTo>
                    <a:cubicBezTo>
                      <a:pt x="377" y="47"/>
                      <a:pt x="378" y="48"/>
                      <a:pt x="380" y="48"/>
                    </a:cubicBezTo>
                    <a:cubicBezTo>
                      <a:pt x="381" y="48"/>
                      <a:pt x="383" y="48"/>
                      <a:pt x="385" y="47"/>
                    </a:cubicBezTo>
                    <a:cubicBezTo>
                      <a:pt x="388" y="47"/>
                      <a:pt x="391" y="47"/>
                      <a:pt x="394" y="47"/>
                    </a:cubicBezTo>
                    <a:cubicBezTo>
                      <a:pt x="397" y="47"/>
                      <a:pt x="400" y="48"/>
                      <a:pt x="403" y="49"/>
                    </a:cubicBezTo>
                    <a:cubicBezTo>
                      <a:pt x="408" y="50"/>
                      <a:pt x="413" y="54"/>
                      <a:pt x="419" y="55"/>
                    </a:cubicBezTo>
                    <a:cubicBezTo>
                      <a:pt x="420" y="55"/>
                      <a:pt x="422" y="55"/>
                      <a:pt x="423" y="55"/>
                    </a:cubicBezTo>
                    <a:cubicBezTo>
                      <a:pt x="424" y="56"/>
                      <a:pt x="425" y="56"/>
                      <a:pt x="427" y="57"/>
                    </a:cubicBezTo>
                    <a:cubicBezTo>
                      <a:pt x="428" y="57"/>
                      <a:pt x="429" y="57"/>
                      <a:pt x="430" y="58"/>
                    </a:cubicBezTo>
                    <a:cubicBezTo>
                      <a:pt x="432" y="58"/>
                      <a:pt x="433" y="59"/>
                      <a:pt x="434" y="60"/>
                    </a:cubicBezTo>
                    <a:cubicBezTo>
                      <a:pt x="436" y="62"/>
                      <a:pt x="439" y="62"/>
                      <a:pt x="441" y="62"/>
                    </a:cubicBezTo>
                    <a:cubicBezTo>
                      <a:pt x="445" y="62"/>
                      <a:pt x="448" y="63"/>
                      <a:pt x="451" y="63"/>
                    </a:cubicBezTo>
                    <a:cubicBezTo>
                      <a:pt x="453" y="64"/>
                      <a:pt x="456" y="64"/>
                      <a:pt x="458" y="66"/>
                    </a:cubicBezTo>
                    <a:cubicBezTo>
                      <a:pt x="459" y="66"/>
                      <a:pt x="460" y="67"/>
                      <a:pt x="460" y="69"/>
                    </a:cubicBezTo>
                    <a:cubicBezTo>
                      <a:pt x="460" y="70"/>
                      <a:pt x="461" y="71"/>
                      <a:pt x="462" y="71"/>
                    </a:cubicBezTo>
                    <a:cubicBezTo>
                      <a:pt x="463" y="71"/>
                      <a:pt x="464" y="71"/>
                      <a:pt x="465" y="71"/>
                    </a:cubicBezTo>
                    <a:cubicBezTo>
                      <a:pt x="466" y="72"/>
                      <a:pt x="467" y="72"/>
                      <a:pt x="468" y="73"/>
                    </a:cubicBezTo>
                    <a:cubicBezTo>
                      <a:pt x="470" y="75"/>
                      <a:pt x="472" y="77"/>
                      <a:pt x="475" y="77"/>
                    </a:cubicBezTo>
                    <a:cubicBezTo>
                      <a:pt x="477" y="77"/>
                      <a:pt x="489" y="79"/>
                      <a:pt x="488" y="74"/>
                    </a:cubicBezTo>
                    <a:cubicBezTo>
                      <a:pt x="488" y="72"/>
                      <a:pt x="486" y="71"/>
                      <a:pt x="485" y="69"/>
                    </a:cubicBezTo>
                    <a:cubicBezTo>
                      <a:pt x="484" y="67"/>
                      <a:pt x="487" y="65"/>
                      <a:pt x="486" y="63"/>
                    </a:cubicBezTo>
                    <a:cubicBezTo>
                      <a:pt x="486" y="62"/>
                      <a:pt x="486" y="61"/>
                      <a:pt x="485" y="60"/>
                    </a:cubicBezTo>
                    <a:cubicBezTo>
                      <a:pt x="485" y="60"/>
                      <a:pt x="484" y="59"/>
                      <a:pt x="485" y="58"/>
                    </a:cubicBezTo>
                    <a:cubicBezTo>
                      <a:pt x="485" y="57"/>
                      <a:pt x="488" y="56"/>
                      <a:pt x="489" y="56"/>
                    </a:cubicBezTo>
                    <a:cubicBezTo>
                      <a:pt x="491" y="56"/>
                      <a:pt x="493" y="56"/>
                      <a:pt x="494" y="56"/>
                    </a:cubicBezTo>
                    <a:cubicBezTo>
                      <a:pt x="497" y="57"/>
                      <a:pt x="501" y="58"/>
                      <a:pt x="504" y="58"/>
                    </a:cubicBezTo>
                    <a:cubicBezTo>
                      <a:pt x="506" y="58"/>
                      <a:pt x="509" y="58"/>
                      <a:pt x="512" y="58"/>
                    </a:cubicBezTo>
                    <a:cubicBezTo>
                      <a:pt x="513" y="59"/>
                      <a:pt x="515" y="59"/>
                      <a:pt x="516" y="60"/>
                    </a:cubicBezTo>
                    <a:cubicBezTo>
                      <a:pt x="517" y="60"/>
                      <a:pt x="519" y="60"/>
                      <a:pt x="520" y="60"/>
                    </a:cubicBezTo>
                    <a:cubicBezTo>
                      <a:pt x="521" y="60"/>
                      <a:pt x="523" y="60"/>
                      <a:pt x="523" y="60"/>
                    </a:cubicBezTo>
                    <a:cubicBezTo>
                      <a:pt x="523" y="58"/>
                      <a:pt x="522" y="59"/>
                      <a:pt x="521" y="59"/>
                    </a:cubicBezTo>
                    <a:cubicBezTo>
                      <a:pt x="520" y="59"/>
                      <a:pt x="519" y="59"/>
                      <a:pt x="517" y="58"/>
                    </a:cubicBezTo>
                    <a:cubicBezTo>
                      <a:pt x="516" y="58"/>
                      <a:pt x="515" y="57"/>
                      <a:pt x="514" y="57"/>
                    </a:cubicBezTo>
                    <a:cubicBezTo>
                      <a:pt x="513" y="56"/>
                      <a:pt x="511" y="57"/>
                      <a:pt x="510" y="57"/>
                    </a:cubicBezTo>
                    <a:cubicBezTo>
                      <a:pt x="509" y="57"/>
                      <a:pt x="508" y="56"/>
                      <a:pt x="506" y="56"/>
                    </a:cubicBezTo>
                    <a:cubicBezTo>
                      <a:pt x="504" y="56"/>
                      <a:pt x="501" y="55"/>
                      <a:pt x="498" y="55"/>
                    </a:cubicBezTo>
                    <a:cubicBezTo>
                      <a:pt x="497" y="54"/>
                      <a:pt x="496" y="54"/>
                      <a:pt x="495" y="53"/>
                    </a:cubicBezTo>
                    <a:cubicBezTo>
                      <a:pt x="495" y="53"/>
                      <a:pt x="494" y="51"/>
                      <a:pt x="493" y="51"/>
                    </a:cubicBezTo>
                    <a:cubicBezTo>
                      <a:pt x="491" y="49"/>
                      <a:pt x="489" y="49"/>
                      <a:pt x="487" y="48"/>
                    </a:cubicBezTo>
                    <a:cubicBezTo>
                      <a:pt x="486" y="47"/>
                      <a:pt x="485" y="46"/>
                      <a:pt x="485" y="45"/>
                    </a:cubicBezTo>
                    <a:cubicBezTo>
                      <a:pt x="484" y="44"/>
                      <a:pt x="482" y="44"/>
                      <a:pt x="481" y="43"/>
                    </a:cubicBezTo>
                    <a:cubicBezTo>
                      <a:pt x="480" y="43"/>
                      <a:pt x="479" y="42"/>
                      <a:pt x="478" y="42"/>
                    </a:cubicBezTo>
                    <a:cubicBezTo>
                      <a:pt x="477" y="41"/>
                      <a:pt x="476" y="40"/>
                      <a:pt x="475" y="39"/>
                    </a:cubicBezTo>
                    <a:cubicBezTo>
                      <a:pt x="475" y="39"/>
                      <a:pt x="470" y="37"/>
                      <a:pt x="471" y="36"/>
                    </a:cubicBezTo>
                    <a:cubicBezTo>
                      <a:pt x="472" y="34"/>
                      <a:pt x="477" y="37"/>
                      <a:pt x="478" y="37"/>
                    </a:cubicBezTo>
                    <a:cubicBezTo>
                      <a:pt x="481" y="37"/>
                      <a:pt x="484" y="37"/>
                      <a:pt x="487" y="37"/>
                    </a:cubicBezTo>
                    <a:cubicBezTo>
                      <a:pt x="490" y="36"/>
                      <a:pt x="494" y="36"/>
                      <a:pt x="497" y="36"/>
                    </a:cubicBezTo>
                    <a:cubicBezTo>
                      <a:pt x="503" y="37"/>
                      <a:pt x="510" y="37"/>
                      <a:pt x="516" y="37"/>
                    </a:cubicBezTo>
                    <a:cubicBezTo>
                      <a:pt x="519" y="36"/>
                      <a:pt x="522" y="36"/>
                      <a:pt x="525" y="37"/>
                    </a:cubicBezTo>
                    <a:cubicBezTo>
                      <a:pt x="527" y="38"/>
                      <a:pt x="530" y="39"/>
                      <a:pt x="530" y="41"/>
                    </a:cubicBezTo>
                    <a:cubicBezTo>
                      <a:pt x="531" y="43"/>
                      <a:pt x="530" y="43"/>
                      <a:pt x="530" y="45"/>
                    </a:cubicBezTo>
                    <a:cubicBezTo>
                      <a:pt x="530" y="45"/>
                      <a:pt x="531" y="46"/>
                      <a:pt x="531" y="47"/>
                    </a:cubicBezTo>
                    <a:cubicBezTo>
                      <a:pt x="533" y="48"/>
                      <a:pt x="535" y="47"/>
                      <a:pt x="535" y="45"/>
                    </a:cubicBezTo>
                    <a:cubicBezTo>
                      <a:pt x="536" y="44"/>
                      <a:pt x="535" y="43"/>
                      <a:pt x="535" y="42"/>
                    </a:cubicBezTo>
                    <a:cubicBezTo>
                      <a:pt x="534" y="41"/>
                      <a:pt x="533" y="40"/>
                      <a:pt x="534" y="39"/>
                    </a:cubicBezTo>
                    <a:cubicBezTo>
                      <a:pt x="534" y="37"/>
                      <a:pt x="537" y="38"/>
                      <a:pt x="538" y="39"/>
                    </a:cubicBezTo>
                    <a:cubicBezTo>
                      <a:pt x="540" y="40"/>
                      <a:pt x="542" y="41"/>
                      <a:pt x="544" y="42"/>
                    </a:cubicBezTo>
                    <a:cubicBezTo>
                      <a:pt x="547" y="43"/>
                      <a:pt x="549" y="44"/>
                      <a:pt x="552" y="44"/>
                    </a:cubicBezTo>
                    <a:cubicBezTo>
                      <a:pt x="555" y="45"/>
                      <a:pt x="558" y="45"/>
                      <a:pt x="560" y="47"/>
                    </a:cubicBezTo>
                    <a:cubicBezTo>
                      <a:pt x="561" y="48"/>
                      <a:pt x="560" y="49"/>
                      <a:pt x="561" y="50"/>
                    </a:cubicBezTo>
                    <a:cubicBezTo>
                      <a:pt x="561" y="51"/>
                      <a:pt x="562" y="52"/>
                      <a:pt x="563" y="52"/>
                    </a:cubicBezTo>
                    <a:cubicBezTo>
                      <a:pt x="565" y="54"/>
                      <a:pt x="566" y="52"/>
                      <a:pt x="567" y="50"/>
                    </a:cubicBezTo>
                    <a:cubicBezTo>
                      <a:pt x="567" y="49"/>
                      <a:pt x="567" y="48"/>
                      <a:pt x="566" y="47"/>
                    </a:cubicBezTo>
                    <a:cubicBezTo>
                      <a:pt x="566" y="46"/>
                      <a:pt x="565" y="46"/>
                      <a:pt x="564" y="45"/>
                    </a:cubicBezTo>
                    <a:cubicBezTo>
                      <a:pt x="564" y="44"/>
                      <a:pt x="565" y="43"/>
                      <a:pt x="565" y="42"/>
                    </a:cubicBezTo>
                    <a:cubicBezTo>
                      <a:pt x="565" y="41"/>
                      <a:pt x="565" y="40"/>
                      <a:pt x="565" y="40"/>
                    </a:cubicBezTo>
                    <a:cubicBezTo>
                      <a:pt x="563" y="38"/>
                      <a:pt x="559" y="37"/>
                      <a:pt x="557" y="37"/>
                    </a:cubicBezTo>
                    <a:cubicBezTo>
                      <a:pt x="556" y="37"/>
                      <a:pt x="554" y="38"/>
                      <a:pt x="553" y="37"/>
                    </a:cubicBezTo>
                    <a:cubicBezTo>
                      <a:pt x="552" y="37"/>
                      <a:pt x="550" y="37"/>
                      <a:pt x="549" y="37"/>
                    </a:cubicBezTo>
                    <a:cubicBezTo>
                      <a:pt x="546" y="37"/>
                      <a:pt x="542" y="37"/>
                      <a:pt x="539" y="36"/>
                    </a:cubicBezTo>
                    <a:cubicBezTo>
                      <a:pt x="537" y="35"/>
                      <a:pt x="534" y="35"/>
                      <a:pt x="531" y="35"/>
                    </a:cubicBezTo>
                    <a:cubicBezTo>
                      <a:pt x="527" y="35"/>
                      <a:pt x="524" y="34"/>
                      <a:pt x="521" y="34"/>
                    </a:cubicBezTo>
                    <a:cubicBezTo>
                      <a:pt x="515" y="33"/>
                      <a:pt x="509" y="33"/>
                      <a:pt x="503" y="33"/>
                    </a:cubicBezTo>
                    <a:cubicBezTo>
                      <a:pt x="500" y="33"/>
                      <a:pt x="497" y="33"/>
                      <a:pt x="494" y="32"/>
                    </a:cubicBezTo>
                    <a:cubicBezTo>
                      <a:pt x="491" y="32"/>
                      <a:pt x="488" y="32"/>
                      <a:pt x="485" y="32"/>
                    </a:cubicBezTo>
                    <a:cubicBezTo>
                      <a:pt x="485" y="32"/>
                      <a:pt x="482" y="32"/>
                      <a:pt x="483" y="31"/>
                    </a:cubicBezTo>
                    <a:cubicBezTo>
                      <a:pt x="483" y="31"/>
                      <a:pt x="484" y="31"/>
                      <a:pt x="485" y="31"/>
                    </a:cubicBezTo>
                    <a:cubicBezTo>
                      <a:pt x="486" y="30"/>
                      <a:pt x="487" y="30"/>
                      <a:pt x="489" y="30"/>
                    </a:cubicBezTo>
                    <a:cubicBezTo>
                      <a:pt x="491" y="30"/>
                      <a:pt x="492" y="30"/>
                      <a:pt x="494" y="30"/>
                    </a:cubicBezTo>
                    <a:cubicBezTo>
                      <a:pt x="497" y="31"/>
                      <a:pt x="500" y="31"/>
                      <a:pt x="502" y="31"/>
                    </a:cubicBezTo>
                    <a:cubicBezTo>
                      <a:pt x="503" y="31"/>
                      <a:pt x="503" y="30"/>
                      <a:pt x="503" y="29"/>
                    </a:cubicBezTo>
                    <a:cubicBezTo>
                      <a:pt x="503" y="28"/>
                      <a:pt x="501" y="28"/>
                      <a:pt x="500" y="28"/>
                    </a:cubicBezTo>
                    <a:cubicBezTo>
                      <a:pt x="497" y="28"/>
                      <a:pt x="494" y="28"/>
                      <a:pt x="491" y="27"/>
                    </a:cubicBezTo>
                    <a:cubicBezTo>
                      <a:pt x="488" y="27"/>
                      <a:pt x="485" y="28"/>
                      <a:pt x="482" y="27"/>
                    </a:cubicBezTo>
                    <a:cubicBezTo>
                      <a:pt x="480" y="26"/>
                      <a:pt x="478" y="25"/>
                      <a:pt x="476" y="25"/>
                    </a:cubicBezTo>
                    <a:cubicBezTo>
                      <a:pt x="474" y="24"/>
                      <a:pt x="472" y="24"/>
                      <a:pt x="472" y="22"/>
                    </a:cubicBezTo>
                    <a:cubicBezTo>
                      <a:pt x="471" y="20"/>
                      <a:pt x="483" y="22"/>
                      <a:pt x="484" y="22"/>
                    </a:cubicBezTo>
                    <a:cubicBezTo>
                      <a:pt x="487" y="22"/>
                      <a:pt x="490" y="21"/>
                      <a:pt x="493" y="21"/>
                    </a:cubicBezTo>
                    <a:cubicBezTo>
                      <a:pt x="496" y="21"/>
                      <a:pt x="499" y="21"/>
                      <a:pt x="503" y="21"/>
                    </a:cubicBezTo>
                    <a:cubicBezTo>
                      <a:pt x="505" y="21"/>
                      <a:pt x="508" y="21"/>
                      <a:pt x="511" y="22"/>
                    </a:cubicBezTo>
                    <a:cubicBezTo>
                      <a:pt x="511" y="23"/>
                      <a:pt x="513" y="24"/>
                      <a:pt x="514" y="23"/>
                    </a:cubicBezTo>
                    <a:cubicBezTo>
                      <a:pt x="515" y="22"/>
                      <a:pt x="512" y="21"/>
                      <a:pt x="512" y="21"/>
                    </a:cubicBezTo>
                    <a:cubicBezTo>
                      <a:pt x="509" y="20"/>
                      <a:pt x="506" y="20"/>
                      <a:pt x="504" y="20"/>
                    </a:cubicBezTo>
                    <a:cubicBezTo>
                      <a:pt x="503" y="20"/>
                      <a:pt x="496" y="20"/>
                      <a:pt x="498" y="18"/>
                    </a:cubicBezTo>
                    <a:cubicBezTo>
                      <a:pt x="499" y="16"/>
                      <a:pt x="502" y="17"/>
                      <a:pt x="504" y="17"/>
                    </a:cubicBezTo>
                    <a:cubicBezTo>
                      <a:pt x="507" y="16"/>
                      <a:pt x="510" y="15"/>
                      <a:pt x="513" y="16"/>
                    </a:cubicBezTo>
                    <a:cubicBezTo>
                      <a:pt x="518" y="17"/>
                      <a:pt x="524" y="16"/>
                      <a:pt x="530" y="17"/>
                    </a:cubicBezTo>
                    <a:cubicBezTo>
                      <a:pt x="531" y="17"/>
                      <a:pt x="532" y="17"/>
                      <a:pt x="532" y="18"/>
                    </a:cubicBezTo>
                    <a:cubicBezTo>
                      <a:pt x="532" y="19"/>
                      <a:pt x="532" y="20"/>
                      <a:pt x="532" y="20"/>
                    </a:cubicBezTo>
                    <a:cubicBezTo>
                      <a:pt x="531" y="23"/>
                      <a:pt x="536" y="22"/>
                      <a:pt x="537" y="22"/>
                    </a:cubicBezTo>
                    <a:cubicBezTo>
                      <a:pt x="540" y="22"/>
                      <a:pt x="543" y="23"/>
                      <a:pt x="545" y="24"/>
                    </a:cubicBezTo>
                    <a:cubicBezTo>
                      <a:pt x="548" y="25"/>
                      <a:pt x="550" y="27"/>
                      <a:pt x="553" y="27"/>
                    </a:cubicBezTo>
                    <a:cubicBezTo>
                      <a:pt x="556" y="27"/>
                      <a:pt x="559" y="28"/>
                      <a:pt x="562" y="29"/>
                    </a:cubicBezTo>
                    <a:cubicBezTo>
                      <a:pt x="565" y="29"/>
                      <a:pt x="568" y="28"/>
                      <a:pt x="571" y="29"/>
                    </a:cubicBezTo>
                    <a:cubicBezTo>
                      <a:pt x="573" y="29"/>
                      <a:pt x="576" y="29"/>
                      <a:pt x="577" y="31"/>
                    </a:cubicBezTo>
                    <a:cubicBezTo>
                      <a:pt x="579" y="33"/>
                      <a:pt x="581" y="35"/>
                      <a:pt x="583" y="36"/>
                    </a:cubicBezTo>
                    <a:cubicBezTo>
                      <a:pt x="584" y="37"/>
                      <a:pt x="584" y="38"/>
                      <a:pt x="585" y="38"/>
                    </a:cubicBezTo>
                    <a:cubicBezTo>
                      <a:pt x="586" y="37"/>
                      <a:pt x="586" y="35"/>
                      <a:pt x="586" y="34"/>
                    </a:cubicBezTo>
                    <a:cubicBezTo>
                      <a:pt x="585" y="32"/>
                      <a:pt x="584" y="31"/>
                      <a:pt x="582" y="30"/>
                    </a:cubicBezTo>
                    <a:cubicBezTo>
                      <a:pt x="581" y="29"/>
                      <a:pt x="580" y="29"/>
                      <a:pt x="580" y="28"/>
                    </a:cubicBezTo>
                    <a:cubicBezTo>
                      <a:pt x="580" y="27"/>
                      <a:pt x="582" y="27"/>
                      <a:pt x="583" y="27"/>
                    </a:cubicBezTo>
                    <a:cubicBezTo>
                      <a:pt x="586" y="27"/>
                      <a:pt x="589" y="28"/>
                      <a:pt x="592" y="27"/>
                    </a:cubicBezTo>
                    <a:cubicBezTo>
                      <a:pt x="595" y="27"/>
                      <a:pt x="597" y="27"/>
                      <a:pt x="600" y="27"/>
                    </a:cubicBezTo>
                    <a:cubicBezTo>
                      <a:pt x="602" y="27"/>
                      <a:pt x="606" y="28"/>
                      <a:pt x="608" y="27"/>
                    </a:cubicBezTo>
                    <a:cubicBezTo>
                      <a:pt x="610" y="25"/>
                      <a:pt x="605" y="26"/>
                      <a:pt x="604" y="26"/>
                    </a:cubicBezTo>
                    <a:cubicBezTo>
                      <a:pt x="601" y="26"/>
                      <a:pt x="598" y="25"/>
                      <a:pt x="595" y="25"/>
                    </a:cubicBezTo>
                    <a:cubicBezTo>
                      <a:pt x="593" y="25"/>
                      <a:pt x="590" y="25"/>
                      <a:pt x="589" y="24"/>
                    </a:cubicBezTo>
                    <a:cubicBezTo>
                      <a:pt x="587" y="23"/>
                      <a:pt x="589" y="22"/>
                      <a:pt x="590" y="22"/>
                    </a:cubicBezTo>
                    <a:cubicBezTo>
                      <a:pt x="591" y="22"/>
                      <a:pt x="593" y="22"/>
                      <a:pt x="595" y="22"/>
                    </a:cubicBezTo>
                    <a:cubicBezTo>
                      <a:pt x="597" y="22"/>
                      <a:pt x="600" y="21"/>
                      <a:pt x="603" y="21"/>
                    </a:cubicBezTo>
                    <a:cubicBezTo>
                      <a:pt x="604" y="20"/>
                      <a:pt x="611" y="21"/>
                      <a:pt x="611" y="20"/>
                    </a:cubicBezTo>
                    <a:cubicBezTo>
                      <a:pt x="612" y="19"/>
                      <a:pt x="605" y="20"/>
                      <a:pt x="604" y="19"/>
                    </a:cubicBezTo>
                    <a:cubicBezTo>
                      <a:pt x="601" y="19"/>
                      <a:pt x="598" y="20"/>
                      <a:pt x="595" y="20"/>
                    </a:cubicBezTo>
                    <a:cubicBezTo>
                      <a:pt x="592" y="20"/>
                      <a:pt x="589" y="19"/>
                      <a:pt x="587" y="18"/>
                    </a:cubicBezTo>
                    <a:cubicBezTo>
                      <a:pt x="584" y="17"/>
                      <a:pt x="582" y="17"/>
                      <a:pt x="582" y="14"/>
                    </a:cubicBezTo>
                    <a:cubicBezTo>
                      <a:pt x="581" y="13"/>
                      <a:pt x="581" y="10"/>
                      <a:pt x="583" y="9"/>
                    </a:cubicBezTo>
                    <a:cubicBezTo>
                      <a:pt x="584" y="8"/>
                      <a:pt x="585" y="9"/>
                      <a:pt x="586" y="9"/>
                    </a:cubicBezTo>
                    <a:cubicBezTo>
                      <a:pt x="587" y="9"/>
                      <a:pt x="589" y="10"/>
                      <a:pt x="591" y="10"/>
                    </a:cubicBezTo>
                    <a:cubicBezTo>
                      <a:pt x="592" y="10"/>
                      <a:pt x="598" y="11"/>
                      <a:pt x="598" y="10"/>
                    </a:cubicBezTo>
                    <a:cubicBezTo>
                      <a:pt x="599" y="9"/>
                      <a:pt x="598" y="8"/>
                      <a:pt x="599" y="8"/>
                    </a:cubicBezTo>
                    <a:cubicBezTo>
                      <a:pt x="600" y="7"/>
                      <a:pt x="601" y="6"/>
                      <a:pt x="602" y="6"/>
                    </a:cubicBezTo>
                    <a:cubicBezTo>
                      <a:pt x="605" y="6"/>
                      <a:pt x="607" y="6"/>
                      <a:pt x="609" y="7"/>
                    </a:cubicBezTo>
                    <a:cubicBezTo>
                      <a:pt x="611" y="9"/>
                      <a:pt x="613" y="9"/>
                      <a:pt x="615" y="9"/>
                    </a:cubicBezTo>
                    <a:cubicBezTo>
                      <a:pt x="616" y="10"/>
                      <a:pt x="622" y="12"/>
                      <a:pt x="622" y="10"/>
                    </a:cubicBezTo>
                    <a:cubicBezTo>
                      <a:pt x="621" y="8"/>
                      <a:pt x="619" y="8"/>
                      <a:pt x="618" y="6"/>
                    </a:cubicBezTo>
                    <a:cubicBezTo>
                      <a:pt x="617" y="4"/>
                      <a:pt x="624" y="4"/>
                      <a:pt x="625" y="3"/>
                    </a:cubicBezTo>
                    <a:cubicBezTo>
                      <a:pt x="628" y="3"/>
                      <a:pt x="631" y="4"/>
                      <a:pt x="634" y="4"/>
                    </a:cubicBezTo>
                    <a:cubicBezTo>
                      <a:pt x="638" y="4"/>
                      <a:pt x="641" y="4"/>
                      <a:pt x="644" y="3"/>
                    </a:cubicBezTo>
                    <a:cubicBezTo>
                      <a:pt x="647" y="3"/>
                      <a:pt x="649" y="1"/>
                      <a:pt x="652" y="1"/>
                    </a:cubicBezTo>
                    <a:cubicBezTo>
                      <a:pt x="655" y="1"/>
                      <a:pt x="657" y="2"/>
                      <a:pt x="659" y="3"/>
                    </a:cubicBezTo>
                    <a:cubicBezTo>
                      <a:pt x="661" y="5"/>
                      <a:pt x="662" y="6"/>
                      <a:pt x="664" y="7"/>
                    </a:cubicBezTo>
                    <a:cubicBezTo>
                      <a:pt x="664" y="7"/>
                      <a:pt x="666" y="8"/>
                      <a:pt x="666" y="7"/>
                    </a:cubicBezTo>
                    <a:cubicBezTo>
                      <a:pt x="666" y="6"/>
                      <a:pt x="665" y="5"/>
                      <a:pt x="665" y="4"/>
                    </a:cubicBezTo>
                    <a:cubicBezTo>
                      <a:pt x="665" y="2"/>
                      <a:pt x="669" y="2"/>
                      <a:pt x="670" y="2"/>
                    </a:cubicBezTo>
                    <a:cubicBezTo>
                      <a:pt x="673" y="1"/>
                      <a:pt x="677" y="1"/>
                      <a:pt x="680" y="1"/>
                    </a:cubicBezTo>
                    <a:cubicBezTo>
                      <a:pt x="686" y="1"/>
                      <a:pt x="693" y="1"/>
                      <a:pt x="700" y="1"/>
                    </a:cubicBezTo>
                    <a:cubicBezTo>
                      <a:pt x="712" y="0"/>
                      <a:pt x="725" y="1"/>
                      <a:pt x="738" y="3"/>
                    </a:cubicBezTo>
                    <a:cubicBezTo>
                      <a:pt x="744" y="3"/>
                      <a:pt x="750" y="6"/>
                      <a:pt x="757" y="6"/>
                    </a:cubicBezTo>
                    <a:cubicBezTo>
                      <a:pt x="760" y="6"/>
                      <a:pt x="763" y="6"/>
                      <a:pt x="766" y="6"/>
                    </a:cubicBezTo>
                    <a:cubicBezTo>
                      <a:pt x="769" y="7"/>
                      <a:pt x="772" y="8"/>
                      <a:pt x="775" y="9"/>
                    </a:cubicBezTo>
                    <a:cubicBezTo>
                      <a:pt x="781" y="10"/>
                      <a:pt x="788" y="11"/>
                      <a:pt x="794" y="12"/>
                    </a:cubicBezTo>
                    <a:cubicBezTo>
                      <a:pt x="797" y="12"/>
                      <a:pt x="800" y="12"/>
                      <a:pt x="803" y="13"/>
                    </a:cubicBezTo>
                    <a:cubicBezTo>
                      <a:pt x="804" y="13"/>
                      <a:pt x="807" y="13"/>
                      <a:pt x="805" y="15"/>
                    </a:cubicBezTo>
                    <a:cubicBezTo>
                      <a:pt x="800" y="18"/>
                      <a:pt x="794" y="17"/>
                      <a:pt x="789" y="18"/>
                    </a:cubicBezTo>
                    <a:cubicBezTo>
                      <a:pt x="786" y="19"/>
                      <a:pt x="783" y="20"/>
                      <a:pt x="781" y="20"/>
                    </a:cubicBezTo>
                    <a:cubicBezTo>
                      <a:pt x="777" y="21"/>
                      <a:pt x="774" y="20"/>
                      <a:pt x="771" y="20"/>
                    </a:cubicBezTo>
                    <a:cubicBezTo>
                      <a:pt x="764" y="19"/>
                      <a:pt x="758" y="18"/>
                      <a:pt x="751" y="18"/>
                    </a:cubicBezTo>
                    <a:cubicBezTo>
                      <a:pt x="745" y="19"/>
                      <a:pt x="738" y="19"/>
                      <a:pt x="732" y="18"/>
                    </a:cubicBezTo>
                    <a:cubicBezTo>
                      <a:pt x="729" y="18"/>
                      <a:pt x="726" y="19"/>
                      <a:pt x="723" y="19"/>
                    </a:cubicBezTo>
                    <a:cubicBezTo>
                      <a:pt x="720" y="19"/>
                      <a:pt x="717" y="20"/>
                      <a:pt x="714" y="21"/>
                    </a:cubicBezTo>
                    <a:cubicBezTo>
                      <a:pt x="708" y="23"/>
                      <a:pt x="702" y="23"/>
                      <a:pt x="696" y="22"/>
                    </a:cubicBezTo>
                    <a:cubicBezTo>
                      <a:pt x="693" y="22"/>
                      <a:pt x="690" y="22"/>
                      <a:pt x="687" y="22"/>
                    </a:cubicBezTo>
                    <a:cubicBezTo>
                      <a:pt x="684" y="21"/>
                      <a:pt x="681" y="19"/>
                      <a:pt x="678" y="19"/>
                    </a:cubicBezTo>
                    <a:cubicBezTo>
                      <a:pt x="676" y="19"/>
                      <a:pt x="676" y="21"/>
                      <a:pt x="677" y="22"/>
                    </a:cubicBezTo>
                    <a:cubicBezTo>
                      <a:pt x="678" y="22"/>
                      <a:pt x="679" y="23"/>
                      <a:pt x="679" y="24"/>
                    </a:cubicBezTo>
                    <a:cubicBezTo>
                      <a:pt x="679" y="24"/>
                      <a:pt x="678" y="25"/>
                      <a:pt x="677" y="25"/>
                    </a:cubicBezTo>
                    <a:cubicBezTo>
                      <a:pt x="676" y="25"/>
                      <a:pt x="676" y="26"/>
                      <a:pt x="675" y="26"/>
                    </a:cubicBezTo>
                    <a:cubicBezTo>
                      <a:pt x="674" y="27"/>
                      <a:pt x="672" y="26"/>
                      <a:pt x="671" y="26"/>
                    </a:cubicBezTo>
                    <a:cubicBezTo>
                      <a:pt x="670" y="26"/>
                      <a:pt x="669" y="26"/>
                      <a:pt x="668" y="27"/>
                    </a:cubicBezTo>
                    <a:cubicBezTo>
                      <a:pt x="666" y="28"/>
                      <a:pt x="665" y="28"/>
                      <a:pt x="663" y="29"/>
                    </a:cubicBezTo>
                    <a:cubicBezTo>
                      <a:pt x="660" y="29"/>
                      <a:pt x="658" y="28"/>
                      <a:pt x="655" y="28"/>
                    </a:cubicBezTo>
                    <a:cubicBezTo>
                      <a:pt x="651" y="28"/>
                      <a:pt x="648" y="28"/>
                      <a:pt x="645" y="29"/>
                    </a:cubicBezTo>
                    <a:cubicBezTo>
                      <a:pt x="644" y="29"/>
                      <a:pt x="642" y="29"/>
                      <a:pt x="641" y="30"/>
                    </a:cubicBezTo>
                    <a:cubicBezTo>
                      <a:pt x="640" y="30"/>
                      <a:pt x="638" y="29"/>
                      <a:pt x="637" y="30"/>
                    </a:cubicBezTo>
                    <a:cubicBezTo>
                      <a:pt x="636" y="30"/>
                      <a:pt x="638" y="31"/>
                      <a:pt x="638" y="32"/>
                    </a:cubicBezTo>
                    <a:cubicBezTo>
                      <a:pt x="640" y="33"/>
                      <a:pt x="639" y="34"/>
                      <a:pt x="638" y="35"/>
                    </a:cubicBezTo>
                    <a:cubicBezTo>
                      <a:pt x="637" y="37"/>
                      <a:pt x="638" y="39"/>
                      <a:pt x="640" y="37"/>
                    </a:cubicBezTo>
                    <a:cubicBezTo>
                      <a:pt x="641" y="35"/>
                      <a:pt x="643" y="33"/>
                      <a:pt x="645" y="33"/>
                    </a:cubicBezTo>
                    <a:cubicBezTo>
                      <a:pt x="648" y="32"/>
                      <a:pt x="651" y="32"/>
                      <a:pt x="653" y="31"/>
                    </a:cubicBezTo>
                    <a:cubicBezTo>
                      <a:pt x="656" y="31"/>
                      <a:pt x="659" y="31"/>
                      <a:pt x="661" y="33"/>
                    </a:cubicBezTo>
                    <a:cubicBezTo>
                      <a:pt x="662" y="34"/>
                      <a:pt x="665" y="35"/>
                      <a:pt x="667" y="35"/>
                    </a:cubicBezTo>
                    <a:cubicBezTo>
                      <a:pt x="669" y="34"/>
                      <a:pt x="670" y="32"/>
                      <a:pt x="672" y="30"/>
                    </a:cubicBezTo>
                    <a:cubicBezTo>
                      <a:pt x="677" y="28"/>
                      <a:pt x="683" y="30"/>
                      <a:pt x="688" y="29"/>
                    </a:cubicBezTo>
                    <a:cubicBezTo>
                      <a:pt x="690" y="28"/>
                      <a:pt x="693" y="27"/>
                      <a:pt x="696" y="27"/>
                    </a:cubicBezTo>
                    <a:cubicBezTo>
                      <a:pt x="699" y="28"/>
                      <a:pt x="702" y="28"/>
                      <a:pt x="705" y="27"/>
                    </a:cubicBezTo>
                    <a:cubicBezTo>
                      <a:pt x="708" y="27"/>
                      <a:pt x="711" y="26"/>
                      <a:pt x="714" y="25"/>
                    </a:cubicBezTo>
                    <a:cubicBezTo>
                      <a:pt x="717" y="24"/>
                      <a:pt x="720" y="24"/>
                      <a:pt x="723" y="23"/>
                    </a:cubicBezTo>
                    <a:cubicBezTo>
                      <a:pt x="730" y="22"/>
                      <a:pt x="736" y="23"/>
                      <a:pt x="742" y="22"/>
                    </a:cubicBezTo>
                    <a:cubicBezTo>
                      <a:pt x="748" y="22"/>
                      <a:pt x="755" y="23"/>
                      <a:pt x="761" y="23"/>
                    </a:cubicBezTo>
                    <a:cubicBezTo>
                      <a:pt x="764" y="23"/>
                      <a:pt x="767" y="23"/>
                      <a:pt x="771" y="22"/>
                    </a:cubicBezTo>
                    <a:cubicBezTo>
                      <a:pt x="774" y="22"/>
                      <a:pt x="777" y="23"/>
                      <a:pt x="780" y="23"/>
                    </a:cubicBezTo>
                    <a:cubicBezTo>
                      <a:pt x="783" y="23"/>
                      <a:pt x="786" y="23"/>
                      <a:pt x="790" y="23"/>
                    </a:cubicBezTo>
                    <a:cubicBezTo>
                      <a:pt x="793" y="23"/>
                      <a:pt x="796" y="23"/>
                      <a:pt x="799" y="23"/>
                    </a:cubicBezTo>
                    <a:cubicBezTo>
                      <a:pt x="802" y="22"/>
                      <a:pt x="804" y="21"/>
                      <a:pt x="807" y="20"/>
                    </a:cubicBezTo>
                    <a:cubicBezTo>
                      <a:pt x="809" y="20"/>
                      <a:pt x="813" y="19"/>
                      <a:pt x="815" y="20"/>
                    </a:cubicBezTo>
                    <a:cubicBezTo>
                      <a:pt x="817" y="22"/>
                      <a:pt x="817" y="24"/>
                      <a:pt x="819" y="25"/>
                    </a:cubicBezTo>
                    <a:cubicBezTo>
                      <a:pt x="821" y="27"/>
                      <a:pt x="820" y="28"/>
                      <a:pt x="818" y="29"/>
                    </a:cubicBezTo>
                    <a:cubicBezTo>
                      <a:pt x="816" y="30"/>
                      <a:pt x="814" y="32"/>
                      <a:pt x="812" y="32"/>
                    </a:cubicBezTo>
                    <a:cubicBezTo>
                      <a:pt x="809" y="33"/>
                      <a:pt x="806" y="33"/>
                      <a:pt x="803" y="34"/>
                    </a:cubicBezTo>
                    <a:cubicBezTo>
                      <a:pt x="801" y="35"/>
                      <a:pt x="802" y="36"/>
                      <a:pt x="804" y="36"/>
                    </a:cubicBezTo>
                    <a:cubicBezTo>
                      <a:pt x="805" y="36"/>
                      <a:pt x="806" y="36"/>
                      <a:pt x="807" y="35"/>
                    </a:cubicBezTo>
                    <a:cubicBezTo>
                      <a:pt x="808" y="35"/>
                      <a:pt x="810" y="34"/>
                      <a:pt x="812" y="34"/>
                    </a:cubicBezTo>
                    <a:cubicBezTo>
                      <a:pt x="815" y="34"/>
                      <a:pt x="818" y="34"/>
                      <a:pt x="821" y="33"/>
                    </a:cubicBezTo>
                    <a:cubicBezTo>
                      <a:pt x="824" y="33"/>
                      <a:pt x="826" y="31"/>
                      <a:pt x="829" y="30"/>
                    </a:cubicBezTo>
                    <a:cubicBezTo>
                      <a:pt x="831" y="30"/>
                      <a:pt x="835" y="29"/>
                      <a:pt x="836" y="31"/>
                    </a:cubicBezTo>
                    <a:cubicBezTo>
                      <a:pt x="836" y="32"/>
                      <a:pt x="837" y="34"/>
                      <a:pt x="836" y="35"/>
                    </a:cubicBezTo>
                    <a:cubicBezTo>
                      <a:pt x="836" y="35"/>
                      <a:pt x="834" y="36"/>
                      <a:pt x="834" y="37"/>
                    </a:cubicBezTo>
                    <a:cubicBezTo>
                      <a:pt x="834" y="38"/>
                      <a:pt x="837" y="37"/>
                      <a:pt x="838" y="37"/>
                    </a:cubicBezTo>
                    <a:cubicBezTo>
                      <a:pt x="841" y="37"/>
                      <a:pt x="844" y="36"/>
                      <a:pt x="847" y="36"/>
                    </a:cubicBezTo>
                    <a:cubicBezTo>
                      <a:pt x="850" y="36"/>
                      <a:pt x="853" y="36"/>
                      <a:pt x="857" y="36"/>
                    </a:cubicBezTo>
                    <a:cubicBezTo>
                      <a:pt x="860" y="36"/>
                      <a:pt x="862" y="36"/>
                      <a:pt x="865" y="38"/>
                    </a:cubicBezTo>
                    <a:cubicBezTo>
                      <a:pt x="866" y="38"/>
                      <a:pt x="868" y="39"/>
                      <a:pt x="869" y="39"/>
                    </a:cubicBezTo>
                    <a:cubicBezTo>
                      <a:pt x="870" y="39"/>
                      <a:pt x="872" y="40"/>
                      <a:pt x="873" y="40"/>
                    </a:cubicBezTo>
                    <a:cubicBezTo>
                      <a:pt x="874" y="40"/>
                      <a:pt x="875" y="41"/>
                      <a:pt x="877" y="41"/>
                    </a:cubicBezTo>
                    <a:cubicBezTo>
                      <a:pt x="878" y="42"/>
                      <a:pt x="879" y="42"/>
                      <a:pt x="880" y="43"/>
                    </a:cubicBezTo>
                    <a:cubicBezTo>
                      <a:pt x="881" y="44"/>
                      <a:pt x="876" y="45"/>
                      <a:pt x="876" y="45"/>
                    </a:cubicBezTo>
                    <a:cubicBezTo>
                      <a:pt x="873" y="46"/>
                      <a:pt x="871" y="47"/>
                      <a:pt x="869" y="49"/>
                    </a:cubicBezTo>
                    <a:cubicBezTo>
                      <a:pt x="867" y="51"/>
                      <a:pt x="865" y="52"/>
                      <a:pt x="863" y="53"/>
                    </a:cubicBezTo>
                    <a:cubicBezTo>
                      <a:pt x="860" y="54"/>
                      <a:pt x="857" y="54"/>
                      <a:pt x="854" y="54"/>
                    </a:cubicBezTo>
                    <a:cubicBezTo>
                      <a:pt x="851" y="54"/>
                      <a:pt x="848" y="55"/>
                      <a:pt x="845" y="54"/>
                    </a:cubicBezTo>
                    <a:cubicBezTo>
                      <a:pt x="843" y="54"/>
                      <a:pt x="842" y="54"/>
                      <a:pt x="840" y="54"/>
                    </a:cubicBezTo>
                    <a:cubicBezTo>
                      <a:pt x="839" y="54"/>
                      <a:pt x="837" y="55"/>
                      <a:pt x="835" y="56"/>
                    </a:cubicBezTo>
                    <a:cubicBezTo>
                      <a:pt x="833" y="57"/>
                      <a:pt x="830" y="58"/>
                      <a:pt x="827" y="58"/>
                    </a:cubicBezTo>
                    <a:cubicBezTo>
                      <a:pt x="824" y="59"/>
                      <a:pt x="821" y="59"/>
                      <a:pt x="818" y="60"/>
                    </a:cubicBezTo>
                    <a:cubicBezTo>
                      <a:pt x="816" y="61"/>
                      <a:pt x="813" y="61"/>
                      <a:pt x="810" y="61"/>
                    </a:cubicBezTo>
                    <a:cubicBezTo>
                      <a:pt x="806" y="60"/>
                      <a:pt x="803" y="60"/>
                      <a:pt x="800" y="60"/>
                    </a:cubicBezTo>
                    <a:cubicBezTo>
                      <a:pt x="793" y="61"/>
                      <a:pt x="787" y="61"/>
                      <a:pt x="780" y="60"/>
                    </a:cubicBezTo>
                    <a:cubicBezTo>
                      <a:pt x="774" y="60"/>
                      <a:pt x="767" y="60"/>
                      <a:pt x="761" y="61"/>
                    </a:cubicBezTo>
                    <a:cubicBezTo>
                      <a:pt x="754" y="61"/>
                      <a:pt x="748" y="61"/>
                      <a:pt x="741" y="62"/>
                    </a:cubicBezTo>
                    <a:cubicBezTo>
                      <a:pt x="738" y="62"/>
                      <a:pt x="736" y="62"/>
                      <a:pt x="733" y="61"/>
                    </a:cubicBezTo>
                    <a:cubicBezTo>
                      <a:pt x="730" y="60"/>
                      <a:pt x="727" y="59"/>
                      <a:pt x="724" y="59"/>
                    </a:cubicBezTo>
                    <a:cubicBezTo>
                      <a:pt x="721" y="59"/>
                      <a:pt x="718" y="60"/>
                      <a:pt x="715" y="60"/>
                    </a:cubicBezTo>
                    <a:cubicBezTo>
                      <a:pt x="713" y="59"/>
                      <a:pt x="709" y="58"/>
                      <a:pt x="707" y="59"/>
                    </a:cubicBezTo>
                    <a:cubicBezTo>
                      <a:pt x="706" y="59"/>
                      <a:pt x="705" y="60"/>
                      <a:pt x="706" y="60"/>
                    </a:cubicBezTo>
                    <a:cubicBezTo>
                      <a:pt x="706" y="61"/>
                      <a:pt x="707" y="61"/>
                      <a:pt x="708" y="61"/>
                    </a:cubicBezTo>
                    <a:cubicBezTo>
                      <a:pt x="710" y="61"/>
                      <a:pt x="713" y="61"/>
                      <a:pt x="715" y="62"/>
                    </a:cubicBezTo>
                    <a:cubicBezTo>
                      <a:pt x="718" y="63"/>
                      <a:pt x="720" y="64"/>
                      <a:pt x="722" y="64"/>
                    </a:cubicBezTo>
                    <a:cubicBezTo>
                      <a:pt x="724" y="64"/>
                      <a:pt x="725" y="64"/>
                      <a:pt x="726" y="64"/>
                    </a:cubicBezTo>
                    <a:cubicBezTo>
                      <a:pt x="726" y="64"/>
                      <a:pt x="728" y="65"/>
                      <a:pt x="728" y="65"/>
                    </a:cubicBezTo>
                    <a:cubicBezTo>
                      <a:pt x="726" y="66"/>
                      <a:pt x="724" y="66"/>
                      <a:pt x="723" y="66"/>
                    </a:cubicBezTo>
                    <a:cubicBezTo>
                      <a:pt x="719" y="67"/>
                      <a:pt x="716" y="67"/>
                      <a:pt x="713" y="68"/>
                    </a:cubicBezTo>
                    <a:cubicBezTo>
                      <a:pt x="710" y="69"/>
                      <a:pt x="707" y="69"/>
                      <a:pt x="704" y="70"/>
                    </a:cubicBezTo>
                    <a:cubicBezTo>
                      <a:pt x="701" y="71"/>
                      <a:pt x="698" y="72"/>
                      <a:pt x="695" y="72"/>
                    </a:cubicBezTo>
                    <a:cubicBezTo>
                      <a:pt x="692" y="72"/>
                      <a:pt x="689" y="73"/>
                      <a:pt x="686" y="73"/>
                    </a:cubicBezTo>
                    <a:cubicBezTo>
                      <a:pt x="685" y="74"/>
                      <a:pt x="681" y="74"/>
                      <a:pt x="681" y="77"/>
                    </a:cubicBezTo>
                    <a:cubicBezTo>
                      <a:pt x="681" y="79"/>
                      <a:pt x="681" y="80"/>
                      <a:pt x="683" y="81"/>
                    </a:cubicBezTo>
                    <a:cubicBezTo>
                      <a:pt x="684" y="82"/>
                      <a:pt x="686" y="81"/>
                      <a:pt x="688" y="81"/>
                    </a:cubicBezTo>
                    <a:cubicBezTo>
                      <a:pt x="690" y="81"/>
                      <a:pt x="691" y="80"/>
                      <a:pt x="693" y="79"/>
                    </a:cubicBezTo>
                    <a:cubicBezTo>
                      <a:pt x="695" y="77"/>
                      <a:pt x="697" y="76"/>
                      <a:pt x="699" y="76"/>
                    </a:cubicBezTo>
                    <a:cubicBezTo>
                      <a:pt x="702" y="75"/>
                      <a:pt x="705" y="75"/>
                      <a:pt x="707" y="75"/>
                    </a:cubicBezTo>
                    <a:cubicBezTo>
                      <a:pt x="711" y="74"/>
                      <a:pt x="713" y="74"/>
                      <a:pt x="717" y="74"/>
                    </a:cubicBezTo>
                    <a:cubicBezTo>
                      <a:pt x="723" y="74"/>
                      <a:pt x="729" y="71"/>
                      <a:pt x="735" y="70"/>
                    </a:cubicBezTo>
                    <a:cubicBezTo>
                      <a:pt x="738" y="70"/>
                      <a:pt x="741" y="69"/>
                      <a:pt x="744" y="69"/>
                    </a:cubicBezTo>
                    <a:cubicBezTo>
                      <a:pt x="748" y="68"/>
                      <a:pt x="751" y="68"/>
                      <a:pt x="754" y="68"/>
                    </a:cubicBezTo>
                    <a:cubicBezTo>
                      <a:pt x="757" y="68"/>
                      <a:pt x="760" y="69"/>
                      <a:pt x="763" y="69"/>
                    </a:cubicBezTo>
                    <a:cubicBezTo>
                      <a:pt x="766" y="70"/>
                      <a:pt x="770" y="70"/>
                      <a:pt x="773" y="70"/>
                    </a:cubicBezTo>
                    <a:cubicBezTo>
                      <a:pt x="780" y="70"/>
                      <a:pt x="786" y="70"/>
                      <a:pt x="793" y="70"/>
                    </a:cubicBezTo>
                    <a:cubicBezTo>
                      <a:pt x="796" y="70"/>
                      <a:pt x="799" y="70"/>
                      <a:pt x="802" y="70"/>
                    </a:cubicBezTo>
                    <a:cubicBezTo>
                      <a:pt x="805" y="70"/>
                      <a:pt x="808" y="70"/>
                      <a:pt x="811" y="71"/>
                    </a:cubicBezTo>
                    <a:cubicBezTo>
                      <a:pt x="813" y="72"/>
                      <a:pt x="814" y="74"/>
                      <a:pt x="812" y="76"/>
                    </a:cubicBezTo>
                    <a:cubicBezTo>
                      <a:pt x="810" y="78"/>
                      <a:pt x="807" y="79"/>
                      <a:pt x="805" y="80"/>
                    </a:cubicBezTo>
                    <a:cubicBezTo>
                      <a:pt x="802" y="81"/>
                      <a:pt x="799" y="81"/>
                      <a:pt x="797" y="81"/>
                    </a:cubicBezTo>
                    <a:cubicBezTo>
                      <a:pt x="796" y="82"/>
                      <a:pt x="794" y="82"/>
                      <a:pt x="793" y="83"/>
                    </a:cubicBezTo>
                    <a:cubicBezTo>
                      <a:pt x="791" y="83"/>
                      <a:pt x="790" y="83"/>
                      <a:pt x="788" y="84"/>
                    </a:cubicBezTo>
                    <a:cubicBezTo>
                      <a:pt x="787" y="84"/>
                      <a:pt x="787" y="84"/>
                      <a:pt x="786" y="85"/>
                    </a:cubicBezTo>
                    <a:cubicBezTo>
                      <a:pt x="784" y="86"/>
                      <a:pt x="783" y="86"/>
                      <a:pt x="782" y="86"/>
                    </a:cubicBezTo>
                    <a:cubicBezTo>
                      <a:pt x="780" y="86"/>
                      <a:pt x="776" y="85"/>
                      <a:pt x="775" y="88"/>
                    </a:cubicBezTo>
                    <a:cubicBezTo>
                      <a:pt x="773" y="90"/>
                      <a:pt x="778" y="90"/>
                      <a:pt x="779" y="90"/>
                    </a:cubicBezTo>
                    <a:cubicBezTo>
                      <a:pt x="782" y="90"/>
                      <a:pt x="779" y="92"/>
                      <a:pt x="779" y="92"/>
                    </a:cubicBezTo>
                    <a:cubicBezTo>
                      <a:pt x="778" y="95"/>
                      <a:pt x="788" y="92"/>
                      <a:pt x="788" y="92"/>
                    </a:cubicBezTo>
                    <a:cubicBezTo>
                      <a:pt x="791" y="91"/>
                      <a:pt x="793" y="90"/>
                      <a:pt x="796" y="89"/>
                    </a:cubicBezTo>
                    <a:cubicBezTo>
                      <a:pt x="799" y="88"/>
                      <a:pt x="802" y="88"/>
                      <a:pt x="805" y="87"/>
                    </a:cubicBezTo>
                    <a:cubicBezTo>
                      <a:pt x="807" y="86"/>
                      <a:pt x="809" y="85"/>
                      <a:pt x="812" y="84"/>
                    </a:cubicBezTo>
                    <a:cubicBezTo>
                      <a:pt x="815" y="84"/>
                      <a:pt x="818" y="83"/>
                      <a:pt x="821" y="82"/>
                    </a:cubicBezTo>
                    <a:cubicBezTo>
                      <a:pt x="824" y="81"/>
                      <a:pt x="827" y="80"/>
                      <a:pt x="829" y="80"/>
                    </a:cubicBezTo>
                    <a:cubicBezTo>
                      <a:pt x="831" y="80"/>
                      <a:pt x="832" y="77"/>
                      <a:pt x="833" y="75"/>
                    </a:cubicBezTo>
                    <a:cubicBezTo>
                      <a:pt x="834" y="73"/>
                      <a:pt x="833" y="71"/>
                      <a:pt x="835" y="69"/>
                    </a:cubicBezTo>
                    <a:cubicBezTo>
                      <a:pt x="837" y="67"/>
                      <a:pt x="839" y="66"/>
                      <a:pt x="843" y="66"/>
                    </a:cubicBezTo>
                    <a:cubicBezTo>
                      <a:pt x="849" y="67"/>
                      <a:pt x="854" y="65"/>
                      <a:pt x="860" y="65"/>
                    </a:cubicBezTo>
                    <a:cubicBezTo>
                      <a:pt x="866" y="65"/>
                      <a:pt x="869" y="72"/>
                      <a:pt x="869" y="77"/>
                    </a:cubicBezTo>
                    <a:cubicBezTo>
                      <a:pt x="869" y="79"/>
                      <a:pt x="868" y="81"/>
                      <a:pt x="866" y="83"/>
                    </a:cubicBezTo>
                    <a:cubicBezTo>
                      <a:pt x="865" y="84"/>
                      <a:pt x="864" y="85"/>
                      <a:pt x="864" y="86"/>
                    </a:cubicBezTo>
                    <a:cubicBezTo>
                      <a:pt x="863" y="88"/>
                      <a:pt x="863" y="89"/>
                      <a:pt x="863" y="90"/>
                    </a:cubicBezTo>
                    <a:cubicBezTo>
                      <a:pt x="862" y="92"/>
                      <a:pt x="861" y="94"/>
                      <a:pt x="859" y="96"/>
                    </a:cubicBezTo>
                    <a:cubicBezTo>
                      <a:pt x="858" y="96"/>
                      <a:pt x="857" y="96"/>
                      <a:pt x="856" y="96"/>
                    </a:cubicBezTo>
                    <a:cubicBezTo>
                      <a:pt x="855" y="96"/>
                      <a:pt x="853" y="96"/>
                      <a:pt x="852" y="97"/>
                    </a:cubicBezTo>
                    <a:cubicBezTo>
                      <a:pt x="851" y="99"/>
                      <a:pt x="852" y="101"/>
                      <a:pt x="850" y="102"/>
                    </a:cubicBezTo>
                    <a:cubicBezTo>
                      <a:pt x="848" y="104"/>
                      <a:pt x="845" y="105"/>
                      <a:pt x="843" y="107"/>
                    </a:cubicBezTo>
                    <a:cubicBezTo>
                      <a:pt x="841" y="109"/>
                      <a:pt x="839" y="110"/>
                      <a:pt x="838" y="112"/>
                    </a:cubicBezTo>
                    <a:cubicBezTo>
                      <a:pt x="837" y="114"/>
                      <a:pt x="837" y="116"/>
                      <a:pt x="836" y="117"/>
                    </a:cubicBezTo>
                    <a:cubicBezTo>
                      <a:pt x="835" y="119"/>
                      <a:pt x="833" y="119"/>
                      <a:pt x="831" y="120"/>
                    </a:cubicBezTo>
                    <a:cubicBezTo>
                      <a:pt x="828" y="120"/>
                      <a:pt x="828" y="122"/>
                      <a:pt x="826" y="124"/>
                    </a:cubicBezTo>
                    <a:cubicBezTo>
                      <a:pt x="826" y="125"/>
                      <a:pt x="825" y="126"/>
                      <a:pt x="825" y="126"/>
                    </a:cubicBezTo>
                    <a:cubicBezTo>
                      <a:pt x="826" y="127"/>
                      <a:pt x="828" y="127"/>
                      <a:pt x="829" y="126"/>
                    </a:cubicBezTo>
                    <a:cubicBezTo>
                      <a:pt x="830" y="126"/>
                      <a:pt x="830" y="125"/>
                      <a:pt x="831" y="124"/>
                    </a:cubicBezTo>
                    <a:cubicBezTo>
                      <a:pt x="832" y="123"/>
                      <a:pt x="833" y="122"/>
                      <a:pt x="835" y="121"/>
                    </a:cubicBezTo>
                    <a:cubicBezTo>
                      <a:pt x="837" y="120"/>
                      <a:pt x="840" y="120"/>
                      <a:pt x="842" y="118"/>
                    </a:cubicBezTo>
                    <a:cubicBezTo>
                      <a:pt x="844" y="116"/>
                      <a:pt x="847" y="114"/>
                      <a:pt x="849" y="112"/>
                    </a:cubicBezTo>
                    <a:cubicBezTo>
                      <a:pt x="851" y="110"/>
                      <a:pt x="853" y="108"/>
                      <a:pt x="856" y="107"/>
                    </a:cubicBezTo>
                    <a:cubicBezTo>
                      <a:pt x="859" y="106"/>
                      <a:pt x="861" y="105"/>
                      <a:pt x="864" y="104"/>
                    </a:cubicBezTo>
                    <a:cubicBezTo>
                      <a:pt x="867" y="103"/>
                      <a:pt x="869" y="101"/>
                      <a:pt x="871" y="100"/>
                    </a:cubicBezTo>
                    <a:cubicBezTo>
                      <a:pt x="873" y="98"/>
                      <a:pt x="876" y="97"/>
                      <a:pt x="878" y="95"/>
                    </a:cubicBezTo>
                    <a:cubicBezTo>
                      <a:pt x="880" y="93"/>
                      <a:pt x="881" y="91"/>
                      <a:pt x="883" y="89"/>
                    </a:cubicBezTo>
                    <a:cubicBezTo>
                      <a:pt x="884" y="89"/>
                      <a:pt x="885" y="88"/>
                      <a:pt x="887" y="88"/>
                    </a:cubicBezTo>
                    <a:cubicBezTo>
                      <a:pt x="888" y="87"/>
                      <a:pt x="889" y="86"/>
                      <a:pt x="890" y="86"/>
                    </a:cubicBezTo>
                    <a:cubicBezTo>
                      <a:pt x="892" y="84"/>
                      <a:pt x="895" y="84"/>
                      <a:pt x="897" y="83"/>
                    </a:cubicBezTo>
                    <a:cubicBezTo>
                      <a:pt x="899" y="83"/>
                      <a:pt x="903" y="79"/>
                      <a:pt x="904" y="81"/>
                    </a:cubicBezTo>
                    <a:cubicBezTo>
                      <a:pt x="905" y="81"/>
                      <a:pt x="903" y="82"/>
                      <a:pt x="903" y="83"/>
                    </a:cubicBezTo>
                    <a:cubicBezTo>
                      <a:pt x="902" y="84"/>
                      <a:pt x="901" y="84"/>
                      <a:pt x="901" y="86"/>
                    </a:cubicBezTo>
                    <a:cubicBezTo>
                      <a:pt x="900" y="87"/>
                      <a:pt x="899" y="91"/>
                      <a:pt x="900" y="92"/>
                    </a:cubicBezTo>
                    <a:cubicBezTo>
                      <a:pt x="901" y="93"/>
                      <a:pt x="904" y="90"/>
                      <a:pt x="904" y="90"/>
                    </a:cubicBezTo>
                    <a:cubicBezTo>
                      <a:pt x="907" y="87"/>
                      <a:pt x="909" y="86"/>
                      <a:pt x="912" y="86"/>
                    </a:cubicBezTo>
                    <a:cubicBezTo>
                      <a:pt x="915" y="86"/>
                      <a:pt x="918" y="87"/>
                      <a:pt x="921" y="87"/>
                    </a:cubicBezTo>
                    <a:cubicBezTo>
                      <a:pt x="924" y="88"/>
                      <a:pt x="926" y="89"/>
                      <a:pt x="929" y="90"/>
                    </a:cubicBezTo>
                    <a:cubicBezTo>
                      <a:pt x="931" y="91"/>
                      <a:pt x="934" y="92"/>
                      <a:pt x="935" y="90"/>
                    </a:cubicBezTo>
                    <a:cubicBezTo>
                      <a:pt x="936" y="89"/>
                      <a:pt x="936" y="88"/>
                      <a:pt x="935" y="86"/>
                    </a:cubicBezTo>
                    <a:cubicBezTo>
                      <a:pt x="935" y="85"/>
                      <a:pt x="936" y="85"/>
                      <a:pt x="937" y="85"/>
                    </a:cubicBezTo>
                    <a:cubicBezTo>
                      <a:pt x="938" y="85"/>
                      <a:pt x="939" y="85"/>
                      <a:pt x="940" y="85"/>
                    </a:cubicBezTo>
                    <a:cubicBezTo>
                      <a:pt x="941" y="85"/>
                      <a:pt x="942" y="85"/>
                      <a:pt x="943" y="84"/>
                    </a:cubicBezTo>
                    <a:cubicBezTo>
                      <a:pt x="946" y="84"/>
                      <a:pt x="941" y="82"/>
                      <a:pt x="941" y="82"/>
                    </a:cubicBezTo>
                    <a:cubicBezTo>
                      <a:pt x="940" y="81"/>
                      <a:pt x="942" y="79"/>
                      <a:pt x="943" y="79"/>
                    </a:cubicBezTo>
                    <a:cubicBezTo>
                      <a:pt x="944" y="79"/>
                      <a:pt x="947" y="79"/>
                      <a:pt x="947" y="77"/>
                    </a:cubicBezTo>
                    <a:cubicBezTo>
                      <a:pt x="947" y="76"/>
                      <a:pt x="946" y="75"/>
                      <a:pt x="948" y="75"/>
                    </a:cubicBezTo>
                    <a:cubicBezTo>
                      <a:pt x="949" y="74"/>
                      <a:pt x="950" y="73"/>
                      <a:pt x="951" y="73"/>
                    </a:cubicBezTo>
                    <a:cubicBezTo>
                      <a:pt x="952" y="73"/>
                      <a:pt x="953" y="73"/>
                      <a:pt x="955" y="73"/>
                    </a:cubicBezTo>
                    <a:cubicBezTo>
                      <a:pt x="956" y="73"/>
                      <a:pt x="957" y="72"/>
                      <a:pt x="959" y="72"/>
                    </a:cubicBezTo>
                    <a:cubicBezTo>
                      <a:pt x="961" y="71"/>
                      <a:pt x="964" y="71"/>
                      <a:pt x="967" y="71"/>
                    </a:cubicBezTo>
                    <a:cubicBezTo>
                      <a:pt x="970" y="71"/>
                      <a:pt x="974" y="71"/>
                      <a:pt x="977" y="71"/>
                    </a:cubicBezTo>
                    <a:cubicBezTo>
                      <a:pt x="980" y="71"/>
                      <a:pt x="983" y="71"/>
                      <a:pt x="986" y="71"/>
                    </a:cubicBezTo>
                    <a:cubicBezTo>
                      <a:pt x="989" y="71"/>
                      <a:pt x="992" y="71"/>
                      <a:pt x="995" y="71"/>
                    </a:cubicBezTo>
                    <a:cubicBezTo>
                      <a:pt x="1001" y="73"/>
                      <a:pt x="1006" y="75"/>
                      <a:pt x="1012" y="77"/>
                    </a:cubicBezTo>
                    <a:cubicBezTo>
                      <a:pt x="1018" y="79"/>
                      <a:pt x="1024" y="80"/>
                      <a:pt x="1030" y="82"/>
                    </a:cubicBezTo>
                    <a:cubicBezTo>
                      <a:pt x="1033" y="83"/>
                      <a:pt x="1036" y="83"/>
                      <a:pt x="1038" y="84"/>
                    </a:cubicBezTo>
                    <a:cubicBezTo>
                      <a:pt x="1040" y="84"/>
                      <a:pt x="1037" y="86"/>
                      <a:pt x="1036" y="86"/>
                    </a:cubicBezTo>
                    <a:cubicBezTo>
                      <a:pt x="1034" y="88"/>
                      <a:pt x="1032" y="89"/>
                      <a:pt x="1030" y="90"/>
                    </a:cubicBezTo>
                    <a:cubicBezTo>
                      <a:pt x="1027" y="91"/>
                      <a:pt x="1025" y="93"/>
                      <a:pt x="1022" y="94"/>
                    </a:cubicBezTo>
                    <a:cubicBezTo>
                      <a:pt x="1020" y="96"/>
                      <a:pt x="1017" y="97"/>
                      <a:pt x="1015" y="98"/>
                    </a:cubicBezTo>
                    <a:cubicBezTo>
                      <a:pt x="1012" y="100"/>
                      <a:pt x="1010" y="101"/>
                      <a:pt x="1007" y="102"/>
                    </a:cubicBezTo>
                    <a:cubicBezTo>
                      <a:pt x="1004" y="103"/>
                      <a:pt x="1002" y="104"/>
                      <a:pt x="1000" y="106"/>
                    </a:cubicBezTo>
                    <a:cubicBezTo>
                      <a:pt x="999" y="106"/>
                      <a:pt x="998" y="107"/>
                      <a:pt x="997" y="107"/>
                    </a:cubicBezTo>
                    <a:cubicBezTo>
                      <a:pt x="996" y="108"/>
                      <a:pt x="995" y="108"/>
                      <a:pt x="995" y="109"/>
                    </a:cubicBezTo>
                    <a:cubicBezTo>
                      <a:pt x="995" y="110"/>
                      <a:pt x="995" y="111"/>
                      <a:pt x="996" y="111"/>
                    </a:cubicBezTo>
                    <a:cubicBezTo>
                      <a:pt x="996" y="112"/>
                      <a:pt x="994" y="113"/>
                      <a:pt x="993" y="113"/>
                    </a:cubicBezTo>
                    <a:cubicBezTo>
                      <a:pt x="992" y="113"/>
                      <a:pt x="991" y="113"/>
                      <a:pt x="990" y="113"/>
                    </a:cubicBezTo>
                    <a:cubicBezTo>
                      <a:pt x="988" y="113"/>
                      <a:pt x="986" y="113"/>
                      <a:pt x="985" y="113"/>
                    </a:cubicBezTo>
                    <a:cubicBezTo>
                      <a:pt x="982" y="113"/>
                      <a:pt x="979" y="114"/>
                      <a:pt x="976" y="115"/>
                    </a:cubicBezTo>
                    <a:cubicBezTo>
                      <a:pt x="975" y="115"/>
                      <a:pt x="974" y="116"/>
                      <a:pt x="973" y="116"/>
                    </a:cubicBezTo>
                    <a:cubicBezTo>
                      <a:pt x="971" y="117"/>
                      <a:pt x="970" y="117"/>
                      <a:pt x="968" y="118"/>
                    </a:cubicBezTo>
                    <a:cubicBezTo>
                      <a:pt x="965" y="119"/>
                      <a:pt x="963" y="120"/>
                      <a:pt x="960" y="120"/>
                    </a:cubicBezTo>
                    <a:cubicBezTo>
                      <a:pt x="957" y="120"/>
                      <a:pt x="954" y="119"/>
                      <a:pt x="951" y="119"/>
                    </a:cubicBezTo>
                    <a:cubicBezTo>
                      <a:pt x="948" y="119"/>
                      <a:pt x="945" y="119"/>
                      <a:pt x="943" y="118"/>
                    </a:cubicBezTo>
                    <a:cubicBezTo>
                      <a:pt x="942" y="117"/>
                      <a:pt x="941" y="116"/>
                      <a:pt x="940" y="116"/>
                    </a:cubicBezTo>
                    <a:cubicBezTo>
                      <a:pt x="939" y="115"/>
                      <a:pt x="938" y="116"/>
                      <a:pt x="937" y="117"/>
                    </a:cubicBezTo>
                    <a:cubicBezTo>
                      <a:pt x="935" y="119"/>
                      <a:pt x="933" y="120"/>
                      <a:pt x="930" y="121"/>
                    </a:cubicBezTo>
                    <a:cubicBezTo>
                      <a:pt x="927" y="122"/>
                      <a:pt x="924" y="123"/>
                      <a:pt x="922" y="123"/>
                    </a:cubicBezTo>
                    <a:cubicBezTo>
                      <a:pt x="919" y="123"/>
                      <a:pt x="916" y="122"/>
                      <a:pt x="913" y="121"/>
                    </a:cubicBezTo>
                    <a:cubicBezTo>
                      <a:pt x="910" y="120"/>
                      <a:pt x="907" y="120"/>
                      <a:pt x="903" y="121"/>
                    </a:cubicBezTo>
                    <a:cubicBezTo>
                      <a:pt x="901" y="121"/>
                      <a:pt x="899" y="121"/>
                      <a:pt x="897" y="121"/>
                    </a:cubicBezTo>
                    <a:cubicBezTo>
                      <a:pt x="895" y="122"/>
                      <a:pt x="894" y="124"/>
                      <a:pt x="891" y="124"/>
                    </a:cubicBezTo>
                    <a:cubicBezTo>
                      <a:pt x="889" y="124"/>
                      <a:pt x="887" y="124"/>
                      <a:pt x="885" y="124"/>
                    </a:cubicBezTo>
                    <a:cubicBezTo>
                      <a:pt x="882" y="124"/>
                      <a:pt x="885" y="125"/>
                      <a:pt x="886" y="126"/>
                    </a:cubicBezTo>
                    <a:cubicBezTo>
                      <a:pt x="888" y="127"/>
                      <a:pt x="889" y="129"/>
                      <a:pt x="891" y="129"/>
                    </a:cubicBezTo>
                    <a:cubicBezTo>
                      <a:pt x="894" y="129"/>
                      <a:pt x="896" y="126"/>
                      <a:pt x="898" y="125"/>
                    </a:cubicBezTo>
                    <a:cubicBezTo>
                      <a:pt x="901" y="124"/>
                      <a:pt x="904" y="124"/>
                      <a:pt x="906" y="124"/>
                    </a:cubicBezTo>
                    <a:cubicBezTo>
                      <a:pt x="909" y="124"/>
                      <a:pt x="912" y="126"/>
                      <a:pt x="915" y="126"/>
                    </a:cubicBezTo>
                    <a:cubicBezTo>
                      <a:pt x="921" y="127"/>
                      <a:pt x="927" y="128"/>
                      <a:pt x="933" y="126"/>
                    </a:cubicBezTo>
                    <a:cubicBezTo>
                      <a:pt x="939" y="125"/>
                      <a:pt x="944" y="123"/>
                      <a:pt x="950" y="124"/>
                    </a:cubicBezTo>
                    <a:cubicBezTo>
                      <a:pt x="953" y="124"/>
                      <a:pt x="956" y="125"/>
                      <a:pt x="959" y="126"/>
                    </a:cubicBezTo>
                    <a:cubicBezTo>
                      <a:pt x="962" y="127"/>
                      <a:pt x="965" y="126"/>
                      <a:pt x="967" y="127"/>
                    </a:cubicBezTo>
                    <a:cubicBezTo>
                      <a:pt x="970" y="127"/>
                      <a:pt x="969" y="130"/>
                      <a:pt x="967" y="131"/>
                    </a:cubicBezTo>
                    <a:cubicBezTo>
                      <a:pt x="966" y="132"/>
                      <a:pt x="963" y="132"/>
                      <a:pt x="962" y="134"/>
                    </a:cubicBezTo>
                    <a:cubicBezTo>
                      <a:pt x="962" y="135"/>
                      <a:pt x="962" y="136"/>
                      <a:pt x="961" y="136"/>
                    </a:cubicBezTo>
                    <a:cubicBezTo>
                      <a:pt x="960" y="137"/>
                      <a:pt x="959" y="137"/>
                      <a:pt x="957" y="137"/>
                    </a:cubicBezTo>
                    <a:cubicBezTo>
                      <a:pt x="954" y="138"/>
                      <a:pt x="951" y="138"/>
                      <a:pt x="948" y="137"/>
                    </a:cubicBezTo>
                    <a:cubicBezTo>
                      <a:pt x="945" y="137"/>
                      <a:pt x="942" y="137"/>
                      <a:pt x="939" y="137"/>
                    </a:cubicBezTo>
                    <a:cubicBezTo>
                      <a:pt x="937" y="138"/>
                      <a:pt x="934" y="139"/>
                      <a:pt x="931" y="139"/>
                    </a:cubicBezTo>
                    <a:cubicBezTo>
                      <a:pt x="928" y="139"/>
                      <a:pt x="925" y="138"/>
                      <a:pt x="922" y="138"/>
                    </a:cubicBezTo>
                    <a:cubicBezTo>
                      <a:pt x="919" y="137"/>
                      <a:pt x="916" y="137"/>
                      <a:pt x="913" y="137"/>
                    </a:cubicBezTo>
                    <a:cubicBezTo>
                      <a:pt x="910" y="137"/>
                      <a:pt x="908" y="136"/>
                      <a:pt x="905" y="137"/>
                    </a:cubicBezTo>
                    <a:cubicBezTo>
                      <a:pt x="903" y="138"/>
                      <a:pt x="901" y="140"/>
                      <a:pt x="899" y="141"/>
                    </a:cubicBezTo>
                    <a:cubicBezTo>
                      <a:pt x="898" y="141"/>
                      <a:pt x="897" y="142"/>
                      <a:pt x="896" y="142"/>
                    </a:cubicBezTo>
                    <a:cubicBezTo>
                      <a:pt x="895" y="143"/>
                      <a:pt x="895" y="144"/>
                      <a:pt x="895" y="145"/>
                    </a:cubicBezTo>
                    <a:cubicBezTo>
                      <a:pt x="895" y="148"/>
                      <a:pt x="892" y="149"/>
                      <a:pt x="891" y="151"/>
                    </a:cubicBezTo>
                    <a:cubicBezTo>
                      <a:pt x="890" y="153"/>
                      <a:pt x="891" y="154"/>
                      <a:pt x="893" y="154"/>
                    </a:cubicBezTo>
                    <a:cubicBezTo>
                      <a:pt x="894" y="155"/>
                      <a:pt x="896" y="155"/>
                      <a:pt x="897" y="156"/>
                    </a:cubicBezTo>
                    <a:cubicBezTo>
                      <a:pt x="899" y="158"/>
                      <a:pt x="901" y="157"/>
                      <a:pt x="903" y="156"/>
                    </a:cubicBezTo>
                    <a:cubicBezTo>
                      <a:pt x="904" y="156"/>
                      <a:pt x="905" y="155"/>
                      <a:pt x="905" y="154"/>
                    </a:cubicBezTo>
                    <a:cubicBezTo>
                      <a:pt x="904" y="153"/>
                      <a:pt x="901" y="153"/>
                      <a:pt x="901" y="152"/>
                    </a:cubicBezTo>
                    <a:cubicBezTo>
                      <a:pt x="900" y="151"/>
                      <a:pt x="903" y="151"/>
                      <a:pt x="904" y="151"/>
                    </a:cubicBezTo>
                    <a:cubicBezTo>
                      <a:pt x="906" y="151"/>
                      <a:pt x="909" y="152"/>
                      <a:pt x="911" y="152"/>
                    </a:cubicBezTo>
                    <a:cubicBezTo>
                      <a:pt x="914" y="152"/>
                      <a:pt x="917" y="151"/>
                      <a:pt x="920" y="150"/>
                    </a:cubicBezTo>
                    <a:cubicBezTo>
                      <a:pt x="923" y="149"/>
                      <a:pt x="926" y="149"/>
                      <a:pt x="929" y="149"/>
                    </a:cubicBezTo>
                    <a:cubicBezTo>
                      <a:pt x="932" y="149"/>
                      <a:pt x="935" y="147"/>
                      <a:pt x="938" y="147"/>
                    </a:cubicBezTo>
                    <a:cubicBezTo>
                      <a:pt x="940" y="147"/>
                      <a:pt x="944" y="145"/>
                      <a:pt x="946" y="146"/>
                    </a:cubicBezTo>
                    <a:cubicBezTo>
                      <a:pt x="947" y="147"/>
                      <a:pt x="944" y="149"/>
                      <a:pt x="943" y="150"/>
                    </a:cubicBezTo>
                    <a:cubicBezTo>
                      <a:pt x="941" y="151"/>
                      <a:pt x="939" y="151"/>
                      <a:pt x="937" y="153"/>
                    </a:cubicBezTo>
                    <a:cubicBezTo>
                      <a:pt x="936" y="155"/>
                      <a:pt x="936" y="156"/>
                      <a:pt x="934" y="157"/>
                    </a:cubicBezTo>
                    <a:cubicBezTo>
                      <a:pt x="932" y="158"/>
                      <a:pt x="928" y="157"/>
                      <a:pt x="926" y="156"/>
                    </a:cubicBezTo>
                    <a:cubicBezTo>
                      <a:pt x="923" y="156"/>
                      <a:pt x="920" y="156"/>
                      <a:pt x="918" y="156"/>
                    </a:cubicBezTo>
                    <a:cubicBezTo>
                      <a:pt x="915" y="155"/>
                      <a:pt x="913" y="157"/>
                      <a:pt x="912" y="159"/>
                    </a:cubicBezTo>
                    <a:cubicBezTo>
                      <a:pt x="911" y="161"/>
                      <a:pt x="909" y="161"/>
                      <a:pt x="908" y="163"/>
                    </a:cubicBezTo>
                    <a:cubicBezTo>
                      <a:pt x="908" y="165"/>
                      <a:pt x="908" y="166"/>
                      <a:pt x="908" y="167"/>
                    </a:cubicBezTo>
                    <a:cubicBezTo>
                      <a:pt x="909" y="169"/>
                      <a:pt x="909" y="170"/>
                      <a:pt x="910" y="171"/>
                    </a:cubicBezTo>
                    <a:cubicBezTo>
                      <a:pt x="910" y="174"/>
                      <a:pt x="907" y="175"/>
                      <a:pt x="906" y="177"/>
                    </a:cubicBezTo>
                    <a:cubicBezTo>
                      <a:pt x="905" y="178"/>
                      <a:pt x="905" y="179"/>
                      <a:pt x="905" y="180"/>
                    </a:cubicBezTo>
                    <a:cubicBezTo>
                      <a:pt x="904" y="181"/>
                      <a:pt x="903" y="182"/>
                      <a:pt x="903" y="183"/>
                    </a:cubicBezTo>
                    <a:cubicBezTo>
                      <a:pt x="901" y="186"/>
                      <a:pt x="902" y="187"/>
                      <a:pt x="903" y="189"/>
                    </a:cubicBezTo>
                    <a:cubicBezTo>
                      <a:pt x="905" y="192"/>
                      <a:pt x="899" y="191"/>
                      <a:pt x="897" y="190"/>
                    </a:cubicBezTo>
                    <a:cubicBezTo>
                      <a:pt x="895" y="190"/>
                      <a:pt x="893" y="189"/>
                      <a:pt x="890" y="190"/>
                    </a:cubicBezTo>
                    <a:cubicBezTo>
                      <a:pt x="889" y="191"/>
                      <a:pt x="888" y="191"/>
                      <a:pt x="887" y="192"/>
                    </a:cubicBezTo>
                    <a:cubicBezTo>
                      <a:pt x="886" y="192"/>
                      <a:pt x="884" y="192"/>
                      <a:pt x="882" y="192"/>
                    </a:cubicBezTo>
                    <a:cubicBezTo>
                      <a:pt x="881" y="192"/>
                      <a:pt x="883" y="193"/>
                      <a:pt x="883" y="193"/>
                    </a:cubicBezTo>
                    <a:cubicBezTo>
                      <a:pt x="884" y="193"/>
                      <a:pt x="884" y="194"/>
                      <a:pt x="884" y="195"/>
                    </a:cubicBezTo>
                    <a:cubicBezTo>
                      <a:pt x="883" y="195"/>
                      <a:pt x="882" y="196"/>
                      <a:pt x="882" y="197"/>
                    </a:cubicBezTo>
                    <a:cubicBezTo>
                      <a:pt x="881" y="198"/>
                      <a:pt x="882" y="199"/>
                      <a:pt x="881" y="199"/>
                    </a:cubicBezTo>
                    <a:cubicBezTo>
                      <a:pt x="880" y="199"/>
                      <a:pt x="879" y="199"/>
                      <a:pt x="879" y="200"/>
                    </a:cubicBezTo>
                    <a:cubicBezTo>
                      <a:pt x="878" y="201"/>
                      <a:pt x="879" y="201"/>
                      <a:pt x="880" y="201"/>
                    </a:cubicBezTo>
                    <a:cubicBezTo>
                      <a:pt x="882" y="201"/>
                      <a:pt x="884" y="200"/>
                      <a:pt x="885" y="201"/>
                    </a:cubicBezTo>
                    <a:cubicBezTo>
                      <a:pt x="887" y="203"/>
                      <a:pt x="884" y="205"/>
                      <a:pt x="883" y="206"/>
                    </a:cubicBezTo>
                    <a:cubicBezTo>
                      <a:pt x="881" y="207"/>
                      <a:pt x="878" y="209"/>
                      <a:pt x="879" y="212"/>
                    </a:cubicBezTo>
                    <a:cubicBezTo>
                      <a:pt x="879" y="213"/>
                      <a:pt x="880" y="214"/>
                      <a:pt x="880" y="215"/>
                    </a:cubicBezTo>
                    <a:cubicBezTo>
                      <a:pt x="880" y="216"/>
                      <a:pt x="879" y="217"/>
                      <a:pt x="878" y="217"/>
                    </a:cubicBezTo>
                    <a:cubicBezTo>
                      <a:pt x="877" y="218"/>
                      <a:pt x="876" y="218"/>
                      <a:pt x="875" y="218"/>
                    </a:cubicBezTo>
                    <a:cubicBezTo>
                      <a:pt x="874" y="218"/>
                      <a:pt x="872" y="219"/>
                      <a:pt x="874" y="220"/>
                    </a:cubicBezTo>
                    <a:cubicBezTo>
                      <a:pt x="875" y="220"/>
                      <a:pt x="876" y="220"/>
                      <a:pt x="876" y="221"/>
                    </a:cubicBezTo>
                    <a:cubicBezTo>
                      <a:pt x="877" y="221"/>
                      <a:pt x="876" y="222"/>
                      <a:pt x="875" y="222"/>
                    </a:cubicBezTo>
                    <a:cubicBezTo>
                      <a:pt x="874" y="223"/>
                      <a:pt x="870" y="224"/>
                      <a:pt x="872" y="226"/>
                    </a:cubicBezTo>
                    <a:cubicBezTo>
                      <a:pt x="874" y="227"/>
                      <a:pt x="874" y="228"/>
                      <a:pt x="872" y="229"/>
                    </a:cubicBezTo>
                    <a:cubicBezTo>
                      <a:pt x="871" y="230"/>
                      <a:pt x="870" y="230"/>
                      <a:pt x="870" y="231"/>
                    </a:cubicBezTo>
                    <a:cubicBezTo>
                      <a:pt x="869" y="232"/>
                      <a:pt x="868" y="233"/>
                      <a:pt x="868" y="234"/>
                    </a:cubicBezTo>
                    <a:cubicBezTo>
                      <a:pt x="868" y="237"/>
                      <a:pt x="873" y="235"/>
                      <a:pt x="874" y="235"/>
                    </a:cubicBezTo>
                    <a:cubicBezTo>
                      <a:pt x="875" y="235"/>
                      <a:pt x="878" y="236"/>
                      <a:pt x="876" y="237"/>
                    </a:cubicBezTo>
                    <a:cubicBezTo>
                      <a:pt x="875" y="237"/>
                      <a:pt x="873" y="239"/>
                      <a:pt x="873" y="240"/>
                    </a:cubicBezTo>
                    <a:cubicBezTo>
                      <a:pt x="873" y="242"/>
                      <a:pt x="876" y="240"/>
                      <a:pt x="876" y="239"/>
                    </a:cubicBezTo>
                    <a:cubicBezTo>
                      <a:pt x="878" y="238"/>
                      <a:pt x="882" y="238"/>
                      <a:pt x="881" y="236"/>
                    </a:cubicBezTo>
                    <a:cubicBezTo>
                      <a:pt x="881" y="235"/>
                      <a:pt x="880" y="235"/>
                      <a:pt x="880" y="234"/>
                    </a:cubicBezTo>
                    <a:cubicBezTo>
                      <a:pt x="880" y="233"/>
                      <a:pt x="881" y="232"/>
                      <a:pt x="882" y="231"/>
                    </a:cubicBezTo>
                    <a:cubicBezTo>
                      <a:pt x="883" y="230"/>
                      <a:pt x="884" y="230"/>
                      <a:pt x="884" y="229"/>
                    </a:cubicBezTo>
                    <a:cubicBezTo>
                      <a:pt x="886" y="228"/>
                      <a:pt x="886" y="227"/>
                      <a:pt x="887" y="226"/>
                    </a:cubicBezTo>
                    <a:cubicBezTo>
                      <a:pt x="887" y="226"/>
                      <a:pt x="888" y="224"/>
                      <a:pt x="889" y="224"/>
                    </a:cubicBezTo>
                    <a:cubicBezTo>
                      <a:pt x="890" y="224"/>
                      <a:pt x="892" y="225"/>
                      <a:pt x="892" y="225"/>
                    </a:cubicBezTo>
                    <a:cubicBezTo>
                      <a:pt x="894" y="227"/>
                      <a:pt x="896" y="229"/>
                      <a:pt x="899" y="229"/>
                    </a:cubicBezTo>
                    <a:cubicBezTo>
                      <a:pt x="900" y="229"/>
                      <a:pt x="901" y="229"/>
                      <a:pt x="903" y="229"/>
                    </a:cubicBezTo>
                    <a:cubicBezTo>
                      <a:pt x="904" y="229"/>
                      <a:pt x="905" y="229"/>
                      <a:pt x="906" y="230"/>
                    </a:cubicBezTo>
                    <a:cubicBezTo>
                      <a:pt x="909" y="231"/>
                      <a:pt x="912" y="231"/>
                      <a:pt x="914" y="232"/>
                    </a:cubicBezTo>
                    <a:cubicBezTo>
                      <a:pt x="916" y="233"/>
                      <a:pt x="919" y="234"/>
                      <a:pt x="920" y="236"/>
                    </a:cubicBezTo>
                    <a:cubicBezTo>
                      <a:pt x="920" y="238"/>
                      <a:pt x="915" y="238"/>
                      <a:pt x="914" y="238"/>
                    </a:cubicBezTo>
                    <a:cubicBezTo>
                      <a:pt x="911" y="238"/>
                      <a:pt x="909" y="236"/>
                      <a:pt x="906" y="235"/>
                    </a:cubicBezTo>
                    <a:cubicBezTo>
                      <a:pt x="905" y="234"/>
                      <a:pt x="904" y="234"/>
                      <a:pt x="902" y="234"/>
                    </a:cubicBezTo>
                    <a:cubicBezTo>
                      <a:pt x="901" y="234"/>
                      <a:pt x="900" y="233"/>
                      <a:pt x="898" y="233"/>
                    </a:cubicBezTo>
                    <a:cubicBezTo>
                      <a:pt x="897" y="233"/>
                      <a:pt x="896" y="233"/>
                      <a:pt x="894" y="233"/>
                    </a:cubicBezTo>
                    <a:cubicBezTo>
                      <a:pt x="893" y="234"/>
                      <a:pt x="891" y="234"/>
                      <a:pt x="890" y="234"/>
                    </a:cubicBezTo>
                    <a:cubicBezTo>
                      <a:pt x="888" y="235"/>
                      <a:pt x="890" y="236"/>
                      <a:pt x="891" y="236"/>
                    </a:cubicBezTo>
                    <a:cubicBezTo>
                      <a:pt x="893" y="236"/>
                      <a:pt x="897" y="237"/>
                      <a:pt x="896" y="240"/>
                    </a:cubicBezTo>
                    <a:cubicBezTo>
                      <a:pt x="896" y="240"/>
                      <a:pt x="895" y="241"/>
                      <a:pt x="896" y="242"/>
                    </a:cubicBezTo>
                    <a:cubicBezTo>
                      <a:pt x="896" y="242"/>
                      <a:pt x="897" y="242"/>
                      <a:pt x="898" y="243"/>
                    </a:cubicBezTo>
                    <a:cubicBezTo>
                      <a:pt x="900" y="243"/>
                      <a:pt x="903" y="245"/>
                      <a:pt x="905" y="246"/>
                    </a:cubicBezTo>
                    <a:cubicBezTo>
                      <a:pt x="910" y="249"/>
                      <a:pt x="915" y="254"/>
                      <a:pt x="921" y="252"/>
                    </a:cubicBezTo>
                    <a:cubicBezTo>
                      <a:pt x="922" y="251"/>
                      <a:pt x="923" y="251"/>
                      <a:pt x="924" y="251"/>
                    </a:cubicBezTo>
                    <a:cubicBezTo>
                      <a:pt x="925" y="251"/>
                      <a:pt x="926" y="251"/>
                      <a:pt x="928" y="251"/>
                    </a:cubicBezTo>
                    <a:cubicBezTo>
                      <a:pt x="930" y="251"/>
                      <a:pt x="933" y="249"/>
                      <a:pt x="933" y="252"/>
                    </a:cubicBezTo>
                    <a:cubicBezTo>
                      <a:pt x="934" y="254"/>
                      <a:pt x="933" y="255"/>
                      <a:pt x="934" y="256"/>
                    </a:cubicBezTo>
                    <a:cubicBezTo>
                      <a:pt x="935" y="257"/>
                      <a:pt x="935" y="258"/>
                      <a:pt x="935" y="259"/>
                    </a:cubicBezTo>
                    <a:cubicBezTo>
                      <a:pt x="935" y="260"/>
                      <a:pt x="935" y="261"/>
                      <a:pt x="934" y="262"/>
                    </a:cubicBezTo>
                    <a:cubicBezTo>
                      <a:pt x="933" y="263"/>
                      <a:pt x="933" y="264"/>
                      <a:pt x="933" y="265"/>
                    </a:cubicBezTo>
                    <a:cubicBezTo>
                      <a:pt x="932" y="268"/>
                      <a:pt x="929" y="267"/>
                      <a:pt x="927" y="267"/>
                    </a:cubicBezTo>
                    <a:cubicBezTo>
                      <a:pt x="926" y="266"/>
                      <a:pt x="925" y="266"/>
                      <a:pt x="924" y="265"/>
                    </a:cubicBezTo>
                    <a:cubicBezTo>
                      <a:pt x="923" y="264"/>
                      <a:pt x="922" y="264"/>
                      <a:pt x="921" y="264"/>
                    </a:cubicBezTo>
                    <a:cubicBezTo>
                      <a:pt x="918" y="265"/>
                      <a:pt x="915" y="265"/>
                      <a:pt x="913" y="264"/>
                    </a:cubicBezTo>
                    <a:cubicBezTo>
                      <a:pt x="910" y="263"/>
                      <a:pt x="908" y="261"/>
                      <a:pt x="905" y="261"/>
                    </a:cubicBezTo>
                    <a:cubicBezTo>
                      <a:pt x="902" y="261"/>
                      <a:pt x="900" y="260"/>
                      <a:pt x="897" y="260"/>
                    </a:cubicBezTo>
                    <a:cubicBezTo>
                      <a:pt x="896" y="259"/>
                      <a:pt x="894" y="259"/>
                      <a:pt x="893" y="260"/>
                    </a:cubicBezTo>
                    <a:cubicBezTo>
                      <a:pt x="892" y="260"/>
                      <a:pt x="891" y="260"/>
                      <a:pt x="889" y="260"/>
                    </a:cubicBezTo>
                    <a:cubicBezTo>
                      <a:pt x="887" y="260"/>
                      <a:pt x="885" y="262"/>
                      <a:pt x="888" y="262"/>
                    </a:cubicBezTo>
                    <a:cubicBezTo>
                      <a:pt x="889" y="262"/>
                      <a:pt x="889" y="263"/>
                      <a:pt x="889" y="264"/>
                    </a:cubicBezTo>
                    <a:cubicBezTo>
                      <a:pt x="888" y="265"/>
                      <a:pt x="886" y="264"/>
                      <a:pt x="885" y="264"/>
                    </a:cubicBezTo>
                    <a:cubicBezTo>
                      <a:pt x="883" y="264"/>
                      <a:pt x="882" y="264"/>
                      <a:pt x="880" y="264"/>
                    </a:cubicBezTo>
                    <a:cubicBezTo>
                      <a:pt x="880" y="263"/>
                      <a:pt x="879" y="263"/>
                      <a:pt x="878" y="263"/>
                    </a:cubicBezTo>
                    <a:cubicBezTo>
                      <a:pt x="877" y="263"/>
                      <a:pt x="875" y="262"/>
                      <a:pt x="874" y="263"/>
                    </a:cubicBezTo>
                    <a:cubicBezTo>
                      <a:pt x="873" y="265"/>
                      <a:pt x="877" y="265"/>
                      <a:pt x="877" y="265"/>
                    </a:cubicBezTo>
                    <a:cubicBezTo>
                      <a:pt x="879" y="265"/>
                      <a:pt x="880" y="265"/>
                      <a:pt x="881" y="265"/>
                    </a:cubicBezTo>
                    <a:cubicBezTo>
                      <a:pt x="881" y="265"/>
                      <a:pt x="884" y="266"/>
                      <a:pt x="883" y="267"/>
                    </a:cubicBezTo>
                    <a:cubicBezTo>
                      <a:pt x="882" y="267"/>
                      <a:pt x="881" y="267"/>
                      <a:pt x="880" y="268"/>
                    </a:cubicBezTo>
                    <a:cubicBezTo>
                      <a:pt x="879" y="268"/>
                      <a:pt x="878" y="269"/>
                      <a:pt x="877" y="270"/>
                    </a:cubicBezTo>
                    <a:cubicBezTo>
                      <a:pt x="877" y="270"/>
                      <a:pt x="876" y="271"/>
                      <a:pt x="875" y="272"/>
                    </a:cubicBezTo>
                    <a:cubicBezTo>
                      <a:pt x="874" y="272"/>
                      <a:pt x="873" y="272"/>
                      <a:pt x="872" y="271"/>
                    </a:cubicBezTo>
                    <a:cubicBezTo>
                      <a:pt x="871" y="271"/>
                      <a:pt x="871" y="269"/>
                      <a:pt x="870" y="269"/>
                    </a:cubicBezTo>
                    <a:cubicBezTo>
                      <a:pt x="869" y="268"/>
                      <a:pt x="868" y="267"/>
                      <a:pt x="867" y="266"/>
                    </a:cubicBezTo>
                    <a:cubicBezTo>
                      <a:pt x="866" y="265"/>
                      <a:pt x="864" y="264"/>
                      <a:pt x="862" y="265"/>
                    </a:cubicBezTo>
                    <a:cubicBezTo>
                      <a:pt x="860" y="266"/>
                      <a:pt x="863" y="268"/>
                      <a:pt x="863" y="269"/>
                    </a:cubicBezTo>
                    <a:cubicBezTo>
                      <a:pt x="863" y="269"/>
                      <a:pt x="861" y="269"/>
                      <a:pt x="861" y="269"/>
                    </a:cubicBezTo>
                    <a:cubicBezTo>
                      <a:pt x="860" y="269"/>
                      <a:pt x="858" y="269"/>
                      <a:pt x="857" y="270"/>
                    </a:cubicBezTo>
                    <a:cubicBezTo>
                      <a:pt x="855" y="272"/>
                      <a:pt x="858" y="272"/>
                      <a:pt x="859" y="273"/>
                    </a:cubicBezTo>
                    <a:cubicBezTo>
                      <a:pt x="861" y="274"/>
                      <a:pt x="862" y="276"/>
                      <a:pt x="860" y="278"/>
                    </a:cubicBezTo>
                    <a:cubicBezTo>
                      <a:pt x="860" y="279"/>
                      <a:pt x="860" y="280"/>
                      <a:pt x="861" y="280"/>
                    </a:cubicBezTo>
                    <a:cubicBezTo>
                      <a:pt x="862" y="281"/>
                      <a:pt x="862" y="281"/>
                      <a:pt x="863" y="281"/>
                    </a:cubicBezTo>
                    <a:cubicBezTo>
                      <a:pt x="866" y="280"/>
                      <a:pt x="869" y="281"/>
                      <a:pt x="871" y="280"/>
                    </a:cubicBezTo>
                    <a:cubicBezTo>
                      <a:pt x="873" y="280"/>
                      <a:pt x="876" y="280"/>
                      <a:pt x="876" y="283"/>
                    </a:cubicBezTo>
                    <a:cubicBezTo>
                      <a:pt x="876" y="284"/>
                      <a:pt x="874" y="284"/>
                      <a:pt x="874" y="285"/>
                    </a:cubicBezTo>
                    <a:cubicBezTo>
                      <a:pt x="874" y="286"/>
                      <a:pt x="874" y="287"/>
                      <a:pt x="875" y="287"/>
                    </a:cubicBezTo>
                    <a:cubicBezTo>
                      <a:pt x="877" y="288"/>
                      <a:pt x="879" y="288"/>
                      <a:pt x="881" y="286"/>
                    </a:cubicBezTo>
                    <a:cubicBezTo>
                      <a:pt x="883" y="285"/>
                      <a:pt x="886" y="287"/>
                      <a:pt x="888" y="288"/>
                    </a:cubicBezTo>
                    <a:cubicBezTo>
                      <a:pt x="889" y="289"/>
                      <a:pt x="891" y="290"/>
                      <a:pt x="893" y="290"/>
                    </a:cubicBezTo>
                    <a:cubicBezTo>
                      <a:pt x="893" y="290"/>
                      <a:pt x="894" y="290"/>
                      <a:pt x="894" y="289"/>
                    </a:cubicBezTo>
                    <a:cubicBezTo>
                      <a:pt x="894" y="288"/>
                      <a:pt x="893" y="288"/>
                      <a:pt x="892" y="288"/>
                    </a:cubicBezTo>
                    <a:cubicBezTo>
                      <a:pt x="891" y="288"/>
                      <a:pt x="890" y="287"/>
                      <a:pt x="891" y="287"/>
                    </a:cubicBezTo>
                    <a:cubicBezTo>
                      <a:pt x="892" y="286"/>
                      <a:pt x="893" y="287"/>
                      <a:pt x="894" y="287"/>
                    </a:cubicBezTo>
                    <a:cubicBezTo>
                      <a:pt x="897" y="288"/>
                      <a:pt x="899" y="285"/>
                      <a:pt x="902" y="286"/>
                    </a:cubicBezTo>
                    <a:cubicBezTo>
                      <a:pt x="903" y="287"/>
                      <a:pt x="903" y="288"/>
                      <a:pt x="904" y="289"/>
                    </a:cubicBezTo>
                    <a:cubicBezTo>
                      <a:pt x="905" y="289"/>
                      <a:pt x="906" y="289"/>
                      <a:pt x="907" y="290"/>
                    </a:cubicBezTo>
                    <a:cubicBezTo>
                      <a:pt x="909" y="291"/>
                      <a:pt x="908" y="293"/>
                      <a:pt x="906" y="293"/>
                    </a:cubicBezTo>
                    <a:cubicBezTo>
                      <a:pt x="904" y="294"/>
                      <a:pt x="902" y="293"/>
                      <a:pt x="900" y="294"/>
                    </a:cubicBezTo>
                    <a:cubicBezTo>
                      <a:pt x="899" y="294"/>
                      <a:pt x="898" y="295"/>
                      <a:pt x="897" y="295"/>
                    </a:cubicBezTo>
                    <a:cubicBezTo>
                      <a:pt x="896" y="296"/>
                      <a:pt x="894" y="296"/>
                      <a:pt x="892" y="296"/>
                    </a:cubicBezTo>
                    <a:cubicBezTo>
                      <a:pt x="889" y="296"/>
                      <a:pt x="886" y="295"/>
                      <a:pt x="884" y="296"/>
                    </a:cubicBezTo>
                    <a:cubicBezTo>
                      <a:pt x="881" y="296"/>
                      <a:pt x="877" y="296"/>
                      <a:pt x="875" y="295"/>
                    </a:cubicBezTo>
                    <a:cubicBezTo>
                      <a:pt x="873" y="295"/>
                      <a:pt x="871" y="293"/>
                      <a:pt x="870" y="293"/>
                    </a:cubicBezTo>
                    <a:cubicBezTo>
                      <a:pt x="869" y="294"/>
                      <a:pt x="868" y="294"/>
                      <a:pt x="868" y="295"/>
                    </a:cubicBezTo>
                    <a:cubicBezTo>
                      <a:pt x="869" y="295"/>
                      <a:pt x="870" y="295"/>
                      <a:pt x="871" y="295"/>
                    </a:cubicBezTo>
                    <a:cubicBezTo>
                      <a:pt x="873" y="296"/>
                      <a:pt x="875" y="297"/>
                      <a:pt x="877" y="297"/>
                    </a:cubicBezTo>
                    <a:cubicBezTo>
                      <a:pt x="879" y="297"/>
                      <a:pt x="880" y="297"/>
                      <a:pt x="881" y="297"/>
                    </a:cubicBezTo>
                    <a:cubicBezTo>
                      <a:pt x="883" y="297"/>
                      <a:pt x="885" y="297"/>
                      <a:pt x="886" y="297"/>
                    </a:cubicBezTo>
                    <a:cubicBezTo>
                      <a:pt x="889" y="297"/>
                      <a:pt x="892" y="298"/>
                      <a:pt x="895" y="298"/>
                    </a:cubicBezTo>
                    <a:cubicBezTo>
                      <a:pt x="898" y="298"/>
                      <a:pt x="901" y="297"/>
                      <a:pt x="903" y="298"/>
                    </a:cubicBezTo>
                    <a:cubicBezTo>
                      <a:pt x="906" y="298"/>
                      <a:pt x="907" y="301"/>
                      <a:pt x="909" y="302"/>
                    </a:cubicBezTo>
                    <a:cubicBezTo>
                      <a:pt x="910" y="302"/>
                      <a:pt x="914" y="304"/>
                      <a:pt x="913" y="306"/>
                    </a:cubicBezTo>
                    <a:cubicBezTo>
                      <a:pt x="911" y="307"/>
                      <a:pt x="909" y="306"/>
                      <a:pt x="910" y="308"/>
                    </a:cubicBezTo>
                    <a:cubicBezTo>
                      <a:pt x="911" y="310"/>
                      <a:pt x="913" y="312"/>
                      <a:pt x="914" y="314"/>
                    </a:cubicBezTo>
                    <a:cubicBezTo>
                      <a:pt x="914" y="315"/>
                      <a:pt x="914" y="316"/>
                      <a:pt x="914" y="317"/>
                    </a:cubicBezTo>
                    <a:cubicBezTo>
                      <a:pt x="913" y="318"/>
                      <a:pt x="913" y="319"/>
                      <a:pt x="913" y="320"/>
                    </a:cubicBezTo>
                    <a:cubicBezTo>
                      <a:pt x="913" y="322"/>
                      <a:pt x="912" y="322"/>
                      <a:pt x="911" y="323"/>
                    </a:cubicBezTo>
                    <a:cubicBezTo>
                      <a:pt x="910" y="323"/>
                      <a:pt x="909" y="324"/>
                      <a:pt x="907" y="324"/>
                    </a:cubicBezTo>
                    <a:cubicBezTo>
                      <a:pt x="905" y="324"/>
                      <a:pt x="904" y="323"/>
                      <a:pt x="904" y="321"/>
                    </a:cubicBezTo>
                    <a:cubicBezTo>
                      <a:pt x="904" y="320"/>
                      <a:pt x="905" y="319"/>
                      <a:pt x="904" y="318"/>
                    </a:cubicBezTo>
                    <a:cubicBezTo>
                      <a:pt x="903" y="318"/>
                      <a:pt x="902" y="318"/>
                      <a:pt x="901" y="318"/>
                    </a:cubicBezTo>
                    <a:cubicBezTo>
                      <a:pt x="900" y="318"/>
                      <a:pt x="899" y="319"/>
                      <a:pt x="898" y="319"/>
                    </a:cubicBezTo>
                    <a:cubicBezTo>
                      <a:pt x="896" y="319"/>
                      <a:pt x="895" y="318"/>
                      <a:pt x="894" y="319"/>
                    </a:cubicBezTo>
                    <a:cubicBezTo>
                      <a:pt x="893" y="320"/>
                      <a:pt x="892" y="319"/>
                      <a:pt x="891" y="319"/>
                    </a:cubicBezTo>
                    <a:cubicBezTo>
                      <a:pt x="889" y="318"/>
                      <a:pt x="888" y="317"/>
                      <a:pt x="887" y="317"/>
                    </a:cubicBezTo>
                    <a:cubicBezTo>
                      <a:pt x="886" y="316"/>
                      <a:pt x="885" y="316"/>
                      <a:pt x="884" y="316"/>
                    </a:cubicBezTo>
                    <a:cubicBezTo>
                      <a:pt x="883" y="315"/>
                      <a:pt x="882" y="314"/>
                      <a:pt x="881" y="313"/>
                    </a:cubicBezTo>
                    <a:cubicBezTo>
                      <a:pt x="880" y="311"/>
                      <a:pt x="877" y="310"/>
                      <a:pt x="874" y="310"/>
                    </a:cubicBezTo>
                    <a:cubicBezTo>
                      <a:pt x="873" y="310"/>
                      <a:pt x="873" y="309"/>
                      <a:pt x="871" y="309"/>
                    </a:cubicBezTo>
                    <a:cubicBezTo>
                      <a:pt x="870" y="308"/>
                      <a:pt x="869" y="308"/>
                      <a:pt x="868" y="308"/>
                    </a:cubicBezTo>
                    <a:cubicBezTo>
                      <a:pt x="867" y="308"/>
                      <a:pt x="864" y="305"/>
                      <a:pt x="864" y="307"/>
                    </a:cubicBezTo>
                    <a:cubicBezTo>
                      <a:pt x="863" y="308"/>
                      <a:pt x="864" y="308"/>
                      <a:pt x="865" y="308"/>
                    </a:cubicBezTo>
                    <a:cubicBezTo>
                      <a:pt x="865" y="308"/>
                      <a:pt x="866" y="309"/>
                      <a:pt x="866" y="310"/>
                    </a:cubicBezTo>
                    <a:cubicBezTo>
                      <a:pt x="868" y="311"/>
                      <a:pt x="869" y="310"/>
                      <a:pt x="871" y="311"/>
                    </a:cubicBezTo>
                    <a:cubicBezTo>
                      <a:pt x="871" y="312"/>
                      <a:pt x="871" y="312"/>
                      <a:pt x="870" y="312"/>
                    </a:cubicBezTo>
                    <a:cubicBezTo>
                      <a:pt x="870" y="312"/>
                      <a:pt x="869" y="312"/>
                      <a:pt x="868" y="312"/>
                    </a:cubicBezTo>
                    <a:cubicBezTo>
                      <a:pt x="866" y="311"/>
                      <a:pt x="864" y="311"/>
                      <a:pt x="862" y="310"/>
                    </a:cubicBezTo>
                    <a:cubicBezTo>
                      <a:pt x="861" y="309"/>
                      <a:pt x="861" y="310"/>
                      <a:pt x="861" y="311"/>
                    </a:cubicBezTo>
                    <a:cubicBezTo>
                      <a:pt x="861" y="312"/>
                      <a:pt x="862" y="313"/>
                      <a:pt x="863" y="313"/>
                    </a:cubicBezTo>
                    <a:cubicBezTo>
                      <a:pt x="864" y="313"/>
                      <a:pt x="866" y="313"/>
                      <a:pt x="867" y="313"/>
                    </a:cubicBezTo>
                    <a:cubicBezTo>
                      <a:pt x="868" y="313"/>
                      <a:pt x="870" y="314"/>
                      <a:pt x="871" y="315"/>
                    </a:cubicBezTo>
                    <a:cubicBezTo>
                      <a:pt x="872" y="315"/>
                      <a:pt x="874" y="315"/>
                      <a:pt x="875" y="315"/>
                    </a:cubicBezTo>
                    <a:cubicBezTo>
                      <a:pt x="876" y="315"/>
                      <a:pt x="877" y="316"/>
                      <a:pt x="879" y="316"/>
                    </a:cubicBezTo>
                    <a:cubicBezTo>
                      <a:pt x="881" y="317"/>
                      <a:pt x="884" y="318"/>
                      <a:pt x="886" y="320"/>
                    </a:cubicBezTo>
                    <a:cubicBezTo>
                      <a:pt x="887" y="320"/>
                      <a:pt x="888" y="321"/>
                      <a:pt x="889" y="322"/>
                    </a:cubicBezTo>
                    <a:cubicBezTo>
                      <a:pt x="890" y="322"/>
                      <a:pt x="891" y="323"/>
                      <a:pt x="891" y="324"/>
                    </a:cubicBezTo>
                    <a:cubicBezTo>
                      <a:pt x="892" y="325"/>
                      <a:pt x="889" y="326"/>
                      <a:pt x="889" y="326"/>
                    </a:cubicBezTo>
                    <a:cubicBezTo>
                      <a:pt x="886" y="325"/>
                      <a:pt x="884" y="326"/>
                      <a:pt x="882" y="327"/>
                    </a:cubicBezTo>
                    <a:cubicBezTo>
                      <a:pt x="880" y="327"/>
                      <a:pt x="879" y="328"/>
                      <a:pt x="878" y="328"/>
                    </a:cubicBezTo>
                    <a:cubicBezTo>
                      <a:pt x="878" y="328"/>
                      <a:pt x="877" y="328"/>
                      <a:pt x="876" y="328"/>
                    </a:cubicBezTo>
                    <a:cubicBezTo>
                      <a:pt x="875" y="328"/>
                      <a:pt x="875" y="329"/>
                      <a:pt x="874" y="329"/>
                    </a:cubicBezTo>
                    <a:cubicBezTo>
                      <a:pt x="872" y="329"/>
                      <a:pt x="870" y="326"/>
                      <a:pt x="868" y="325"/>
                    </a:cubicBezTo>
                    <a:cubicBezTo>
                      <a:pt x="867" y="325"/>
                      <a:pt x="866" y="325"/>
                      <a:pt x="865" y="325"/>
                    </a:cubicBezTo>
                    <a:cubicBezTo>
                      <a:pt x="864" y="325"/>
                      <a:pt x="863" y="323"/>
                      <a:pt x="862" y="323"/>
                    </a:cubicBezTo>
                    <a:cubicBezTo>
                      <a:pt x="862" y="324"/>
                      <a:pt x="861" y="324"/>
                      <a:pt x="861" y="325"/>
                    </a:cubicBezTo>
                    <a:cubicBezTo>
                      <a:pt x="862" y="326"/>
                      <a:pt x="863" y="325"/>
                      <a:pt x="863" y="326"/>
                    </a:cubicBezTo>
                    <a:cubicBezTo>
                      <a:pt x="864" y="327"/>
                      <a:pt x="864" y="327"/>
                      <a:pt x="865" y="327"/>
                    </a:cubicBezTo>
                    <a:cubicBezTo>
                      <a:pt x="867" y="328"/>
                      <a:pt x="866" y="328"/>
                      <a:pt x="867" y="329"/>
                    </a:cubicBezTo>
                    <a:cubicBezTo>
                      <a:pt x="868" y="330"/>
                      <a:pt x="869" y="330"/>
                      <a:pt x="870" y="330"/>
                    </a:cubicBezTo>
                    <a:cubicBezTo>
                      <a:pt x="871" y="330"/>
                      <a:pt x="871" y="331"/>
                      <a:pt x="872" y="331"/>
                    </a:cubicBezTo>
                    <a:cubicBezTo>
                      <a:pt x="873" y="332"/>
                      <a:pt x="874" y="332"/>
                      <a:pt x="875" y="331"/>
                    </a:cubicBezTo>
                    <a:cubicBezTo>
                      <a:pt x="876" y="331"/>
                      <a:pt x="876" y="330"/>
                      <a:pt x="878" y="330"/>
                    </a:cubicBezTo>
                    <a:cubicBezTo>
                      <a:pt x="880" y="330"/>
                      <a:pt x="883" y="330"/>
                      <a:pt x="884" y="329"/>
                    </a:cubicBezTo>
                    <a:cubicBezTo>
                      <a:pt x="885" y="328"/>
                      <a:pt x="888" y="327"/>
                      <a:pt x="890" y="328"/>
                    </a:cubicBezTo>
                    <a:cubicBezTo>
                      <a:pt x="891" y="329"/>
                      <a:pt x="890" y="330"/>
                      <a:pt x="890" y="331"/>
                    </a:cubicBezTo>
                    <a:cubicBezTo>
                      <a:pt x="889" y="331"/>
                      <a:pt x="889" y="332"/>
                      <a:pt x="889" y="332"/>
                    </a:cubicBezTo>
                    <a:cubicBezTo>
                      <a:pt x="889" y="333"/>
                      <a:pt x="889" y="333"/>
                      <a:pt x="889" y="334"/>
                    </a:cubicBezTo>
                    <a:cubicBezTo>
                      <a:pt x="888" y="336"/>
                      <a:pt x="892" y="339"/>
                      <a:pt x="889" y="340"/>
                    </a:cubicBezTo>
                    <a:cubicBezTo>
                      <a:pt x="888" y="340"/>
                      <a:pt x="883" y="339"/>
                      <a:pt x="884" y="341"/>
                    </a:cubicBezTo>
                    <a:cubicBezTo>
                      <a:pt x="885" y="343"/>
                      <a:pt x="890" y="341"/>
                      <a:pt x="892" y="341"/>
                    </a:cubicBezTo>
                    <a:cubicBezTo>
                      <a:pt x="894" y="341"/>
                      <a:pt x="898" y="341"/>
                      <a:pt x="900" y="341"/>
                    </a:cubicBezTo>
                    <a:cubicBezTo>
                      <a:pt x="901" y="341"/>
                      <a:pt x="902" y="342"/>
                      <a:pt x="903" y="342"/>
                    </a:cubicBezTo>
                    <a:cubicBezTo>
                      <a:pt x="904" y="343"/>
                      <a:pt x="904" y="344"/>
                      <a:pt x="905" y="344"/>
                    </a:cubicBezTo>
                    <a:cubicBezTo>
                      <a:pt x="906" y="345"/>
                      <a:pt x="907" y="345"/>
                      <a:pt x="907" y="344"/>
                    </a:cubicBezTo>
                    <a:cubicBezTo>
                      <a:pt x="908" y="344"/>
                      <a:pt x="908" y="343"/>
                      <a:pt x="909" y="343"/>
                    </a:cubicBezTo>
                    <a:cubicBezTo>
                      <a:pt x="911" y="341"/>
                      <a:pt x="914" y="340"/>
                      <a:pt x="915" y="342"/>
                    </a:cubicBezTo>
                    <a:cubicBezTo>
                      <a:pt x="916" y="343"/>
                      <a:pt x="912" y="345"/>
                      <a:pt x="915" y="346"/>
                    </a:cubicBezTo>
                    <a:cubicBezTo>
                      <a:pt x="916" y="346"/>
                      <a:pt x="917" y="346"/>
                      <a:pt x="918" y="346"/>
                    </a:cubicBezTo>
                    <a:cubicBezTo>
                      <a:pt x="919" y="347"/>
                      <a:pt x="920" y="348"/>
                      <a:pt x="919" y="349"/>
                    </a:cubicBezTo>
                    <a:cubicBezTo>
                      <a:pt x="918" y="351"/>
                      <a:pt x="916" y="353"/>
                      <a:pt x="914" y="354"/>
                    </a:cubicBezTo>
                    <a:cubicBezTo>
                      <a:pt x="913" y="354"/>
                      <a:pt x="912" y="355"/>
                      <a:pt x="911" y="356"/>
                    </a:cubicBezTo>
                    <a:cubicBezTo>
                      <a:pt x="910" y="357"/>
                      <a:pt x="908" y="356"/>
                      <a:pt x="907" y="355"/>
                    </a:cubicBezTo>
                    <a:cubicBezTo>
                      <a:pt x="905" y="354"/>
                      <a:pt x="903" y="355"/>
                      <a:pt x="901" y="355"/>
                    </a:cubicBezTo>
                    <a:cubicBezTo>
                      <a:pt x="900" y="354"/>
                      <a:pt x="900" y="354"/>
                      <a:pt x="899" y="353"/>
                    </a:cubicBezTo>
                    <a:cubicBezTo>
                      <a:pt x="898" y="352"/>
                      <a:pt x="900" y="351"/>
                      <a:pt x="898" y="350"/>
                    </a:cubicBezTo>
                    <a:cubicBezTo>
                      <a:pt x="896" y="348"/>
                      <a:pt x="895" y="347"/>
                      <a:pt x="892" y="347"/>
                    </a:cubicBezTo>
                    <a:cubicBezTo>
                      <a:pt x="890" y="348"/>
                      <a:pt x="889" y="348"/>
                      <a:pt x="888" y="348"/>
                    </a:cubicBezTo>
                    <a:cubicBezTo>
                      <a:pt x="886" y="348"/>
                      <a:pt x="884" y="348"/>
                      <a:pt x="883" y="348"/>
                    </a:cubicBezTo>
                    <a:cubicBezTo>
                      <a:pt x="880" y="348"/>
                      <a:pt x="878" y="349"/>
                      <a:pt x="875" y="348"/>
                    </a:cubicBezTo>
                    <a:cubicBezTo>
                      <a:pt x="874" y="348"/>
                      <a:pt x="874" y="347"/>
                      <a:pt x="873" y="346"/>
                    </a:cubicBezTo>
                    <a:cubicBezTo>
                      <a:pt x="872" y="346"/>
                      <a:pt x="871" y="345"/>
                      <a:pt x="870" y="344"/>
                    </a:cubicBezTo>
                    <a:cubicBezTo>
                      <a:pt x="869" y="344"/>
                      <a:pt x="868" y="343"/>
                      <a:pt x="868" y="343"/>
                    </a:cubicBezTo>
                    <a:cubicBezTo>
                      <a:pt x="867" y="343"/>
                      <a:pt x="867" y="344"/>
                      <a:pt x="867" y="345"/>
                    </a:cubicBezTo>
                    <a:cubicBezTo>
                      <a:pt x="868" y="345"/>
                      <a:pt x="869" y="346"/>
                      <a:pt x="869" y="346"/>
                    </a:cubicBezTo>
                    <a:cubicBezTo>
                      <a:pt x="870" y="347"/>
                      <a:pt x="870" y="348"/>
                      <a:pt x="870" y="349"/>
                    </a:cubicBezTo>
                    <a:cubicBezTo>
                      <a:pt x="870" y="350"/>
                      <a:pt x="869" y="351"/>
                      <a:pt x="868" y="351"/>
                    </a:cubicBezTo>
                    <a:cubicBezTo>
                      <a:pt x="868" y="351"/>
                      <a:pt x="867" y="351"/>
                      <a:pt x="867" y="351"/>
                    </a:cubicBezTo>
                    <a:cubicBezTo>
                      <a:pt x="867" y="352"/>
                      <a:pt x="866" y="352"/>
                      <a:pt x="866" y="352"/>
                    </a:cubicBezTo>
                    <a:cubicBezTo>
                      <a:pt x="865" y="353"/>
                      <a:pt x="863" y="351"/>
                      <a:pt x="862" y="352"/>
                    </a:cubicBezTo>
                    <a:cubicBezTo>
                      <a:pt x="861" y="353"/>
                      <a:pt x="863" y="354"/>
                      <a:pt x="863" y="354"/>
                    </a:cubicBezTo>
                    <a:cubicBezTo>
                      <a:pt x="864" y="354"/>
                      <a:pt x="865" y="354"/>
                      <a:pt x="866" y="354"/>
                    </a:cubicBezTo>
                    <a:cubicBezTo>
                      <a:pt x="867" y="355"/>
                      <a:pt x="867" y="355"/>
                      <a:pt x="866" y="356"/>
                    </a:cubicBezTo>
                    <a:cubicBezTo>
                      <a:pt x="866" y="357"/>
                      <a:pt x="866" y="359"/>
                      <a:pt x="866" y="360"/>
                    </a:cubicBezTo>
                    <a:cubicBezTo>
                      <a:pt x="865" y="361"/>
                      <a:pt x="862" y="359"/>
                      <a:pt x="862" y="361"/>
                    </a:cubicBezTo>
                    <a:cubicBezTo>
                      <a:pt x="861" y="363"/>
                      <a:pt x="864" y="364"/>
                      <a:pt x="866" y="364"/>
                    </a:cubicBezTo>
                    <a:cubicBezTo>
                      <a:pt x="867" y="365"/>
                      <a:pt x="868" y="365"/>
                      <a:pt x="868" y="366"/>
                    </a:cubicBezTo>
                    <a:cubicBezTo>
                      <a:pt x="869" y="367"/>
                      <a:pt x="869" y="368"/>
                      <a:pt x="869" y="368"/>
                    </a:cubicBezTo>
                    <a:cubicBezTo>
                      <a:pt x="870" y="369"/>
                      <a:pt x="871" y="369"/>
                      <a:pt x="871" y="370"/>
                    </a:cubicBezTo>
                    <a:cubicBezTo>
                      <a:pt x="871" y="371"/>
                      <a:pt x="871" y="372"/>
                      <a:pt x="871" y="373"/>
                    </a:cubicBezTo>
                    <a:cubicBezTo>
                      <a:pt x="871" y="374"/>
                      <a:pt x="872" y="375"/>
                      <a:pt x="873" y="374"/>
                    </a:cubicBezTo>
                    <a:cubicBezTo>
                      <a:pt x="873" y="373"/>
                      <a:pt x="873" y="373"/>
                      <a:pt x="873" y="372"/>
                    </a:cubicBezTo>
                    <a:cubicBezTo>
                      <a:pt x="873" y="371"/>
                      <a:pt x="873" y="370"/>
                      <a:pt x="873" y="369"/>
                    </a:cubicBezTo>
                    <a:cubicBezTo>
                      <a:pt x="873" y="368"/>
                      <a:pt x="872" y="367"/>
                      <a:pt x="872" y="366"/>
                    </a:cubicBezTo>
                    <a:cubicBezTo>
                      <a:pt x="871" y="364"/>
                      <a:pt x="871" y="362"/>
                      <a:pt x="873" y="361"/>
                    </a:cubicBezTo>
                    <a:cubicBezTo>
                      <a:pt x="874" y="361"/>
                      <a:pt x="875" y="362"/>
                      <a:pt x="876" y="362"/>
                    </a:cubicBezTo>
                    <a:cubicBezTo>
                      <a:pt x="877" y="363"/>
                      <a:pt x="879" y="363"/>
                      <a:pt x="880" y="363"/>
                    </a:cubicBezTo>
                    <a:cubicBezTo>
                      <a:pt x="882" y="364"/>
                      <a:pt x="883" y="364"/>
                      <a:pt x="885" y="364"/>
                    </a:cubicBezTo>
                    <a:cubicBezTo>
                      <a:pt x="886" y="364"/>
                      <a:pt x="887" y="365"/>
                      <a:pt x="889" y="365"/>
                    </a:cubicBezTo>
                    <a:cubicBezTo>
                      <a:pt x="891" y="366"/>
                      <a:pt x="894" y="365"/>
                      <a:pt x="897" y="366"/>
                    </a:cubicBezTo>
                    <a:cubicBezTo>
                      <a:pt x="899" y="367"/>
                      <a:pt x="898" y="370"/>
                      <a:pt x="896" y="370"/>
                    </a:cubicBezTo>
                    <a:cubicBezTo>
                      <a:pt x="896" y="370"/>
                      <a:pt x="895" y="370"/>
                      <a:pt x="894" y="371"/>
                    </a:cubicBezTo>
                    <a:cubicBezTo>
                      <a:pt x="893" y="372"/>
                      <a:pt x="894" y="374"/>
                      <a:pt x="895" y="375"/>
                    </a:cubicBezTo>
                    <a:cubicBezTo>
                      <a:pt x="895" y="377"/>
                      <a:pt x="896" y="380"/>
                      <a:pt x="893" y="381"/>
                    </a:cubicBezTo>
                    <a:cubicBezTo>
                      <a:pt x="891" y="381"/>
                      <a:pt x="887" y="381"/>
                      <a:pt x="885" y="381"/>
                    </a:cubicBezTo>
                    <a:cubicBezTo>
                      <a:pt x="884" y="380"/>
                      <a:pt x="883" y="380"/>
                      <a:pt x="881" y="380"/>
                    </a:cubicBezTo>
                    <a:cubicBezTo>
                      <a:pt x="880" y="380"/>
                      <a:pt x="879" y="380"/>
                      <a:pt x="878" y="380"/>
                    </a:cubicBezTo>
                    <a:cubicBezTo>
                      <a:pt x="875" y="380"/>
                      <a:pt x="878" y="383"/>
                      <a:pt x="876" y="384"/>
                    </a:cubicBezTo>
                    <a:cubicBezTo>
                      <a:pt x="874" y="385"/>
                      <a:pt x="873" y="384"/>
                      <a:pt x="872" y="385"/>
                    </a:cubicBezTo>
                    <a:cubicBezTo>
                      <a:pt x="870" y="385"/>
                      <a:pt x="869" y="386"/>
                      <a:pt x="868" y="386"/>
                    </a:cubicBezTo>
                    <a:cubicBezTo>
                      <a:pt x="865" y="388"/>
                      <a:pt x="863" y="388"/>
                      <a:pt x="860" y="387"/>
                    </a:cubicBezTo>
                    <a:cubicBezTo>
                      <a:pt x="858" y="386"/>
                      <a:pt x="855" y="385"/>
                      <a:pt x="853" y="384"/>
                    </a:cubicBezTo>
                    <a:cubicBezTo>
                      <a:pt x="850" y="384"/>
                      <a:pt x="847" y="382"/>
                      <a:pt x="845" y="381"/>
                    </a:cubicBezTo>
                    <a:cubicBezTo>
                      <a:pt x="842" y="381"/>
                      <a:pt x="840" y="379"/>
                      <a:pt x="838" y="378"/>
                    </a:cubicBezTo>
                    <a:cubicBezTo>
                      <a:pt x="837" y="377"/>
                      <a:pt x="833" y="374"/>
                      <a:pt x="835" y="373"/>
                    </a:cubicBezTo>
                    <a:cubicBezTo>
                      <a:pt x="837" y="372"/>
                      <a:pt x="838" y="372"/>
                      <a:pt x="839" y="373"/>
                    </a:cubicBezTo>
                    <a:cubicBezTo>
                      <a:pt x="840" y="373"/>
                      <a:pt x="841" y="373"/>
                      <a:pt x="843" y="373"/>
                    </a:cubicBezTo>
                    <a:cubicBezTo>
                      <a:pt x="846" y="374"/>
                      <a:pt x="848" y="375"/>
                      <a:pt x="850" y="377"/>
                    </a:cubicBezTo>
                    <a:cubicBezTo>
                      <a:pt x="853" y="378"/>
                      <a:pt x="855" y="378"/>
                      <a:pt x="858" y="378"/>
                    </a:cubicBezTo>
                    <a:cubicBezTo>
                      <a:pt x="859" y="378"/>
                      <a:pt x="860" y="378"/>
                      <a:pt x="861" y="377"/>
                    </a:cubicBezTo>
                    <a:cubicBezTo>
                      <a:pt x="862" y="377"/>
                      <a:pt x="863" y="377"/>
                      <a:pt x="864" y="376"/>
                    </a:cubicBezTo>
                    <a:cubicBezTo>
                      <a:pt x="865" y="376"/>
                      <a:pt x="864" y="376"/>
                      <a:pt x="863" y="376"/>
                    </a:cubicBezTo>
                    <a:cubicBezTo>
                      <a:pt x="862" y="376"/>
                      <a:pt x="861" y="376"/>
                      <a:pt x="859" y="376"/>
                    </a:cubicBezTo>
                    <a:cubicBezTo>
                      <a:pt x="856" y="376"/>
                      <a:pt x="854" y="376"/>
                      <a:pt x="851" y="375"/>
                    </a:cubicBezTo>
                    <a:cubicBezTo>
                      <a:pt x="848" y="374"/>
                      <a:pt x="846" y="372"/>
                      <a:pt x="843" y="372"/>
                    </a:cubicBezTo>
                    <a:cubicBezTo>
                      <a:pt x="842" y="371"/>
                      <a:pt x="841" y="371"/>
                      <a:pt x="839" y="371"/>
                    </a:cubicBezTo>
                    <a:cubicBezTo>
                      <a:pt x="838" y="371"/>
                      <a:pt x="836" y="371"/>
                      <a:pt x="834" y="371"/>
                    </a:cubicBezTo>
                    <a:cubicBezTo>
                      <a:pt x="833" y="370"/>
                      <a:pt x="829" y="370"/>
                      <a:pt x="828" y="372"/>
                    </a:cubicBezTo>
                    <a:cubicBezTo>
                      <a:pt x="827" y="373"/>
                      <a:pt x="827" y="375"/>
                      <a:pt x="827" y="377"/>
                    </a:cubicBezTo>
                    <a:cubicBezTo>
                      <a:pt x="827" y="379"/>
                      <a:pt x="826" y="379"/>
                      <a:pt x="824" y="378"/>
                    </a:cubicBezTo>
                    <a:cubicBezTo>
                      <a:pt x="822" y="377"/>
                      <a:pt x="819" y="377"/>
                      <a:pt x="818" y="375"/>
                    </a:cubicBezTo>
                    <a:cubicBezTo>
                      <a:pt x="817" y="373"/>
                      <a:pt x="818" y="372"/>
                      <a:pt x="815" y="371"/>
                    </a:cubicBezTo>
                    <a:cubicBezTo>
                      <a:pt x="814" y="370"/>
                      <a:pt x="813" y="370"/>
                      <a:pt x="812" y="369"/>
                    </a:cubicBezTo>
                    <a:cubicBezTo>
                      <a:pt x="811" y="368"/>
                      <a:pt x="810" y="368"/>
                      <a:pt x="808" y="366"/>
                    </a:cubicBezTo>
                    <a:cubicBezTo>
                      <a:pt x="808" y="366"/>
                      <a:pt x="806" y="363"/>
                      <a:pt x="806" y="365"/>
                    </a:cubicBezTo>
                    <a:cubicBezTo>
                      <a:pt x="805" y="366"/>
                      <a:pt x="806" y="368"/>
                      <a:pt x="807" y="369"/>
                    </a:cubicBezTo>
                    <a:cubicBezTo>
                      <a:pt x="807" y="369"/>
                      <a:pt x="808" y="370"/>
                      <a:pt x="808" y="370"/>
                    </a:cubicBezTo>
                    <a:cubicBezTo>
                      <a:pt x="809" y="371"/>
                      <a:pt x="811" y="371"/>
                      <a:pt x="812" y="371"/>
                    </a:cubicBezTo>
                    <a:cubicBezTo>
                      <a:pt x="813" y="373"/>
                      <a:pt x="816" y="373"/>
                      <a:pt x="816" y="376"/>
                    </a:cubicBezTo>
                    <a:cubicBezTo>
                      <a:pt x="816" y="378"/>
                      <a:pt x="814" y="379"/>
                      <a:pt x="812" y="380"/>
                    </a:cubicBezTo>
                    <a:cubicBezTo>
                      <a:pt x="811" y="380"/>
                      <a:pt x="810" y="381"/>
                      <a:pt x="809" y="382"/>
                    </a:cubicBezTo>
                    <a:cubicBezTo>
                      <a:pt x="808" y="383"/>
                      <a:pt x="808" y="385"/>
                      <a:pt x="807" y="386"/>
                    </a:cubicBezTo>
                    <a:cubicBezTo>
                      <a:pt x="805" y="387"/>
                      <a:pt x="803" y="387"/>
                      <a:pt x="801" y="387"/>
                    </a:cubicBezTo>
                    <a:cubicBezTo>
                      <a:pt x="800" y="387"/>
                      <a:pt x="798" y="388"/>
                      <a:pt x="797" y="387"/>
                    </a:cubicBezTo>
                    <a:cubicBezTo>
                      <a:pt x="796" y="386"/>
                      <a:pt x="795" y="386"/>
                      <a:pt x="794" y="385"/>
                    </a:cubicBezTo>
                    <a:cubicBezTo>
                      <a:pt x="791" y="385"/>
                      <a:pt x="788" y="386"/>
                      <a:pt x="786" y="384"/>
                    </a:cubicBezTo>
                    <a:cubicBezTo>
                      <a:pt x="783" y="383"/>
                      <a:pt x="781" y="382"/>
                      <a:pt x="778" y="380"/>
                    </a:cubicBezTo>
                    <a:cubicBezTo>
                      <a:pt x="777" y="380"/>
                      <a:pt x="776" y="380"/>
                      <a:pt x="776" y="380"/>
                    </a:cubicBezTo>
                    <a:cubicBezTo>
                      <a:pt x="775" y="381"/>
                      <a:pt x="774" y="382"/>
                      <a:pt x="775" y="383"/>
                    </a:cubicBezTo>
                    <a:cubicBezTo>
                      <a:pt x="777" y="384"/>
                      <a:pt x="780" y="383"/>
                      <a:pt x="782" y="384"/>
                    </a:cubicBezTo>
                    <a:cubicBezTo>
                      <a:pt x="783" y="385"/>
                      <a:pt x="783" y="386"/>
                      <a:pt x="785" y="386"/>
                    </a:cubicBezTo>
                    <a:cubicBezTo>
                      <a:pt x="786" y="386"/>
                      <a:pt x="787" y="386"/>
                      <a:pt x="787" y="386"/>
                    </a:cubicBezTo>
                    <a:cubicBezTo>
                      <a:pt x="789" y="386"/>
                      <a:pt x="792" y="387"/>
                      <a:pt x="790" y="389"/>
                    </a:cubicBezTo>
                    <a:cubicBezTo>
                      <a:pt x="788" y="391"/>
                      <a:pt x="785" y="391"/>
                      <a:pt x="783" y="389"/>
                    </a:cubicBezTo>
                    <a:cubicBezTo>
                      <a:pt x="783" y="389"/>
                      <a:pt x="782" y="390"/>
                      <a:pt x="781" y="390"/>
                    </a:cubicBezTo>
                    <a:cubicBezTo>
                      <a:pt x="780" y="391"/>
                      <a:pt x="778" y="391"/>
                      <a:pt x="777" y="391"/>
                    </a:cubicBezTo>
                    <a:cubicBezTo>
                      <a:pt x="776" y="391"/>
                      <a:pt x="772" y="390"/>
                      <a:pt x="772" y="392"/>
                    </a:cubicBezTo>
                    <a:cubicBezTo>
                      <a:pt x="772" y="394"/>
                      <a:pt x="775" y="393"/>
                      <a:pt x="776" y="394"/>
                    </a:cubicBezTo>
                    <a:cubicBezTo>
                      <a:pt x="776" y="395"/>
                      <a:pt x="775" y="396"/>
                      <a:pt x="775" y="397"/>
                    </a:cubicBezTo>
                    <a:cubicBezTo>
                      <a:pt x="774" y="399"/>
                      <a:pt x="776" y="399"/>
                      <a:pt x="777" y="398"/>
                    </a:cubicBezTo>
                    <a:cubicBezTo>
                      <a:pt x="778" y="398"/>
                      <a:pt x="778" y="396"/>
                      <a:pt x="778" y="395"/>
                    </a:cubicBezTo>
                    <a:cubicBezTo>
                      <a:pt x="779" y="393"/>
                      <a:pt x="781" y="392"/>
                      <a:pt x="783" y="392"/>
                    </a:cubicBezTo>
                    <a:cubicBezTo>
                      <a:pt x="785" y="393"/>
                      <a:pt x="787" y="395"/>
                      <a:pt x="789" y="394"/>
                    </a:cubicBezTo>
                    <a:cubicBezTo>
                      <a:pt x="790" y="393"/>
                      <a:pt x="791" y="393"/>
                      <a:pt x="791" y="392"/>
                    </a:cubicBezTo>
                    <a:cubicBezTo>
                      <a:pt x="792" y="391"/>
                      <a:pt x="793" y="390"/>
                      <a:pt x="794" y="390"/>
                    </a:cubicBezTo>
                    <a:cubicBezTo>
                      <a:pt x="797" y="389"/>
                      <a:pt x="799" y="390"/>
                      <a:pt x="801" y="391"/>
                    </a:cubicBezTo>
                    <a:cubicBezTo>
                      <a:pt x="803" y="391"/>
                      <a:pt x="804" y="391"/>
                      <a:pt x="806" y="391"/>
                    </a:cubicBezTo>
                    <a:cubicBezTo>
                      <a:pt x="807" y="391"/>
                      <a:pt x="809" y="392"/>
                      <a:pt x="810" y="392"/>
                    </a:cubicBezTo>
                    <a:cubicBezTo>
                      <a:pt x="811" y="392"/>
                      <a:pt x="816" y="392"/>
                      <a:pt x="816" y="394"/>
                    </a:cubicBezTo>
                    <a:cubicBezTo>
                      <a:pt x="816" y="395"/>
                      <a:pt x="815" y="395"/>
                      <a:pt x="815" y="396"/>
                    </a:cubicBezTo>
                    <a:cubicBezTo>
                      <a:pt x="814" y="397"/>
                      <a:pt x="814" y="398"/>
                      <a:pt x="812" y="398"/>
                    </a:cubicBezTo>
                    <a:cubicBezTo>
                      <a:pt x="811" y="398"/>
                      <a:pt x="810" y="398"/>
                      <a:pt x="809" y="398"/>
                    </a:cubicBezTo>
                    <a:cubicBezTo>
                      <a:pt x="808" y="398"/>
                      <a:pt x="807" y="398"/>
                      <a:pt x="806" y="399"/>
                    </a:cubicBezTo>
                    <a:cubicBezTo>
                      <a:pt x="803" y="401"/>
                      <a:pt x="801" y="401"/>
                      <a:pt x="798" y="402"/>
                    </a:cubicBezTo>
                    <a:cubicBezTo>
                      <a:pt x="795" y="402"/>
                      <a:pt x="793" y="402"/>
                      <a:pt x="791" y="400"/>
                    </a:cubicBezTo>
                    <a:cubicBezTo>
                      <a:pt x="790" y="400"/>
                      <a:pt x="789" y="400"/>
                      <a:pt x="787" y="399"/>
                    </a:cubicBezTo>
                    <a:cubicBezTo>
                      <a:pt x="786" y="399"/>
                      <a:pt x="784" y="400"/>
                      <a:pt x="783" y="400"/>
                    </a:cubicBezTo>
                    <a:cubicBezTo>
                      <a:pt x="782" y="400"/>
                      <a:pt x="779" y="400"/>
                      <a:pt x="778" y="401"/>
                    </a:cubicBezTo>
                    <a:cubicBezTo>
                      <a:pt x="778" y="402"/>
                      <a:pt x="779" y="403"/>
                      <a:pt x="779" y="403"/>
                    </a:cubicBezTo>
                    <a:cubicBezTo>
                      <a:pt x="780" y="403"/>
                      <a:pt x="782" y="402"/>
                      <a:pt x="783" y="402"/>
                    </a:cubicBezTo>
                    <a:cubicBezTo>
                      <a:pt x="784" y="402"/>
                      <a:pt x="788" y="401"/>
                      <a:pt x="788" y="403"/>
                    </a:cubicBezTo>
                    <a:cubicBezTo>
                      <a:pt x="787" y="406"/>
                      <a:pt x="789" y="406"/>
                      <a:pt x="791" y="406"/>
                    </a:cubicBezTo>
                    <a:cubicBezTo>
                      <a:pt x="793" y="405"/>
                      <a:pt x="794" y="406"/>
                      <a:pt x="794" y="408"/>
                    </a:cubicBezTo>
                    <a:cubicBezTo>
                      <a:pt x="792" y="411"/>
                      <a:pt x="795" y="410"/>
                      <a:pt x="796" y="408"/>
                    </a:cubicBezTo>
                    <a:cubicBezTo>
                      <a:pt x="797" y="407"/>
                      <a:pt x="797" y="407"/>
                      <a:pt x="798" y="406"/>
                    </a:cubicBezTo>
                    <a:cubicBezTo>
                      <a:pt x="799" y="405"/>
                      <a:pt x="800" y="405"/>
                      <a:pt x="801" y="404"/>
                    </a:cubicBezTo>
                    <a:cubicBezTo>
                      <a:pt x="803" y="403"/>
                      <a:pt x="806" y="402"/>
                      <a:pt x="809" y="402"/>
                    </a:cubicBezTo>
                    <a:cubicBezTo>
                      <a:pt x="811" y="401"/>
                      <a:pt x="814" y="402"/>
                      <a:pt x="816" y="403"/>
                    </a:cubicBezTo>
                    <a:cubicBezTo>
                      <a:pt x="819" y="405"/>
                      <a:pt x="821" y="404"/>
                      <a:pt x="822" y="407"/>
                    </a:cubicBezTo>
                    <a:cubicBezTo>
                      <a:pt x="823" y="408"/>
                      <a:pt x="824" y="411"/>
                      <a:pt x="822" y="412"/>
                    </a:cubicBezTo>
                    <a:cubicBezTo>
                      <a:pt x="821" y="412"/>
                      <a:pt x="820" y="412"/>
                      <a:pt x="819" y="412"/>
                    </a:cubicBezTo>
                    <a:cubicBezTo>
                      <a:pt x="818" y="413"/>
                      <a:pt x="816" y="414"/>
                      <a:pt x="815" y="414"/>
                    </a:cubicBezTo>
                    <a:cubicBezTo>
                      <a:pt x="813" y="414"/>
                      <a:pt x="812" y="414"/>
                      <a:pt x="811" y="414"/>
                    </a:cubicBezTo>
                    <a:cubicBezTo>
                      <a:pt x="809" y="413"/>
                      <a:pt x="808" y="414"/>
                      <a:pt x="807" y="414"/>
                    </a:cubicBezTo>
                    <a:cubicBezTo>
                      <a:pt x="806" y="414"/>
                      <a:pt x="801" y="413"/>
                      <a:pt x="802" y="416"/>
                    </a:cubicBezTo>
                    <a:cubicBezTo>
                      <a:pt x="802" y="417"/>
                      <a:pt x="805" y="416"/>
                      <a:pt x="805" y="416"/>
                    </a:cubicBezTo>
                    <a:cubicBezTo>
                      <a:pt x="806" y="416"/>
                      <a:pt x="812" y="415"/>
                      <a:pt x="811" y="417"/>
                    </a:cubicBezTo>
                    <a:cubicBezTo>
                      <a:pt x="810" y="418"/>
                      <a:pt x="809" y="418"/>
                      <a:pt x="808" y="419"/>
                    </a:cubicBezTo>
                    <a:cubicBezTo>
                      <a:pt x="808" y="421"/>
                      <a:pt x="807" y="422"/>
                      <a:pt x="808" y="424"/>
                    </a:cubicBezTo>
                    <a:cubicBezTo>
                      <a:pt x="808" y="425"/>
                      <a:pt x="810" y="423"/>
                      <a:pt x="811" y="422"/>
                    </a:cubicBezTo>
                    <a:cubicBezTo>
                      <a:pt x="812" y="420"/>
                      <a:pt x="813" y="417"/>
                      <a:pt x="816" y="416"/>
                    </a:cubicBezTo>
                    <a:cubicBezTo>
                      <a:pt x="818" y="415"/>
                      <a:pt x="821" y="415"/>
                      <a:pt x="823" y="415"/>
                    </a:cubicBezTo>
                    <a:cubicBezTo>
                      <a:pt x="824" y="414"/>
                      <a:pt x="825" y="414"/>
                      <a:pt x="826" y="415"/>
                    </a:cubicBezTo>
                    <a:cubicBezTo>
                      <a:pt x="828" y="415"/>
                      <a:pt x="829" y="416"/>
                      <a:pt x="830" y="417"/>
                    </a:cubicBezTo>
                    <a:cubicBezTo>
                      <a:pt x="832" y="418"/>
                      <a:pt x="834" y="418"/>
                      <a:pt x="836" y="419"/>
                    </a:cubicBezTo>
                    <a:cubicBezTo>
                      <a:pt x="837" y="421"/>
                      <a:pt x="836" y="424"/>
                      <a:pt x="839" y="424"/>
                    </a:cubicBezTo>
                    <a:cubicBezTo>
                      <a:pt x="841" y="424"/>
                      <a:pt x="845" y="424"/>
                      <a:pt x="846" y="425"/>
                    </a:cubicBezTo>
                    <a:cubicBezTo>
                      <a:pt x="849" y="427"/>
                      <a:pt x="851" y="428"/>
                      <a:pt x="854" y="429"/>
                    </a:cubicBezTo>
                    <a:cubicBezTo>
                      <a:pt x="854" y="429"/>
                      <a:pt x="860" y="431"/>
                      <a:pt x="858" y="432"/>
                    </a:cubicBezTo>
                    <a:cubicBezTo>
                      <a:pt x="858" y="432"/>
                      <a:pt x="856" y="433"/>
                      <a:pt x="855" y="433"/>
                    </a:cubicBezTo>
                    <a:cubicBezTo>
                      <a:pt x="854" y="434"/>
                      <a:pt x="854" y="435"/>
                      <a:pt x="853" y="436"/>
                    </a:cubicBezTo>
                    <a:cubicBezTo>
                      <a:pt x="852" y="436"/>
                      <a:pt x="849" y="439"/>
                      <a:pt x="851" y="440"/>
                    </a:cubicBezTo>
                    <a:cubicBezTo>
                      <a:pt x="852" y="440"/>
                      <a:pt x="853" y="439"/>
                      <a:pt x="854" y="439"/>
                    </a:cubicBezTo>
                    <a:cubicBezTo>
                      <a:pt x="855" y="438"/>
                      <a:pt x="856" y="437"/>
                      <a:pt x="857" y="437"/>
                    </a:cubicBezTo>
                    <a:cubicBezTo>
                      <a:pt x="858" y="436"/>
                      <a:pt x="859" y="436"/>
                      <a:pt x="859" y="436"/>
                    </a:cubicBezTo>
                    <a:cubicBezTo>
                      <a:pt x="860" y="436"/>
                      <a:pt x="859" y="438"/>
                      <a:pt x="859" y="438"/>
                    </a:cubicBezTo>
                    <a:cubicBezTo>
                      <a:pt x="859" y="439"/>
                      <a:pt x="858" y="441"/>
                      <a:pt x="859" y="441"/>
                    </a:cubicBezTo>
                    <a:cubicBezTo>
                      <a:pt x="859" y="441"/>
                      <a:pt x="860" y="440"/>
                      <a:pt x="860" y="440"/>
                    </a:cubicBezTo>
                    <a:cubicBezTo>
                      <a:pt x="862" y="438"/>
                      <a:pt x="864" y="436"/>
                      <a:pt x="866" y="436"/>
                    </a:cubicBezTo>
                    <a:cubicBezTo>
                      <a:pt x="867" y="437"/>
                      <a:pt x="868" y="436"/>
                      <a:pt x="869" y="437"/>
                    </a:cubicBezTo>
                    <a:cubicBezTo>
                      <a:pt x="871" y="437"/>
                      <a:pt x="870" y="438"/>
                      <a:pt x="869" y="438"/>
                    </a:cubicBezTo>
                    <a:cubicBezTo>
                      <a:pt x="867" y="439"/>
                      <a:pt x="867" y="441"/>
                      <a:pt x="865" y="442"/>
                    </a:cubicBezTo>
                    <a:cubicBezTo>
                      <a:pt x="862" y="443"/>
                      <a:pt x="861" y="444"/>
                      <a:pt x="861" y="446"/>
                    </a:cubicBezTo>
                    <a:cubicBezTo>
                      <a:pt x="860" y="448"/>
                      <a:pt x="861" y="452"/>
                      <a:pt x="863" y="450"/>
                    </a:cubicBezTo>
                    <a:cubicBezTo>
                      <a:pt x="865" y="448"/>
                      <a:pt x="864" y="446"/>
                      <a:pt x="866" y="445"/>
                    </a:cubicBezTo>
                    <a:cubicBezTo>
                      <a:pt x="867" y="444"/>
                      <a:pt x="868" y="445"/>
                      <a:pt x="869" y="444"/>
                    </a:cubicBezTo>
                    <a:cubicBezTo>
                      <a:pt x="870" y="444"/>
                      <a:pt x="871" y="444"/>
                      <a:pt x="871" y="445"/>
                    </a:cubicBezTo>
                    <a:cubicBezTo>
                      <a:pt x="872" y="446"/>
                      <a:pt x="873" y="447"/>
                      <a:pt x="872" y="448"/>
                    </a:cubicBezTo>
                    <a:cubicBezTo>
                      <a:pt x="872" y="448"/>
                      <a:pt x="872" y="449"/>
                      <a:pt x="872" y="449"/>
                    </a:cubicBezTo>
                    <a:cubicBezTo>
                      <a:pt x="872" y="450"/>
                      <a:pt x="872" y="450"/>
                      <a:pt x="871" y="451"/>
                    </a:cubicBezTo>
                    <a:cubicBezTo>
                      <a:pt x="870" y="451"/>
                      <a:pt x="867" y="451"/>
                      <a:pt x="870" y="453"/>
                    </a:cubicBezTo>
                    <a:cubicBezTo>
                      <a:pt x="870" y="453"/>
                      <a:pt x="873" y="456"/>
                      <a:pt x="871" y="457"/>
                    </a:cubicBezTo>
                    <a:cubicBezTo>
                      <a:pt x="870" y="457"/>
                      <a:pt x="868" y="457"/>
                      <a:pt x="867" y="457"/>
                    </a:cubicBezTo>
                    <a:cubicBezTo>
                      <a:pt x="866" y="457"/>
                      <a:pt x="865" y="457"/>
                      <a:pt x="864" y="457"/>
                    </a:cubicBezTo>
                    <a:cubicBezTo>
                      <a:pt x="863" y="457"/>
                      <a:pt x="862" y="458"/>
                      <a:pt x="862" y="459"/>
                    </a:cubicBezTo>
                    <a:cubicBezTo>
                      <a:pt x="862" y="459"/>
                      <a:pt x="864" y="459"/>
                      <a:pt x="865" y="459"/>
                    </a:cubicBezTo>
                    <a:cubicBezTo>
                      <a:pt x="866" y="459"/>
                      <a:pt x="867" y="459"/>
                      <a:pt x="868" y="459"/>
                    </a:cubicBezTo>
                    <a:cubicBezTo>
                      <a:pt x="869" y="458"/>
                      <a:pt x="869" y="458"/>
                      <a:pt x="870" y="458"/>
                    </a:cubicBezTo>
                    <a:cubicBezTo>
                      <a:pt x="871" y="458"/>
                      <a:pt x="872" y="458"/>
                      <a:pt x="872" y="459"/>
                    </a:cubicBezTo>
                    <a:cubicBezTo>
                      <a:pt x="873" y="459"/>
                      <a:pt x="873" y="460"/>
                      <a:pt x="872" y="460"/>
                    </a:cubicBezTo>
                    <a:cubicBezTo>
                      <a:pt x="872" y="460"/>
                      <a:pt x="868" y="461"/>
                      <a:pt x="870" y="461"/>
                    </a:cubicBezTo>
                    <a:cubicBezTo>
                      <a:pt x="871" y="462"/>
                      <a:pt x="872" y="462"/>
                      <a:pt x="873" y="462"/>
                    </a:cubicBezTo>
                    <a:cubicBezTo>
                      <a:pt x="875" y="462"/>
                      <a:pt x="877" y="463"/>
                      <a:pt x="875" y="464"/>
                    </a:cubicBezTo>
                    <a:cubicBezTo>
                      <a:pt x="874" y="464"/>
                      <a:pt x="873" y="465"/>
                      <a:pt x="873" y="465"/>
                    </a:cubicBezTo>
                    <a:cubicBezTo>
                      <a:pt x="872" y="465"/>
                      <a:pt x="871" y="465"/>
                      <a:pt x="870" y="465"/>
                    </a:cubicBezTo>
                    <a:cubicBezTo>
                      <a:pt x="868" y="466"/>
                      <a:pt x="871" y="468"/>
                      <a:pt x="872" y="468"/>
                    </a:cubicBezTo>
                    <a:cubicBezTo>
                      <a:pt x="873" y="468"/>
                      <a:pt x="874" y="468"/>
                      <a:pt x="874" y="469"/>
                    </a:cubicBezTo>
                    <a:cubicBezTo>
                      <a:pt x="875" y="471"/>
                      <a:pt x="875" y="471"/>
                      <a:pt x="875" y="472"/>
                    </a:cubicBezTo>
                    <a:cubicBezTo>
                      <a:pt x="876" y="473"/>
                      <a:pt x="874" y="473"/>
                      <a:pt x="874" y="473"/>
                    </a:cubicBezTo>
                    <a:cubicBezTo>
                      <a:pt x="873" y="474"/>
                      <a:pt x="874" y="475"/>
                      <a:pt x="874" y="476"/>
                    </a:cubicBezTo>
                    <a:cubicBezTo>
                      <a:pt x="876" y="478"/>
                      <a:pt x="873" y="478"/>
                      <a:pt x="871" y="479"/>
                    </a:cubicBezTo>
                    <a:cubicBezTo>
                      <a:pt x="870" y="479"/>
                      <a:pt x="869" y="479"/>
                      <a:pt x="868" y="478"/>
                    </a:cubicBezTo>
                    <a:cubicBezTo>
                      <a:pt x="867" y="478"/>
                      <a:pt x="866" y="477"/>
                      <a:pt x="865" y="477"/>
                    </a:cubicBezTo>
                    <a:cubicBezTo>
                      <a:pt x="864" y="477"/>
                      <a:pt x="863" y="476"/>
                      <a:pt x="863" y="475"/>
                    </a:cubicBezTo>
                    <a:cubicBezTo>
                      <a:pt x="862" y="473"/>
                      <a:pt x="862" y="472"/>
                      <a:pt x="862" y="471"/>
                    </a:cubicBezTo>
                    <a:cubicBezTo>
                      <a:pt x="862" y="469"/>
                      <a:pt x="862" y="468"/>
                      <a:pt x="862" y="467"/>
                    </a:cubicBezTo>
                    <a:cubicBezTo>
                      <a:pt x="862" y="466"/>
                      <a:pt x="861" y="465"/>
                      <a:pt x="861" y="464"/>
                    </a:cubicBezTo>
                    <a:cubicBezTo>
                      <a:pt x="859" y="462"/>
                      <a:pt x="859" y="467"/>
                      <a:pt x="859" y="468"/>
                    </a:cubicBezTo>
                    <a:cubicBezTo>
                      <a:pt x="860" y="470"/>
                      <a:pt x="858" y="473"/>
                      <a:pt x="857" y="475"/>
                    </a:cubicBezTo>
                    <a:cubicBezTo>
                      <a:pt x="857" y="476"/>
                      <a:pt x="856" y="476"/>
                      <a:pt x="855" y="476"/>
                    </a:cubicBezTo>
                    <a:cubicBezTo>
                      <a:pt x="853" y="476"/>
                      <a:pt x="852" y="475"/>
                      <a:pt x="850" y="476"/>
                    </a:cubicBezTo>
                    <a:cubicBezTo>
                      <a:pt x="847" y="477"/>
                      <a:pt x="845" y="476"/>
                      <a:pt x="843" y="474"/>
                    </a:cubicBezTo>
                    <a:cubicBezTo>
                      <a:pt x="840" y="473"/>
                      <a:pt x="838" y="472"/>
                      <a:pt x="835" y="471"/>
                    </a:cubicBezTo>
                    <a:cubicBezTo>
                      <a:pt x="834" y="470"/>
                      <a:pt x="834" y="468"/>
                      <a:pt x="833" y="467"/>
                    </a:cubicBezTo>
                    <a:cubicBezTo>
                      <a:pt x="832" y="466"/>
                      <a:pt x="832" y="465"/>
                      <a:pt x="832" y="464"/>
                    </a:cubicBezTo>
                    <a:cubicBezTo>
                      <a:pt x="832" y="461"/>
                      <a:pt x="832" y="459"/>
                      <a:pt x="830" y="457"/>
                    </a:cubicBezTo>
                    <a:cubicBezTo>
                      <a:pt x="828" y="455"/>
                      <a:pt x="826" y="454"/>
                      <a:pt x="825" y="452"/>
                    </a:cubicBezTo>
                    <a:cubicBezTo>
                      <a:pt x="824" y="451"/>
                      <a:pt x="825" y="450"/>
                      <a:pt x="825" y="449"/>
                    </a:cubicBezTo>
                    <a:cubicBezTo>
                      <a:pt x="825" y="448"/>
                      <a:pt x="824" y="447"/>
                      <a:pt x="823" y="448"/>
                    </a:cubicBezTo>
                    <a:cubicBezTo>
                      <a:pt x="821" y="449"/>
                      <a:pt x="818" y="450"/>
                      <a:pt x="815" y="449"/>
                    </a:cubicBezTo>
                    <a:cubicBezTo>
                      <a:pt x="814" y="448"/>
                      <a:pt x="813" y="447"/>
                      <a:pt x="813" y="447"/>
                    </a:cubicBezTo>
                    <a:cubicBezTo>
                      <a:pt x="811" y="446"/>
                      <a:pt x="811" y="445"/>
                      <a:pt x="810" y="444"/>
                    </a:cubicBezTo>
                    <a:cubicBezTo>
                      <a:pt x="808" y="442"/>
                      <a:pt x="805" y="441"/>
                      <a:pt x="803" y="441"/>
                    </a:cubicBezTo>
                    <a:cubicBezTo>
                      <a:pt x="801" y="441"/>
                      <a:pt x="800" y="440"/>
                      <a:pt x="798" y="440"/>
                    </a:cubicBezTo>
                    <a:cubicBezTo>
                      <a:pt x="797" y="440"/>
                      <a:pt x="795" y="440"/>
                      <a:pt x="794" y="440"/>
                    </a:cubicBezTo>
                    <a:cubicBezTo>
                      <a:pt x="791" y="440"/>
                      <a:pt x="789" y="442"/>
                      <a:pt x="786" y="441"/>
                    </a:cubicBezTo>
                    <a:cubicBezTo>
                      <a:pt x="784" y="439"/>
                      <a:pt x="783" y="436"/>
                      <a:pt x="780" y="435"/>
                    </a:cubicBezTo>
                    <a:cubicBezTo>
                      <a:pt x="778" y="434"/>
                      <a:pt x="776" y="433"/>
                      <a:pt x="774" y="431"/>
                    </a:cubicBezTo>
                    <a:cubicBezTo>
                      <a:pt x="772" y="429"/>
                      <a:pt x="770" y="429"/>
                      <a:pt x="767" y="429"/>
                    </a:cubicBezTo>
                    <a:cubicBezTo>
                      <a:pt x="764" y="428"/>
                      <a:pt x="761" y="427"/>
                      <a:pt x="759" y="426"/>
                    </a:cubicBezTo>
                    <a:cubicBezTo>
                      <a:pt x="758" y="425"/>
                      <a:pt x="756" y="424"/>
                      <a:pt x="755" y="425"/>
                    </a:cubicBezTo>
                    <a:cubicBezTo>
                      <a:pt x="753" y="426"/>
                      <a:pt x="758" y="428"/>
                      <a:pt x="758" y="428"/>
                    </a:cubicBezTo>
                    <a:cubicBezTo>
                      <a:pt x="759" y="428"/>
                      <a:pt x="759" y="429"/>
                      <a:pt x="758" y="430"/>
                    </a:cubicBezTo>
                    <a:cubicBezTo>
                      <a:pt x="758" y="431"/>
                      <a:pt x="760" y="431"/>
                      <a:pt x="760" y="431"/>
                    </a:cubicBezTo>
                    <a:cubicBezTo>
                      <a:pt x="762" y="431"/>
                      <a:pt x="764" y="431"/>
                      <a:pt x="766" y="432"/>
                    </a:cubicBezTo>
                    <a:cubicBezTo>
                      <a:pt x="769" y="432"/>
                      <a:pt x="770" y="434"/>
                      <a:pt x="772" y="436"/>
                    </a:cubicBezTo>
                    <a:cubicBezTo>
                      <a:pt x="773" y="436"/>
                      <a:pt x="776" y="437"/>
                      <a:pt x="776" y="438"/>
                    </a:cubicBezTo>
                    <a:cubicBezTo>
                      <a:pt x="775" y="440"/>
                      <a:pt x="771" y="437"/>
                      <a:pt x="770" y="438"/>
                    </a:cubicBezTo>
                    <a:cubicBezTo>
                      <a:pt x="769" y="438"/>
                      <a:pt x="768" y="439"/>
                      <a:pt x="767" y="439"/>
                    </a:cubicBezTo>
                    <a:cubicBezTo>
                      <a:pt x="765" y="440"/>
                      <a:pt x="764" y="440"/>
                      <a:pt x="763" y="440"/>
                    </a:cubicBezTo>
                    <a:cubicBezTo>
                      <a:pt x="762" y="440"/>
                      <a:pt x="761" y="440"/>
                      <a:pt x="760" y="441"/>
                    </a:cubicBezTo>
                    <a:cubicBezTo>
                      <a:pt x="759" y="441"/>
                      <a:pt x="757" y="442"/>
                      <a:pt x="758" y="443"/>
                    </a:cubicBezTo>
                    <a:cubicBezTo>
                      <a:pt x="761" y="443"/>
                      <a:pt x="762" y="442"/>
                      <a:pt x="764" y="441"/>
                    </a:cubicBezTo>
                    <a:cubicBezTo>
                      <a:pt x="767" y="440"/>
                      <a:pt x="770" y="441"/>
                      <a:pt x="773" y="441"/>
                    </a:cubicBezTo>
                    <a:cubicBezTo>
                      <a:pt x="776" y="441"/>
                      <a:pt x="778" y="441"/>
                      <a:pt x="779" y="443"/>
                    </a:cubicBezTo>
                    <a:cubicBezTo>
                      <a:pt x="779" y="444"/>
                      <a:pt x="780" y="445"/>
                      <a:pt x="781" y="445"/>
                    </a:cubicBezTo>
                    <a:cubicBezTo>
                      <a:pt x="782" y="445"/>
                      <a:pt x="782" y="444"/>
                      <a:pt x="783" y="444"/>
                    </a:cubicBezTo>
                    <a:cubicBezTo>
                      <a:pt x="786" y="443"/>
                      <a:pt x="788" y="446"/>
                      <a:pt x="790" y="446"/>
                    </a:cubicBezTo>
                    <a:cubicBezTo>
                      <a:pt x="792" y="446"/>
                      <a:pt x="793" y="445"/>
                      <a:pt x="794" y="445"/>
                    </a:cubicBezTo>
                    <a:cubicBezTo>
                      <a:pt x="796" y="445"/>
                      <a:pt x="798" y="445"/>
                      <a:pt x="800" y="445"/>
                    </a:cubicBezTo>
                    <a:cubicBezTo>
                      <a:pt x="802" y="444"/>
                      <a:pt x="804" y="444"/>
                      <a:pt x="806" y="447"/>
                    </a:cubicBezTo>
                    <a:cubicBezTo>
                      <a:pt x="807" y="447"/>
                      <a:pt x="810" y="452"/>
                      <a:pt x="808" y="452"/>
                    </a:cubicBezTo>
                    <a:cubicBezTo>
                      <a:pt x="807" y="452"/>
                      <a:pt x="806" y="451"/>
                      <a:pt x="805" y="451"/>
                    </a:cubicBezTo>
                    <a:cubicBezTo>
                      <a:pt x="804" y="451"/>
                      <a:pt x="803" y="452"/>
                      <a:pt x="805" y="453"/>
                    </a:cubicBezTo>
                    <a:cubicBezTo>
                      <a:pt x="805" y="453"/>
                      <a:pt x="806" y="454"/>
                      <a:pt x="806" y="455"/>
                    </a:cubicBezTo>
                    <a:cubicBezTo>
                      <a:pt x="805" y="456"/>
                      <a:pt x="804" y="456"/>
                      <a:pt x="803" y="456"/>
                    </a:cubicBezTo>
                    <a:cubicBezTo>
                      <a:pt x="802" y="455"/>
                      <a:pt x="800" y="455"/>
                      <a:pt x="799" y="457"/>
                    </a:cubicBezTo>
                    <a:cubicBezTo>
                      <a:pt x="798" y="458"/>
                      <a:pt x="797" y="458"/>
                      <a:pt x="796" y="459"/>
                    </a:cubicBezTo>
                    <a:cubicBezTo>
                      <a:pt x="794" y="459"/>
                      <a:pt x="793" y="459"/>
                      <a:pt x="792" y="460"/>
                    </a:cubicBezTo>
                    <a:cubicBezTo>
                      <a:pt x="790" y="461"/>
                      <a:pt x="787" y="461"/>
                      <a:pt x="785" y="461"/>
                    </a:cubicBezTo>
                    <a:cubicBezTo>
                      <a:pt x="782" y="461"/>
                      <a:pt x="779" y="461"/>
                      <a:pt x="776" y="460"/>
                    </a:cubicBezTo>
                    <a:cubicBezTo>
                      <a:pt x="774" y="460"/>
                      <a:pt x="774" y="458"/>
                      <a:pt x="772" y="456"/>
                    </a:cubicBezTo>
                    <a:cubicBezTo>
                      <a:pt x="771" y="456"/>
                      <a:pt x="771" y="455"/>
                      <a:pt x="770" y="455"/>
                    </a:cubicBezTo>
                    <a:cubicBezTo>
                      <a:pt x="769" y="455"/>
                      <a:pt x="767" y="455"/>
                      <a:pt x="767" y="456"/>
                    </a:cubicBezTo>
                    <a:cubicBezTo>
                      <a:pt x="768" y="457"/>
                      <a:pt x="770" y="457"/>
                      <a:pt x="770" y="459"/>
                    </a:cubicBezTo>
                    <a:cubicBezTo>
                      <a:pt x="770" y="460"/>
                      <a:pt x="769" y="460"/>
                      <a:pt x="768" y="460"/>
                    </a:cubicBezTo>
                    <a:cubicBezTo>
                      <a:pt x="766" y="460"/>
                      <a:pt x="765" y="459"/>
                      <a:pt x="764" y="460"/>
                    </a:cubicBezTo>
                    <a:cubicBezTo>
                      <a:pt x="763" y="461"/>
                      <a:pt x="762" y="460"/>
                      <a:pt x="761" y="460"/>
                    </a:cubicBezTo>
                    <a:cubicBezTo>
                      <a:pt x="760" y="460"/>
                      <a:pt x="759" y="460"/>
                      <a:pt x="759" y="460"/>
                    </a:cubicBezTo>
                    <a:cubicBezTo>
                      <a:pt x="759" y="461"/>
                      <a:pt x="760" y="462"/>
                      <a:pt x="760" y="462"/>
                    </a:cubicBezTo>
                    <a:cubicBezTo>
                      <a:pt x="762" y="462"/>
                      <a:pt x="763" y="462"/>
                      <a:pt x="764" y="462"/>
                    </a:cubicBezTo>
                    <a:cubicBezTo>
                      <a:pt x="765" y="463"/>
                      <a:pt x="766" y="463"/>
                      <a:pt x="766" y="464"/>
                    </a:cubicBezTo>
                    <a:cubicBezTo>
                      <a:pt x="766" y="465"/>
                      <a:pt x="765" y="466"/>
                      <a:pt x="765" y="466"/>
                    </a:cubicBezTo>
                    <a:cubicBezTo>
                      <a:pt x="764" y="467"/>
                      <a:pt x="764" y="468"/>
                      <a:pt x="764" y="469"/>
                    </a:cubicBezTo>
                    <a:cubicBezTo>
                      <a:pt x="763" y="470"/>
                      <a:pt x="762" y="471"/>
                      <a:pt x="761" y="472"/>
                    </a:cubicBezTo>
                    <a:cubicBezTo>
                      <a:pt x="759" y="473"/>
                      <a:pt x="756" y="473"/>
                      <a:pt x="754" y="473"/>
                    </a:cubicBezTo>
                    <a:cubicBezTo>
                      <a:pt x="753" y="474"/>
                      <a:pt x="752" y="474"/>
                      <a:pt x="751" y="475"/>
                    </a:cubicBezTo>
                    <a:cubicBezTo>
                      <a:pt x="749" y="476"/>
                      <a:pt x="748" y="476"/>
                      <a:pt x="747" y="477"/>
                    </a:cubicBezTo>
                    <a:cubicBezTo>
                      <a:pt x="746" y="477"/>
                      <a:pt x="746" y="478"/>
                      <a:pt x="747" y="478"/>
                    </a:cubicBezTo>
                    <a:cubicBezTo>
                      <a:pt x="748" y="478"/>
                      <a:pt x="750" y="478"/>
                      <a:pt x="751" y="477"/>
                    </a:cubicBezTo>
                    <a:cubicBezTo>
                      <a:pt x="754" y="476"/>
                      <a:pt x="756" y="475"/>
                      <a:pt x="759" y="475"/>
                    </a:cubicBezTo>
                    <a:cubicBezTo>
                      <a:pt x="760" y="475"/>
                      <a:pt x="761" y="475"/>
                      <a:pt x="761" y="476"/>
                    </a:cubicBezTo>
                    <a:cubicBezTo>
                      <a:pt x="761" y="476"/>
                      <a:pt x="760" y="478"/>
                      <a:pt x="761" y="478"/>
                    </a:cubicBezTo>
                    <a:cubicBezTo>
                      <a:pt x="763" y="479"/>
                      <a:pt x="767" y="479"/>
                      <a:pt x="769" y="478"/>
                    </a:cubicBezTo>
                    <a:cubicBezTo>
                      <a:pt x="771" y="478"/>
                      <a:pt x="772" y="478"/>
                      <a:pt x="773" y="477"/>
                    </a:cubicBezTo>
                    <a:cubicBezTo>
                      <a:pt x="774" y="477"/>
                      <a:pt x="776" y="477"/>
                      <a:pt x="777" y="477"/>
                    </a:cubicBezTo>
                    <a:cubicBezTo>
                      <a:pt x="780" y="477"/>
                      <a:pt x="783" y="476"/>
                      <a:pt x="786" y="476"/>
                    </a:cubicBezTo>
                    <a:cubicBezTo>
                      <a:pt x="788" y="476"/>
                      <a:pt x="795" y="475"/>
                      <a:pt x="794" y="479"/>
                    </a:cubicBezTo>
                    <a:cubicBezTo>
                      <a:pt x="793" y="481"/>
                      <a:pt x="791" y="482"/>
                      <a:pt x="789" y="481"/>
                    </a:cubicBezTo>
                    <a:cubicBezTo>
                      <a:pt x="788" y="481"/>
                      <a:pt x="787" y="481"/>
                      <a:pt x="785" y="480"/>
                    </a:cubicBezTo>
                    <a:cubicBezTo>
                      <a:pt x="784" y="480"/>
                      <a:pt x="782" y="481"/>
                      <a:pt x="781" y="481"/>
                    </a:cubicBezTo>
                    <a:cubicBezTo>
                      <a:pt x="779" y="482"/>
                      <a:pt x="777" y="484"/>
                      <a:pt x="774" y="485"/>
                    </a:cubicBezTo>
                    <a:cubicBezTo>
                      <a:pt x="772" y="486"/>
                      <a:pt x="769" y="487"/>
                      <a:pt x="766" y="487"/>
                    </a:cubicBezTo>
                    <a:cubicBezTo>
                      <a:pt x="764" y="486"/>
                      <a:pt x="761" y="485"/>
                      <a:pt x="759" y="486"/>
                    </a:cubicBezTo>
                    <a:cubicBezTo>
                      <a:pt x="758" y="486"/>
                      <a:pt x="756" y="487"/>
                      <a:pt x="757" y="488"/>
                    </a:cubicBezTo>
                    <a:cubicBezTo>
                      <a:pt x="758" y="489"/>
                      <a:pt x="759" y="488"/>
                      <a:pt x="760" y="488"/>
                    </a:cubicBezTo>
                    <a:cubicBezTo>
                      <a:pt x="763" y="488"/>
                      <a:pt x="766" y="488"/>
                      <a:pt x="769" y="489"/>
                    </a:cubicBezTo>
                    <a:cubicBezTo>
                      <a:pt x="771" y="490"/>
                      <a:pt x="774" y="492"/>
                      <a:pt x="777" y="490"/>
                    </a:cubicBezTo>
                    <a:cubicBezTo>
                      <a:pt x="779" y="489"/>
                      <a:pt x="781" y="487"/>
                      <a:pt x="784" y="486"/>
                    </a:cubicBezTo>
                    <a:cubicBezTo>
                      <a:pt x="787" y="485"/>
                      <a:pt x="790" y="486"/>
                      <a:pt x="792" y="485"/>
                    </a:cubicBezTo>
                    <a:cubicBezTo>
                      <a:pt x="795" y="484"/>
                      <a:pt x="797" y="483"/>
                      <a:pt x="800" y="482"/>
                    </a:cubicBezTo>
                    <a:cubicBezTo>
                      <a:pt x="803" y="481"/>
                      <a:pt x="806" y="480"/>
                      <a:pt x="809" y="479"/>
                    </a:cubicBezTo>
                    <a:cubicBezTo>
                      <a:pt x="812" y="479"/>
                      <a:pt x="814" y="478"/>
                      <a:pt x="817" y="479"/>
                    </a:cubicBezTo>
                    <a:cubicBezTo>
                      <a:pt x="820" y="481"/>
                      <a:pt x="822" y="482"/>
                      <a:pt x="825" y="483"/>
                    </a:cubicBezTo>
                    <a:cubicBezTo>
                      <a:pt x="831" y="485"/>
                      <a:pt x="837" y="485"/>
                      <a:pt x="843" y="485"/>
                    </a:cubicBezTo>
                    <a:cubicBezTo>
                      <a:pt x="849" y="484"/>
                      <a:pt x="855" y="486"/>
                      <a:pt x="862" y="486"/>
                    </a:cubicBezTo>
                    <a:cubicBezTo>
                      <a:pt x="863" y="486"/>
                      <a:pt x="864" y="486"/>
                      <a:pt x="866" y="485"/>
                    </a:cubicBezTo>
                    <a:cubicBezTo>
                      <a:pt x="866" y="485"/>
                      <a:pt x="868" y="485"/>
                      <a:pt x="868" y="486"/>
                    </a:cubicBezTo>
                    <a:cubicBezTo>
                      <a:pt x="866" y="488"/>
                      <a:pt x="863" y="489"/>
                      <a:pt x="861" y="490"/>
                    </a:cubicBezTo>
                    <a:cubicBezTo>
                      <a:pt x="859" y="491"/>
                      <a:pt x="857" y="493"/>
                      <a:pt x="854" y="493"/>
                    </a:cubicBezTo>
                    <a:cubicBezTo>
                      <a:pt x="852" y="494"/>
                      <a:pt x="849" y="493"/>
                      <a:pt x="846" y="495"/>
                    </a:cubicBezTo>
                    <a:cubicBezTo>
                      <a:pt x="845" y="495"/>
                      <a:pt x="845" y="496"/>
                      <a:pt x="844" y="497"/>
                    </a:cubicBezTo>
                    <a:cubicBezTo>
                      <a:pt x="843" y="498"/>
                      <a:pt x="842" y="498"/>
                      <a:pt x="841" y="498"/>
                    </a:cubicBezTo>
                    <a:cubicBezTo>
                      <a:pt x="839" y="498"/>
                      <a:pt x="838" y="497"/>
                      <a:pt x="836" y="497"/>
                    </a:cubicBezTo>
                    <a:cubicBezTo>
                      <a:pt x="835" y="497"/>
                      <a:pt x="835" y="499"/>
                      <a:pt x="836" y="499"/>
                    </a:cubicBezTo>
                    <a:cubicBezTo>
                      <a:pt x="838" y="500"/>
                      <a:pt x="839" y="502"/>
                      <a:pt x="837" y="503"/>
                    </a:cubicBezTo>
                    <a:cubicBezTo>
                      <a:pt x="836" y="505"/>
                      <a:pt x="833" y="504"/>
                      <a:pt x="831" y="503"/>
                    </a:cubicBezTo>
                    <a:cubicBezTo>
                      <a:pt x="830" y="503"/>
                      <a:pt x="829" y="502"/>
                      <a:pt x="828" y="502"/>
                    </a:cubicBezTo>
                    <a:cubicBezTo>
                      <a:pt x="827" y="502"/>
                      <a:pt x="827" y="503"/>
                      <a:pt x="828" y="503"/>
                    </a:cubicBezTo>
                    <a:cubicBezTo>
                      <a:pt x="829" y="504"/>
                      <a:pt x="832" y="506"/>
                      <a:pt x="830" y="508"/>
                    </a:cubicBezTo>
                    <a:cubicBezTo>
                      <a:pt x="829" y="509"/>
                      <a:pt x="826" y="509"/>
                      <a:pt x="824" y="508"/>
                    </a:cubicBezTo>
                    <a:cubicBezTo>
                      <a:pt x="823" y="508"/>
                      <a:pt x="822" y="507"/>
                      <a:pt x="821" y="507"/>
                    </a:cubicBezTo>
                    <a:cubicBezTo>
                      <a:pt x="820" y="508"/>
                      <a:pt x="821" y="509"/>
                      <a:pt x="822" y="509"/>
                    </a:cubicBezTo>
                    <a:cubicBezTo>
                      <a:pt x="824" y="511"/>
                      <a:pt x="821" y="512"/>
                      <a:pt x="819" y="512"/>
                    </a:cubicBezTo>
                    <a:cubicBezTo>
                      <a:pt x="818" y="512"/>
                      <a:pt x="814" y="511"/>
                      <a:pt x="813" y="513"/>
                    </a:cubicBezTo>
                    <a:cubicBezTo>
                      <a:pt x="812" y="514"/>
                      <a:pt x="813" y="515"/>
                      <a:pt x="813" y="516"/>
                    </a:cubicBezTo>
                    <a:cubicBezTo>
                      <a:pt x="813" y="516"/>
                      <a:pt x="812" y="517"/>
                      <a:pt x="812" y="518"/>
                    </a:cubicBezTo>
                    <a:cubicBezTo>
                      <a:pt x="810" y="520"/>
                      <a:pt x="808" y="517"/>
                      <a:pt x="807" y="518"/>
                    </a:cubicBezTo>
                    <a:cubicBezTo>
                      <a:pt x="806" y="518"/>
                      <a:pt x="806" y="520"/>
                      <a:pt x="806" y="520"/>
                    </a:cubicBezTo>
                    <a:cubicBezTo>
                      <a:pt x="806" y="521"/>
                      <a:pt x="805" y="522"/>
                      <a:pt x="804" y="523"/>
                    </a:cubicBezTo>
                    <a:cubicBezTo>
                      <a:pt x="803" y="524"/>
                      <a:pt x="803" y="525"/>
                      <a:pt x="801" y="526"/>
                    </a:cubicBezTo>
                    <a:cubicBezTo>
                      <a:pt x="800" y="527"/>
                      <a:pt x="799" y="527"/>
                      <a:pt x="797" y="527"/>
                    </a:cubicBezTo>
                    <a:cubicBezTo>
                      <a:pt x="796" y="527"/>
                      <a:pt x="794" y="528"/>
                      <a:pt x="793" y="528"/>
                    </a:cubicBezTo>
                    <a:cubicBezTo>
                      <a:pt x="792" y="529"/>
                      <a:pt x="791" y="529"/>
                      <a:pt x="789" y="530"/>
                    </a:cubicBezTo>
                    <a:cubicBezTo>
                      <a:pt x="786" y="530"/>
                      <a:pt x="784" y="532"/>
                      <a:pt x="781" y="533"/>
                    </a:cubicBezTo>
                    <a:cubicBezTo>
                      <a:pt x="779" y="533"/>
                      <a:pt x="776" y="535"/>
                      <a:pt x="774" y="535"/>
                    </a:cubicBezTo>
                    <a:cubicBezTo>
                      <a:pt x="772" y="535"/>
                      <a:pt x="771" y="535"/>
                      <a:pt x="770" y="534"/>
                    </a:cubicBezTo>
                    <a:cubicBezTo>
                      <a:pt x="769" y="534"/>
                      <a:pt x="768" y="533"/>
                      <a:pt x="767" y="533"/>
                    </a:cubicBezTo>
                    <a:cubicBezTo>
                      <a:pt x="766" y="533"/>
                      <a:pt x="765" y="534"/>
                      <a:pt x="764" y="534"/>
                    </a:cubicBezTo>
                    <a:cubicBezTo>
                      <a:pt x="763" y="535"/>
                      <a:pt x="761" y="536"/>
                      <a:pt x="760" y="536"/>
                    </a:cubicBezTo>
                    <a:cubicBezTo>
                      <a:pt x="758" y="537"/>
                      <a:pt x="755" y="539"/>
                      <a:pt x="753" y="540"/>
                    </a:cubicBezTo>
                    <a:cubicBezTo>
                      <a:pt x="752" y="540"/>
                      <a:pt x="751" y="540"/>
                      <a:pt x="750" y="539"/>
                    </a:cubicBezTo>
                    <a:cubicBezTo>
                      <a:pt x="749" y="538"/>
                      <a:pt x="748" y="538"/>
                      <a:pt x="747" y="538"/>
                    </a:cubicBezTo>
                    <a:cubicBezTo>
                      <a:pt x="746" y="538"/>
                      <a:pt x="745" y="539"/>
                      <a:pt x="745" y="539"/>
                    </a:cubicBezTo>
                    <a:cubicBezTo>
                      <a:pt x="744" y="540"/>
                      <a:pt x="744" y="542"/>
                      <a:pt x="743" y="543"/>
                    </a:cubicBezTo>
                    <a:cubicBezTo>
                      <a:pt x="742" y="544"/>
                      <a:pt x="738" y="541"/>
                      <a:pt x="737" y="540"/>
                    </a:cubicBezTo>
                    <a:cubicBezTo>
                      <a:pt x="736" y="539"/>
                      <a:pt x="736" y="538"/>
                      <a:pt x="735" y="537"/>
                    </a:cubicBezTo>
                    <a:cubicBezTo>
                      <a:pt x="734" y="536"/>
                      <a:pt x="733" y="537"/>
                      <a:pt x="733" y="538"/>
                    </a:cubicBezTo>
                    <a:cubicBezTo>
                      <a:pt x="732" y="539"/>
                      <a:pt x="731" y="539"/>
                      <a:pt x="730" y="540"/>
                    </a:cubicBezTo>
                    <a:cubicBezTo>
                      <a:pt x="730" y="540"/>
                      <a:pt x="729" y="540"/>
                      <a:pt x="728" y="541"/>
                    </a:cubicBezTo>
                    <a:cubicBezTo>
                      <a:pt x="726" y="542"/>
                      <a:pt x="728" y="543"/>
                      <a:pt x="729" y="544"/>
                    </a:cubicBezTo>
                    <a:cubicBezTo>
                      <a:pt x="730" y="544"/>
                      <a:pt x="730" y="545"/>
                      <a:pt x="729" y="546"/>
                    </a:cubicBezTo>
                    <a:cubicBezTo>
                      <a:pt x="728" y="546"/>
                      <a:pt x="728" y="546"/>
                      <a:pt x="727" y="545"/>
                    </a:cubicBezTo>
                    <a:cubicBezTo>
                      <a:pt x="726" y="545"/>
                      <a:pt x="726" y="544"/>
                      <a:pt x="725" y="543"/>
                    </a:cubicBezTo>
                    <a:cubicBezTo>
                      <a:pt x="724" y="543"/>
                      <a:pt x="723" y="543"/>
                      <a:pt x="722" y="543"/>
                    </a:cubicBezTo>
                    <a:cubicBezTo>
                      <a:pt x="721" y="542"/>
                      <a:pt x="718" y="541"/>
                      <a:pt x="718" y="543"/>
                    </a:cubicBezTo>
                    <a:cubicBezTo>
                      <a:pt x="718" y="543"/>
                      <a:pt x="720" y="545"/>
                      <a:pt x="720" y="545"/>
                    </a:cubicBezTo>
                    <a:cubicBezTo>
                      <a:pt x="719" y="546"/>
                      <a:pt x="718" y="546"/>
                      <a:pt x="717" y="546"/>
                    </a:cubicBezTo>
                    <a:cubicBezTo>
                      <a:pt x="716" y="547"/>
                      <a:pt x="716" y="548"/>
                      <a:pt x="714" y="548"/>
                    </a:cubicBezTo>
                    <a:cubicBezTo>
                      <a:pt x="713" y="548"/>
                      <a:pt x="711" y="547"/>
                      <a:pt x="709" y="547"/>
                    </a:cubicBezTo>
                    <a:cubicBezTo>
                      <a:pt x="708" y="547"/>
                      <a:pt x="706" y="547"/>
                      <a:pt x="705" y="547"/>
                    </a:cubicBezTo>
                    <a:cubicBezTo>
                      <a:pt x="704" y="547"/>
                      <a:pt x="704" y="545"/>
                      <a:pt x="705" y="545"/>
                    </a:cubicBezTo>
                    <a:cubicBezTo>
                      <a:pt x="706" y="544"/>
                      <a:pt x="707" y="544"/>
                      <a:pt x="707" y="543"/>
                    </a:cubicBezTo>
                    <a:cubicBezTo>
                      <a:pt x="707" y="542"/>
                      <a:pt x="707" y="542"/>
                      <a:pt x="706" y="542"/>
                    </a:cubicBezTo>
                    <a:cubicBezTo>
                      <a:pt x="704" y="543"/>
                      <a:pt x="701" y="543"/>
                      <a:pt x="699" y="541"/>
                    </a:cubicBezTo>
                    <a:cubicBezTo>
                      <a:pt x="698" y="540"/>
                      <a:pt x="697" y="540"/>
                      <a:pt x="696" y="539"/>
                    </a:cubicBezTo>
                    <a:cubicBezTo>
                      <a:pt x="696" y="537"/>
                      <a:pt x="695" y="537"/>
                      <a:pt x="694" y="536"/>
                    </a:cubicBezTo>
                    <a:cubicBezTo>
                      <a:pt x="693" y="534"/>
                      <a:pt x="692" y="531"/>
                      <a:pt x="690" y="531"/>
                    </a:cubicBezTo>
                    <a:cubicBezTo>
                      <a:pt x="689" y="531"/>
                      <a:pt x="689" y="537"/>
                      <a:pt x="690" y="537"/>
                    </a:cubicBezTo>
                    <a:cubicBezTo>
                      <a:pt x="690" y="538"/>
                      <a:pt x="695" y="540"/>
                      <a:pt x="694" y="541"/>
                    </a:cubicBezTo>
                    <a:cubicBezTo>
                      <a:pt x="694" y="541"/>
                      <a:pt x="689" y="544"/>
                      <a:pt x="691" y="544"/>
                    </a:cubicBezTo>
                    <a:cubicBezTo>
                      <a:pt x="692" y="545"/>
                      <a:pt x="695" y="544"/>
                      <a:pt x="696" y="546"/>
                    </a:cubicBezTo>
                    <a:cubicBezTo>
                      <a:pt x="697" y="546"/>
                      <a:pt x="697" y="547"/>
                      <a:pt x="696" y="547"/>
                    </a:cubicBezTo>
                    <a:cubicBezTo>
                      <a:pt x="695" y="548"/>
                      <a:pt x="695" y="549"/>
                      <a:pt x="695" y="550"/>
                    </a:cubicBezTo>
                    <a:cubicBezTo>
                      <a:pt x="695" y="550"/>
                      <a:pt x="695" y="551"/>
                      <a:pt x="694" y="551"/>
                    </a:cubicBezTo>
                    <a:cubicBezTo>
                      <a:pt x="692" y="552"/>
                      <a:pt x="691" y="552"/>
                      <a:pt x="690" y="553"/>
                    </a:cubicBezTo>
                    <a:cubicBezTo>
                      <a:pt x="687" y="554"/>
                      <a:pt x="684" y="556"/>
                      <a:pt x="682" y="557"/>
                    </a:cubicBezTo>
                    <a:cubicBezTo>
                      <a:pt x="681" y="557"/>
                      <a:pt x="679" y="557"/>
                      <a:pt x="678" y="558"/>
                    </a:cubicBezTo>
                    <a:cubicBezTo>
                      <a:pt x="678" y="559"/>
                      <a:pt x="678" y="561"/>
                      <a:pt x="677" y="561"/>
                    </a:cubicBezTo>
                    <a:cubicBezTo>
                      <a:pt x="676" y="562"/>
                      <a:pt x="675" y="562"/>
                      <a:pt x="675" y="564"/>
                    </a:cubicBezTo>
                    <a:cubicBezTo>
                      <a:pt x="675" y="565"/>
                      <a:pt x="675" y="565"/>
                      <a:pt x="674" y="566"/>
                    </a:cubicBezTo>
                    <a:cubicBezTo>
                      <a:pt x="673" y="566"/>
                      <a:pt x="672" y="566"/>
                      <a:pt x="671" y="567"/>
                    </a:cubicBezTo>
                    <a:cubicBezTo>
                      <a:pt x="670" y="568"/>
                      <a:pt x="671" y="569"/>
                      <a:pt x="672" y="569"/>
                    </a:cubicBezTo>
                    <a:cubicBezTo>
                      <a:pt x="673" y="571"/>
                      <a:pt x="670" y="571"/>
                      <a:pt x="670" y="572"/>
                    </a:cubicBezTo>
                    <a:cubicBezTo>
                      <a:pt x="669" y="573"/>
                      <a:pt x="670" y="573"/>
                      <a:pt x="671" y="574"/>
                    </a:cubicBezTo>
                    <a:cubicBezTo>
                      <a:pt x="672" y="575"/>
                      <a:pt x="671" y="576"/>
                      <a:pt x="670" y="576"/>
                    </a:cubicBezTo>
                    <a:cubicBezTo>
                      <a:pt x="669" y="578"/>
                      <a:pt x="666" y="578"/>
                      <a:pt x="665" y="579"/>
                    </a:cubicBezTo>
                    <a:cubicBezTo>
                      <a:pt x="664" y="580"/>
                      <a:pt x="663" y="581"/>
                      <a:pt x="663" y="582"/>
                    </a:cubicBezTo>
                    <a:cubicBezTo>
                      <a:pt x="662" y="583"/>
                      <a:pt x="661" y="585"/>
                      <a:pt x="661" y="586"/>
                    </a:cubicBezTo>
                    <a:cubicBezTo>
                      <a:pt x="661" y="587"/>
                      <a:pt x="661" y="589"/>
                      <a:pt x="660" y="589"/>
                    </a:cubicBezTo>
                    <a:cubicBezTo>
                      <a:pt x="660" y="589"/>
                      <a:pt x="659" y="588"/>
                      <a:pt x="659" y="588"/>
                    </a:cubicBezTo>
                    <a:cubicBezTo>
                      <a:pt x="659" y="587"/>
                      <a:pt x="659" y="586"/>
                      <a:pt x="658" y="586"/>
                    </a:cubicBezTo>
                    <a:cubicBezTo>
                      <a:pt x="657" y="585"/>
                      <a:pt x="656" y="586"/>
                      <a:pt x="656" y="587"/>
                    </a:cubicBezTo>
                    <a:cubicBezTo>
                      <a:pt x="655" y="588"/>
                      <a:pt x="654" y="588"/>
                      <a:pt x="654" y="589"/>
                    </a:cubicBezTo>
                    <a:cubicBezTo>
                      <a:pt x="655" y="590"/>
                      <a:pt x="655" y="590"/>
                      <a:pt x="656" y="591"/>
                    </a:cubicBezTo>
                    <a:cubicBezTo>
                      <a:pt x="658" y="592"/>
                      <a:pt x="655" y="593"/>
                      <a:pt x="654" y="594"/>
                    </a:cubicBezTo>
                    <a:cubicBezTo>
                      <a:pt x="652" y="595"/>
                      <a:pt x="652" y="596"/>
                      <a:pt x="651" y="597"/>
                    </a:cubicBezTo>
                    <a:cubicBezTo>
                      <a:pt x="650" y="598"/>
                      <a:pt x="649" y="598"/>
                      <a:pt x="648" y="598"/>
                    </a:cubicBezTo>
                    <a:cubicBezTo>
                      <a:pt x="647" y="598"/>
                      <a:pt x="647" y="597"/>
                      <a:pt x="647" y="596"/>
                    </a:cubicBezTo>
                    <a:cubicBezTo>
                      <a:pt x="646" y="595"/>
                      <a:pt x="644" y="594"/>
                      <a:pt x="644" y="596"/>
                    </a:cubicBezTo>
                    <a:cubicBezTo>
                      <a:pt x="643" y="596"/>
                      <a:pt x="643" y="598"/>
                      <a:pt x="644" y="598"/>
                    </a:cubicBezTo>
                    <a:cubicBezTo>
                      <a:pt x="644" y="599"/>
                      <a:pt x="645" y="600"/>
                      <a:pt x="644" y="600"/>
                    </a:cubicBezTo>
                    <a:cubicBezTo>
                      <a:pt x="643" y="600"/>
                      <a:pt x="641" y="599"/>
                      <a:pt x="640" y="599"/>
                    </a:cubicBezTo>
                    <a:cubicBezTo>
                      <a:pt x="639" y="599"/>
                      <a:pt x="638" y="599"/>
                      <a:pt x="638" y="598"/>
                    </a:cubicBezTo>
                    <a:cubicBezTo>
                      <a:pt x="636" y="598"/>
                      <a:pt x="636" y="597"/>
                      <a:pt x="635" y="596"/>
                    </a:cubicBezTo>
                    <a:cubicBezTo>
                      <a:pt x="635" y="596"/>
                      <a:pt x="634" y="595"/>
                      <a:pt x="633" y="595"/>
                    </a:cubicBezTo>
                    <a:cubicBezTo>
                      <a:pt x="633" y="595"/>
                      <a:pt x="632" y="595"/>
                      <a:pt x="632" y="596"/>
                    </a:cubicBezTo>
                    <a:cubicBezTo>
                      <a:pt x="633" y="596"/>
                      <a:pt x="633" y="597"/>
                      <a:pt x="634" y="597"/>
                    </a:cubicBezTo>
                    <a:cubicBezTo>
                      <a:pt x="635" y="598"/>
                      <a:pt x="635" y="598"/>
                      <a:pt x="634" y="599"/>
                    </a:cubicBezTo>
                    <a:cubicBezTo>
                      <a:pt x="634" y="600"/>
                      <a:pt x="635" y="601"/>
                      <a:pt x="634" y="602"/>
                    </a:cubicBezTo>
                    <a:cubicBezTo>
                      <a:pt x="633" y="603"/>
                      <a:pt x="633" y="604"/>
                      <a:pt x="633" y="605"/>
                    </a:cubicBezTo>
                    <a:cubicBezTo>
                      <a:pt x="632" y="607"/>
                      <a:pt x="629" y="609"/>
                      <a:pt x="627" y="609"/>
                    </a:cubicBezTo>
                    <a:cubicBezTo>
                      <a:pt x="625" y="610"/>
                      <a:pt x="625" y="607"/>
                      <a:pt x="623" y="606"/>
                    </a:cubicBezTo>
                    <a:cubicBezTo>
                      <a:pt x="623" y="605"/>
                      <a:pt x="622" y="605"/>
                      <a:pt x="621" y="605"/>
                    </a:cubicBezTo>
                    <a:cubicBezTo>
                      <a:pt x="619" y="605"/>
                      <a:pt x="619" y="606"/>
                      <a:pt x="618" y="607"/>
                    </a:cubicBezTo>
                    <a:cubicBezTo>
                      <a:pt x="617" y="607"/>
                      <a:pt x="613" y="610"/>
                      <a:pt x="613" y="610"/>
                    </a:cubicBezTo>
                    <a:cubicBezTo>
                      <a:pt x="613" y="609"/>
                      <a:pt x="613" y="607"/>
                      <a:pt x="613" y="606"/>
                    </a:cubicBezTo>
                    <a:cubicBezTo>
                      <a:pt x="613" y="604"/>
                      <a:pt x="610" y="605"/>
                      <a:pt x="610" y="607"/>
                    </a:cubicBezTo>
                    <a:cubicBezTo>
                      <a:pt x="610" y="608"/>
                      <a:pt x="610" y="609"/>
                      <a:pt x="610" y="609"/>
                    </a:cubicBezTo>
                    <a:cubicBezTo>
                      <a:pt x="609" y="610"/>
                      <a:pt x="609" y="612"/>
                      <a:pt x="608" y="612"/>
                    </a:cubicBezTo>
                    <a:cubicBezTo>
                      <a:pt x="607" y="612"/>
                      <a:pt x="607" y="611"/>
                      <a:pt x="606" y="611"/>
                    </a:cubicBezTo>
                    <a:cubicBezTo>
                      <a:pt x="606" y="611"/>
                      <a:pt x="605" y="611"/>
                      <a:pt x="605" y="610"/>
                    </a:cubicBezTo>
                    <a:cubicBezTo>
                      <a:pt x="604" y="610"/>
                      <a:pt x="604" y="609"/>
                      <a:pt x="603" y="609"/>
                    </a:cubicBezTo>
                    <a:cubicBezTo>
                      <a:pt x="602" y="609"/>
                      <a:pt x="602" y="610"/>
                      <a:pt x="601" y="610"/>
                    </a:cubicBezTo>
                    <a:cubicBezTo>
                      <a:pt x="600" y="610"/>
                      <a:pt x="600" y="608"/>
                      <a:pt x="600" y="607"/>
                    </a:cubicBezTo>
                    <a:cubicBezTo>
                      <a:pt x="601" y="605"/>
                      <a:pt x="603" y="605"/>
                      <a:pt x="605" y="604"/>
                    </a:cubicBezTo>
                    <a:cubicBezTo>
                      <a:pt x="606" y="603"/>
                      <a:pt x="606" y="602"/>
                      <a:pt x="607" y="601"/>
                    </a:cubicBezTo>
                    <a:cubicBezTo>
                      <a:pt x="608" y="601"/>
                      <a:pt x="610" y="600"/>
                      <a:pt x="610" y="599"/>
                    </a:cubicBezTo>
                    <a:cubicBezTo>
                      <a:pt x="610" y="597"/>
                      <a:pt x="608" y="598"/>
                      <a:pt x="607" y="598"/>
                    </a:cubicBezTo>
                    <a:cubicBezTo>
                      <a:pt x="606" y="598"/>
                      <a:pt x="605" y="598"/>
                      <a:pt x="604" y="598"/>
                    </a:cubicBezTo>
                    <a:cubicBezTo>
                      <a:pt x="603" y="597"/>
                      <a:pt x="600" y="593"/>
                      <a:pt x="599" y="595"/>
                    </a:cubicBezTo>
                    <a:cubicBezTo>
                      <a:pt x="598" y="595"/>
                      <a:pt x="598" y="596"/>
                      <a:pt x="597" y="596"/>
                    </a:cubicBezTo>
                    <a:cubicBezTo>
                      <a:pt x="597" y="597"/>
                      <a:pt x="596" y="596"/>
                      <a:pt x="595" y="597"/>
                    </a:cubicBezTo>
                    <a:cubicBezTo>
                      <a:pt x="594" y="597"/>
                      <a:pt x="593" y="597"/>
                      <a:pt x="594" y="598"/>
                    </a:cubicBezTo>
                    <a:cubicBezTo>
                      <a:pt x="594" y="599"/>
                      <a:pt x="595" y="599"/>
                      <a:pt x="596" y="599"/>
                    </a:cubicBezTo>
                    <a:cubicBezTo>
                      <a:pt x="597" y="599"/>
                      <a:pt x="596" y="600"/>
                      <a:pt x="596" y="601"/>
                    </a:cubicBezTo>
                    <a:cubicBezTo>
                      <a:pt x="596" y="601"/>
                      <a:pt x="597" y="602"/>
                      <a:pt x="597" y="603"/>
                    </a:cubicBezTo>
                    <a:cubicBezTo>
                      <a:pt x="598" y="603"/>
                      <a:pt x="597" y="603"/>
                      <a:pt x="596" y="604"/>
                    </a:cubicBezTo>
                    <a:cubicBezTo>
                      <a:pt x="595" y="604"/>
                      <a:pt x="596" y="605"/>
                      <a:pt x="595" y="606"/>
                    </a:cubicBezTo>
                    <a:cubicBezTo>
                      <a:pt x="593" y="606"/>
                      <a:pt x="591" y="606"/>
                      <a:pt x="589" y="607"/>
                    </a:cubicBezTo>
                    <a:cubicBezTo>
                      <a:pt x="587" y="608"/>
                      <a:pt x="590" y="610"/>
                      <a:pt x="591" y="611"/>
                    </a:cubicBezTo>
                    <a:cubicBezTo>
                      <a:pt x="593" y="612"/>
                      <a:pt x="594" y="613"/>
                      <a:pt x="592" y="614"/>
                    </a:cubicBezTo>
                    <a:cubicBezTo>
                      <a:pt x="591" y="614"/>
                      <a:pt x="591" y="614"/>
                      <a:pt x="590" y="615"/>
                    </a:cubicBezTo>
                    <a:cubicBezTo>
                      <a:pt x="589" y="616"/>
                      <a:pt x="589" y="617"/>
                      <a:pt x="588" y="618"/>
                    </a:cubicBezTo>
                    <a:cubicBezTo>
                      <a:pt x="587" y="618"/>
                      <a:pt x="586" y="617"/>
                      <a:pt x="585" y="617"/>
                    </a:cubicBezTo>
                    <a:cubicBezTo>
                      <a:pt x="585" y="616"/>
                      <a:pt x="583" y="616"/>
                      <a:pt x="584" y="617"/>
                    </a:cubicBezTo>
                    <a:cubicBezTo>
                      <a:pt x="585" y="619"/>
                      <a:pt x="583" y="619"/>
                      <a:pt x="581" y="619"/>
                    </a:cubicBezTo>
                    <a:cubicBezTo>
                      <a:pt x="580" y="619"/>
                      <a:pt x="579" y="619"/>
                      <a:pt x="578" y="619"/>
                    </a:cubicBezTo>
                    <a:cubicBezTo>
                      <a:pt x="577" y="619"/>
                      <a:pt x="578" y="617"/>
                      <a:pt x="577" y="617"/>
                    </a:cubicBezTo>
                    <a:cubicBezTo>
                      <a:pt x="575" y="616"/>
                      <a:pt x="575" y="616"/>
                      <a:pt x="575" y="615"/>
                    </a:cubicBezTo>
                    <a:cubicBezTo>
                      <a:pt x="574" y="614"/>
                      <a:pt x="573" y="614"/>
                      <a:pt x="573" y="615"/>
                    </a:cubicBezTo>
                    <a:cubicBezTo>
                      <a:pt x="572" y="616"/>
                      <a:pt x="574" y="616"/>
                      <a:pt x="574" y="616"/>
                    </a:cubicBezTo>
                    <a:cubicBezTo>
                      <a:pt x="574" y="617"/>
                      <a:pt x="573" y="618"/>
                      <a:pt x="573" y="619"/>
                    </a:cubicBezTo>
                    <a:cubicBezTo>
                      <a:pt x="571" y="621"/>
                      <a:pt x="570" y="616"/>
                      <a:pt x="568" y="617"/>
                    </a:cubicBezTo>
                    <a:cubicBezTo>
                      <a:pt x="566" y="617"/>
                      <a:pt x="567" y="620"/>
                      <a:pt x="564" y="620"/>
                    </a:cubicBezTo>
                    <a:cubicBezTo>
                      <a:pt x="563" y="620"/>
                      <a:pt x="563" y="619"/>
                      <a:pt x="562" y="619"/>
                    </a:cubicBezTo>
                    <a:cubicBezTo>
                      <a:pt x="561" y="619"/>
                      <a:pt x="560" y="620"/>
                      <a:pt x="559" y="620"/>
                    </a:cubicBezTo>
                    <a:cubicBezTo>
                      <a:pt x="559" y="623"/>
                      <a:pt x="562" y="622"/>
                      <a:pt x="563" y="623"/>
                    </a:cubicBezTo>
                    <a:cubicBezTo>
                      <a:pt x="564" y="625"/>
                      <a:pt x="566" y="627"/>
                      <a:pt x="563" y="628"/>
                    </a:cubicBezTo>
                    <a:cubicBezTo>
                      <a:pt x="561" y="629"/>
                      <a:pt x="560" y="631"/>
                      <a:pt x="559" y="633"/>
                    </a:cubicBezTo>
                    <a:cubicBezTo>
                      <a:pt x="558" y="633"/>
                      <a:pt x="558" y="634"/>
                      <a:pt x="557" y="635"/>
                    </a:cubicBezTo>
                    <a:cubicBezTo>
                      <a:pt x="556" y="635"/>
                      <a:pt x="555" y="634"/>
                      <a:pt x="553" y="634"/>
                    </a:cubicBezTo>
                    <a:cubicBezTo>
                      <a:pt x="552" y="634"/>
                      <a:pt x="550" y="634"/>
                      <a:pt x="549" y="633"/>
                    </a:cubicBezTo>
                    <a:cubicBezTo>
                      <a:pt x="548" y="632"/>
                      <a:pt x="547" y="633"/>
                      <a:pt x="546" y="633"/>
                    </a:cubicBezTo>
                    <a:cubicBezTo>
                      <a:pt x="545" y="632"/>
                      <a:pt x="544" y="632"/>
                      <a:pt x="544" y="632"/>
                    </a:cubicBezTo>
                    <a:cubicBezTo>
                      <a:pt x="543" y="633"/>
                      <a:pt x="543" y="635"/>
                      <a:pt x="544" y="636"/>
                    </a:cubicBezTo>
                    <a:cubicBezTo>
                      <a:pt x="544" y="637"/>
                      <a:pt x="545" y="638"/>
                      <a:pt x="545" y="639"/>
                    </a:cubicBezTo>
                    <a:cubicBezTo>
                      <a:pt x="546" y="640"/>
                      <a:pt x="547" y="640"/>
                      <a:pt x="548" y="641"/>
                    </a:cubicBezTo>
                    <a:cubicBezTo>
                      <a:pt x="549" y="643"/>
                      <a:pt x="553" y="644"/>
                      <a:pt x="552" y="647"/>
                    </a:cubicBezTo>
                    <a:cubicBezTo>
                      <a:pt x="552" y="648"/>
                      <a:pt x="551" y="649"/>
                      <a:pt x="552" y="650"/>
                    </a:cubicBezTo>
                    <a:cubicBezTo>
                      <a:pt x="552" y="651"/>
                      <a:pt x="554" y="651"/>
                      <a:pt x="553" y="652"/>
                    </a:cubicBezTo>
                    <a:cubicBezTo>
                      <a:pt x="553" y="653"/>
                      <a:pt x="551" y="653"/>
                      <a:pt x="551" y="653"/>
                    </a:cubicBezTo>
                    <a:cubicBezTo>
                      <a:pt x="549" y="653"/>
                      <a:pt x="548" y="652"/>
                      <a:pt x="547" y="653"/>
                    </a:cubicBezTo>
                    <a:cubicBezTo>
                      <a:pt x="545" y="655"/>
                      <a:pt x="542" y="654"/>
                      <a:pt x="540" y="654"/>
                    </a:cubicBezTo>
                    <a:cubicBezTo>
                      <a:pt x="538" y="653"/>
                      <a:pt x="535" y="654"/>
                      <a:pt x="537" y="656"/>
                    </a:cubicBezTo>
                    <a:cubicBezTo>
                      <a:pt x="539" y="658"/>
                      <a:pt x="542" y="659"/>
                      <a:pt x="544" y="660"/>
                    </a:cubicBezTo>
                    <a:cubicBezTo>
                      <a:pt x="545" y="660"/>
                      <a:pt x="546" y="659"/>
                      <a:pt x="547" y="658"/>
                    </a:cubicBezTo>
                    <a:cubicBezTo>
                      <a:pt x="548" y="658"/>
                      <a:pt x="550" y="659"/>
                      <a:pt x="551" y="659"/>
                    </a:cubicBezTo>
                    <a:cubicBezTo>
                      <a:pt x="552" y="661"/>
                      <a:pt x="548" y="662"/>
                      <a:pt x="549" y="664"/>
                    </a:cubicBezTo>
                    <a:cubicBezTo>
                      <a:pt x="549" y="664"/>
                      <a:pt x="550" y="664"/>
                      <a:pt x="551" y="665"/>
                    </a:cubicBezTo>
                    <a:cubicBezTo>
                      <a:pt x="552" y="665"/>
                      <a:pt x="552" y="666"/>
                      <a:pt x="552" y="667"/>
                    </a:cubicBezTo>
                    <a:cubicBezTo>
                      <a:pt x="552" y="669"/>
                      <a:pt x="553" y="672"/>
                      <a:pt x="550" y="671"/>
                    </a:cubicBezTo>
                    <a:cubicBezTo>
                      <a:pt x="548" y="671"/>
                      <a:pt x="548" y="670"/>
                      <a:pt x="547" y="670"/>
                    </a:cubicBezTo>
                    <a:cubicBezTo>
                      <a:pt x="545" y="670"/>
                      <a:pt x="544" y="670"/>
                      <a:pt x="542" y="670"/>
                    </a:cubicBezTo>
                    <a:cubicBezTo>
                      <a:pt x="540" y="669"/>
                      <a:pt x="538" y="668"/>
                      <a:pt x="536" y="668"/>
                    </a:cubicBezTo>
                    <a:cubicBezTo>
                      <a:pt x="535" y="668"/>
                      <a:pt x="534" y="669"/>
                      <a:pt x="535" y="670"/>
                    </a:cubicBezTo>
                    <a:cubicBezTo>
                      <a:pt x="536" y="671"/>
                      <a:pt x="537" y="671"/>
                      <a:pt x="538" y="671"/>
                    </a:cubicBezTo>
                    <a:cubicBezTo>
                      <a:pt x="541" y="671"/>
                      <a:pt x="544" y="672"/>
                      <a:pt x="546" y="673"/>
                    </a:cubicBezTo>
                    <a:cubicBezTo>
                      <a:pt x="547" y="674"/>
                      <a:pt x="549" y="675"/>
                      <a:pt x="546" y="675"/>
                    </a:cubicBezTo>
                    <a:cubicBezTo>
                      <a:pt x="544" y="675"/>
                      <a:pt x="542" y="674"/>
                      <a:pt x="540" y="674"/>
                    </a:cubicBezTo>
                    <a:cubicBezTo>
                      <a:pt x="538" y="674"/>
                      <a:pt x="539" y="675"/>
                      <a:pt x="538" y="676"/>
                    </a:cubicBezTo>
                    <a:cubicBezTo>
                      <a:pt x="537" y="676"/>
                      <a:pt x="537" y="676"/>
                      <a:pt x="536" y="676"/>
                    </a:cubicBezTo>
                    <a:cubicBezTo>
                      <a:pt x="534" y="676"/>
                      <a:pt x="529" y="676"/>
                      <a:pt x="531" y="679"/>
                    </a:cubicBezTo>
                    <a:cubicBezTo>
                      <a:pt x="533" y="681"/>
                      <a:pt x="535" y="682"/>
                      <a:pt x="537" y="684"/>
                    </a:cubicBezTo>
                    <a:cubicBezTo>
                      <a:pt x="537" y="685"/>
                      <a:pt x="537" y="686"/>
                      <a:pt x="536" y="687"/>
                    </a:cubicBezTo>
                    <a:cubicBezTo>
                      <a:pt x="535" y="687"/>
                      <a:pt x="534" y="686"/>
                      <a:pt x="533" y="685"/>
                    </a:cubicBezTo>
                    <a:cubicBezTo>
                      <a:pt x="532" y="685"/>
                      <a:pt x="530" y="682"/>
                      <a:pt x="528" y="682"/>
                    </a:cubicBezTo>
                    <a:cubicBezTo>
                      <a:pt x="527" y="683"/>
                      <a:pt x="532" y="687"/>
                      <a:pt x="532" y="687"/>
                    </a:cubicBezTo>
                    <a:cubicBezTo>
                      <a:pt x="533" y="688"/>
                      <a:pt x="531" y="688"/>
                      <a:pt x="531" y="688"/>
                    </a:cubicBezTo>
                    <a:cubicBezTo>
                      <a:pt x="530" y="688"/>
                      <a:pt x="529" y="687"/>
                      <a:pt x="528" y="686"/>
                    </a:cubicBezTo>
                    <a:cubicBezTo>
                      <a:pt x="527" y="685"/>
                      <a:pt x="526" y="685"/>
                      <a:pt x="525" y="685"/>
                    </a:cubicBezTo>
                    <a:cubicBezTo>
                      <a:pt x="524" y="686"/>
                      <a:pt x="525" y="687"/>
                      <a:pt x="526" y="687"/>
                    </a:cubicBezTo>
                    <a:cubicBezTo>
                      <a:pt x="527" y="689"/>
                      <a:pt x="531" y="688"/>
                      <a:pt x="532" y="690"/>
                    </a:cubicBezTo>
                    <a:cubicBezTo>
                      <a:pt x="532" y="691"/>
                      <a:pt x="532" y="692"/>
                      <a:pt x="532" y="693"/>
                    </a:cubicBezTo>
                    <a:cubicBezTo>
                      <a:pt x="531" y="694"/>
                      <a:pt x="530" y="694"/>
                      <a:pt x="529" y="693"/>
                    </a:cubicBezTo>
                    <a:cubicBezTo>
                      <a:pt x="528" y="693"/>
                      <a:pt x="527" y="694"/>
                      <a:pt x="526" y="694"/>
                    </a:cubicBezTo>
                    <a:cubicBezTo>
                      <a:pt x="525" y="694"/>
                      <a:pt x="524" y="693"/>
                      <a:pt x="523" y="692"/>
                    </a:cubicBezTo>
                    <a:cubicBezTo>
                      <a:pt x="522" y="692"/>
                      <a:pt x="521" y="691"/>
                      <a:pt x="520" y="691"/>
                    </a:cubicBezTo>
                    <a:cubicBezTo>
                      <a:pt x="520" y="691"/>
                      <a:pt x="518" y="692"/>
                      <a:pt x="518" y="693"/>
                    </a:cubicBezTo>
                    <a:cubicBezTo>
                      <a:pt x="517" y="694"/>
                      <a:pt x="519" y="696"/>
                      <a:pt x="516" y="697"/>
                    </a:cubicBezTo>
                    <a:cubicBezTo>
                      <a:pt x="514" y="697"/>
                      <a:pt x="512" y="695"/>
                      <a:pt x="510" y="696"/>
                    </a:cubicBezTo>
                    <a:cubicBezTo>
                      <a:pt x="508" y="696"/>
                      <a:pt x="508" y="699"/>
                      <a:pt x="509" y="699"/>
                    </a:cubicBezTo>
                    <a:cubicBezTo>
                      <a:pt x="511" y="699"/>
                      <a:pt x="512" y="699"/>
                      <a:pt x="513" y="699"/>
                    </a:cubicBezTo>
                    <a:cubicBezTo>
                      <a:pt x="514" y="700"/>
                      <a:pt x="516" y="701"/>
                      <a:pt x="517" y="701"/>
                    </a:cubicBezTo>
                    <a:cubicBezTo>
                      <a:pt x="519" y="701"/>
                      <a:pt x="520" y="704"/>
                      <a:pt x="518" y="704"/>
                    </a:cubicBezTo>
                    <a:cubicBezTo>
                      <a:pt x="516" y="704"/>
                      <a:pt x="514" y="702"/>
                      <a:pt x="512" y="702"/>
                    </a:cubicBezTo>
                    <a:cubicBezTo>
                      <a:pt x="510" y="702"/>
                      <a:pt x="513" y="704"/>
                      <a:pt x="513" y="704"/>
                    </a:cubicBezTo>
                    <a:cubicBezTo>
                      <a:pt x="515" y="705"/>
                      <a:pt x="517" y="706"/>
                      <a:pt x="519" y="707"/>
                    </a:cubicBezTo>
                    <a:cubicBezTo>
                      <a:pt x="520" y="708"/>
                      <a:pt x="523" y="707"/>
                      <a:pt x="523" y="709"/>
                    </a:cubicBezTo>
                    <a:cubicBezTo>
                      <a:pt x="524" y="710"/>
                      <a:pt x="523" y="711"/>
                      <a:pt x="522" y="711"/>
                    </a:cubicBezTo>
                    <a:cubicBezTo>
                      <a:pt x="521" y="712"/>
                      <a:pt x="521" y="714"/>
                      <a:pt x="520" y="715"/>
                    </a:cubicBezTo>
                    <a:cubicBezTo>
                      <a:pt x="519" y="715"/>
                      <a:pt x="519" y="716"/>
                      <a:pt x="519" y="717"/>
                    </a:cubicBezTo>
                    <a:cubicBezTo>
                      <a:pt x="520" y="718"/>
                      <a:pt x="521" y="718"/>
                      <a:pt x="521" y="719"/>
                    </a:cubicBezTo>
                    <a:cubicBezTo>
                      <a:pt x="523" y="722"/>
                      <a:pt x="521" y="723"/>
                      <a:pt x="518" y="723"/>
                    </a:cubicBezTo>
                    <a:cubicBezTo>
                      <a:pt x="517" y="722"/>
                      <a:pt x="513" y="720"/>
                      <a:pt x="514" y="722"/>
                    </a:cubicBezTo>
                    <a:cubicBezTo>
                      <a:pt x="514" y="724"/>
                      <a:pt x="518" y="725"/>
                      <a:pt x="519" y="725"/>
                    </a:cubicBezTo>
                    <a:cubicBezTo>
                      <a:pt x="521" y="725"/>
                      <a:pt x="523" y="726"/>
                      <a:pt x="521" y="727"/>
                    </a:cubicBezTo>
                    <a:cubicBezTo>
                      <a:pt x="519" y="728"/>
                      <a:pt x="516" y="727"/>
                      <a:pt x="514" y="727"/>
                    </a:cubicBezTo>
                    <a:cubicBezTo>
                      <a:pt x="513" y="726"/>
                      <a:pt x="510" y="727"/>
                      <a:pt x="511" y="729"/>
                    </a:cubicBezTo>
                    <a:cubicBezTo>
                      <a:pt x="512" y="730"/>
                      <a:pt x="515" y="729"/>
                      <a:pt x="516" y="729"/>
                    </a:cubicBezTo>
                    <a:cubicBezTo>
                      <a:pt x="518" y="729"/>
                      <a:pt x="521" y="729"/>
                      <a:pt x="520" y="731"/>
                    </a:cubicBezTo>
                    <a:cubicBezTo>
                      <a:pt x="520" y="734"/>
                      <a:pt x="516" y="734"/>
                      <a:pt x="514" y="734"/>
                    </a:cubicBezTo>
                    <a:cubicBezTo>
                      <a:pt x="513" y="734"/>
                      <a:pt x="511" y="733"/>
                      <a:pt x="510" y="733"/>
                    </a:cubicBezTo>
                    <a:cubicBezTo>
                      <a:pt x="509" y="733"/>
                      <a:pt x="508" y="732"/>
                      <a:pt x="507" y="733"/>
                    </a:cubicBezTo>
                    <a:cubicBezTo>
                      <a:pt x="505" y="735"/>
                      <a:pt x="510" y="735"/>
                      <a:pt x="511" y="735"/>
                    </a:cubicBezTo>
                    <a:cubicBezTo>
                      <a:pt x="511" y="735"/>
                      <a:pt x="513" y="735"/>
                      <a:pt x="514" y="736"/>
                    </a:cubicBezTo>
                    <a:cubicBezTo>
                      <a:pt x="514" y="736"/>
                      <a:pt x="514" y="737"/>
                      <a:pt x="513" y="737"/>
                    </a:cubicBezTo>
                    <a:cubicBezTo>
                      <a:pt x="512" y="738"/>
                      <a:pt x="510" y="737"/>
                      <a:pt x="509" y="737"/>
                    </a:cubicBezTo>
                    <a:cubicBezTo>
                      <a:pt x="507" y="737"/>
                      <a:pt x="507" y="739"/>
                      <a:pt x="505" y="739"/>
                    </a:cubicBezTo>
                    <a:cubicBezTo>
                      <a:pt x="504" y="739"/>
                      <a:pt x="503" y="739"/>
                      <a:pt x="503" y="739"/>
                    </a:cubicBezTo>
                    <a:cubicBezTo>
                      <a:pt x="502" y="739"/>
                      <a:pt x="501" y="740"/>
                      <a:pt x="502" y="741"/>
                    </a:cubicBezTo>
                    <a:cubicBezTo>
                      <a:pt x="503" y="742"/>
                      <a:pt x="505" y="741"/>
                      <a:pt x="506" y="741"/>
                    </a:cubicBezTo>
                    <a:cubicBezTo>
                      <a:pt x="508" y="740"/>
                      <a:pt x="512" y="740"/>
                      <a:pt x="513" y="742"/>
                    </a:cubicBezTo>
                    <a:cubicBezTo>
                      <a:pt x="516" y="744"/>
                      <a:pt x="512" y="744"/>
                      <a:pt x="511" y="744"/>
                    </a:cubicBezTo>
                    <a:cubicBezTo>
                      <a:pt x="509" y="744"/>
                      <a:pt x="504" y="742"/>
                      <a:pt x="504" y="745"/>
                    </a:cubicBezTo>
                    <a:cubicBezTo>
                      <a:pt x="503" y="751"/>
                      <a:pt x="513" y="745"/>
                      <a:pt x="514" y="750"/>
                    </a:cubicBezTo>
                    <a:cubicBezTo>
                      <a:pt x="514" y="752"/>
                      <a:pt x="511" y="751"/>
                      <a:pt x="510" y="751"/>
                    </a:cubicBezTo>
                    <a:cubicBezTo>
                      <a:pt x="508" y="750"/>
                      <a:pt x="508" y="752"/>
                      <a:pt x="510" y="752"/>
                    </a:cubicBezTo>
                    <a:cubicBezTo>
                      <a:pt x="510" y="753"/>
                      <a:pt x="513" y="754"/>
                      <a:pt x="511" y="754"/>
                    </a:cubicBezTo>
                    <a:cubicBezTo>
                      <a:pt x="509" y="755"/>
                      <a:pt x="508" y="754"/>
                      <a:pt x="506" y="754"/>
                    </a:cubicBezTo>
                    <a:cubicBezTo>
                      <a:pt x="505" y="754"/>
                      <a:pt x="504" y="754"/>
                      <a:pt x="503" y="753"/>
                    </a:cubicBezTo>
                    <a:cubicBezTo>
                      <a:pt x="502" y="753"/>
                      <a:pt x="502" y="752"/>
                      <a:pt x="501" y="751"/>
                    </a:cubicBezTo>
                    <a:cubicBezTo>
                      <a:pt x="501" y="751"/>
                      <a:pt x="500" y="750"/>
                      <a:pt x="500" y="750"/>
                    </a:cubicBezTo>
                    <a:cubicBezTo>
                      <a:pt x="499" y="750"/>
                      <a:pt x="500" y="752"/>
                      <a:pt x="499" y="753"/>
                    </a:cubicBezTo>
                    <a:cubicBezTo>
                      <a:pt x="498" y="753"/>
                      <a:pt x="496" y="752"/>
                      <a:pt x="495" y="752"/>
                    </a:cubicBezTo>
                    <a:cubicBezTo>
                      <a:pt x="495" y="752"/>
                      <a:pt x="494" y="752"/>
                      <a:pt x="493" y="752"/>
                    </a:cubicBezTo>
                    <a:cubicBezTo>
                      <a:pt x="493" y="752"/>
                      <a:pt x="492" y="752"/>
                      <a:pt x="492" y="752"/>
                    </a:cubicBezTo>
                    <a:cubicBezTo>
                      <a:pt x="491" y="752"/>
                      <a:pt x="490" y="753"/>
                      <a:pt x="491" y="754"/>
                    </a:cubicBezTo>
                    <a:cubicBezTo>
                      <a:pt x="492" y="754"/>
                      <a:pt x="493" y="754"/>
                      <a:pt x="494" y="754"/>
                    </a:cubicBezTo>
                    <a:cubicBezTo>
                      <a:pt x="496" y="754"/>
                      <a:pt x="498" y="755"/>
                      <a:pt x="500" y="755"/>
                    </a:cubicBezTo>
                    <a:cubicBezTo>
                      <a:pt x="501" y="755"/>
                      <a:pt x="505" y="756"/>
                      <a:pt x="503" y="757"/>
                    </a:cubicBezTo>
                    <a:cubicBezTo>
                      <a:pt x="502" y="758"/>
                      <a:pt x="500" y="760"/>
                      <a:pt x="502" y="760"/>
                    </a:cubicBezTo>
                    <a:cubicBezTo>
                      <a:pt x="503" y="760"/>
                      <a:pt x="504" y="760"/>
                      <a:pt x="505" y="760"/>
                    </a:cubicBezTo>
                    <a:cubicBezTo>
                      <a:pt x="505" y="759"/>
                      <a:pt x="506" y="759"/>
                      <a:pt x="507" y="758"/>
                    </a:cubicBezTo>
                    <a:cubicBezTo>
                      <a:pt x="508" y="758"/>
                      <a:pt x="509" y="759"/>
                      <a:pt x="510" y="759"/>
                    </a:cubicBezTo>
                    <a:cubicBezTo>
                      <a:pt x="511" y="761"/>
                      <a:pt x="510" y="761"/>
                      <a:pt x="509" y="762"/>
                    </a:cubicBezTo>
                    <a:cubicBezTo>
                      <a:pt x="508" y="762"/>
                      <a:pt x="509" y="763"/>
                      <a:pt x="509" y="764"/>
                    </a:cubicBezTo>
                    <a:cubicBezTo>
                      <a:pt x="508" y="765"/>
                      <a:pt x="506" y="764"/>
                      <a:pt x="505" y="764"/>
                    </a:cubicBezTo>
                    <a:cubicBezTo>
                      <a:pt x="503" y="763"/>
                      <a:pt x="500" y="764"/>
                      <a:pt x="497" y="763"/>
                    </a:cubicBezTo>
                    <a:cubicBezTo>
                      <a:pt x="495" y="763"/>
                      <a:pt x="492" y="764"/>
                      <a:pt x="492" y="761"/>
                    </a:cubicBezTo>
                    <a:cubicBezTo>
                      <a:pt x="493" y="760"/>
                      <a:pt x="494" y="759"/>
                      <a:pt x="492" y="758"/>
                    </a:cubicBezTo>
                    <a:cubicBezTo>
                      <a:pt x="492" y="758"/>
                      <a:pt x="491" y="758"/>
                      <a:pt x="490" y="758"/>
                    </a:cubicBezTo>
                    <a:cubicBezTo>
                      <a:pt x="490" y="759"/>
                      <a:pt x="490" y="760"/>
                      <a:pt x="489" y="761"/>
                    </a:cubicBezTo>
                    <a:cubicBezTo>
                      <a:pt x="489" y="762"/>
                      <a:pt x="488" y="762"/>
                      <a:pt x="487" y="763"/>
                    </a:cubicBezTo>
                    <a:cubicBezTo>
                      <a:pt x="486" y="764"/>
                      <a:pt x="486" y="765"/>
                      <a:pt x="485" y="766"/>
                    </a:cubicBezTo>
                    <a:cubicBezTo>
                      <a:pt x="485" y="767"/>
                      <a:pt x="483" y="767"/>
                      <a:pt x="482" y="767"/>
                    </a:cubicBezTo>
                    <a:cubicBezTo>
                      <a:pt x="480" y="766"/>
                      <a:pt x="479" y="763"/>
                      <a:pt x="480" y="761"/>
                    </a:cubicBezTo>
                    <a:cubicBezTo>
                      <a:pt x="481" y="760"/>
                      <a:pt x="483" y="760"/>
                      <a:pt x="484" y="758"/>
                    </a:cubicBezTo>
                    <a:cubicBezTo>
                      <a:pt x="484" y="757"/>
                      <a:pt x="484" y="756"/>
                      <a:pt x="485" y="756"/>
                    </a:cubicBezTo>
                    <a:cubicBezTo>
                      <a:pt x="487" y="755"/>
                      <a:pt x="487" y="755"/>
                      <a:pt x="486" y="754"/>
                    </a:cubicBezTo>
                    <a:cubicBezTo>
                      <a:pt x="485" y="753"/>
                      <a:pt x="485" y="753"/>
                      <a:pt x="484" y="754"/>
                    </a:cubicBezTo>
                    <a:cubicBezTo>
                      <a:pt x="484" y="755"/>
                      <a:pt x="483" y="755"/>
                      <a:pt x="483" y="756"/>
                    </a:cubicBezTo>
                    <a:cubicBezTo>
                      <a:pt x="482" y="757"/>
                      <a:pt x="480" y="760"/>
                      <a:pt x="479" y="760"/>
                    </a:cubicBezTo>
                    <a:cubicBezTo>
                      <a:pt x="477" y="760"/>
                      <a:pt x="480" y="757"/>
                      <a:pt x="480" y="757"/>
                    </a:cubicBezTo>
                    <a:cubicBezTo>
                      <a:pt x="481" y="756"/>
                      <a:pt x="481" y="755"/>
                      <a:pt x="481" y="754"/>
                    </a:cubicBezTo>
                    <a:cubicBezTo>
                      <a:pt x="481" y="752"/>
                      <a:pt x="483" y="752"/>
                      <a:pt x="483" y="751"/>
                    </a:cubicBezTo>
                    <a:cubicBezTo>
                      <a:pt x="485" y="749"/>
                      <a:pt x="483" y="748"/>
                      <a:pt x="482" y="750"/>
                    </a:cubicBezTo>
                    <a:cubicBezTo>
                      <a:pt x="481" y="750"/>
                      <a:pt x="480" y="751"/>
                      <a:pt x="479" y="752"/>
                    </a:cubicBezTo>
                    <a:cubicBezTo>
                      <a:pt x="478" y="753"/>
                      <a:pt x="478" y="754"/>
                      <a:pt x="477" y="755"/>
                    </a:cubicBezTo>
                    <a:cubicBezTo>
                      <a:pt x="475" y="756"/>
                      <a:pt x="475" y="754"/>
                      <a:pt x="476" y="753"/>
                    </a:cubicBezTo>
                    <a:cubicBezTo>
                      <a:pt x="478" y="752"/>
                      <a:pt x="477" y="749"/>
                      <a:pt x="475" y="749"/>
                    </a:cubicBezTo>
                    <a:cubicBezTo>
                      <a:pt x="473" y="748"/>
                      <a:pt x="470" y="748"/>
                      <a:pt x="470" y="750"/>
                    </a:cubicBezTo>
                    <a:cubicBezTo>
                      <a:pt x="470" y="751"/>
                      <a:pt x="470" y="752"/>
                      <a:pt x="469" y="752"/>
                    </a:cubicBezTo>
                    <a:cubicBezTo>
                      <a:pt x="467" y="752"/>
                      <a:pt x="467" y="751"/>
                      <a:pt x="467" y="750"/>
                    </a:cubicBezTo>
                    <a:cubicBezTo>
                      <a:pt x="468" y="749"/>
                      <a:pt x="467" y="748"/>
                      <a:pt x="467" y="747"/>
                    </a:cubicBezTo>
                    <a:cubicBezTo>
                      <a:pt x="468" y="747"/>
                      <a:pt x="469" y="747"/>
                      <a:pt x="470" y="746"/>
                    </a:cubicBezTo>
                    <a:cubicBezTo>
                      <a:pt x="470" y="746"/>
                      <a:pt x="471" y="745"/>
                      <a:pt x="471" y="745"/>
                    </a:cubicBezTo>
                    <a:cubicBezTo>
                      <a:pt x="471" y="743"/>
                      <a:pt x="471" y="742"/>
                      <a:pt x="471" y="741"/>
                    </a:cubicBezTo>
                    <a:cubicBezTo>
                      <a:pt x="472" y="740"/>
                      <a:pt x="475" y="739"/>
                      <a:pt x="474" y="737"/>
                    </a:cubicBezTo>
                    <a:cubicBezTo>
                      <a:pt x="473" y="735"/>
                      <a:pt x="471" y="739"/>
                      <a:pt x="470" y="737"/>
                    </a:cubicBezTo>
                    <a:cubicBezTo>
                      <a:pt x="470" y="736"/>
                      <a:pt x="470" y="736"/>
                      <a:pt x="469" y="735"/>
                    </a:cubicBezTo>
                    <a:cubicBezTo>
                      <a:pt x="469" y="735"/>
                      <a:pt x="468" y="736"/>
                      <a:pt x="468" y="736"/>
                    </a:cubicBezTo>
                    <a:cubicBezTo>
                      <a:pt x="468" y="738"/>
                      <a:pt x="468" y="740"/>
                      <a:pt x="466" y="741"/>
                    </a:cubicBezTo>
                    <a:cubicBezTo>
                      <a:pt x="466" y="741"/>
                      <a:pt x="465" y="741"/>
                      <a:pt x="464" y="741"/>
                    </a:cubicBezTo>
                    <a:cubicBezTo>
                      <a:pt x="464" y="740"/>
                      <a:pt x="466" y="740"/>
                      <a:pt x="466" y="739"/>
                    </a:cubicBezTo>
                    <a:cubicBezTo>
                      <a:pt x="468" y="738"/>
                      <a:pt x="465" y="737"/>
                      <a:pt x="465" y="736"/>
                    </a:cubicBezTo>
                    <a:cubicBezTo>
                      <a:pt x="464" y="735"/>
                      <a:pt x="465" y="735"/>
                      <a:pt x="465" y="734"/>
                    </a:cubicBezTo>
                    <a:cubicBezTo>
                      <a:pt x="466" y="734"/>
                      <a:pt x="465" y="732"/>
                      <a:pt x="464" y="733"/>
                    </a:cubicBezTo>
                    <a:cubicBezTo>
                      <a:pt x="463" y="733"/>
                      <a:pt x="462" y="733"/>
                      <a:pt x="461" y="734"/>
                    </a:cubicBezTo>
                    <a:cubicBezTo>
                      <a:pt x="460" y="734"/>
                      <a:pt x="459" y="734"/>
                      <a:pt x="458" y="734"/>
                    </a:cubicBezTo>
                    <a:cubicBezTo>
                      <a:pt x="457" y="736"/>
                      <a:pt x="459" y="736"/>
                      <a:pt x="461" y="737"/>
                    </a:cubicBezTo>
                    <a:cubicBezTo>
                      <a:pt x="461" y="737"/>
                      <a:pt x="462" y="738"/>
                      <a:pt x="462" y="739"/>
                    </a:cubicBezTo>
                    <a:cubicBezTo>
                      <a:pt x="461" y="740"/>
                      <a:pt x="459" y="739"/>
                      <a:pt x="459" y="739"/>
                    </a:cubicBezTo>
                    <a:cubicBezTo>
                      <a:pt x="458" y="739"/>
                      <a:pt x="456" y="739"/>
                      <a:pt x="455" y="739"/>
                    </a:cubicBezTo>
                    <a:cubicBezTo>
                      <a:pt x="454" y="739"/>
                      <a:pt x="453" y="740"/>
                      <a:pt x="452" y="741"/>
                    </a:cubicBezTo>
                    <a:cubicBezTo>
                      <a:pt x="451" y="741"/>
                      <a:pt x="450" y="742"/>
                      <a:pt x="449" y="742"/>
                    </a:cubicBezTo>
                    <a:cubicBezTo>
                      <a:pt x="448" y="743"/>
                      <a:pt x="447" y="743"/>
                      <a:pt x="447" y="744"/>
                    </a:cubicBezTo>
                    <a:cubicBezTo>
                      <a:pt x="446" y="744"/>
                      <a:pt x="447" y="745"/>
                      <a:pt x="447" y="745"/>
                    </a:cubicBezTo>
                    <a:cubicBezTo>
                      <a:pt x="446" y="746"/>
                      <a:pt x="446" y="746"/>
                      <a:pt x="445" y="746"/>
                    </a:cubicBezTo>
                    <a:cubicBezTo>
                      <a:pt x="442" y="746"/>
                      <a:pt x="444" y="744"/>
                      <a:pt x="442" y="743"/>
                    </a:cubicBezTo>
                    <a:cubicBezTo>
                      <a:pt x="440" y="741"/>
                      <a:pt x="439" y="743"/>
                      <a:pt x="437" y="744"/>
                    </a:cubicBezTo>
                    <a:cubicBezTo>
                      <a:pt x="436" y="744"/>
                      <a:pt x="435" y="743"/>
                      <a:pt x="434" y="744"/>
                    </a:cubicBezTo>
                    <a:cubicBezTo>
                      <a:pt x="433" y="744"/>
                      <a:pt x="432" y="744"/>
                      <a:pt x="431" y="745"/>
                    </a:cubicBezTo>
                    <a:cubicBezTo>
                      <a:pt x="430" y="745"/>
                      <a:pt x="428" y="745"/>
                      <a:pt x="429" y="744"/>
                    </a:cubicBezTo>
                    <a:cubicBezTo>
                      <a:pt x="429" y="743"/>
                      <a:pt x="430" y="743"/>
                      <a:pt x="431" y="743"/>
                    </a:cubicBezTo>
                    <a:cubicBezTo>
                      <a:pt x="432" y="743"/>
                      <a:pt x="433" y="742"/>
                      <a:pt x="432" y="741"/>
                    </a:cubicBezTo>
                    <a:cubicBezTo>
                      <a:pt x="431" y="741"/>
                      <a:pt x="429" y="741"/>
                      <a:pt x="429" y="741"/>
                    </a:cubicBezTo>
                    <a:cubicBezTo>
                      <a:pt x="428" y="739"/>
                      <a:pt x="431" y="738"/>
                      <a:pt x="430" y="737"/>
                    </a:cubicBezTo>
                    <a:cubicBezTo>
                      <a:pt x="429" y="736"/>
                      <a:pt x="427" y="738"/>
                      <a:pt x="425" y="738"/>
                    </a:cubicBezTo>
                    <a:cubicBezTo>
                      <a:pt x="424" y="739"/>
                      <a:pt x="424" y="738"/>
                      <a:pt x="425" y="737"/>
                    </a:cubicBezTo>
                    <a:cubicBezTo>
                      <a:pt x="425" y="736"/>
                      <a:pt x="426" y="736"/>
                      <a:pt x="426" y="736"/>
                    </a:cubicBezTo>
                    <a:cubicBezTo>
                      <a:pt x="427" y="735"/>
                      <a:pt x="428" y="734"/>
                      <a:pt x="428" y="734"/>
                    </a:cubicBezTo>
                    <a:cubicBezTo>
                      <a:pt x="428" y="733"/>
                      <a:pt x="426" y="733"/>
                      <a:pt x="425" y="733"/>
                    </a:cubicBezTo>
                    <a:cubicBezTo>
                      <a:pt x="424" y="733"/>
                      <a:pt x="424" y="734"/>
                      <a:pt x="423" y="735"/>
                    </a:cubicBezTo>
                    <a:cubicBezTo>
                      <a:pt x="422" y="735"/>
                      <a:pt x="421" y="736"/>
                      <a:pt x="420" y="736"/>
                    </a:cubicBezTo>
                    <a:cubicBezTo>
                      <a:pt x="419" y="736"/>
                      <a:pt x="418" y="736"/>
                      <a:pt x="418" y="735"/>
                    </a:cubicBezTo>
                    <a:cubicBezTo>
                      <a:pt x="418" y="734"/>
                      <a:pt x="419" y="734"/>
                      <a:pt x="419" y="733"/>
                    </a:cubicBezTo>
                    <a:cubicBezTo>
                      <a:pt x="420" y="733"/>
                      <a:pt x="420" y="732"/>
                      <a:pt x="419" y="731"/>
                    </a:cubicBezTo>
                    <a:cubicBezTo>
                      <a:pt x="419" y="731"/>
                      <a:pt x="418" y="732"/>
                      <a:pt x="418" y="731"/>
                    </a:cubicBezTo>
                    <a:cubicBezTo>
                      <a:pt x="417" y="728"/>
                      <a:pt x="421" y="730"/>
                      <a:pt x="421" y="728"/>
                    </a:cubicBezTo>
                    <a:cubicBezTo>
                      <a:pt x="422" y="726"/>
                      <a:pt x="417" y="727"/>
                      <a:pt x="416" y="727"/>
                    </a:cubicBezTo>
                    <a:cubicBezTo>
                      <a:pt x="414" y="728"/>
                      <a:pt x="411" y="730"/>
                      <a:pt x="410" y="728"/>
                    </a:cubicBezTo>
                    <a:cubicBezTo>
                      <a:pt x="409" y="726"/>
                      <a:pt x="411" y="727"/>
                      <a:pt x="411" y="727"/>
                    </a:cubicBezTo>
                    <a:cubicBezTo>
                      <a:pt x="412" y="727"/>
                      <a:pt x="414" y="727"/>
                      <a:pt x="415" y="726"/>
                    </a:cubicBezTo>
                    <a:cubicBezTo>
                      <a:pt x="416" y="726"/>
                      <a:pt x="415" y="725"/>
                      <a:pt x="414" y="725"/>
                    </a:cubicBezTo>
                    <a:cubicBezTo>
                      <a:pt x="413" y="725"/>
                      <a:pt x="411" y="726"/>
                      <a:pt x="410" y="725"/>
                    </a:cubicBezTo>
                    <a:cubicBezTo>
                      <a:pt x="410" y="725"/>
                      <a:pt x="412" y="722"/>
                      <a:pt x="412" y="722"/>
                    </a:cubicBezTo>
                    <a:cubicBezTo>
                      <a:pt x="412" y="721"/>
                      <a:pt x="411" y="721"/>
                      <a:pt x="410" y="721"/>
                    </a:cubicBezTo>
                    <a:cubicBezTo>
                      <a:pt x="409" y="722"/>
                      <a:pt x="408" y="720"/>
                      <a:pt x="410" y="720"/>
                    </a:cubicBezTo>
                    <a:cubicBezTo>
                      <a:pt x="410" y="719"/>
                      <a:pt x="411" y="719"/>
                      <a:pt x="412" y="718"/>
                    </a:cubicBezTo>
                    <a:cubicBezTo>
                      <a:pt x="412" y="718"/>
                      <a:pt x="413" y="716"/>
                      <a:pt x="412" y="716"/>
                    </a:cubicBezTo>
                    <a:cubicBezTo>
                      <a:pt x="411" y="717"/>
                      <a:pt x="409" y="718"/>
                      <a:pt x="407" y="718"/>
                    </a:cubicBezTo>
                    <a:cubicBezTo>
                      <a:pt x="405" y="719"/>
                      <a:pt x="406" y="717"/>
                      <a:pt x="408" y="716"/>
                    </a:cubicBezTo>
                    <a:cubicBezTo>
                      <a:pt x="409" y="716"/>
                      <a:pt x="410" y="716"/>
                      <a:pt x="411" y="715"/>
                    </a:cubicBezTo>
                    <a:cubicBezTo>
                      <a:pt x="412" y="714"/>
                      <a:pt x="412" y="713"/>
                      <a:pt x="411" y="713"/>
                    </a:cubicBezTo>
                    <a:cubicBezTo>
                      <a:pt x="409" y="713"/>
                      <a:pt x="410" y="710"/>
                      <a:pt x="409" y="710"/>
                    </a:cubicBezTo>
                    <a:cubicBezTo>
                      <a:pt x="408" y="709"/>
                      <a:pt x="407" y="711"/>
                      <a:pt x="407" y="711"/>
                    </a:cubicBezTo>
                    <a:cubicBezTo>
                      <a:pt x="407" y="712"/>
                      <a:pt x="406" y="713"/>
                      <a:pt x="405" y="714"/>
                    </a:cubicBezTo>
                    <a:cubicBezTo>
                      <a:pt x="404" y="716"/>
                      <a:pt x="402" y="712"/>
                      <a:pt x="404" y="711"/>
                    </a:cubicBezTo>
                    <a:cubicBezTo>
                      <a:pt x="404" y="711"/>
                      <a:pt x="405" y="710"/>
                      <a:pt x="405" y="709"/>
                    </a:cubicBezTo>
                    <a:cubicBezTo>
                      <a:pt x="404" y="708"/>
                      <a:pt x="402" y="708"/>
                      <a:pt x="401" y="709"/>
                    </a:cubicBezTo>
                    <a:cubicBezTo>
                      <a:pt x="398" y="709"/>
                      <a:pt x="397" y="708"/>
                      <a:pt x="394" y="707"/>
                    </a:cubicBezTo>
                    <a:cubicBezTo>
                      <a:pt x="393" y="706"/>
                      <a:pt x="393" y="706"/>
                      <a:pt x="392" y="705"/>
                    </a:cubicBezTo>
                    <a:cubicBezTo>
                      <a:pt x="391" y="704"/>
                      <a:pt x="390" y="704"/>
                      <a:pt x="389" y="704"/>
                    </a:cubicBezTo>
                    <a:cubicBezTo>
                      <a:pt x="387" y="704"/>
                      <a:pt x="387" y="700"/>
                      <a:pt x="388" y="699"/>
                    </a:cubicBezTo>
                    <a:cubicBezTo>
                      <a:pt x="390" y="698"/>
                      <a:pt x="391" y="696"/>
                      <a:pt x="392" y="695"/>
                    </a:cubicBezTo>
                    <a:cubicBezTo>
                      <a:pt x="393" y="695"/>
                      <a:pt x="396" y="692"/>
                      <a:pt x="394" y="693"/>
                    </a:cubicBezTo>
                    <a:cubicBezTo>
                      <a:pt x="393" y="693"/>
                      <a:pt x="389" y="696"/>
                      <a:pt x="389" y="694"/>
                    </a:cubicBezTo>
                    <a:cubicBezTo>
                      <a:pt x="389" y="694"/>
                      <a:pt x="390" y="693"/>
                      <a:pt x="391" y="693"/>
                    </a:cubicBezTo>
                    <a:cubicBezTo>
                      <a:pt x="392" y="692"/>
                      <a:pt x="393" y="691"/>
                      <a:pt x="394" y="690"/>
                    </a:cubicBezTo>
                    <a:cubicBezTo>
                      <a:pt x="394" y="690"/>
                      <a:pt x="397" y="689"/>
                      <a:pt x="397" y="688"/>
                    </a:cubicBezTo>
                    <a:cubicBezTo>
                      <a:pt x="397" y="687"/>
                      <a:pt x="395" y="687"/>
                      <a:pt x="395" y="688"/>
                    </a:cubicBezTo>
                    <a:cubicBezTo>
                      <a:pt x="394" y="688"/>
                      <a:pt x="395" y="689"/>
                      <a:pt x="394" y="689"/>
                    </a:cubicBezTo>
                    <a:cubicBezTo>
                      <a:pt x="393" y="689"/>
                      <a:pt x="392" y="690"/>
                      <a:pt x="391" y="690"/>
                    </a:cubicBezTo>
                    <a:cubicBezTo>
                      <a:pt x="390" y="690"/>
                      <a:pt x="390" y="689"/>
                      <a:pt x="388" y="689"/>
                    </a:cubicBezTo>
                    <a:cubicBezTo>
                      <a:pt x="387" y="690"/>
                      <a:pt x="383" y="691"/>
                      <a:pt x="383" y="689"/>
                    </a:cubicBezTo>
                    <a:cubicBezTo>
                      <a:pt x="382" y="687"/>
                      <a:pt x="386" y="686"/>
                      <a:pt x="387" y="686"/>
                    </a:cubicBezTo>
                    <a:cubicBezTo>
                      <a:pt x="388" y="685"/>
                      <a:pt x="390" y="685"/>
                      <a:pt x="391" y="683"/>
                    </a:cubicBezTo>
                    <a:cubicBezTo>
                      <a:pt x="391" y="683"/>
                      <a:pt x="390" y="683"/>
                      <a:pt x="390" y="683"/>
                    </a:cubicBezTo>
                    <a:cubicBezTo>
                      <a:pt x="388" y="683"/>
                      <a:pt x="387" y="683"/>
                      <a:pt x="385" y="683"/>
                    </a:cubicBezTo>
                    <a:cubicBezTo>
                      <a:pt x="383" y="684"/>
                      <a:pt x="381" y="686"/>
                      <a:pt x="379" y="684"/>
                    </a:cubicBezTo>
                    <a:cubicBezTo>
                      <a:pt x="378" y="682"/>
                      <a:pt x="376" y="685"/>
                      <a:pt x="375" y="682"/>
                    </a:cubicBezTo>
                    <a:cubicBezTo>
                      <a:pt x="373" y="679"/>
                      <a:pt x="378" y="681"/>
                      <a:pt x="379" y="681"/>
                    </a:cubicBezTo>
                    <a:cubicBezTo>
                      <a:pt x="381" y="681"/>
                      <a:pt x="383" y="680"/>
                      <a:pt x="385" y="680"/>
                    </a:cubicBezTo>
                    <a:cubicBezTo>
                      <a:pt x="386" y="679"/>
                      <a:pt x="387" y="679"/>
                      <a:pt x="387" y="678"/>
                    </a:cubicBezTo>
                    <a:cubicBezTo>
                      <a:pt x="386" y="677"/>
                      <a:pt x="385" y="678"/>
                      <a:pt x="384" y="678"/>
                    </a:cubicBezTo>
                    <a:cubicBezTo>
                      <a:pt x="382" y="679"/>
                      <a:pt x="376" y="680"/>
                      <a:pt x="376" y="678"/>
                    </a:cubicBezTo>
                    <a:cubicBezTo>
                      <a:pt x="374" y="675"/>
                      <a:pt x="378" y="676"/>
                      <a:pt x="379" y="675"/>
                    </a:cubicBezTo>
                    <a:cubicBezTo>
                      <a:pt x="380" y="674"/>
                      <a:pt x="377" y="674"/>
                      <a:pt x="377" y="674"/>
                    </a:cubicBezTo>
                    <a:cubicBezTo>
                      <a:pt x="376" y="674"/>
                      <a:pt x="376" y="674"/>
                      <a:pt x="375" y="674"/>
                    </a:cubicBezTo>
                    <a:cubicBezTo>
                      <a:pt x="375" y="674"/>
                      <a:pt x="374" y="674"/>
                      <a:pt x="375" y="673"/>
                    </a:cubicBezTo>
                    <a:cubicBezTo>
                      <a:pt x="377" y="673"/>
                      <a:pt x="379" y="673"/>
                      <a:pt x="381" y="673"/>
                    </a:cubicBezTo>
                    <a:cubicBezTo>
                      <a:pt x="381" y="673"/>
                      <a:pt x="385" y="672"/>
                      <a:pt x="384" y="671"/>
                    </a:cubicBezTo>
                    <a:cubicBezTo>
                      <a:pt x="382" y="670"/>
                      <a:pt x="379" y="671"/>
                      <a:pt x="377" y="671"/>
                    </a:cubicBezTo>
                    <a:cubicBezTo>
                      <a:pt x="375" y="670"/>
                      <a:pt x="373" y="671"/>
                      <a:pt x="372" y="674"/>
                    </a:cubicBezTo>
                    <a:cubicBezTo>
                      <a:pt x="371" y="676"/>
                      <a:pt x="368" y="675"/>
                      <a:pt x="368" y="673"/>
                    </a:cubicBezTo>
                    <a:cubicBezTo>
                      <a:pt x="368" y="672"/>
                      <a:pt x="368" y="671"/>
                      <a:pt x="369" y="670"/>
                    </a:cubicBezTo>
                    <a:cubicBezTo>
                      <a:pt x="369" y="669"/>
                      <a:pt x="369" y="668"/>
                      <a:pt x="370" y="668"/>
                    </a:cubicBezTo>
                    <a:cubicBezTo>
                      <a:pt x="372" y="666"/>
                      <a:pt x="375" y="667"/>
                      <a:pt x="376" y="665"/>
                    </a:cubicBezTo>
                    <a:cubicBezTo>
                      <a:pt x="377" y="664"/>
                      <a:pt x="375" y="664"/>
                      <a:pt x="374" y="665"/>
                    </a:cubicBezTo>
                    <a:cubicBezTo>
                      <a:pt x="373" y="665"/>
                      <a:pt x="372" y="665"/>
                      <a:pt x="371" y="666"/>
                    </a:cubicBezTo>
                    <a:cubicBezTo>
                      <a:pt x="371" y="666"/>
                      <a:pt x="369" y="667"/>
                      <a:pt x="369" y="666"/>
                    </a:cubicBezTo>
                    <a:cubicBezTo>
                      <a:pt x="368" y="665"/>
                      <a:pt x="369" y="663"/>
                      <a:pt x="370" y="662"/>
                    </a:cubicBezTo>
                    <a:cubicBezTo>
                      <a:pt x="370" y="660"/>
                      <a:pt x="373" y="661"/>
                      <a:pt x="375" y="661"/>
                    </a:cubicBezTo>
                    <a:cubicBezTo>
                      <a:pt x="377" y="661"/>
                      <a:pt x="380" y="659"/>
                      <a:pt x="382" y="659"/>
                    </a:cubicBezTo>
                    <a:cubicBezTo>
                      <a:pt x="384" y="659"/>
                      <a:pt x="387" y="656"/>
                      <a:pt x="388" y="658"/>
                    </a:cubicBezTo>
                    <a:cubicBezTo>
                      <a:pt x="389" y="659"/>
                      <a:pt x="389" y="660"/>
                      <a:pt x="390" y="660"/>
                    </a:cubicBezTo>
                    <a:cubicBezTo>
                      <a:pt x="391" y="660"/>
                      <a:pt x="392" y="659"/>
                      <a:pt x="392" y="658"/>
                    </a:cubicBezTo>
                    <a:cubicBezTo>
                      <a:pt x="392" y="656"/>
                      <a:pt x="389" y="656"/>
                      <a:pt x="387" y="656"/>
                    </a:cubicBezTo>
                    <a:cubicBezTo>
                      <a:pt x="385" y="655"/>
                      <a:pt x="386" y="652"/>
                      <a:pt x="387" y="651"/>
                    </a:cubicBezTo>
                    <a:cubicBezTo>
                      <a:pt x="389" y="650"/>
                      <a:pt x="391" y="650"/>
                      <a:pt x="392" y="651"/>
                    </a:cubicBezTo>
                    <a:cubicBezTo>
                      <a:pt x="394" y="652"/>
                      <a:pt x="396" y="654"/>
                      <a:pt x="398" y="654"/>
                    </a:cubicBezTo>
                    <a:cubicBezTo>
                      <a:pt x="401" y="653"/>
                      <a:pt x="396" y="651"/>
                      <a:pt x="395" y="650"/>
                    </a:cubicBezTo>
                    <a:cubicBezTo>
                      <a:pt x="393" y="649"/>
                      <a:pt x="392" y="647"/>
                      <a:pt x="391" y="645"/>
                    </a:cubicBezTo>
                    <a:cubicBezTo>
                      <a:pt x="391" y="643"/>
                      <a:pt x="392" y="642"/>
                      <a:pt x="392" y="640"/>
                    </a:cubicBezTo>
                    <a:cubicBezTo>
                      <a:pt x="392" y="640"/>
                      <a:pt x="393" y="639"/>
                      <a:pt x="393" y="638"/>
                    </a:cubicBezTo>
                    <a:cubicBezTo>
                      <a:pt x="392" y="637"/>
                      <a:pt x="390" y="639"/>
                      <a:pt x="390" y="639"/>
                    </a:cubicBezTo>
                    <a:cubicBezTo>
                      <a:pt x="389" y="641"/>
                      <a:pt x="387" y="642"/>
                      <a:pt x="385" y="641"/>
                    </a:cubicBezTo>
                    <a:cubicBezTo>
                      <a:pt x="384" y="641"/>
                      <a:pt x="383" y="641"/>
                      <a:pt x="382" y="639"/>
                    </a:cubicBezTo>
                    <a:cubicBezTo>
                      <a:pt x="382" y="638"/>
                      <a:pt x="382" y="637"/>
                      <a:pt x="380" y="636"/>
                    </a:cubicBezTo>
                    <a:cubicBezTo>
                      <a:pt x="379" y="635"/>
                      <a:pt x="380" y="632"/>
                      <a:pt x="380" y="631"/>
                    </a:cubicBezTo>
                    <a:cubicBezTo>
                      <a:pt x="381" y="629"/>
                      <a:pt x="379" y="630"/>
                      <a:pt x="378" y="630"/>
                    </a:cubicBezTo>
                    <a:cubicBezTo>
                      <a:pt x="377" y="630"/>
                      <a:pt x="375" y="629"/>
                      <a:pt x="375" y="630"/>
                    </a:cubicBezTo>
                    <a:cubicBezTo>
                      <a:pt x="374" y="631"/>
                      <a:pt x="376" y="633"/>
                      <a:pt x="376" y="634"/>
                    </a:cubicBezTo>
                    <a:cubicBezTo>
                      <a:pt x="376" y="635"/>
                      <a:pt x="377" y="636"/>
                      <a:pt x="377" y="636"/>
                    </a:cubicBezTo>
                    <a:cubicBezTo>
                      <a:pt x="378" y="637"/>
                      <a:pt x="379" y="637"/>
                      <a:pt x="379" y="638"/>
                    </a:cubicBezTo>
                    <a:cubicBezTo>
                      <a:pt x="379" y="640"/>
                      <a:pt x="381" y="640"/>
                      <a:pt x="380" y="642"/>
                    </a:cubicBezTo>
                    <a:cubicBezTo>
                      <a:pt x="379" y="643"/>
                      <a:pt x="377" y="643"/>
                      <a:pt x="376" y="643"/>
                    </a:cubicBezTo>
                    <a:cubicBezTo>
                      <a:pt x="376" y="644"/>
                      <a:pt x="374" y="645"/>
                      <a:pt x="374" y="645"/>
                    </a:cubicBezTo>
                    <a:cubicBezTo>
                      <a:pt x="373" y="644"/>
                      <a:pt x="373" y="643"/>
                      <a:pt x="374" y="642"/>
                    </a:cubicBezTo>
                    <a:cubicBezTo>
                      <a:pt x="374" y="642"/>
                      <a:pt x="375" y="642"/>
                      <a:pt x="374" y="641"/>
                    </a:cubicBezTo>
                    <a:cubicBezTo>
                      <a:pt x="374" y="640"/>
                      <a:pt x="373" y="640"/>
                      <a:pt x="372" y="640"/>
                    </a:cubicBezTo>
                    <a:cubicBezTo>
                      <a:pt x="371" y="640"/>
                      <a:pt x="371" y="642"/>
                      <a:pt x="371" y="643"/>
                    </a:cubicBezTo>
                    <a:cubicBezTo>
                      <a:pt x="370" y="644"/>
                      <a:pt x="369" y="645"/>
                      <a:pt x="368" y="645"/>
                    </a:cubicBezTo>
                    <a:cubicBezTo>
                      <a:pt x="368" y="645"/>
                      <a:pt x="367" y="646"/>
                      <a:pt x="367" y="646"/>
                    </a:cubicBezTo>
                    <a:cubicBezTo>
                      <a:pt x="366" y="647"/>
                      <a:pt x="366" y="648"/>
                      <a:pt x="366" y="649"/>
                    </a:cubicBezTo>
                    <a:cubicBezTo>
                      <a:pt x="365" y="650"/>
                      <a:pt x="364" y="650"/>
                      <a:pt x="364" y="651"/>
                    </a:cubicBezTo>
                    <a:cubicBezTo>
                      <a:pt x="363" y="653"/>
                      <a:pt x="365" y="655"/>
                      <a:pt x="363" y="657"/>
                    </a:cubicBezTo>
                    <a:cubicBezTo>
                      <a:pt x="362" y="660"/>
                      <a:pt x="360" y="659"/>
                      <a:pt x="359" y="657"/>
                    </a:cubicBezTo>
                    <a:cubicBezTo>
                      <a:pt x="357" y="654"/>
                      <a:pt x="358" y="652"/>
                      <a:pt x="358" y="650"/>
                    </a:cubicBezTo>
                    <a:cubicBezTo>
                      <a:pt x="357" y="647"/>
                      <a:pt x="355" y="645"/>
                      <a:pt x="358" y="643"/>
                    </a:cubicBezTo>
                    <a:cubicBezTo>
                      <a:pt x="359" y="642"/>
                      <a:pt x="360" y="642"/>
                      <a:pt x="361" y="642"/>
                    </a:cubicBezTo>
                    <a:cubicBezTo>
                      <a:pt x="363" y="642"/>
                      <a:pt x="363" y="641"/>
                      <a:pt x="364" y="640"/>
                    </a:cubicBezTo>
                    <a:cubicBezTo>
                      <a:pt x="366" y="639"/>
                      <a:pt x="369" y="638"/>
                      <a:pt x="371" y="636"/>
                    </a:cubicBezTo>
                    <a:cubicBezTo>
                      <a:pt x="372" y="635"/>
                      <a:pt x="371" y="632"/>
                      <a:pt x="369" y="634"/>
                    </a:cubicBezTo>
                    <a:cubicBezTo>
                      <a:pt x="369" y="635"/>
                      <a:pt x="369" y="636"/>
                      <a:pt x="368" y="636"/>
                    </a:cubicBezTo>
                    <a:cubicBezTo>
                      <a:pt x="367" y="636"/>
                      <a:pt x="366" y="635"/>
                      <a:pt x="365" y="635"/>
                    </a:cubicBezTo>
                    <a:cubicBezTo>
                      <a:pt x="363" y="634"/>
                      <a:pt x="363" y="637"/>
                      <a:pt x="362" y="638"/>
                    </a:cubicBezTo>
                    <a:cubicBezTo>
                      <a:pt x="361" y="638"/>
                      <a:pt x="360" y="638"/>
                      <a:pt x="360" y="638"/>
                    </a:cubicBezTo>
                    <a:cubicBezTo>
                      <a:pt x="358" y="637"/>
                      <a:pt x="359" y="636"/>
                      <a:pt x="358" y="635"/>
                    </a:cubicBezTo>
                    <a:cubicBezTo>
                      <a:pt x="356" y="634"/>
                      <a:pt x="354" y="635"/>
                      <a:pt x="354" y="632"/>
                    </a:cubicBezTo>
                    <a:cubicBezTo>
                      <a:pt x="354" y="630"/>
                      <a:pt x="357" y="630"/>
                      <a:pt x="358" y="628"/>
                    </a:cubicBezTo>
                    <a:cubicBezTo>
                      <a:pt x="359" y="627"/>
                      <a:pt x="359" y="626"/>
                      <a:pt x="357" y="626"/>
                    </a:cubicBezTo>
                    <a:cubicBezTo>
                      <a:pt x="356" y="626"/>
                      <a:pt x="352" y="626"/>
                      <a:pt x="352" y="625"/>
                    </a:cubicBezTo>
                    <a:cubicBezTo>
                      <a:pt x="352" y="624"/>
                      <a:pt x="355" y="622"/>
                      <a:pt x="357" y="622"/>
                    </a:cubicBezTo>
                    <a:cubicBezTo>
                      <a:pt x="358" y="622"/>
                      <a:pt x="359" y="622"/>
                      <a:pt x="360" y="621"/>
                    </a:cubicBezTo>
                    <a:cubicBezTo>
                      <a:pt x="361" y="620"/>
                      <a:pt x="361" y="618"/>
                      <a:pt x="362" y="618"/>
                    </a:cubicBezTo>
                    <a:cubicBezTo>
                      <a:pt x="364" y="616"/>
                      <a:pt x="368" y="616"/>
                      <a:pt x="370" y="615"/>
                    </a:cubicBezTo>
                    <a:cubicBezTo>
                      <a:pt x="373" y="615"/>
                      <a:pt x="376" y="615"/>
                      <a:pt x="379" y="616"/>
                    </a:cubicBezTo>
                    <a:cubicBezTo>
                      <a:pt x="380" y="616"/>
                      <a:pt x="381" y="617"/>
                      <a:pt x="382" y="616"/>
                    </a:cubicBezTo>
                    <a:cubicBezTo>
                      <a:pt x="384" y="616"/>
                      <a:pt x="382" y="615"/>
                      <a:pt x="381" y="615"/>
                    </a:cubicBezTo>
                    <a:cubicBezTo>
                      <a:pt x="380" y="615"/>
                      <a:pt x="379" y="614"/>
                      <a:pt x="377" y="614"/>
                    </a:cubicBezTo>
                    <a:cubicBezTo>
                      <a:pt x="376" y="613"/>
                      <a:pt x="374" y="614"/>
                      <a:pt x="373" y="614"/>
                    </a:cubicBezTo>
                    <a:cubicBezTo>
                      <a:pt x="372" y="613"/>
                      <a:pt x="371" y="613"/>
                      <a:pt x="370" y="612"/>
                    </a:cubicBezTo>
                    <a:cubicBezTo>
                      <a:pt x="369" y="612"/>
                      <a:pt x="367" y="612"/>
                      <a:pt x="366" y="613"/>
                    </a:cubicBezTo>
                    <a:cubicBezTo>
                      <a:pt x="365" y="614"/>
                      <a:pt x="365" y="614"/>
                      <a:pt x="363" y="614"/>
                    </a:cubicBezTo>
                    <a:cubicBezTo>
                      <a:pt x="362" y="615"/>
                      <a:pt x="360" y="614"/>
                      <a:pt x="359" y="615"/>
                    </a:cubicBezTo>
                    <a:cubicBezTo>
                      <a:pt x="358" y="615"/>
                      <a:pt x="358" y="616"/>
                      <a:pt x="358" y="617"/>
                    </a:cubicBezTo>
                    <a:cubicBezTo>
                      <a:pt x="358" y="618"/>
                      <a:pt x="357" y="619"/>
                      <a:pt x="357" y="619"/>
                    </a:cubicBezTo>
                    <a:cubicBezTo>
                      <a:pt x="356" y="620"/>
                      <a:pt x="355" y="620"/>
                      <a:pt x="354" y="621"/>
                    </a:cubicBezTo>
                    <a:cubicBezTo>
                      <a:pt x="352" y="621"/>
                      <a:pt x="352" y="622"/>
                      <a:pt x="350" y="621"/>
                    </a:cubicBezTo>
                    <a:cubicBezTo>
                      <a:pt x="349" y="620"/>
                      <a:pt x="351" y="618"/>
                      <a:pt x="351" y="617"/>
                    </a:cubicBezTo>
                    <a:cubicBezTo>
                      <a:pt x="352" y="615"/>
                      <a:pt x="348" y="616"/>
                      <a:pt x="347" y="616"/>
                    </a:cubicBezTo>
                    <a:cubicBezTo>
                      <a:pt x="346" y="615"/>
                      <a:pt x="347" y="612"/>
                      <a:pt x="346" y="613"/>
                    </a:cubicBezTo>
                    <a:cubicBezTo>
                      <a:pt x="345" y="613"/>
                      <a:pt x="345" y="614"/>
                      <a:pt x="344" y="615"/>
                    </a:cubicBezTo>
                    <a:cubicBezTo>
                      <a:pt x="344" y="615"/>
                      <a:pt x="341" y="615"/>
                      <a:pt x="342" y="615"/>
                    </a:cubicBezTo>
                    <a:cubicBezTo>
                      <a:pt x="342" y="614"/>
                      <a:pt x="342" y="614"/>
                      <a:pt x="343" y="614"/>
                    </a:cubicBezTo>
                    <a:cubicBezTo>
                      <a:pt x="344" y="613"/>
                      <a:pt x="344" y="612"/>
                      <a:pt x="345" y="611"/>
                    </a:cubicBezTo>
                    <a:cubicBezTo>
                      <a:pt x="347" y="609"/>
                      <a:pt x="350" y="612"/>
                      <a:pt x="352" y="612"/>
                    </a:cubicBezTo>
                    <a:cubicBezTo>
                      <a:pt x="355" y="612"/>
                      <a:pt x="355" y="610"/>
                      <a:pt x="358" y="609"/>
                    </a:cubicBezTo>
                    <a:cubicBezTo>
                      <a:pt x="359" y="608"/>
                      <a:pt x="361" y="609"/>
                      <a:pt x="362" y="609"/>
                    </a:cubicBezTo>
                    <a:cubicBezTo>
                      <a:pt x="364" y="608"/>
                      <a:pt x="364" y="606"/>
                      <a:pt x="363" y="605"/>
                    </a:cubicBezTo>
                    <a:cubicBezTo>
                      <a:pt x="363" y="604"/>
                      <a:pt x="362" y="605"/>
                      <a:pt x="361" y="605"/>
                    </a:cubicBezTo>
                    <a:cubicBezTo>
                      <a:pt x="360" y="606"/>
                      <a:pt x="359" y="606"/>
                      <a:pt x="357" y="606"/>
                    </a:cubicBezTo>
                    <a:cubicBezTo>
                      <a:pt x="355" y="606"/>
                      <a:pt x="354" y="609"/>
                      <a:pt x="352" y="608"/>
                    </a:cubicBezTo>
                    <a:cubicBezTo>
                      <a:pt x="351" y="607"/>
                      <a:pt x="350" y="606"/>
                      <a:pt x="348" y="606"/>
                    </a:cubicBezTo>
                    <a:cubicBezTo>
                      <a:pt x="347" y="607"/>
                      <a:pt x="346" y="608"/>
                      <a:pt x="344" y="608"/>
                    </a:cubicBezTo>
                    <a:cubicBezTo>
                      <a:pt x="344" y="608"/>
                      <a:pt x="343" y="609"/>
                      <a:pt x="342" y="609"/>
                    </a:cubicBezTo>
                    <a:cubicBezTo>
                      <a:pt x="342" y="610"/>
                      <a:pt x="341" y="610"/>
                      <a:pt x="340" y="610"/>
                    </a:cubicBezTo>
                    <a:cubicBezTo>
                      <a:pt x="339" y="609"/>
                      <a:pt x="341" y="608"/>
                      <a:pt x="342" y="608"/>
                    </a:cubicBezTo>
                    <a:cubicBezTo>
                      <a:pt x="342" y="607"/>
                      <a:pt x="343" y="607"/>
                      <a:pt x="343" y="607"/>
                    </a:cubicBezTo>
                    <a:cubicBezTo>
                      <a:pt x="343" y="605"/>
                      <a:pt x="341" y="606"/>
                      <a:pt x="340" y="606"/>
                    </a:cubicBezTo>
                    <a:cubicBezTo>
                      <a:pt x="340" y="606"/>
                      <a:pt x="336" y="605"/>
                      <a:pt x="337" y="604"/>
                    </a:cubicBezTo>
                    <a:cubicBezTo>
                      <a:pt x="339" y="604"/>
                      <a:pt x="340" y="605"/>
                      <a:pt x="342" y="604"/>
                    </a:cubicBezTo>
                    <a:cubicBezTo>
                      <a:pt x="343" y="604"/>
                      <a:pt x="343" y="603"/>
                      <a:pt x="344" y="602"/>
                    </a:cubicBezTo>
                    <a:cubicBezTo>
                      <a:pt x="346" y="601"/>
                      <a:pt x="347" y="600"/>
                      <a:pt x="348" y="599"/>
                    </a:cubicBezTo>
                    <a:cubicBezTo>
                      <a:pt x="351" y="598"/>
                      <a:pt x="353" y="597"/>
                      <a:pt x="356" y="596"/>
                    </a:cubicBezTo>
                    <a:cubicBezTo>
                      <a:pt x="358" y="595"/>
                      <a:pt x="359" y="592"/>
                      <a:pt x="361" y="591"/>
                    </a:cubicBezTo>
                    <a:cubicBezTo>
                      <a:pt x="363" y="589"/>
                      <a:pt x="365" y="588"/>
                      <a:pt x="367" y="586"/>
                    </a:cubicBezTo>
                    <a:cubicBezTo>
                      <a:pt x="369" y="585"/>
                      <a:pt x="373" y="584"/>
                      <a:pt x="376" y="584"/>
                    </a:cubicBezTo>
                    <a:cubicBezTo>
                      <a:pt x="377" y="584"/>
                      <a:pt x="378" y="585"/>
                      <a:pt x="379" y="585"/>
                    </a:cubicBezTo>
                    <a:cubicBezTo>
                      <a:pt x="381" y="585"/>
                      <a:pt x="382" y="585"/>
                      <a:pt x="384" y="585"/>
                    </a:cubicBezTo>
                    <a:cubicBezTo>
                      <a:pt x="384" y="585"/>
                      <a:pt x="386" y="585"/>
                      <a:pt x="386" y="584"/>
                    </a:cubicBezTo>
                    <a:cubicBezTo>
                      <a:pt x="386" y="583"/>
                      <a:pt x="384" y="583"/>
                      <a:pt x="384" y="583"/>
                    </a:cubicBezTo>
                    <a:cubicBezTo>
                      <a:pt x="382" y="583"/>
                      <a:pt x="376" y="584"/>
                      <a:pt x="378" y="581"/>
                    </a:cubicBezTo>
                    <a:cubicBezTo>
                      <a:pt x="379" y="579"/>
                      <a:pt x="382" y="579"/>
                      <a:pt x="383" y="580"/>
                    </a:cubicBezTo>
                    <a:cubicBezTo>
                      <a:pt x="386" y="580"/>
                      <a:pt x="389" y="581"/>
                      <a:pt x="392" y="581"/>
                    </a:cubicBezTo>
                    <a:cubicBezTo>
                      <a:pt x="392" y="580"/>
                      <a:pt x="393" y="580"/>
                      <a:pt x="392" y="579"/>
                    </a:cubicBezTo>
                    <a:cubicBezTo>
                      <a:pt x="391" y="578"/>
                      <a:pt x="390" y="579"/>
                      <a:pt x="389" y="579"/>
                    </a:cubicBezTo>
                    <a:cubicBezTo>
                      <a:pt x="388" y="579"/>
                      <a:pt x="387" y="578"/>
                      <a:pt x="386" y="577"/>
                    </a:cubicBezTo>
                    <a:cubicBezTo>
                      <a:pt x="386" y="576"/>
                      <a:pt x="384" y="577"/>
                      <a:pt x="383" y="577"/>
                    </a:cubicBezTo>
                    <a:cubicBezTo>
                      <a:pt x="380" y="578"/>
                      <a:pt x="378" y="578"/>
                      <a:pt x="375" y="578"/>
                    </a:cubicBezTo>
                    <a:cubicBezTo>
                      <a:pt x="374" y="579"/>
                      <a:pt x="374" y="580"/>
                      <a:pt x="373" y="580"/>
                    </a:cubicBezTo>
                    <a:cubicBezTo>
                      <a:pt x="371" y="581"/>
                      <a:pt x="370" y="582"/>
                      <a:pt x="369" y="582"/>
                    </a:cubicBezTo>
                    <a:cubicBezTo>
                      <a:pt x="367" y="584"/>
                      <a:pt x="364" y="584"/>
                      <a:pt x="362" y="585"/>
                    </a:cubicBezTo>
                    <a:cubicBezTo>
                      <a:pt x="361" y="586"/>
                      <a:pt x="360" y="587"/>
                      <a:pt x="359" y="587"/>
                    </a:cubicBezTo>
                    <a:cubicBezTo>
                      <a:pt x="358" y="588"/>
                      <a:pt x="357" y="589"/>
                      <a:pt x="357" y="590"/>
                    </a:cubicBezTo>
                    <a:cubicBezTo>
                      <a:pt x="355" y="593"/>
                      <a:pt x="354" y="594"/>
                      <a:pt x="351" y="594"/>
                    </a:cubicBezTo>
                    <a:cubicBezTo>
                      <a:pt x="349" y="595"/>
                      <a:pt x="345" y="595"/>
                      <a:pt x="344" y="597"/>
                    </a:cubicBezTo>
                    <a:cubicBezTo>
                      <a:pt x="343" y="598"/>
                      <a:pt x="343" y="599"/>
                      <a:pt x="342" y="600"/>
                    </a:cubicBezTo>
                    <a:cubicBezTo>
                      <a:pt x="341" y="601"/>
                      <a:pt x="340" y="601"/>
                      <a:pt x="339" y="601"/>
                    </a:cubicBezTo>
                    <a:cubicBezTo>
                      <a:pt x="337" y="602"/>
                      <a:pt x="335" y="603"/>
                      <a:pt x="333" y="602"/>
                    </a:cubicBezTo>
                    <a:cubicBezTo>
                      <a:pt x="331" y="602"/>
                      <a:pt x="333" y="602"/>
                      <a:pt x="333" y="601"/>
                    </a:cubicBezTo>
                    <a:cubicBezTo>
                      <a:pt x="334" y="601"/>
                      <a:pt x="335" y="601"/>
                      <a:pt x="336" y="601"/>
                    </a:cubicBezTo>
                    <a:cubicBezTo>
                      <a:pt x="337" y="601"/>
                      <a:pt x="338" y="599"/>
                      <a:pt x="338" y="599"/>
                    </a:cubicBezTo>
                    <a:cubicBezTo>
                      <a:pt x="337" y="599"/>
                      <a:pt x="336" y="599"/>
                      <a:pt x="336" y="599"/>
                    </a:cubicBezTo>
                    <a:cubicBezTo>
                      <a:pt x="335" y="599"/>
                      <a:pt x="333" y="599"/>
                      <a:pt x="332" y="598"/>
                    </a:cubicBezTo>
                    <a:cubicBezTo>
                      <a:pt x="331" y="596"/>
                      <a:pt x="333" y="594"/>
                      <a:pt x="334" y="593"/>
                    </a:cubicBezTo>
                    <a:cubicBezTo>
                      <a:pt x="337" y="593"/>
                      <a:pt x="339" y="594"/>
                      <a:pt x="341" y="594"/>
                    </a:cubicBezTo>
                    <a:cubicBezTo>
                      <a:pt x="343" y="594"/>
                      <a:pt x="344" y="594"/>
                      <a:pt x="345" y="593"/>
                    </a:cubicBezTo>
                    <a:cubicBezTo>
                      <a:pt x="346" y="593"/>
                      <a:pt x="347" y="593"/>
                      <a:pt x="349" y="592"/>
                    </a:cubicBezTo>
                    <a:cubicBezTo>
                      <a:pt x="350" y="592"/>
                      <a:pt x="349" y="591"/>
                      <a:pt x="348" y="591"/>
                    </a:cubicBezTo>
                    <a:cubicBezTo>
                      <a:pt x="347" y="591"/>
                      <a:pt x="346" y="592"/>
                      <a:pt x="344" y="592"/>
                    </a:cubicBezTo>
                    <a:cubicBezTo>
                      <a:pt x="343" y="592"/>
                      <a:pt x="342" y="592"/>
                      <a:pt x="340" y="592"/>
                    </a:cubicBezTo>
                    <a:cubicBezTo>
                      <a:pt x="339" y="592"/>
                      <a:pt x="339" y="592"/>
                      <a:pt x="338" y="591"/>
                    </a:cubicBezTo>
                    <a:cubicBezTo>
                      <a:pt x="337" y="591"/>
                      <a:pt x="337" y="591"/>
                      <a:pt x="336" y="590"/>
                    </a:cubicBezTo>
                    <a:cubicBezTo>
                      <a:pt x="334" y="589"/>
                      <a:pt x="337" y="589"/>
                      <a:pt x="338" y="589"/>
                    </a:cubicBezTo>
                    <a:cubicBezTo>
                      <a:pt x="340" y="589"/>
                      <a:pt x="342" y="589"/>
                      <a:pt x="344" y="588"/>
                    </a:cubicBezTo>
                    <a:cubicBezTo>
                      <a:pt x="345" y="588"/>
                      <a:pt x="347" y="588"/>
                      <a:pt x="348" y="587"/>
                    </a:cubicBezTo>
                    <a:cubicBezTo>
                      <a:pt x="349" y="586"/>
                      <a:pt x="347" y="585"/>
                      <a:pt x="348" y="585"/>
                    </a:cubicBezTo>
                    <a:cubicBezTo>
                      <a:pt x="349" y="583"/>
                      <a:pt x="354" y="584"/>
                      <a:pt x="354" y="582"/>
                    </a:cubicBezTo>
                    <a:cubicBezTo>
                      <a:pt x="354" y="581"/>
                      <a:pt x="351" y="578"/>
                      <a:pt x="349" y="578"/>
                    </a:cubicBezTo>
                    <a:cubicBezTo>
                      <a:pt x="349" y="579"/>
                      <a:pt x="348" y="580"/>
                      <a:pt x="348" y="580"/>
                    </a:cubicBezTo>
                    <a:cubicBezTo>
                      <a:pt x="346" y="581"/>
                      <a:pt x="345" y="581"/>
                      <a:pt x="344" y="582"/>
                    </a:cubicBezTo>
                    <a:cubicBezTo>
                      <a:pt x="343" y="582"/>
                      <a:pt x="342" y="581"/>
                      <a:pt x="340" y="581"/>
                    </a:cubicBezTo>
                    <a:cubicBezTo>
                      <a:pt x="339" y="581"/>
                      <a:pt x="338" y="581"/>
                      <a:pt x="336" y="581"/>
                    </a:cubicBezTo>
                    <a:cubicBezTo>
                      <a:pt x="335" y="581"/>
                      <a:pt x="334" y="581"/>
                      <a:pt x="333" y="581"/>
                    </a:cubicBezTo>
                    <a:cubicBezTo>
                      <a:pt x="332" y="581"/>
                      <a:pt x="332" y="580"/>
                      <a:pt x="333" y="580"/>
                    </a:cubicBezTo>
                    <a:cubicBezTo>
                      <a:pt x="334" y="579"/>
                      <a:pt x="337" y="581"/>
                      <a:pt x="338" y="579"/>
                    </a:cubicBezTo>
                    <a:cubicBezTo>
                      <a:pt x="339" y="578"/>
                      <a:pt x="334" y="578"/>
                      <a:pt x="333" y="578"/>
                    </a:cubicBezTo>
                    <a:cubicBezTo>
                      <a:pt x="332" y="578"/>
                      <a:pt x="330" y="579"/>
                      <a:pt x="330" y="578"/>
                    </a:cubicBezTo>
                    <a:cubicBezTo>
                      <a:pt x="330" y="576"/>
                      <a:pt x="333" y="577"/>
                      <a:pt x="334" y="577"/>
                    </a:cubicBezTo>
                    <a:cubicBezTo>
                      <a:pt x="335" y="576"/>
                      <a:pt x="334" y="575"/>
                      <a:pt x="334" y="575"/>
                    </a:cubicBezTo>
                    <a:cubicBezTo>
                      <a:pt x="332" y="576"/>
                      <a:pt x="331" y="575"/>
                      <a:pt x="330" y="575"/>
                    </a:cubicBezTo>
                    <a:cubicBezTo>
                      <a:pt x="329" y="575"/>
                      <a:pt x="328" y="576"/>
                      <a:pt x="327" y="576"/>
                    </a:cubicBezTo>
                    <a:cubicBezTo>
                      <a:pt x="326" y="575"/>
                      <a:pt x="329" y="574"/>
                      <a:pt x="329" y="574"/>
                    </a:cubicBezTo>
                    <a:cubicBezTo>
                      <a:pt x="331" y="574"/>
                      <a:pt x="332" y="574"/>
                      <a:pt x="333" y="574"/>
                    </a:cubicBezTo>
                    <a:cubicBezTo>
                      <a:pt x="335" y="573"/>
                      <a:pt x="336" y="573"/>
                      <a:pt x="337" y="572"/>
                    </a:cubicBezTo>
                    <a:cubicBezTo>
                      <a:pt x="338" y="572"/>
                      <a:pt x="339" y="572"/>
                      <a:pt x="341" y="572"/>
                    </a:cubicBezTo>
                    <a:cubicBezTo>
                      <a:pt x="342" y="572"/>
                      <a:pt x="344" y="571"/>
                      <a:pt x="345" y="571"/>
                    </a:cubicBezTo>
                    <a:cubicBezTo>
                      <a:pt x="348" y="570"/>
                      <a:pt x="351" y="570"/>
                      <a:pt x="354" y="570"/>
                    </a:cubicBezTo>
                    <a:cubicBezTo>
                      <a:pt x="355" y="570"/>
                      <a:pt x="357" y="569"/>
                      <a:pt x="358" y="569"/>
                    </a:cubicBezTo>
                    <a:cubicBezTo>
                      <a:pt x="360" y="569"/>
                      <a:pt x="361" y="570"/>
                      <a:pt x="363" y="570"/>
                    </a:cubicBezTo>
                    <a:cubicBezTo>
                      <a:pt x="364" y="571"/>
                      <a:pt x="365" y="571"/>
                      <a:pt x="366" y="571"/>
                    </a:cubicBezTo>
                    <a:cubicBezTo>
                      <a:pt x="367" y="571"/>
                      <a:pt x="367" y="572"/>
                      <a:pt x="368" y="573"/>
                    </a:cubicBezTo>
                    <a:cubicBezTo>
                      <a:pt x="370" y="575"/>
                      <a:pt x="373" y="575"/>
                      <a:pt x="376" y="575"/>
                    </a:cubicBezTo>
                    <a:cubicBezTo>
                      <a:pt x="377" y="575"/>
                      <a:pt x="378" y="575"/>
                      <a:pt x="380" y="574"/>
                    </a:cubicBezTo>
                    <a:cubicBezTo>
                      <a:pt x="381" y="574"/>
                      <a:pt x="382" y="574"/>
                      <a:pt x="383" y="574"/>
                    </a:cubicBezTo>
                    <a:cubicBezTo>
                      <a:pt x="385" y="574"/>
                      <a:pt x="387" y="573"/>
                      <a:pt x="384" y="572"/>
                    </a:cubicBezTo>
                    <a:cubicBezTo>
                      <a:pt x="382" y="572"/>
                      <a:pt x="380" y="572"/>
                      <a:pt x="378" y="572"/>
                    </a:cubicBezTo>
                    <a:cubicBezTo>
                      <a:pt x="376" y="573"/>
                      <a:pt x="373" y="574"/>
                      <a:pt x="371" y="572"/>
                    </a:cubicBezTo>
                    <a:cubicBezTo>
                      <a:pt x="370" y="571"/>
                      <a:pt x="368" y="569"/>
                      <a:pt x="371" y="568"/>
                    </a:cubicBezTo>
                    <a:cubicBezTo>
                      <a:pt x="371" y="568"/>
                      <a:pt x="372" y="568"/>
                      <a:pt x="373" y="568"/>
                    </a:cubicBezTo>
                    <a:cubicBezTo>
                      <a:pt x="373" y="567"/>
                      <a:pt x="372" y="566"/>
                      <a:pt x="371" y="566"/>
                    </a:cubicBezTo>
                    <a:cubicBezTo>
                      <a:pt x="369" y="566"/>
                      <a:pt x="368" y="568"/>
                      <a:pt x="365" y="568"/>
                    </a:cubicBezTo>
                    <a:cubicBezTo>
                      <a:pt x="364" y="568"/>
                      <a:pt x="363" y="568"/>
                      <a:pt x="362" y="567"/>
                    </a:cubicBezTo>
                    <a:cubicBezTo>
                      <a:pt x="360" y="567"/>
                      <a:pt x="359" y="567"/>
                      <a:pt x="357" y="567"/>
                    </a:cubicBezTo>
                    <a:cubicBezTo>
                      <a:pt x="354" y="566"/>
                      <a:pt x="353" y="567"/>
                      <a:pt x="350" y="568"/>
                    </a:cubicBezTo>
                    <a:cubicBezTo>
                      <a:pt x="349" y="568"/>
                      <a:pt x="347" y="568"/>
                      <a:pt x="346" y="568"/>
                    </a:cubicBezTo>
                    <a:cubicBezTo>
                      <a:pt x="344" y="569"/>
                      <a:pt x="343" y="570"/>
                      <a:pt x="341" y="569"/>
                    </a:cubicBezTo>
                    <a:cubicBezTo>
                      <a:pt x="340" y="569"/>
                      <a:pt x="339" y="569"/>
                      <a:pt x="338" y="569"/>
                    </a:cubicBezTo>
                    <a:cubicBezTo>
                      <a:pt x="337" y="569"/>
                      <a:pt x="336" y="569"/>
                      <a:pt x="335" y="570"/>
                    </a:cubicBezTo>
                    <a:cubicBezTo>
                      <a:pt x="333" y="570"/>
                      <a:pt x="329" y="572"/>
                      <a:pt x="328" y="571"/>
                    </a:cubicBezTo>
                    <a:cubicBezTo>
                      <a:pt x="325" y="570"/>
                      <a:pt x="329" y="568"/>
                      <a:pt x="330" y="567"/>
                    </a:cubicBezTo>
                    <a:cubicBezTo>
                      <a:pt x="332" y="566"/>
                      <a:pt x="335" y="565"/>
                      <a:pt x="338" y="563"/>
                    </a:cubicBezTo>
                    <a:cubicBezTo>
                      <a:pt x="340" y="562"/>
                      <a:pt x="342" y="561"/>
                      <a:pt x="344" y="560"/>
                    </a:cubicBezTo>
                    <a:cubicBezTo>
                      <a:pt x="346" y="558"/>
                      <a:pt x="348" y="557"/>
                      <a:pt x="351" y="557"/>
                    </a:cubicBezTo>
                    <a:cubicBezTo>
                      <a:pt x="354" y="558"/>
                      <a:pt x="356" y="560"/>
                      <a:pt x="359" y="560"/>
                    </a:cubicBezTo>
                    <a:cubicBezTo>
                      <a:pt x="360" y="560"/>
                      <a:pt x="362" y="560"/>
                      <a:pt x="363" y="560"/>
                    </a:cubicBezTo>
                    <a:cubicBezTo>
                      <a:pt x="365" y="560"/>
                      <a:pt x="366" y="560"/>
                      <a:pt x="367" y="561"/>
                    </a:cubicBezTo>
                    <a:cubicBezTo>
                      <a:pt x="368" y="561"/>
                      <a:pt x="370" y="561"/>
                      <a:pt x="371" y="561"/>
                    </a:cubicBezTo>
                    <a:cubicBezTo>
                      <a:pt x="373" y="561"/>
                      <a:pt x="374" y="562"/>
                      <a:pt x="376" y="562"/>
                    </a:cubicBezTo>
                    <a:cubicBezTo>
                      <a:pt x="377" y="562"/>
                      <a:pt x="378" y="563"/>
                      <a:pt x="379" y="563"/>
                    </a:cubicBezTo>
                    <a:cubicBezTo>
                      <a:pt x="380" y="563"/>
                      <a:pt x="381" y="564"/>
                      <a:pt x="382" y="564"/>
                    </a:cubicBezTo>
                    <a:cubicBezTo>
                      <a:pt x="384" y="565"/>
                      <a:pt x="387" y="565"/>
                      <a:pt x="389" y="565"/>
                    </a:cubicBezTo>
                    <a:cubicBezTo>
                      <a:pt x="390" y="565"/>
                      <a:pt x="391" y="565"/>
                      <a:pt x="391" y="565"/>
                    </a:cubicBezTo>
                    <a:cubicBezTo>
                      <a:pt x="392" y="565"/>
                      <a:pt x="391" y="564"/>
                      <a:pt x="391" y="564"/>
                    </a:cubicBezTo>
                    <a:cubicBezTo>
                      <a:pt x="389" y="563"/>
                      <a:pt x="388" y="561"/>
                      <a:pt x="390" y="561"/>
                    </a:cubicBezTo>
                    <a:cubicBezTo>
                      <a:pt x="391" y="561"/>
                      <a:pt x="392" y="560"/>
                      <a:pt x="393" y="560"/>
                    </a:cubicBezTo>
                    <a:cubicBezTo>
                      <a:pt x="393" y="559"/>
                      <a:pt x="393" y="557"/>
                      <a:pt x="391" y="557"/>
                    </a:cubicBezTo>
                    <a:cubicBezTo>
                      <a:pt x="389" y="556"/>
                      <a:pt x="387" y="559"/>
                      <a:pt x="385" y="559"/>
                    </a:cubicBezTo>
                    <a:cubicBezTo>
                      <a:pt x="382" y="559"/>
                      <a:pt x="384" y="557"/>
                      <a:pt x="385" y="556"/>
                    </a:cubicBezTo>
                    <a:cubicBezTo>
                      <a:pt x="385" y="556"/>
                      <a:pt x="386" y="556"/>
                      <a:pt x="386" y="555"/>
                    </a:cubicBezTo>
                    <a:cubicBezTo>
                      <a:pt x="387" y="554"/>
                      <a:pt x="385" y="555"/>
                      <a:pt x="385" y="554"/>
                    </a:cubicBezTo>
                    <a:cubicBezTo>
                      <a:pt x="384" y="553"/>
                      <a:pt x="383" y="553"/>
                      <a:pt x="382" y="553"/>
                    </a:cubicBezTo>
                    <a:cubicBezTo>
                      <a:pt x="381" y="554"/>
                      <a:pt x="380" y="555"/>
                      <a:pt x="379" y="555"/>
                    </a:cubicBezTo>
                    <a:cubicBezTo>
                      <a:pt x="378" y="556"/>
                      <a:pt x="375" y="557"/>
                      <a:pt x="375" y="556"/>
                    </a:cubicBezTo>
                    <a:cubicBezTo>
                      <a:pt x="375" y="555"/>
                      <a:pt x="376" y="554"/>
                      <a:pt x="375" y="552"/>
                    </a:cubicBezTo>
                    <a:cubicBezTo>
                      <a:pt x="375" y="551"/>
                      <a:pt x="375" y="550"/>
                      <a:pt x="377" y="550"/>
                    </a:cubicBezTo>
                    <a:cubicBezTo>
                      <a:pt x="379" y="550"/>
                      <a:pt x="379" y="552"/>
                      <a:pt x="381" y="552"/>
                    </a:cubicBezTo>
                    <a:cubicBezTo>
                      <a:pt x="383" y="551"/>
                      <a:pt x="385" y="552"/>
                      <a:pt x="388" y="552"/>
                    </a:cubicBezTo>
                    <a:cubicBezTo>
                      <a:pt x="390" y="552"/>
                      <a:pt x="387" y="551"/>
                      <a:pt x="386" y="550"/>
                    </a:cubicBezTo>
                    <a:cubicBezTo>
                      <a:pt x="384" y="550"/>
                      <a:pt x="382" y="550"/>
                      <a:pt x="380" y="549"/>
                    </a:cubicBezTo>
                    <a:cubicBezTo>
                      <a:pt x="379" y="549"/>
                      <a:pt x="378" y="548"/>
                      <a:pt x="377" y="547"/>
                    </a:cubicBezTo>
                    <a:cubicBezTo>
                      <a:pt x="377" y="547"/>
                      <a:pt x="378" y="545"/>
                      <a:pt x="377" y="545"/>
                    </a:cubicBezTo>
                    <a:cubicBezTo>
                      <a:pt x="375" y="544"/>
                      <a:pt x="373" y="543"/>
                      <a:pt x="374" y="541"/>
                    </a:cubicBezTo>
                    <a:cubicBezTo>
                      <a:pt x="375" y="540"/>
                      <a:pt x="377" y="539"/>
                      <a:pt x="378" y="538"/>
                    </a:cubicBezTo>
                    <a:cubicBezTo>
                      <a:pt x="379" y="536"/>
                      <a:pt x="379" y="534"/>
                      <a:pt x="376" y="535"/>
                    </a:cubicBezTo>
                    <a:cubicBezTo>
                      <a:pt x="376" y="536"/>
                      <a:pt x="375" y="536"/>
                      <a:pt x="374" y="536"/>
                    </a:cubicBezTo>
                    <a:cubicBezTo>
                      <a:pt x="373" y="537"/>
                      <a:pt x="374" y="538"/>
                      <a:pt x="372" y="538"/>
                    </a:cubicBezTo>
                    <a:cubicBezTo>
                      <a:pt x="372" y="538"/>
                      <a:pt x="366" y="537"/>
                      <a:pt x="366" y="538"/>
                    </a:cubicBezTo>
                    <a:cubicBezTo>
                      <a:pt x="366" y="540"/>
                      <a:pt x="366" y="540"/>
                      <a:pt x="367" y="540"/>
                    </a:cubicBezTo>
                    <a:cubicBezTo>
                      <a:pt x="368" y="541"/>
                      <a:pt x="369" y="542"/>
                      <a:pt x="368" y="542"/>
                    </a:cubicBezTo>
                    <a:cubicBezTo>
                      <a:pt x="367" y="543"/>
                      <a:pt x="365" y="543"/>
                      <a:pt x="364" y="543"/>
                    </a:cubicBezTo>
                    <a:cubicBezTo>
                      <a:pt x="363" y="543"/>
                      <a:pt x="361" y="544"/>
                      <a:pt x="360" y="544"/>
                    </a:cubicBezTo>
                    <a:cubicBezTo>
                      <a:pt x="359" y="544"/>
                      <a:pt x="357" y="544"/>
                      <a:pt x="356" y="544"/>
                    </a:cubicBezTo>
                    <a:cubicBezTo>
                      <a:pt x="355" y="544"/>
                      <a:pt x="353" y="544"/>
                      <a:pt x="352" y="544"/>
                    </a:cubicBezTo>
                    <a:cubicBezTo>
                      <a:pt x="351" y="543"/>
                      <a:pt x="350" y="541"/>
                      <a:pt x="348" y="540"/>
                    </a:cubicBezTo>
                    <a:cubicBezTo>
                      <a:pt x="347" y="540"/>
                      <a:pt x="345" y="539"/>
                      <a:pt x="346" y="539"/>
                    </a:cubicBezTo>
                    <a:cubicBezTo>
                      <a:pt x="347" y="538"/>
                      <a:pt x="349" y="538"/>
                      <a:pt x="350" y="538"/>
                    </a:cubicBezTo>
                    <a:cubicBezTo>
                      <a:pt x="351" y="537"/>
                      <a:pt x="351" y="536"/>
                      <a:pt x="352" y="535"/>
                    </a:cubicBezTo>
                    <a:cubicBezTo>
                      <a:pt x="353" y="533"/>
                      <a:pt x="356" y="533"/>
                      <a:pt x="358" y="534"/>
                    </a:cubicBezTo>
                    <a:cubicBezTo>
                      <a:pt x="359" y="534"/>
                      <a:pt x="360" y="535"/>
                      <a:pt x="361" y="535"/>
                    </a:cubicBezTo>
                    <a:cubicBezTo>
                      <a:pt x="362" y="535"/>
                      <a:pt x="364" y="535"/>
                      <a:pt x="365" y="534"/>
                    </a:cubicBezTo>
                    <a:cubicBezTo>
                      <a:pt x="367" y="534"/>
                      <a:pt x="368" y="534"/>
                      <a:pt x="369" y="534"/>
                    </a:cubicBezTo>
                    <a:cubicBezTo>
                      <a:pt x="370" y="534"/>
                      <a:pt x="372" y="534"/>
                      <a:pt x="373" y="533"/>
                    </a:cubicBezTo>
                    <a:cubicBezTo>
                      <a:pt x="374" y="533"/>
                      <a:pt x="374" y="532"/>
                      <a:pt x="375" y="531"/>
                    </a:cubicBezTo>
                    <a:cubicBezTo>
                      <a:pt x="377" y="530"/>
                      <a:pt x="378" y="532"/>
                      <a:pt x="379" y="531"/>
                    </a:cubicBezTo>
                    <a:cubicBezTo>
                      <a:pt x="380" y="530"/>
                      <a:pt x="383" y="526"/>
                      <a:pt x="382" y="525"/>
                    </a:cubicBezTo>
                    <a:cubicBezTo>
                      <a:pt x="381" y="524"/>
                      <a:pt x="380" y="524"/>
                      <a:pt x="380" y="525"/>
                    </a:cubicBezTo>
                    <a:cubicBezTo>
                      <a:pt x="379" y="526"/>
                      <a:pt x="378" y="526"/>
                      <a:pt x="376" y="527"/>
                    </a:cubicBezTo>
                    <a:cubicBezTo>
                      <a:pt x="376" y="527"/>
                      <a:pt x="375" y="527"/>
                      <a:pt x="374" y="526"/>
                    </a:cubicBezTo>
                    <a:cubicBezTo>
                      <a:pt x="374" y="526"/>
                      <a:pt x="376" y="525"/>
                      <a:pt x="376" y="525"/>
                    </a:cubicBezTo>
                    <a:cubicBezTo>
                      <a:pt x="377" y="524"/>
                      <a:pt x="377" y="524"/>
                      <a:pt x="376" y="523"/>
                    </a:cubicBezTo>
                    <a:cubicBezTo>
                      <a:pt x="376" y="522"/>
                      <a:pt x="375" y="522"/>
                      <a:pt x="374" y="522"/>
                    </a:cubicBezTo>
                    <a:cubicBezTo>
                      <a:pt x="373" y="521"/>
                      <a:pt x="374" y="520"/>
                      <a:pt x="375" y="519"/>
                    </a:cubicBezTo>
                    <a:cubicBezTo>
                      <a:pt x="375" y="519"/>
                      <a:pt x="375" y="517"/>
                      <a:pt x="375" y="517"/>
                    </a:cubicBezTo>
                    <a:cubicBezTo>
                      <a:pt x="376" y="519"/>
                      <a:pt x="375" y="520"/>
                      <a:pt x="378" y="520"/>
                    </a:cubicBezTo>
                    <a:cubicBezTo>
                      <a:pt x="379" y="520"/>
                      <a:pt x="381" y="519"/>
                      <a:pt x="381" y="520"/>
                    </a:cubicBezTo>
                    <a:cubicBezTo>
                      <a:pt x="382" y="521"/>
                      <a:pt x="382" y="522"/>
                      <a:pt x="383" y="522"/>
                    </a:cubicBezTo>
                    <a:cubicBezTo>
                      <a:pt x="384" y="523"/>
                      <a:pt x="385" y="523"/>
                      <a:pt x="386" y="524"/>
                    </a:cubicBezTo>
                    <a:cubicBezTo>
                      <a:pt x="386" y="524"/>
                      <a:pt x="388" y="523"/>
                      <a:pt x="387" y="522"/>
                    </a:cubicBezTo>
                    <a:cubicBezTo>
                      <a:pt x="387" y="522"/>
                      <a:pt x="386" y="521"/>
                      <a:pt x="387" y="520"/>
                    </a:cubicBezTo>
                    <a:cubicBezTo>
                      <a:pt x="388" y="520"/>
                      <a:pt x="389" y="521"/>
                      <a:pt x="389" y="520"/>
                    </a:cubicBezTo>
                    <a:cubicBezTo>
                      <a:pt x="391" y="518"/>
                      <a:pt x="388" y="518"/>
                      <a:pt x="387" y="518"/>
                    </a:cubicBezTo>
                    <a:cubicBezTo>
                      <a:pt x="386" y="518"/>
                      <a:pt x="384" y="518"/>
                      <a:pt x="385" y="517"/>
                    </a:cubicBezTo>
                    <a:cubicBezTo>
                      <a:pt x="386" y="517"/>
                      <a:pt x="387" y="517"/>
                      <a:pt x="389" y="517"/>
                    </a:cubicBezTo>
                    <a:cubicBezTo>
                      <a:pt x="389" y="517"/>
                      <a:pt x="390" y="517"/>
                      <a:pt x="391" y="516"/>
                    </a:cubicBezTo>
                    <a:cubicBezTo>
                      <a:pt x="391" y="516"/>
                      <a:pt x="392" y="514"/>
                      <a:pt x="391" y="514"/>
                    </a:cubicBezTo>
                    <a:cubicBezTo>
                      <a:pt x="390" y="513"/>
                      <a:pt x="387" y="515"/>
                      <a:pt x="386" y="513"/>
                    </a:cubicBezTo>
                    <a:cubicBezTo>
                      <a:pt x="386" y="513"/>
                      <a:pt x="386" y="512"/>
                      <a:pt x="386" y="511"/>
                    </a:cubicBezTo>
                    <a:cubicBezTo>
                      <a:pt x="387" y="510"/>
                      <a:pt x="386" y="509"/>
                      <a:pt x="385" y="510"/>
                    </a:cubicBezTo>
                    <a:cubicBezTo>
                      <a:pt x="384" y="510"/>
                      <a:pt x="384" y="512"/>
                      <a:pt x="383" y="512"/>
                    </a:cubicBezTo>
                    <a:cubicBezTo>
                      <a:pt x="382" y="513"/>
                      <a:pt x="381" y="514"/>
                      <a:pt x="380" y="514"/>
                    </a:cubicBezTo>
                    <a:cubicBezTo>
                      <a:pt x="379" y="514"/>
                      <a:pt x="378" y="515"/>
                      <a:pt x="377" y="515"/>
                    </a:cubicBezTo>
                    <a:cubicBezTo>
                      <a:pt x="376" y="515"/>
                      <a:pt x="377" y="513"/>
                      <a:pt x="377" y="513"/>
                    </a:cubicBezTo>
                    <a:cubicBezTo>
                      <a:pt x="378" y="512"/>
                      <a:pt x="378" y="511"/>
                      <a:pt x="378" y="510"/>
                    </a:cubicBezTo>
                    <a:cubicBezTo>
                      <a:pt x="378" y="509"/>
                      <a:pt x="378" y="508"/>
                      <a:pt x="380" y="507"/>
                    </a:cubicBezTo>
                    <a:cubicBezTo>
                      <a:pt x="380" y="507"/>
                      <a:pt x="382" y="507"/>
                      <a:pt x="383" y="507"/>
                    </a:cubicBezTo>
                    <a:cubicBezTo>
                      <a:pt x="384" y="507"/>
                      <a:pt x="386" y="507"/>
                      <a:pt x="387" y="507"/>
                    </a:cubicBezTo>
                    <a:cubicBezTo>
                      <a:pt x="387" y="506"/>
                      <a:pt x="388" y="506"/>
                      <a:pt x="389" y="505"/>
                    </a:cubicBezTo>
                    <a:cubicBezTo>
                      <a:pt x="390" y="505"/>
                      <a:pt x="389" y="504"/>
                      <a:pt x="388" y="504"/>
                    </a:cubicBezTo>
                    <a:cubicBezTo>
                      <a:pt x="387" y="504"/>
                      <a:pt x="387" y="505"/>
                      <a:pt x="386" y="505"/>
                    </a:cubicBezTo>
                    <a:cubicBezTo>
                      <a:pt x="384" y="505"/>
                      <a:pt x="383" y="505"/>
                      <a:pt x="382" y="505"/>
                    </a:cubicBezTo>
                    <a:cubicBezTo>
                      <a:pt x="381" y="505"/>
                      <a:pt x="380" y="506"/>
                      <a:pt x="380" y="505"/>
                    </a:cubicBezTo>
                    <a:cubicBezTo>
                      <a:pt x="379" y="505"/>
                      <a:pt x="379" y="503"/>
                      <a:pt x="380" y="503"/>
                    </a:cubicBezTo>
                    <a:cubicBezTo>
                      <a:pt x="382" y="502"/>
                      <a:pt x="383" y="504"/>
                      <a:pt x="385" y="503"/>
                    </a:cubicBezTo>
                    <a:cubicBezTo>
                      <a:pt x="388" y="502"/>
                      <a:pt x="385" y="501"/>
                      <a:pt x="384" y="500"/>
                    </a:cubicBezTo>
                    <a:cubicBezTo>
                      <a:pt x="383" y="499"/>
                      <a:pt x="384" y="499"/>
                      <a:pt x="385" y="499"/>
                    </a:cubicBezTo>
                    <a:cubicBezTo>
                      <a:pt x="386" y="498"/>
                      <a:pt x="387" y="499"/>
                      <a:pt x="388" y="499"/>
                    </a:cubicBezTo>
                    <a:cubicBezTo>
                      <a:pt x="389" y="499"/>
                      <a:pt x="390" y="499"/>
                      <a:pt x="390" y="498"/>
                    </a:cubicBezTo>
                    <a:cubicBezTo>
                      <a:pt x="390" y="497"/>
                      <a:pt x="389" y="497"/>
                      <a:pt x="388" y="496"/>
                    </a:cubicBezTo>
                    <a:cubicBezTo>
                      <a:pt x="387" y="496"/>
                      <a:pt x="386" y="495"/>
                      <a:pt x="386" y="494"/>
                    </a:cubicBezTo>
                    <a:cubicBezTo>
                      <a:pt x="385" y="493"/>
                      <a:pt x="384" y="492"/>
                      <a:pt x="384" y="491"/>
                    </a:cubicBezTo>
                    <a:cubicBezTo>
                      <a:pt x="384" y="490"/>
                      <a:pt x="387" y="490"/>
                      <a:pt x="387" y="490"/>
                    </a:cubicBezTo>
                    <a:cubicBezTo>
                      <a:pt x="390" y="490"/>
                      <a:pt x="387" y="487"/>
                      <a:pt x="386" y="489"/>
                    </a:cubicBezTo>
                    <a:cubicBezTo>
                      <a:pt x="385" y="490"/>
                      <a:pt x="384" y="489"/>
                      <a:pt x="383" y="490"/>
                    </a:cubicBezTo>
                    <a:cubicBezTo>
                      <a:pt x="381" y="490"/>
                      <a:pt x="380" y="490"/>
                      <a:pt x="379" y="490"/>
                    </a:cubicBezTo>
                    <a:cubicBezTo>
                      <a:pt x="378" y="490"/>
                      <a:pt x="377" y="490"/>
                      <a:pt x="376" y="489"/>
                    </a:cubicBezTo>
                    <a:cubicBezTo>
                      <a:pt x="375" y="488"/>
                      <a:pt x="374" y="488"/>
                      <a:pt x="373" y="488"/>
                    </a:cubicBezTo>
                    <a:cubicBezTo>
                      <a:pt x="371" y="489"/>
                      <a:pt x="369" y="491"/>
                      <a:pt x="366" y="490"/>
                    </a:cubicBezTo>
                    <a:cubicBezTo>
                      <a:pt x="363" y="490"/>
                      <a:pt x="360" y="489"/>
                      <a:pt x="358" y="487"/>
                    </a:cubicBezTo>
                    <a:cubicBezTo>
                      <a:pt x="355" y="486"/>
                      <a:pt x="353" y="485"/>
                      <a:pt x="350" y="485"/>
                    </a:cubicBezTo>
                    <a:cubicBezTo>
                      <a:pt x="347" y="484"/>
                      <a:pt x="344" y="482"/>
                      <a:pt x="342" y="481"/>
                    </a:cubicBezTo>
                    <a:cubicBezTo>
                      <a:pt x="339" y="480"/>
                      <a:pt x="336" y="479"/>
                      <a:pt x="333" y="478"/>
                    </a:cubicBezTo>
                    <a:cubicBezTo>
                      <a:pt x="330" y="477"/>
                      <a:pt x="327" y="476"/>
                      <a:pt x="324" y="475"/>
                    </a:cubicBezTo>
                    <a:cubicBezTo>
                      <a:pt x="321" y="474"/>
                      <a:pt x="318" y="473"/>
                      <a:pt x="316" y="471"/>
                    </a:cubicBezTo>
                    <a:cubicBezTo>
                      <a:pt x="315" y="471"/>
                      <a:pt x="313" y="470"/>
                      <a:pt x="314" y="469"/>
                    </a:cubicBezTo>
                    <a:cubicBezTo>
                      <a:pt x="314" y="468"/>
                      <a:pt x="316" y="467"/>
                      <a:pt x="317" y="466"/>
                    </a:cubicBezTo>
                    <a:cubicBezTo>
                      <a:pt x="318" y="466"/>
                      <a:pt x="319" y="465"/>
                      <a:pt x="321" y="465"/>
                    </a:cubicBezTo>
                    <a:cubicBezTo>
                      <a:pt x="322" y="464"/>
                      <a:pt x="323" y="465"/>
                      <a:pt x="325" y="465"/>
                    </a:cubicBezTo>
                    <a:cubicBezTo>
                      <a:pt x="327" y="466"/>
                      <a:pt x="330" y="468"/>
                      <a:pt x="333" y="467"/>
                    </a:cubicBezTo>
                    <a:cubicBezTo>
                      <a:pt x="336" y="467"/>
                      <a:pt x="338" y="466"/>
                      <a:pt x="341" y="466"/>
                    </a:cubicBezTo>
                    <a:cubicBezTo>
                      <a:pt x="344" y="467"/>
                      <a:pt x="347" y="468"/>
                      <a:pt x="350" y="468"/>
                    </a:cubicBezTo>
                    <a:cubicBezTo>
                      <a:pt x="353" y="469"/>
                      <a:pt x="355" y="470"/>
                      <a:pt x="357" y="471"/>
                    </a:cubicBezTo>
                    <a:cubicBezTo>
                      <a:pt x="359" y="473"/>
                      <a:pt x="361" y="475"/>
                      <a:pt x="364" y="476"/>
                    </a:cubicBezTo>
                    <a:cubicBezTo>
                      <a:pt x="366" y="477"/>
                      <a:pt x="369" y="477"/>
                      <a:pt x="371" y="478"/>
                    </a:cubicBezTo>
                    <a:cubicBezTo>
                      <a:pt x="373" y="478"/>
                      <a:pt x="375" y="480"/>
                      <a:pt x="377" y="480"/>
                    </a:cubicBezTo>
                    <a:cubicBezTo>
                      <a:pt x="379" y="481"/>
                      <a:pt x="380" y="481"/>
                      <a:pt x="382" y="481"/>
                    </a:cubicBezTo>
                    <a:cubicBezTo>
                      <a:pt x="385" y="480"/>
                      <a:pt x="382" y="478"/>
                      <a:pt x="383" y="477"/>
                    </a:cubicBezTo>
                    <a:cubicBezTo>
                      <a:pt x="383" y="476"/>
                      <a:pt x="384" y="476"/>
                      <a:pt x="384" y="475"/>
                    </a:cubicBezTo>
                    <a:cubicBezTo>
                      <a:pt x="384" y="474"/>
                      <a:pt x="383" y="474"/>
                      <a:pt x="382" y="475"/>
                    </a:cubicBezTo>
                    <a:cubicBezTo>
                      <a:pt x="381" y="475"/>
                      <a:pt x="381" y="476"/>
                      <a:pt x="380" y="477"/>
                    </a:cubicBezTo>
                    <a:cubicBezTo>
                      <a:pt x="379" y="478"/>
                      <a:pt x="378" y="477"/>
                      <a:pt x="377" y="477"/>
                    </a:cubicBezTo>
                    <a:cubicBezTo>
                      <a:pt x="376" y="476"/>
                      <a:pt x="374" y="476"/>
                      <a:pt x="376" y="475"/>
                    </a:cubicBezTo>
                    <a:cubicBezTo>
                      <a:pt x="377" y="474"/>
                      <a:pt x="378" y="475"/>
                      <a:pt x="379" y="474"/>
                    </a:cubicBezTo>
                    <a:cubicBezTo>
                      <a:pt x="380" y="474"/>
                      <a:pt x="380" y="473"/>
                      <a:pt x="379" y="472"/>
                    </a:cubicBezTo>
                    <a:cubicBezTo>
                      <a:pt x="379" y="471"/>
                      <a:pt x="380" y="470"/>
                      <a:pt x="381" y="470"/>
                    </a:cubicBezTo>
                    <a:cubicBezTo>
                      <a:pt x="382" y="470"/>
                      <a:pt x="383" y="470"/>
                      <a:pt x="382" y="469"/>
                    </a:cubicBezTo>
                    <a:cubicBezTo>
                      <a:pt x="380" y="468"/>
                      <a:pt x="379" y="469"/>
                      <a:pt x="378" y="469"/>
                    </a:cubicBezTo>
                    <a:cubicBezTo>
                      <a:pt x="376" y="470"/>
                      <a:pt x="375" y="469"/>
                      <a:pt x="375" y="468"/>
                    </a:cubicBezTo>
                    <a:cubicBezTo>
                      <a:pt x="376" y="466"/>
                      <a:pt x="379" y="468"/>
                      <a:pt x="380" y="467"/>
                    </a:cubicBezTo>
                    <a:cubicBezTo>
                      <a:pt x="381" y="465"/>
                      <a:pt x="379" y="463"/>
                      <a:pt x="378" y="463"/>
                    </a:cubicBezTo>
                    <a:cubicBezTo>
                      <a:pt x="376" y="463"/>
                      <a:pt x="374" y="465"/>
                      <a:pt x="372" y="464"/>
                    </a:cubicBezTo>
                    <a:cubicBezTo>
                      <a:pt x="371" y="464"/>
                      <a:pt x="370" y="463"/>
                      <a:pt x="369" y="462"/>
                    </a:cubicBezTo>
                    <a:cubicBezTo>
                      <a:pt x="368" y="462"/>
                      <a:pt x="367" y="461"/>
                      <a:pt x="366" y="461"/>
                    </a:cubicBezTo>
                    <a:cubicBezTo>
                      <a:pt x="365" y="460"/>
                      <a:pt x="364" y="460"/>
                      <a:pt x="363" y="459"/>
                    </a:cubicBezTo>
                    <a:cubicBezTo>
                      <a:pt x="362" y="458"/>
                      <a:pt x="363" y="458"/>
                      <a:pt x="364" y="458"/>
                    </a:cubicBezTo>
                    <a:cubicBezTo>
                      <a:pt x="367" y="459"/>
                      <a:pt x="371" y="463"/>
                      <a:pt x="374" y="460"/>
                    </a:cubicBezTo>
                    <a:cubicBezTo>
                      <a:pt x="376" y="460"/>
                      <a:pt x="376" y="458"/>
                      <a:pt x="374" y="458"/>
                    </a:cubicBezTo>
                    <a:cubicBezTo>
                      <a:pt x="373" y="458"/>
                      <a:pt x="369" y="458"/>
                      <a:pt x="369" y="456"/>
                    </a:cubicBezTo>
                    <a:cubicBezTo>
                      <a:pt x="369" y="456"/>
                      <a:pt x="370" y="456"/>
                      <a:pt x="370" y="455"/>
                    </a:cubicBezTo>
                    <a:cubicBezTo>
                      <a:pt x="370" y="455"/>
                      <a:pt x="368" y="455"/>
                      <a:pt x="368" y="455"/>
                    </a:cubicBezTo>
                    <a:cubicBezTo>
                      <a:pt x="366" y="454"/>
                      <a:pt x="364" y="455"/>
                      <a:pt x="362" y="455"/>
                    </a:cubicBezTo>
                    <a:cubicBezTo>
                      <a:pt x="361" y="455"/>
                      <a:pt x="359" y="456"/>
                      <a:pt x="358" y="455"/>
                    </a:cubicBezTo>
                    <a:cubicBezTo>
                      <a:pt x="356" y="454"/>
                      <a:pt x="361" y="453"/>
                      <a:pt x="362" y="453"/>
                    </a:cubicBezTo>
                    <a:cubicBezTo>
                      <a:pt x="363" y="453"/>
                      <a:pt x="364" y="453"/>
                      <a:pt x="364" y="452"/>
                    </a:cubicBezTo>
                    <a:cubicBezTo>
                      <a:pt x="364" y="451"/>
                      <a:pt x="365" y="450"/>
                      <a:pt x="364" y="449"/>
                    </a:cubicBezTo>
                    <a:cubicBezTo>
                      <a:pt x="364" y="448"/>
                      <a:pt x="362" y="450"/>
                      <a:pt x="361" y="450"/>
                    </a:cubicBezTo>
                    <a:cubicBezTo>
                      <a:pt x="360" y="451"/>
                      <a:pt x="359" y="451"/>
                      <a:pt x="357" y="452"/>
                    </a:cubicBezTo>
                    <a:cubicBezTo>
                      <a:pt x="356" y="452"/>
                      <a:pt x="355" y="453"/>
                      <a:pt x="354" y="453"/>
                    </a:cubicBezTo>
                    <a:cubicBezTo>
                      <a:pt x="353" y="452"/>
                      <a:pt x="352" y="451"/>
                      <a:pt x="354" y="451"/>
                    </a:cubicBezTo>
                    <a:cubicBezTo>
                      <a:pt x="355" y="450"/>
                      <a:pt x="355" y="449"/>
                      <a:pt x="356" y="449"/>
                    </a:cubicBezTo>
                    <a:cubicBezTo>
                      <a:pt x="357" y="448"/>
                      <a:pt x="358" y="448"/>
                      <a:pt x="359" y="447"/>
                    </a:cubicBezTo>
                    <a:cubicBezTo>
                      <a:pt x="360" y="447"/>
                      <a:pt x="361" y="446"/>
                      <a:pt x="362" y="446"/>
                    </a:cubicBezTo>
                    <a:cubicBezTo>
                      <a:pt x="363" y="446"/>
                      <a:pt x="364" y="446"/>
                      <a:pt x="366" y="446"/>
                    </a:cubicBezTo>
                    <a:cubicBezTo>
                      <a:pt x="366" y="446"/>
                      <a:pt x="368" y="446"/>
                      <a:pt x="369" y="445"/>
                    </a:cubicBezTo>
                    <a:cubicBezTo>
                      <a:pt x="369" y="444"/>
                      <a:pt x="367" y="444"/>
                      <a:pt x="366" y="444"/>
                    </a:cubicBezTo>
                    <a:cubicBezTo>
                      <a:pt x="364" y="443"/>
                      <a:pt x="361" y="445"/>
                      <a:pt x="359" y="445"/>
                    </a:cubicBezTo>
                    <a:cubicBezTo>
                      <a:pt x="358" y="446"/>
                      <a:pt x="357" y="446"/>
                      <a:pt x="355" y="446"/>
                    </a:cubicBezTo>
                    <a:cubicBezTo>
                      <a:pt x="354" y="447"/>
                      <a:pt x="353" y="448"/>
                      <a:pt x="352" y="448"/>
                    </a:cubicBezTo>
                    <a:cubicBezTo>
                      <a:pt x="351" y="448"/>
                      <a:pt x="349" y="448"/>
                      <a:pt x="348" y="448"/>
                    </a:cubicBezTo>
                    <a:cubicBezTo>
                      <a:pt x="347" y="448"/>
                      <a:pt x="346" y="447"/>
                      <a:pt x="344" y="447"/>
                    </a:cubicBezTo>
                    <a:cubicBezTo>
                      <a:pt x="343" y="447"/>
                      <a:pt x="338" y="446"/>
                      <a:pt x="342" y="445"/>
                    </a:cubicBezTo>
                    <a:cubicBezTo>
                      <a:pt x="343" y="444"/>
                      <a:pt x="344" y="444"/>
                      <a:pt x="346" y="444"/>
                    </a:cubicBezTo>
                    <a:cubicBezTo>
                      <a:pt x="347" y="443"/>
                      <a:pt x="348" y="442"/>
                      <a:pt x="350" y="442"/>
                    </a:cubicBezTo>
                    <a:cubicBezTo>
                      <a:pt x="351" y="441"/>
                      <a:pt x="352" y="441"/>
                      <a:pt x="354" y="441"/>
                    </a:cubicBezTo>
                    <a:cubicBezTo>
                      <a:pt x="355" y="441"/>
                      <a:pt x="357" y="442"/>
                      <a:pt x="358" y="442"/>
                    </a:cubicBezTo>
                    <a:cubicBezTo>
                      <a:pt x="360" y="441"/>
                      <a:pt x="362" y="440"/>
                      <a:pt x="363" y="438"/>
                    </a:cubicBezTo>
                    <a:cubicBezTo>
                      <a:pt x="364" y="438"/>
                      <a:pt x="364" y="437"/>
                      <a:pt x="363" y="437"/>
                    </a:cubicBezTo>
                    <a:cubicBezTo>
                      <a:pt x="362" y="437"/>
                      <a:pt x="361" y="438"/>
                      <a:pt x="360" y="438"/>
                    </a:cubicBezTo>
                    <a:cubicBezTo>
                      <a:pt x="356" y="443"/>
                      <a:pt x="351" y="436"/>
                      <a:pt x="346" y="437"/>
                    </a:cubicBezTo>
                    <a:cubicBezTo>
                      <a:pt x="345" y="437"/>
                      <a:pt x="341" y="438"/>
                      <a:pt x="341" y="436"/>
                    </a:cubicBezTo>
                    <a:cubicBezTo>
                      <a:pt x="341" y="435"/>
                      <a:pt x="342" y="434"/>
                      <a:pt x="343" y="434"/>
                    </a:cubicBezTo>
                    <a:cubicBezTo>
                      <a:pt x="344" y="433"/>
                      <a:pt x="344" y="432"/>
                      <a:pt x="345" y="430"/>
                    </a:cubicBezTo>
                    <a:cubicBezTo>
                      <a:pt x="345" y="430"/>
                      <a:pt x="349" y="426"/>
                      <a:pt x="346" y="426"/>
                    </a:cubicBezTo>
                    <a:cubicBezTo>
                      <a:pt x="345" y="426"/>
                      <a:pt x="344" y="427"/>
                      <a:pt x="344" y="427"/>
                    </a:cubicBezTo>
                    <a:cubicBezTo>
                      <a:pt x="343" y="428"/>
                      <a:pt x="342" y="428"/>
                      <a:pt x="341" y="429"/>
                    </a:cubicBezTo>
                    <a:cubicBezTo>
                      <a:pt x="340" y="430"/>
                      <a:pt x="341" y="433"/>
                      <a:pt x="338" y="433"/>
                    </a:cubicBezTo>
                    <a:cubicBezTo>
                      <a:pt x="337" y="434"/>
                      <a:pt x="334" y="435"/>
                      <a:pt x="335" y="432"/>
                    </a:cubicBezTo>
                    <a:cubicBezTo>
                      <a:pt x="335" y="430"/>
                      <a:pt x="336" y="428"/>
                      <a:pt x="334" y="426"/>
                    </a:cubicBezTo>
                    <a:cubicBezTo>
                      <a:pt x="333" y="425"/>
                      <a:pt x="332" y="425"/>
                      <a:pt x="331" y="425"/>
                    </a:cubicBezTo>
                    <a:cubicBezTo>
                      <a:pt x="330" y="424"/>
                      <a:pt x="330" y="423"/>
                      <a:pt x="329" y="422"/>
                    </a:cubicBezTo>
                    <a:cubicBezTo>
                      <a:pt x="328" y="420"/>
                      <a:pt x="328" y="419"/>
                      <a:pt x="330" y="418"/>
                    </a:cubicBezTo>
                    <a:cubicBezTo>
                      <a:pt x="331" y="418"/>
                      <a:pt x="333" y="415"/>
                      <a:pt x="330" y="416"/>
                    </a:cubicBezTo>
                    <a:cubicBezTo>
                      <a:pt x="329" y="417"/>
                      <a:pt x="328" y="417"/>
                      <a:pt x="326" y="417"/>
                    </a:cubicBezTo>
                    <a:cubicBezTo>
                      <a:pt x="324" y="417"/>
                      <a:pt x="324" y="420"/>
                      <a:pt x="326" y="422"/>
                    </a:cubicBezTo>
                    <a:cubicBezTo>
                      <a:pt x="327" y="422"/>
                      <a:pt x="328" y="423"/>
                      <a:pt x="328" y="424"/>
                    </a:cubicBezTo>
                    <a:cubicBezTo>
                      <a:pt x="328" y="425"/>
                      <a:pt x="327" y="426"/>
                      <a:pt x="328" y="426"/>
                    </a:cubicBezTo>
                    <a:cubicBezTo>
                      <a:pt x="329" y="428"/>
                      <a:pt x="331" y="429"/>
                      <a:pt x="332" y="431"/>
                    </a:cubicBezTo>
                    <a:cubicBezTo>
                      <a:pt x="333" y="433"/>
                      <a:pt x="332" y="434"/>
                      <a:pt x="330" y="434"/>
                    </a:cubicBezTo>
                    <a:cubicBezTo>
                      <a:pt x="327" y="435"/>
                      <a:pt x="329" y="437"/>
                      <a:pt x="328" y="438"/>
                    </a:cubicBezTo>
                    <a:cubicBezTo>
                      <a:pt x="327" y="440"/>
                      <a:pt x="325" y="437"/>
                      <a:pt x="324" y="437"/>
                    </a:cubicBezTo>
                    <a:cubicBezTo>
                      <a:pt x="323" y="436"/>
                      <a:pt x="323" y="438"/>
                      <a:pt x="323" y="438"/>
                    </a:cubicBezTo>
                    <a:cubicBezTo>
                      <a:pt x="323" y="439"/>
                      <a:pt x="324" y="440"/>
                      <a:pt x="325" y="441"/>
                    </a:cubicBezTo>
                    <a:cubicBezTo>
                      <a:pt x="327" y="442"/>
                      <a:pt x="326" y="445"/>
                      <a:pt x="324" y="446"/>
                    </a:cubicBezTo>
                    <a:cubicBezTo>
                      <a:pt x="323" y="446"/>
                      <a:pt x="321" y="446"/>
                      <a:pt x="320" y="446"/>
                    </a:cubicBezTo>
                    <a:cubicBezTo>
                      <a:pt x="319" y="447"/>
                      <a:pt x="318" y="448"/>
                      <a:pt x="316" y="448"/>
                    </a:cubicBezTo>
                    <a:cubicBezTo>
                      <a:pt x="314" y="448"/>
                      <a:pt x="312" y="449"/>
                      <a:pt x="309" y="447"/>
                    </a:cubicBezTo>
                    <a:cubicBezTo>
                      <a:pt x="308" y="446"/>
                      <a:pt x="307" y="446"/>
                      <a:pt x="306" y="445"/>
                    </a:cubicBezTo>
                    <a:cubicBezTo>
                      <a:pt x="305" y="444"/>
                      <a:pt x="304" y="444"/>
                      <a:pt x="302" y="443"/>
                    </a:cubicBezTo>
                    <a:cubicBezTo>
                      <a:pt x="301" y="443"/>
                      <a:pt x="300" y="442"/>
                      <a:pt x="299" y="442"/>
                    </a:cubicBezTo>
                    <a:cubicBezTo>
                      <a:pt x="298" y="441"/>
                      <a:pt x="297" y="441"/>
                      <a:pt x="296" y="440"/>
                    </a:cubicBezTo>
                    <a:cubicBezTo>
                      <a:pt x="296" y="440"/>
                      <a:pt x="295" y="439"/>
                      <a:pt x="294" y="439"/>
                    </a:cubicBezTo>
                    <a:cubicBezTo>
                      <a:pt x="294" y="437"/>
                      <a:pt x="295" y="437"/>
                      <a:pt x="296" y="437"/>
                    </a:cubicBezTo>
                    <a:cubicBezTo>
                      <a:pt x="297" y="436"/>
                      <a:pt x="299" y="435"/>
                      <a:pt x="300" y="435"/>
                    </a:cubicBezTo>
                    <a:cubicBezTo>
                      <a:pt x="301" y="436"/>
                      <a:pt x="302" y="436"/>
                      <a:pt x="303" y="435"/>
                    </a:cubicBezTo>
                    <a:cubicBezTo>
                      <a:pt x="303" y="434"/>
                      <a:pt x="303" y="433"/>
                      <a:pt x="304" y="433"/>
                    </a:cubicBezTo>
                    <a:cubicBezTo>
                      <a:pt x="305" y="432"/>
                      <a:pt x="306" y="433"/>
                      <a:pt x="308" y="433"/>
                    </a:cubicBezTo>
                    <a:cubicBezTo>
                      <a:pt x="310" y="433"/>
                      <a:pt x="311" y="431"/>
                      <a:pt x="312" y="430"/>
                    </a:cubicBezTo>
                    <a:cubicBezTo>
                      <a:pt x="313" y="429"/>
                      <a:pt x="314" y="429"/>
                      <a:pt x="315" y="428"/>
                    </a:cubicBezTo>
                    <a:cubicBezTo>
                      <a:pt x="316" y="428"/>
                      <a:pt x="316" y="426"/>
                      <a:pt x="317" y="425"/>
                    </a:cubicBezTo>
                    <a:cubicBezTo>
                      <a:pt x="317" y="424"/>
                      <a:pt x="318" y="422"/>
                      <a:pt x="318" y="421"/>
                    </a:cubicBezTo>
                    <a:cubicBezTo>
                      <a:pt x="317" y="419"/>
                      <a:pt x="316" y="421"/>
                      <a:pt x="316" y="421"/>
                    </a:cubicBezTo>
                    <a:cubicBezTo>
                      <a:pt x="316" y="423"/>
                      <a:pt x="315" y="424"/>
                      <a:pt x="314" y="425"/>
                    </a:cubicBezTo>
                    <a:cubicBezTo>
                      <a:pt x="314" y="426"/>
                      <a:pt x="313" y="427"/>
                      <a:pt x="312" y="428"/>
                    </a:cubicBezTo>
                    <a:cubicBezTo>
                      <a:pt x="310" y="430"/>
                      <a:pt x="308" y="430"/>
                      <a:pt x="306" y="430"/>
                    </a:cubicBezTo>
                    <a:cubicBezTo>
                      <a:pt x="304" y="429"/>
                      <a:pt x="301" y="430"/>
                      <a:pt x="299" y="429"/>
                    </a:cubicBezTo>
                    <a:cubicBezTo>
                      <a:pt x="297" y="429"/>
                      <a:pt x="299" y="427"/>
                      <a:pt x="300" y="426"/>
                    </a:cubicBezTo>
                    <a:cubicBezTo>
                      <a:pt x="303" y="425"/>
                      <a:pt x="305" y="423"/>
                      <a:pt x="307" y="422"/>
                    </a:cubicBezTo>
                    <a:cubicBezTo>
                      <a:pt x="308" y="420"/>
                      <a:pt x="309" y="418"/>
                      <a:pt x="310" y="417"/>
                    </a:cubicBezTo>
                    <a:cubicBezTo>
                      <a:pt x="312" y="416"/>
                      <a:pt x="310" y="414"/>
                      <a:pt x="312" y="413"/>
                    </a:cubicBezTo>
                    <a:cubicBezTo>
                      <a:pt x="314" y="412"/>
                      <a:pt x="316" y="414"/>
                      <a:pt x="318" y="413"/>
                    </a:cubicBezTo>
                    <a:cubicBezTo>
                      <a:pt x="319" y="413"/>
                      <a:pt x="320" y="413"/>
                      <a:pt x="320" y="412"/>
                    </a:cubicBezTo>
                    <a:cubicBezTo>
                      <a:pt x="320" y="411"/>
                      <a:pt x="317" y="411"/>
                      <a:pt x="316" y="411"/>
                    </a:cubicBezTo>
                    <a:cubicBezTo>
                      <a:pt x="315" y="411"/>
                      <a:pt x="314" y="410"/>
                      <a:pt x="313" y="410"/>
                    </a:cubicBezTo>
                    <a:cubicBezTo>
                      <a:pt x="312" y="410"/>
                      <a:pt x="311" y="411"/>
                      <a:pt x="309" y="411"/>
                    </a:cubicBezTo>
                    <a:cubicBezTo>
                      <a:pt x="309" y="411"/>
                      <a:pt x="309" y="410"/>
                      <a:pt x="309" y="410"/>
                    </a:cubicBezTo>
                    <a:cubicBezTo>
                      <a:pt x="309" y="409"/>
                      <a:pt x="310" y="409"/>
                      <a:pt x="311" y="409"/>
                    </a:cubicBezTo>
                    <a:cubicBezTo>
                      <a:pt x="311" y="408"/>
                      <a:pt x="312" y="409"/>
                      <a:pt x="313" y="408"/>
                    </a:cubicBezTo>
                    <a:cubicBezTo>
                      <a:pt x="313" y="408"/>
                      <a:pt x="313" y="406"/>
                      <a:pt x="313" y="405"/>
                    </a:cubicBezTo>
                    <a:cubicBezTo>
                      <a:pt x="313" y="405"/>
                      <a:pt x="315" y="405"/>
                      <a:pt x="315" y="404"/>
                    </a:cubicBezTo>
                    <a:cubicBezTo>
                      <a:pt x="315" y="403"/>
                      <a:pt x="314" y="402"/>
                      <a:pt x="313" y="402"/>
                    </a:cubicBezTo>
                    <a:cubicBezTo>
                      <a:pt x="312" y="401"/>
                      <a:pt x="311" y="402"/>
                      <a:pt x="311" y="401"/>
                    </a:cubicBezTo>
                    <a:cubicBezTo>
                      <a:pt x="311" y="400"/>
                      <a:pt x="312" y="399"/>
                      <a:pt x="312" y="398"/>
                    </a:cubicBezTo>
                    <a:cubicBezTo>
                      <a:pt x="311" y="396"/>
                      <a:pt x="309" y="393"/>
                      <a:pt x="306" y="394"/>
                    </a:cubicBezTo>
                    <a:cubicBezTo>
                      <a:pt x="304" y="394"/>
                      <a:pt x="302" y="395"/>
                      <a:pt x="300" y="394"/>
                    </a:cubicBezTo>
                    <a:cubicBezTo>
                      <a:pt x="300" y="394"/>
                      <a:pt x="299" y="394"/>
                      <a:pt x="299" y="393"/>
                    </a:cubicBezTo>
                    <a:cubicBezTo>
                      <a:pt x="298" y="393"/>
                      <a:pt x="300" y="392"/>
                      <a:pt x="301" y="391"/>
                    </a:cubicBezTo>
                    <a:cubicBezTo>
                      <a:pt x="301" y="391"/>
                      <a:pt x="301" y="390"/>
                      <a:pt x="303" y="390"/>
                    </a:cubicBezTo>
                    <a:cubicBezTo>
                      <a:pt x="303" y="390"/>
                      <a:pt x="305" y="390"/>
                      <a:pt x="305" y="389"/>
                    </a:cubicBezTo>
                    <a:cubicBezTo>
                      <a:pt x="304" y="388"/>
                      <a:pt x="301" y="389"/>
                      <a:pt x="301" y="388"/>
                    </a:cubicBezTo>
                    <a:cubicBezTo>
                      <a:pt x="301" y="387"/>
                      <a:pt x="302" y="386"/>
                      <a:pt x="302" y="386"/>
                    </a:cubicBezTo>
                    <a:cubicBezTo>
                      <a:pt x="303" y="385"/>
                      <a:pt x="303" y="385"/>
                      <a:pt x="304" y="384"/>
                    </a:cubicBezTo>
                    <a:cubicBezTo>
                      <a:pt x="305" y="384"/>
                      <a:pt x="305" y="384"/>
                      <a:pt x="305" y="383"/>
                    </a:cubicBezTo>
                    <a:cubicBezTo>
                      <a:pt x="304" y="382"/>
                      <a:pt x="302" y="382"/>
                      <a:pt x="301" y="381"/>
                    </a:cubicBezTo>
                    <a:cubicBezTo>
                      <a:pt x="299" y="380"/>
                      <a:pt x="298" y="378"/>
                      <a:pt x="296" y="376"/>
                    </a:cubicBezTo>
                    <a:cubicBezTo>
                      <a:pt x="295" y="375"/>
                      <a:pt x="294" y="375"/>
                      <a:pt x="293" y="374"/>
                    </a:cubicBezTo>
                    <a:cubicBezTo>
                      <a:pt x="293" y="374"/>
                      <a:pt x="291" y="373"/>
                      <a:pt x="292" y="373"/>
                    </a:cubicBezTo>
                    <a:cubicBezTo>
                      <a:pt x="293" y="372"/>
                      <a:pt x="294" y="373"/>
                      <a:pt x="295" y="373"/>
                    </a:cubicBezTo>
                    <a:cubicBezTo>
                      <a:pt x="296" y="373"/>
                      <a:pt x="297" y="372"/>
                      <a:pt x="296" y="371"/>
                    </a:cubicBezTo>
                    <a:cubicBezTo>
                      <a:pt x="295" y="371"/>
                      <a:pt x="292" y="368"/>
                      <a:pt x="294" y="368"/>
                    </a:cubicBezTo>
                    <a:cubicBezTo>
                      <a:pt x="295" y="368"/>
                      <a:pt x="297" y="368"/>
                      <a:pt x="296" y="367"/>
                    </a:cubicBezTo>
                    <a:cubicBezTo>
                      <a:pt x="295" y="366"/>
                      <a:pt x="293" y="365"/>
                      <a:pt x="291" y="365"/>
                    </a:cubicBezTo>
                    <a:cubicBezTo>
                      <a:pt x="290" y="364"/>
                      <a:pt x="288" y="363"/>
                      <a:pt x="291" y="363"/>
                    </a:cubicBezTo>
                    <a:cubicBezTo>
                      <a:pt x="291" y="363"/>
                      <a:pt x="292" y="362"/>
                      <a:pt x="291" y="362"/>
                    </a:cubicBezTo>
                    <a:cubicBezTo>
                      <a:pt x="291" y="361"/>
                      <a:pt x="290" y="361"/>
                      <a:pt x="289" y="361"/>
                    </a:cubicBezTo>
                    <a:cubicBezTo>
                      <a:pt x="287" y="361"/>
                      <a:pt x="285" y="360"/>
                      <a:pt x="285" y="358"/>
                    </a:cubicBezTo>
                    <a:cubicBezTo>
                      <a:pt x="286" y="357"/>
                      <a:pt x="290" y="356"/>
                      <a:pt x="288" y="354"/>
                    </a:cubicBezTo>
                    <a:cubicBezTo>
                      <a:pt x="287" y="353"/>
                      <a:pt x="286" y="354"/>
                      <a:pt x="285" y="354"/>
                    </a:cubicBezTo>
                    <a:cubicBezTo>
                      <a:pt x="285" y="354"/>
                      <a:pt x="284" y="353"/>
                      <a:pt x="283" y="353"/>
                    </a:cubicBezTo>
                    <a:cubicBezTo>
                      <a:pt x="281" y="351"/>
                      <a:pt x="285" y="350"/>
                      <a:pt x="286" y="350"/>
                    </a:cubicBezTo>
                    <a:cubicBezTo>
                      <a:pt x="288" y="350"/>
                      <a:pt x="285" y="348"/>
                      <a:pt x="285" y="348"/>
                    </a:cubicBezTo>
                    <a:cubicBezTo>
                      <a:pt x="286" y="347"/>
                      <a:pt x="288" y="345"/>
                      <a:pt x="286" y="344"/>
                    </a:cubicBezTo>
                    <a:cubicBezTo>
                      <a:pt x="284" y="344"/>
                      <a:pt x="283" y="345"/>
                      <a:pt x="282" y="342"/>
                    </a:cubicBezTo>
                    <a:cubicBezTo>
                      <a:pt x="282" y="340"/>
                      <a:pt x="279" y="340"/>
                      <a:pt x="277" y="340"/>
                    </a:cubicBezTo>
                    <a:cubicBezTo>
                      <a:pt x="276" y="340"/>
                      <a:pt x="275" y="339"/>
                      <a:pt x="275" y="339"/>
                    </a:cubicBezTo>
                    <a:cubicBezTo>
                      <a:pt x="274" y="338"/>
                      <a:pt x="276" y="337"/>
                      <a:pt x="276" y="337"/>
                    </a:cubicBezTo>
                    <a:cubicBezTo>
                      <a:pt x="277" y="334"/>
                      <a:pt x="274" y="332"/>
                      <a:pt x="272" y="332"/>
                    </a:cubicBezTo>
                    <a:cubicBezTo>
                      <a:pt x="271" y="332"/>
                      <a:pt x="269" y="332"/>
                      <a:pt x="268" y="332"/>
                    </a:cubicBezTo>
                    <a:cubicBezTo>
                      <a:pt x="267" y="331"/>
                      <a:pt x="267" y="330"/>
                      <a:pt x="266" y="330"/>
                    </a:cubicBezTo>
                    <a:cubicBezTo>
                      <a:pt x="265" y="329"/>
                      <a:pt x="264" y="329"/>
                      <a:pt x="263" y="329"/>
                    </a:cubicBezTo>
                    <a:cubicBezTo>
                      <a:pt x="262" y="328"/>
                      <a:pt x="261" y="326"/>
                      <a:pt x="260" y="325"/>
                    </a:cubicBezTo>
                    <a:cubicBezTo>
                      <a:pt x="259" y="323"/>
                      <a:pt x="257" y="322"/>
                      <a:pt x="255" y="321"/>
                    </a:cubicBezTo>
                    <a:cubicBezTo>
                      <a:pt x="253" y="320"/>
                      <a:pt x="252" y="320"/>
                      <a:pt x="250" y="319"/>
                    </a:cubicBezTo>
                    <a:cubicBezTo>
                      <a:pt x="249" y="318"/>
                      <a:pt x="251" y="316"/>
                      <a:pt x="252" y="315"/>
                    </a:cubicBezTo>
                    <a:cubicBezTo>
                      <a:pt x="254" y="314"/>
                      <a:pt x="253" y="312"/>
                      <a:pt x="251" y="310"/>
                    </a:cubicBezTo>
                    <a:cubicBezTo>
                      <a:pt x="251" y="310"/>
                      <a:pt x="250" y="309"/>
                      <a:pt x="250" y="308"/>
                    </a:cubicBezTo>
                    <a:cubicBezTo>
                      <a:pt x="250" y="307"/>
                      <a:pt x="250" y="306"/>
                      <a:pt x="250" y="305"/>
                    </a:cubicBezTo>
                    <a:cubicBezTo>
                      <a:pt x="248" y="302"/>
                      <a:pt x="245" y="303"/>
                      <a:pt x="242" y="302"/>
                    </a:cubicBezTo>
                    <a:cubicBezTo>
                      <a:pt x="239" y="301"/>
                      <a:pt x="237" y="300"/>
                      <a:pt x="234" y="299"/>
                    </a:cubicBezTo>
                    <a:cubicBezTo>
                      <a:pt x="231" y="299"/>
                      <a:pt x="228" y="298"/>
                      <a:pt x="225" y="297"/>
                    </a:cubicBezTo>
                    <a:cubicBezTo>
                      <a:pt x="222" y="296"/>
                      <a:pt x="220" y="296"/>
                      <a:pt x="217" y="294"/>
                    </a:cubicBezTo>
                    <a:cubicBezTo>
                      <a:pt x="215" y="292"/>
                      <a:pt x="213" y="290"/>
                      <a:pt x="210" y="290"/>
                    </a:cubicBezTo>
                    <a:cubicBezTo>
                      <a:pt x="204" y="289"/>
                      <a:pt x="197" y="288"/>
                      <a:pt x="191" y="288"/>
                    </a:cubicBezTo>
                    <a:cubicBezTo>
                      <a:pt x="185" y="289"/>
                      <a:pt x="179" y="289"/>
                      <a:pt x="172" y="288"/>
                    </a:cubicBezTo>
                    <a:cubicBezTo>
                      <a:pt x="169" y="288"/>
                      <a:pt x="166" y="288"/>
                      <a:pt x="163" y="288"/>
                    </a:cubicBezTo>
                    <a:cubicBezTo>
                      <a:pt x="162" y="287"/>
                      <a:pt x="160" y="287"/>
                      <a:pt x="159" y="288"/>
                    </a:cubicBezTo>
                    <a:cubicBezTo>
                      <a:pt x="158" y="288"/>
                      <a:pt x="157" y="289"/>
                      <a:pt x="155" y="289"/>
                    </a:cubicBezTo>
                    <a:cubicBezTo>
                      <a:pt x="153" y="289"/>
                      <a:pt x="152" y="286"/>
                      <a:pt x="150" y="285"/>
                    </a:cubicBezTo>
                    <a:cubicBezTo>
                      <a:pt x="149" y="283"/>
                      <a:pt x="148" y="282"/>
                      <a:pt x="147" y="285"/>
                    </a:cubicBezTo>
                    <a:cubicBezTo>
                      <a:pt x="147" y="286"/>
                      <a:pt x="147" y="287"/>
                      <a:pt x="146" y="287"/>
                    </a:cubicBezTo>
                    <a:cubicBezTo>
                      <a:pt x="145" y="288"/>
                      <a:pt x="144" y="288"/>
                      <a:pt x="143" y="289"/>
                    </a:cubicBezTo>
                    <a:cubicBezTo>
                      <a:pt x="143" y="290"/>
                      <a:pt x="143" y="291"/>
                      <a:pt x="142" y="291"/>
                    </a:cubicBezTo>
                    <a:cubicBezTo>
                      <a:pt x="141" y="292"/>
                      <a:pt x="140" y="291"/>
                      <a:pt x="138" y="292"/>
                    </a:cubicBezTo>
                    <a:cubicBezTo>
                      <a:pt x="136" y="292"/>
                      <a:pt x="134" y="294"/>
                      <a:pt x="132" y="294"/>
                    </a:cubicBezTo>
                    <a:cubicBezTo>
                      <a:pt x="130" y="295"/>
                      <a:pt x="129" y="292"/>
                      <a:pt x="127" y="292"/>
                    </a:cubicBezTo>
                    <a:cubicBezTo>
                      <a:pt x="125" y="292"/>
                      <a:pt x="124" y="290"/>
                      <a:pt x="125" y="288"/>
                    </a:cubicBezTo>
                    <a:cubicBezTo>
                      <a:pt x="126" y="288"/>
                      <a:pt x="129" y="287"/>
                      <a:pt x="127" y="286"/>
                    </a:cubicBezTo>
                    <a:cubicBezTo>
                      <a:pt x="125" y="285"/>
                      <a:pt x="123" y="286"/>
                      <a:pt x="121" y="285"/>
                    </a:cubicBezTo>
                    <a:cubicBezTo>
                      <a:pt x="119" y="284"/>
                      <a:pt x="117" y="284"/>
                      <a:pt x="117" y="287"/>
                    </a:cubicBezTo>
                    <a:cubicBezTo>
                      <a:pt x="117" y="289"/>
                      <a:pt x="115" y="289"/>
                      <a:pt x="114" y="290"/>
                    </a:cubicBezTo>
                    <a:cubicBezTo>
                      <a:pt x="113" y="293"/>
                      <a:pt x="110" y="290"/>
                      <a:pt x="109" y="288"/>
                    </a:cubicBezTo>
                    <a:cubicBezTo>
                      <a:pt x="107" y="286"/>
                      <a:pt x="100" y="284"/>
                      <a:pt x="101" y="290"/>
                    </a:cubicBezTo>
                    <a:cubicBezTo>
                      <a:pt x="102" y="292"/>
                      <a:pt x="104" y="292"/>
                      <a:pt x="106" y="294"/>
                    </a:cubicBezTo>
                    <a:cubicBezTo>
                      <a:pt x="107" y="294"/>
                      <a:pt x="111" y="298"/>
                      <a:pt x="109" y="298"/>
                    </a:cubicBezTo>
                    <a:cubicBezTo>
                      <a:pt x="107" y="298"/>
                      <a:pt x="105" y="296"/>
                      <a:pt x="102" y="296"/>
                    </a:cubicBezTo>
                    <a:cubicBezTo>
                      <a:pt x="99" y="295"/>
                      <a:pt x="97" y="295"/>
                      <a:pt x="94" y="294"/>
                    </a:cubicBezTo>
                    <a:cubicBezTo>
                      <a:pt x="88" y="292"/>
                      <a:pt x="83" y="293"/>
                      <a:pt x="78" y="292"/>
                    </a:cubicBezTo>
                    <a:cubicBezTo>
                      <a:pt x="77" y="292"/>
                      <a:pt x="76" y="292"/>
                      <a:pt x="75" y="291"/>
                    </a:cubicBezTo>
                    <a:cubicBezTo>
                      <a:pt x="74" y="291"/>
                      <a:pt x="74" y="290"/>
                      <a:pt x="73" y="289"/>
                    </a:cubicBezTo>
                    <a:cubicBezTo>
                      <a:pt x="70" y="287"/>
                      <a:pt x="67" y="286"/>
                      <a:pt x="65" y="285"/>
                    </a:cubicBezTo>
                    <a:cubicBezTo>
                      <a:pt x="64" y="284"/>
                      <a:pt x="59" y="283"/>
                      <a:pt x="61" y="282"/>
                    </a:cubicBezTo>
                    <a:cubicBezTo>
                      <a:pt x="63" y="280"/>
                      <a:pt x="66" y="281"/>
                      <a:pt x="68" y="279"/>
                    </a:cubicBezTo>
                    <a:cubicBezTo>
                      <a:pt x="69" y="278"/>
                      <a:pt x="70" y="276"/>
                      <a:pt x="72" y="276"/>
                    </a:cubicBezTo>
                    <a:cubicBezTo>
                      <a:pt x="73" y="275"/>
                      <a:pt x="75" y="275"/>
                      <a:pt x="76" y="275"/>
                    </a:cubicBezTo>
                    <a:cubicBezTo>
                      <a:pt x="77" y="275"/>
                      <a:pt x="79" y="275"/>
                      <a:pt x="80" y="276"/>
                    </a:cubicBezTo>
                    <a:cubicBezTo>
                      <a:pt x="82" y="276"/>
                      <a:pt x="85" y="276"/>
                      <a:pt x="86" y="274"/>
                    </a:cubicBezTo>
                    <a:cubicBezTo>
                      <a:pt x="87" y="271"/>
                      <a:pt x="82" y="272"/>
                      <a:pt x="81" y="272"/>
                    </a:cubicBezTo>
                    <a:cubicBezTo>
                      <a:pt x="78" y="272"/>
                      <a:pt x="75" y="272"/>
                      <a:pt x="72" y="272"/>
                    </a:cubicBezTo>
                    <a:cubicBezTo>
                      <a:pt x="69" y="272"/>
                      <a:pt x="66" y="272"/>
                      <a:pt x="63" y="271"/>
                    </a:cubicBezTo>
                    <a:cubicBezTo>
                      <a:pt x="62" y="270"/>
                      <a:pt x="61" y="270"/>
                      <a:pt x="60" y="270"/>
                    </a:cubicBezTo>
                    <a:cubicBezTo>
                      <a:pt x="58" y="269"/>
                      <a:pt x="57" y="269"/>
                      <a:pt x="56" y="268"/>
                    </a:cubicBezTo>
                    <a:cubicBezTo>
                      <a:pt x="55" y="268"/>
                      <a:pt x="54" y="268"/>
                      <a:pt x="53" y="268"/>
                    </a:cubicBezTo>
                    <a:cubicBezTo>
                      <a:pt x="52" y="267"/>
                      <a:pt x="53" y="266"/>
                      <a:pt x="54" y="265"/>
                    </a:cubicBezTo>
                    <a:cubicBezTo>
                      <a:pt x="55" y="264"/>
                      <a:pt x="55" y="264"/>
                      <a:pt x="56" y="263"/>
                    </a:cubicBezTo>
                    <a:cubicBezTo>
                      <a:pt x="57" y="262"/>
                      <a:pt x="58" y="262"/>
                      <a:pt x="59" y="261"/>
                    </a:cubicBezTo>
                    <a:cubicBezTo>
                      <a:pt x="61" y="260"/>
                      <a:pt x="59" y="259"/>
                      <a:pt x="57" y="260"/>
                    </a:cubicBezTo>
                    <a:cubicBezTo>
                      <a:pt x="56" y="261"/>
                      <a:pt x="55" y="262"/>
                      <a:pt x="54" y="263"/>
                    </a:cubicBezTo>
                    <a:cubicBezTo>
                      <a:pt x="53" y="263"/>
                      <a:pt x="52" y="264"/>
                      <a:pt x="50" y="264"/>
                    </a:cubicBezTo>
                    <a:cubicBezTo>
                      <a:pt x="49" y="264"/>
                      <a:pt x="49" y="265"/>
                      <a:pt x="48" y="266"/>
                    </a:cubicBezTo>
                    <a:cubicBezTo>
                      <a:pt x="47" y="267"/>
                      <a:pt x="47" y="268"/>
                      <a:pt x="45" y="268"/>
                    </a:cubicBezTo>
                    <a:cubicBezTo>
                      <a:pt x="44" y="267"/>
                      <a:pt x="43" y="267"/>
                      <a:pt x="42" y="267"/>
                    </a:cubicBezTo>
                    <a:cubicBezTo>
                      <a:pt x="41" y="267"/>
                      <a:pt x="40" y="267"/>
                      <a:pt x="40" y="266"/>
                    </a:cubicBezTo>
                    <a:cubicBezTo>
                      <a:pt x="38" y="265"/>
                      <a:pt x="42" y="263"/>
                      <a:pt x="40" y="262"/>
                    </a:cubicBezTo>
                    <a:cubicBezTo>
                      <a:pt x="39" y="261"/>
                      <a:pt x="35" y="260"/>
                      <a:pt x="34" y="261"/>
                    </a:cubicBezTo>
                    <a:cubicBezTo>
                      <a:pt x="33" y="261"/>
                      <a:pt x="33" y="262"/>
                      <a:pt x="31" y="261"/>
                    </a:cubicBezTo>
                    <a:cubicBezTo>
                      <a:pt x="31" y="261"/>
                      <a:pt x="30" y="260"/>
                      <a:pt x="31" y="259"/>
                    </a:cubicBezTo>
                    <a:cubicBezTo>
                      <a:pt x="32" y="257"/>
                      <a:pt x="33" y="255"/>
                      <a:pt x="36" y="255"/>
                    </a:cubicBezTo>
                    <a:cubicBezTo>
                      <a:pt x="39" y="255"/>
                      <a:pt x="41" y="255"/>
                      <a:pt x="42" y="253"/>
                    </a:cubicBezTo>
                    <a:cubicBezTo>
                      <a:pt x="43" y="251"/>
                      <a:pt x="47" y="252"/>
                      <a:pt x="48" y="252"/>
                    </a:cubicBezTo>
                    <a:cubicBezTo>
                      <a:pt x="50" y="252"/>
                      <a:pt x="51" y="252"/>
                      <a:pt x="52" y="252"/>
                    </a:cubicBezTo>
                    <a:cubicBezTo>
                      <a:pt x="54" y="252"/>
                      <a:pt x="56" y="252"/>
                      <a:pt x="57" y="252"/>
                    </a:cubicBezTo>
                    <a:cubicBezTo>
                      <a:pt x="58" y="252"/>
                      <a:pt x="60" y="252"/>
                      <a:pt x="61" y="252"/>
                    </a:cubicBezTo>
                    <a:cubicBezTo>
                      <a:pt x="62" y="252"/>
                      <a:pt x="64" y="253"/>
                      <a:pt x="65" y="253"/>
                    </a:cubicBezTo>
                    <a:cubicBezTo>
                      <a:pt x="68" y="254"/>
                      <a:pt x="71" y="254"/>
                      <a:pt x="74" y="254"/>
                    </a:cubicBezTo>
                    <a:cubicBezTo>
                      <a:pt x="81" y="254"/>
                      <a:pt x="87" y="253"/>
                      <a:pt x="93" y="254"/>
                    </a:cubicBezTo>
                    <a:cubicBezTo>
                      <a:pt x="99" y="254"/>
                      <a:pt x="105" y="257"/>
                      <a:pt x="110" y="256"/>
                    </a:cubicBezTo>
                    <a:cubicBezTo>
                      <a:pt x="112" y="256"/>
                      <a:pt x="115" y="256"/>
                      <a:pt x="116" y="255"/>
                    </a:cubicBezTo>
                    <a:cubicBezTo>
                      <a:pt x="118" y="252"/>
                      <a:pt x="112" y="254"/>
                      <a:pt x="111" y="254"/>
                    </a:cubicBezTo>
                    <a:cubicBezTo>
                      <a:pt x="109" y="254"/>
                      <a:pt x="106" y="254"/>
                      <a:pt x="103" y="254"/>
                    </a:cubicBezTo>
                    <a:cubicBezTo>
                      <a:pt x="100" y="253"/>
                      <a:pt x="97" y="253"/>
                      <a:pt x="94" y="252"/>
                    </a:cubicBezTo>
                    <a:cubicBezTo>
                      <a:pt x="88" y="251"/>
                      <a:pt x="82" y="252"/>
                      <a:pt x="77" y="252"/>
                    </a:cubicBezTo>
                    <a:cubicBezTo>
                      <a:pt x="74" y="252"/>
                      <a:pt x="74" y="249"/>
                      <a:pt x="76" y="249"/>
                    </a:cubicBezTo>
                    <a:cubicBezTo>
                      <a:pt x="77" y="248"/>
                      <a:pt x="79" y="249"/>
                      <a:pt x="80" y="248"/>
                    </a:cubicBezTo>
                    <a:cubicBezTo>
                      <a:pt x="81" y="248"/>
                      <a:pt x="83" y="247"/>
                      <a:pt x="84" y="247"/>
                    </a:cubicBezTo>
                    <a:cubicBezTo>
                      <a:pt x="87" y="247"/>
                      <a:pt x="90" y="247"/>
                      <a:pt x="94" y="247"/>
                    </a:cubicBezTo>
                    <a:cubicBezTo>
                      <a:pt x="97" y="247"/>
                      <a:pt x="100" y="246"/>
                      <a:pt x="103" y="247"/>
                    </a:cubicBezTo>
                    <a:cubicBezTo>
                      <a:pt x="106" y="247"/>
                      <a:pt x="108" y="248"/>
                      <a:pt x="111" y="249"/>
                    </a:cubicBezTo>
                    <a:cubicBezTo>
                      <a:pt x="111" y="250"/>
                      <a:pt x="116" y="251"/>
                      <a:pt x="115" y="249"/>
                    </a:cubicBezTo>
                    <a:cubicBezTo>
                      <a:pt x="114" y="248"/>
                      <a:pt x="112" y="248"/>
                      <a:pt x="112" y="247"/>
                    </a:cubicBezTo>
                    <a:cubicBezTo>
                      <a:pt x="110" y="244"/>
                      <a:pt x="115" y="245"/>
                      <a:pt x="117" y="245"/>
                    </a:cubicBezTo>
                    <a:cubicBezTo>
                      <a:pt x="119" y="244"/>
                      <a:pt x="120" y="242"/>
                      <a:pt x="118" y="240"/>
                    </a:cubicBezTo>
                    <a:cubicBezTo>
                      <a:pt x="115" y="239"/>
                      <a:pt x="112" y="239"/>
                      <a:pt x="110" y="239"/>
                    </a:cubicBezTo>
                    <a:cubicBezTo>
                      <a:pt x="107" y="239"/>
                      <a:pt x="104" y="239"/>
                      <a:pt x="101" y="239"/>
                    </a:cubicBezTo>
                    <a:cubicBezTo>
                      <a:pt x="98" y="239"/>
                      <a:pt x="95" y="240"/>
                      <a:pt x="92" y="241"/>
                    </a:cubicBezTo>
                    <a:cubicBezTo>
                      <a:pt x="90" y="241"/>
                      <a:pt x="87" y="241"/>
                      <a:pt x="84" y="241"/>
                    </a:cubicBezTo>
                    <a:cubicBezTo>
                      <a:pt x="82" y="241"/>
                      <a:pt x="80" y="241"/>
                      <a:pt x="78" y="239"/>
                    </a:cubicBezTo>
                    <a:cubicBezTo>
                      <a:pt x="78" y="238"/>
                      <a:pt x="76" y="235"/>
                      <a:pt x="75" y="238"/>
                    </a:cubicBezTo>
                    <a:cubicBezTo>
                      <a:pt x="74" y="240"/>
                      <a:pt x="75" y="242"/>
                      <a:pt x="72" y="242"/>
                    </a:cubicBezTo>
                    <a:cubicBezTo>
                      <a:pt x="70" y="242"/>
                      <a:pt x="68" y="243"/>
                      <a:pt x="66" y="242"/>
                    </a:cubicBezTo>
                    <a:cubicBezTo>
                      <a:pt x="63" y="241"/>
                      <a:pt x="64" y="237"/>
                      <a:pt x="61" y="238"/>
                    </a:cubicBezTo>
                    <a:cubicBezTo>
                      <a:pt x="59" y="238"/>
                      <a:pt x="58" y="236"/>
                      <a:pt x="59" y="235"/>
                    </a:cubicBezTo>
                    <a:cubicBezTo>
                      <a:pt x="61" y="233"/>
                      <a:pt x="60" y="232"/>
                      <a:pt x="58" y="233"/>
                    </a:cubicBezTo>
                    <a:cubicBezTo>
                      <a:pt x="56" y="233"/>
                      <a:pt x="55" y="234"/>
                      <a:pt x="53" y="235"/>
                    </a:cubicBezTo>
                    <a:cubicBezTo>
                      <a:pt x="50" y="235"/>
                      <a:pt x="47" y="236"/>
                      <a:pt x="44" y="235"/>
                    </a:cubicBezTo>
                    <a:cubicBezTo>
                      <a:pt x="44" y="235"/>
                      <a:pt x="41" y="235"/>
                      <a:pt x="42" y="234"/>
                    </a:cubicBezTo>
                    <a:cubicBezTo>
                      <a:pt x="43" y="234"/>
                      <a:pt x="44" y="233"/>
                      <a:pt x="45" y="233"/>
                    </a:cubicBezTo>
                    <a:cubicBezTo>
                      <a:pt x="46" y="232"/>
                      <a:pt x="46" y="231"/>
                      <a:pt x="47" y="231"/>
                    </a:cubicBezTo>
                    <a:cubicBezTo>
                      <a:pt x="48" y="230"/>
                      <a:pt x="49" y="230"/>
                      <a:pt x="50" y="230"/>
                    </a:cubicBezTo>
                    <a:cubicBezTo>
                      <a:pt x="52" y="230"/>
                      <a:pt x="51" y="229"/>
                      <a:pt x="50" y="229"/>
                    </a:cubicBezTo>
                    <a:cubicBezTo>
                      <a:pt x="48" y="229"/>
                      <a:pt x="46" y="229"/>
                      <a:pt x="44" y="230"/>
                    </a:cubicBezTo>
                    <a:cubicBezTo>
                      <a:pt x="41" y="231"/>
                      <a:pt x="39" y="231"/>
                      <a:pt x="36" y="231"/>
                    </a:cubicBezTo>
                    <a:cubicBezTo>
                      <a:pt x="34" y="231"/>
                      <a:pt x="30" y="233"/>
                      <a:pt x="30" y="229"/>
                    </a:cubicBezTo>
                    <a:cubicBezTo>
                      <a:pt x="30" y="227"/>
                      <a:pt x="28" y="227"/>
                      <a:pt x="26" y="227"/>
                    </a:cubicBezTo>
                    <a:cubicBezTo>
                      <a:pt x="23" y="227"/>
                      <a:pt x="21" y="225"/>
                      <a:pt x="19" y="224"/>
                    </a:cubicBezTo>
                    <a:cubicBezTo>
                      <a:pt x="17" y="222"/>
                      <a:pt x="14" y="222"/>
                      <a:pt x="12" y="222"/>
                    </a:cubicBezTo>
                    <a:cubicBezTo>
                      <a:pt x="10" y="222"/>
                      <a:pt x="9" y="222"/>
                      <a:pt x="8" y="221"/>
                    </a:cubicBezTo>
                    <a:cubicBezTo>
                      <a:pt x="6" y="221"/>
                      <a:pt x="5" y="220"/>
                      <a:pt x="4" y="219"/>
                    </a:cubicBezTo>
                    <a:cubicBezTo>
                      <a:pt x="3" y="219"/>
                      <a:pt x="2" y="219"/>
                      <a:pt x="1" y="218"/>
                    </a:cubicBezTo>
                    <a:cubicBezTo>
                      <a:pt x="0" y="218"/>
                      <a:pt x="1" y="216"/>
                      <a:pt x="1" y="215"/>
                    </a:cubicBezTo>
                    <a:cubicBezTo>
                      <a:pt x="1" y="213"/>
                      <a:pt x="2" y="212"/>
                      <a:pt x="4" y="211"/>
                    </a:cubicBezTo>
                    <a:cubicBezTo>
                      <a:pt x="6" y="210"/>
                      <a:pt x="7" y="209"/>
                      <a:pt x="8" y="207"/>
                    </a:cubicBezTo>
                    <a:cubicBezTo>
                      <a:pt x="8" y="204"/>
                      <a:pt x="11" y="204"/>
                      <a:pt x="13" y="204"/>
                    </a:cubicBezTo>
                    <a:cubicBezTo>
                      <a:pt x="16" y="203"/>
                      <a:pt x="18" y="203"/>
                      <a:pt x="21" y="203"/>
                    </a:cubicBezTo>
                    <a:cubicBezTo>
                      <a:pt x="24" y="203"/>
                      <a:pt x="28" y="203"/>
                      <a:pt x="31" y="202"/>
                    </a:cubicBezTo>
                    <a:cubicBezTo>
                      <a:pt x="34" y="202"/>
                      <a:pt x="37" y="202"/>
                      <a:pt x="40" y="202"/>
                    </a:cubicBezTo>
                    <a:cubicBezTo>
                      <a:pt x="43" y="201"/>
                      <a:pt x="46" y="200"/>
                      <a:pt x="49" y="199"/>
                    </a:cubicBezTo>
                    <a:cubicBezTo>
                      <a:pt x="52" y="198"/>
                      <a:pt x="54" y="197"/>
                      <a:pt x="57" y="196"/>
                    </a:cubicBezTo>
                    <a:cubicBezTo>
                      <a:pt x="60" y="195"/>
                      <a:pt x="63" y="195"/>
                      <a:pt x="66" y="194"/>
                    </a:cubicBezTo>
                    <a:cubicBezTo>
                      <a:pt x="67" y="194"/>
                      <a:pt x="70" y="194"/>
                      <a:pt x="71" y="193"/>
                    </a:cubicBezTo>
                    <a:cubicBezTo>
                      <a:pt x="73" y="191"/>
                      <a:pt x="71" y="191"/>
                      <a:pt x="69" y="190"/>
                    </a:cubicBezTo>
                    <a:cubicBezTo>
                      <a:pt x="68" y="190"/>
                      <a:pt x="66" y="189"/>
                      <a:pt x="67" y="187"/>
                    </a:cubicBezTo>
                    <a:cubicBezTo>
                      <a:pt x="69" y="186"/>
                      <a:pt x="71" y="186"/>
                      <a:pt x="72" y="186"/>
                    </a:cubicBezTo>
                    <a:cubicBezTo>
                      <a:pt x="75" y="186"/>
                      <a:pt x="78" y="186"/>
                      <a:pt x="80" y="185"/>
                    </a:cubicBezTo>
                    <a:cubicBezTo>
                      <a:pt x="83" y="185"/>
                      <a:pt x="86" y="183"/>
                      <a:pt x="89" y="183"/>
                    </a:cubicBezTo>
                    <a:cubicBezTo>
                      <a:pt x="92" y="182"/>
                      <a:pt x="95" y="182"/>
                      <a:pt x="98" y="181"/>
                    </a:cubicBezTo>
                    <a:cubicBezTo>
                      <a:pt x="99" y="181"/>
                      <a:pt x="105" y="180"/>
                      <a:pt x="104" y="182"/>
                    </a:cubicBezTo>
                    <a:cubicBezTo>
                      <a:pt x="104" y="184"/>
                      <a:pt x="109" y="182"/>
                      <a:pt x="110" y="182"/>
                    </a:cubicBezTo>
                    <a:cubicBezTo>
                      <a:pt x="111" y="182"/>
                      <a:pt x="112" y="182"/>
                      <a:pt x="114" y="182"/>
                    </a:cubicBezTo>
                    <a:cubicBezTo>
                      <a:pt x="115" y="181"/>
                      <a:pt x="117" y="182"/>
                      <a:pt x="118" y="182"/>
                    </a:cubicBezTo>
                    <a:cubicBezTo>
                      <a:pt x="120" y="183"/>
                      <a:pt x="123" y="182"/>
                      <a:pt x="125" y="181"/>
                    </a:cubicBezTo>
                    <a:cubicBezTo>
                      <a:pt x="127" y="179"/>
                      <a:pt x="127" y="176"/>
                      <a:pt x="129" y="174"/>
                    </a:cubicBezTo>
                    <a:cubicBezTo>
                      <a:pt x="130" y="172"/>
                      <a:pt x="132" y="170"/>
                      <a:pt x="133" y="169"/>
                    </a:cubicBezTo>
                    <a:cubicBezTo>
                      <a:pt x="135" y="166"/>
                      <a:pt x="135" y="164"/>
                      <a:pt x="137" y="162"/>
                    </a:cubicBezTo>
                    <a:cubicBezTo>
                      <a:pt x="138" y="162"/>
                      <a:pt x="139" y="161"/>
                      <a:pt x="139" y="160"/>
                    </a:cubicBezTo>
                    <a:cubicBezTo>
                      <a:pt x="139" y="159"/>
                      <a:pt x="138" y="158"/>
                      <a:pt x="138" y="157"/>
                    </a:cubicBezTo>
                    <a:cubicBezTo>
                      <a:pt x="137" y="155"/>
                      <a:pt x="137" y="154"/>
                      <a:pt x="137" y="153"/>
                    </a:cubicBezTo>
                    <a:cubicBezTo>
                      <a:pt x="137" y="152"/>
                      <a:pt x="138" y="150"/>
                      <a:pt x="138" y="149"/>
                    </a:cubicBezTo>
                    <a:cubicBezTo>
                      <a:pt x="137" y="147"/>
                      <a:pt x="143" y="148"/>
                      <a:pt x="143" y="147"/>
                    </a:cubicBezTo>
                    <a:cubicBezTo>
                      <a:pt x="144" y="147"/>
                      <a:pt x="145" y="146"/>
                      <a:pt x="146" y="145"/>
                    </a:cubicBezTo>
                    <a:cubicBezTo>
                      <a:pt x="148" y="145"/>
                      <a:pt x="149" y="145"/>
                      <a:pt x="151" y="145"/>
                    </a:cubicBezTo>
                    <a:cubicBezTo>
                      <a:pt x="152" y="145"/>
                      <a:pt x="156" y="144"/>
                      <a:pt x="156" y="142"/>
                    </a:cubicBezTo>
                    <a:cubicBezTo>
                      <a:pt x="156" y="141"/>
                      <a:pt x="153" y="142"/>
                      <a:pt x="152" y="142"/>
                    </a:cubicBezTo>
                    <a:cubicBezTo>
                      <a:pt x="150" y="142"/>
                      <a:pt x="152" y="139"/>
                      <a:pt x="151" y="139"/>
                    </a:cubicBezTo>
                    <a:cubicBezTo>
                      <a:pt x="148" y="138"/>
                      <a:pt x="146" y="142"/>
                      <a:pt x="145" y="143"/>
                    </a:cubicBezTo>
                    <a:cubicBezTo>
                      <a:pt x="144" y="143"/>
                      <a:pt x="142" y="143"/>
                      <a:pt x="141" y="144"/>
                    </a:cubicBezTo>
                    <a:cubicBezTo>
                      <a:pt x="140" y="144"/>
                      <a:pt x="139" y="145"/>
                      <a:pt x="138" y="145"/>
                    </a:cubicBezTo>
                    <a:cubicBezTo>
                      <a:pt x="137" y="145"/>
                      <a:pt x="136" y="144"/>
                      <a:pt x="135" y="144"/>
                    </a:cubicBezTo>
                    <a:cubicBezTo>
                      <a:pt x="133" y="143"/>
                      <a:pt x="132" y="143"/>
                      <a:pt x="131" y="143"/>
                    </a:cubicBezTo>
                    <a:cubicBezTo>
                      <a:pt x="130" y="144"/>
                      <a:pt x="129" y="144"/>
                      <a:pt x="128" y="144"/>
                    </a:cubicBezTo>
                    <a:cubicBezTo>
                      <a:pt x="127" y="145"/>
                      <a:pt x="126" y="146"/>
                      <a:pt x="125" y="147"/>
                    </a:cubicBezTo>
                    <a:cubicBezTo>
                      <a:pt x="124" y="147"/>
                      <a:pt x="123" y="148"/>
                      <a:pt x="122" y="148"/>
                    </a:cubicBezTo>
                    <a:cubicBezTo>
                      <a:pt x="121" y="148"/>
                      <a:pt x="120" y="147"/>
                      <a:pt x="119" y="146"/>
                    </a:cubicBezTo>
                    <a:cubicBezTo>
                      <a:pt x="117" y="144"/>
                      <a:pt x="115" y="143"/>
                      <a:pt x="112" y="143"/>
                    </a:cubicBezTo>
                    <a:cubicBezTo>
                      <a:pt x="110" y="144"/>
                      <a:pt x="107" y="145"/>
                      <a:pt x="104" y="145"/>
                    </a:cubicBezTo>
                    <a:cubicBezTo>
                      <a:pt x="103" y="145"/>
                      <a:pt x="103" y="144"/>
                      <a:pt x="102" y="143"/>
                    </a:cubicBezTo>
                    <a:cubicBezTo>
                      <a:pt x="101" y="142"/>
                      <a:pt x="100" y="142"/>
                      <a:pt x="99" y="142"/>
                    </a:cubicBezTo>
                    <a:cubicBezTo>
                      <a:pt x="97" y="141"/>
                      <a:pt x="94" y="141"/>
                      <a:pt x="94" y="138"/>
                    </a:cubicBezTo>
                    <a:cubicBezTo>
                      <a:pt x="93" y="136"/>
                      <a:pt x="96" y="135"/>
                      <a:pt x="98" y="135"/>
                    </a:cubicBezTo>
                    <a:cubicBezTo>
                      <a:pt x="101" y="134"/>
                      <a:pt x="104" y="133"/>
                      <a:pt x="107" y="132"/>
                    </a:cubicBezTo>
                    <a:cubicBezTo>
                      <a:pt x="112" y="129"/>
                      <a:pt x="118" y="127"/>
                      <a:pt x="124" y="124"/>
                    </a:cubicBezTo>
                    <a:cubicBezTo>
                      <a:pt x="129" y="121"/>
                      <a:pt x="135" y="119"/>
                      <a:pt x="141" y="117"/>
                    </a:cubicBezTo>
                    <a:cubicBezTo>
                      <a:pt x="143" y="115"/>
                      <a:pt x="146" y="114"/>
                      <a:pt x="149" y="113"/>
                    </a:cubicBezTo>
                    <a:cubicBezTo>
                      <a:pt x="151" y="111"/>
                      <a:pt x="154" y="110"/>
                      <a:pt x="157" y="109"/>
                    </a:cubicBezTo>
                    <a:cubicBezTo>
                      <a:pt x="159" y="108"/>
                      <a:pt x="162" y="107"/>
                      <a:pt x="163" y="107"/>
                    </a:cubicBezTo>
                    <a:cubicBezTo>
                      <a:pt x="164" y="107"/>
                      <a:pt x="164" y="109"/>
                      <a:pt x="164" y="109"/>
                    </a:cubicBezTo>
                    <a:cubicBezTo>
                      <a:pt x="165" y="111"/>
                      <a:pt x="165" y="112"/>
                      <a:pt x="167" y="113"/>
                    </a:cubicBezTo>
                    <a:cubicBezTo>
                      <a:pt x="168" y="114"/>
                      <a:pt x="170" y="116"/>
                      <a:pt x="172" y="117"/>
                    </a:cubicBezTo>
                    <a:cubicBezTo>
                      <a:pt x="173" y="118"/>
                      <a:pt x="174" y="118"/>
                      <a:pt x="174" y="117"/>
                    </a:cubicBezTo>
                    <a:cubicBezTo>
                      <a:pt x="173" y="116"/>
                      <a:pt x="172" y="115"/>
                      <a:pt x="171" y="114"/>
                    </a:cubicBezTo>
                    <a:cubicBezTo>
                      <a:pt x="170" y="113"/>
                      <a:pt x="168" y="111"/>
                      <a:pt x="167" y="109"/>
                    </a:cubicBezTo>
                    <a:cubicBezTo>
                      <a:pt x="166" y="107"/>
                      <a:pt x="165" y="104"/>
                      <a:pt x="166" y="103"/>
                    </a:cubicBezTo>
                    <a:cubicBezTo>
                      <a:pt x="168" y="101"/>
                      <a:pt x="172" y="102"/>
                      <a:pt x="174" y="102"/>
                    </a:cubicBezTo>
                    <a:cubicBezTo>
                      <a:pt x="177" y="102"/>
                      <a:pt x="181" y="101"/>
                      <a:pt x="184" y="101"/>
                    </a:cubicBezTo>
                    <a:cubicBezTo>
                      <a:pt x="185" y="101"/>
                      <a:pt x="186" y="101"/>
                      <a:pt x="188" y="102"/>
                    </a:cubicBezTo>
                    <a:cubicBezTo>
                      <a:pt x="189" y="103"/>
                      <a:pt x="190" y="104"/>
                      <a:pt x="191" y="104"/>
                    </a:cubicBezTo>
                    <a:cubicBezTo>
                      <a:pt x="193" y="106"/>
                      <a:pt x="196" y="107"/>
                      <a:pt x="198" y="105"/>
                    </a:cubicBezTo>
                    <a:cubicBezTo>
                      <a:pt x="200" y="104"/>
                      <a:pt x="202" y="105"/>
                      <a:pt x="203" y="103"/>
                    </a:cubicBezTo>
                    <a:cubicBezTo>
                      <a:pt x="203" y="102"/>
                      <a:pt x="203" y="101"/>
                      <a:pt x="203" y="99"/>
                    </a:cubicBezTo>
                    <a:cubicBezTo>
                      <a:pt x="204" y="98"/>
                      <a:pt x="203" y="97"/>
                      <a:pt x="202" y="96"/>
                    </a:cubicBezTo>
                    <a:cubicBezTo>
                      <a:pt x="200" y="94"/>
                      <a:pt x="200" y="93"/>
                      <a:pt x="202" y="92"/>
                    </a:cubicBezTo>
                    <a:cubicBezTo>
                      <a:pt x="203" y="91"/>
                      <a:pt x="204" y="91"/>
                      <a:pt x="204" y="90"/>
                    </a:cubicBezTo>
                    <a:cubicBezTo>
                      <a:pt x="204" y="89"/>
                      <a:pt x="205" y="88"/>
                      <a:pt x="205" y="86"/>
                    </a:cubicBezTo>
                    <a:cubicBezTo>
                      <a:pt x="205" y="84"/>
                      <a:pt x="203" y="83"/>
                      <a:pt x="202" y="82"/>
                    </a:cubicBezTo>
                    <a:cubicBezTo>
                      <a:pt x="201" y="82"/>
                      <a:pt x="197" y="79"/>
                      <a:pt x="199" y="77"/>
                    </a:cubicBezTo>
                    <a:cubicBezTo>
                      <a:pt x="200" y="76"/>
                      <a:pt x="204" y="77"/>
                      <a:pt x="205" y="77"/>
                    </a:cubicBezTo>
                    <a:cubicBezTo>
                      <a:pt x="208" y="78"/>
                      <a:pt x="211" y="77"/>
                      <a:pt x="214" y="77"/>
                    </a:cubicBezTo>
                    <a:cubicBezTo>
                      <a:pt x="217" y="76"/>
                      <a:pt x="220" y="75"/>
                      <a:pt x="223" y="75"/>
                    </a:cubicBezTo>
                    <a:cubicBezTo>
                      <a:pt x="226" y="74"/>
                      <a:pt x="228" y="73"/>
                      <a:pt x="231" y="73"/>
                    </a:cubicBezTo>
                    <a:cubicBezTo>
                      <a:pt x="234" y="73"/>
                      <a:pt x="236" y="72"/>
                      <a:pt x="239" y="74"/>
                    </a:cubicBezTo>
                    <a:cubicBezTo>
                      <a:pt x="240" y="74"/>
                      <a:pt x="241" y="75"/>
                      <a:pt x="242" y="76"/>
                    </a:cubicBezTo>
                    <a:cubicBezTo>
                      <a:pt x="243" y="76"/>
                      <a:pt x="244" y="77"/>
                      <a:pt x="244" y="78"/>
                    </a:cubicBezTo>
                    <a:cubicBezTo>
                      <a:pt x="244" y="79"/>
                      <a:pt x="244" y="79"/>
                      <a:pt x="243" y="79"/>
                    </a:cubicBezTo>
                    <a:cubicBezTo>
                      <a:pt x="242" y="80"/>
                      <a:pt x="244" y="81"/>
                      <a:pt x="245" y="81"/>
                    </a:cubicBezTo>
                    <a:cubicBezTo>
                      <a:pt x="246" y="82"/>
                      <a:pt x="247" y="83"/>
                      <a:pt x="248" y="83"/>
                    </a:cubicBezTo>
                    <a:cubicBezTo>
                      <a:pt x="249" y="83"/>
                      <a:pt x="251" y="82"/>
                      <a:pt x="253" y="83"/>
                    </a:cubicBezTo>
                    <a:cubicBezTo>
                      <a:pt x="255" y="83"/>
                      <a:pt x="257" y="85"/>
                      <a:pt x="259" y="86"/>
                    </a:cubicBezTo>
                    <a:cubicBezTo>
                      <a:pt x="262" y="86"/>
                      <a:pt x="264" y="86"/>
                      <a:pt x="266" y="88"/>
                    </a:cubicBezTo>
                    <a:cubicBezTo>
                      <a:pt x="267" y="89"/>
                      <a:pt x="267" y="90"/>
                      <a:pt x="268" y="91"/>
                    </a:cubicBezTo>
                    <a:cubicBezTo>
                      <a:pt x="269" y="92"/>
                      <a:pt x="269" y="93"/>
                      <a:pt x="270" y="94"/>
                    </a:cubicBezTo>
                    <a:cubicBezTo>
                      <a:pt x="271" y="95"/>
                      <a:pt x="274" y="94"/>
                      <a:pt x="275" y="94"/>
                    </a:cubicBezTo>
                    <a:cubicBezTo>
                      <a:pt x="277" y="94"/>
                      <a:pt x="279" y="95"/>
                      <a:pt x="281" y="96"/>
                    </a:cubicBezTo>
                    <a:cubicBezTo>
                      <a:pt x="284" y="97"/>
                      <a:pt x="282" y="93"/>
                      <a:pt x="281" y="93"/>
                    </a:cubicBezTo>
                    <a:cubicBezTo>
                      <a:pt x="279" y="92"/>
                      <a:pt x="276" y="92"/>
                      <a:pt x="274" y="91"/>
                    </a:cubicBezTo>
                    <a:cubicBezTo>
                      <a:pt x="273" y="90"/>
                      <a:pt x="271" y="89"/>
                      <a:pt x="270" y="88"/>
                    </a:cubicBezTo>
                    <a:cubicBezTo>
                      <a:pt x="269" y="88"/>
                      <a:pt x="268" y="86"/>
                      <a:pt x="267" y="86"/>
                    </a:cubicBezTo>
                    <a:cubicBezTo>
                      <a:pt x="265" y="84"/>
                      <a:pt x="263" y="84"/>
                      <a:pt x="261" y="83"/>
                    </a:cubicBezTo>
                    <a:cubicBezTo>
                      <a:pt x="260" y="83"/>
                      <a:pt x="258" y="82"/>
                      <a:pt x="257" y="82"/>
                    </a:cubicBezTo>
                    <a:cubicBezTo>
                      <a:pt x="256" y="81"/>
                      <a:pt x="256" y="80"/>
                      <a:pt x="255" y="79"/>
                    </a:cubicBezTo>
                    <a:cubicBezTo>
                      <a:pt x="254" y="78"/>
                      <a:pt x="252" y="78"/>
                      <a:pt x="251" y="78"/>
                    </a:cubicBezTo>
                    <a:cubicBezTo>
                      <a:pt x="250" y="77"/>
                      <a:pt x="249" y="76"/>
                      <a:pt x="248" y="75"/>
                    </a:cubicBezTo>
                    <a:cubicBezTo>
                      <a:pt x="245" y="74"/>
                      <a:pt x="243" y="73"/>
                      <a:pt x="240" y="72"/>
                    </a:cubicBezTo>
                    <a:cubicBezTo>
                      <a:pt x="238" y="72"/>
                      <a:pt x="236" y="71"/>
                      <a:pt x="234" y="70"/>
                    </a:cubicBezTo>
                    <a:cubicBezTo>
                      <a:pt x="232" y="67"/>
                      <a:pt x="235" y="67"/>
                      <a:pt x="237" y="67"/>
                    </a:cubicBezTo>
                    <a:cubicBezTo>
                      <a:pt x="240" y="66"/>
                      <a:pt x="242" y="65"/>
                      <a:pt x="245" y="65"/>
                    </a:cubicBezTo>
                    <a:cubicBezTo>
                      <a:pt x="248" y="64"/>
                      <a:pt x="251" y="63"/>
                      <a:pt x="254" y="63"/>
                    </a:cubicBezTo>
                    <a:cubicBezTo>
                      <a:pt x="260" y="62"/>
                      <a:pt x="266" y="62"/>
                      <a:pt x="272" y="61"/>
                    </a:cubicBezTo>
                    <a:cubicBezTo>
                      <a:pt x="274" y="60"/>
                      <a:pt x="277" y="59"/>
                      <a:pt x="279" y="58"/>
                    </a:cubicBezTo>
                    <a:cubicBezTo>
                      <a:pt x="281" y="57"/>
                      <a:pt x="282" y="57"/>
                      <a:pt x="284" y="58"/>
                    </a:cubicBezTo>
                    <a:cubicBezTo>
                      <a:pt x="283" y="57"/>
                      <a:pt x="282" y="57"/>
                      <a:pt x="282" y="57"/>
                    </a:cubicBezTo>
                    <a:cubicBezTo>
                      <a:pt x="284" y="57"/>
                      <a:pt x="282" y="57"/>
                      <a:pt x="282" y="57"/>
                    </a:cubicBezTo>
                    <a:close/>
                    <a:moveTo>
                      <a:pt x="339" y="487"/>
                    </a:moveTo>
                    <a:cubicBezTo>
                      <a:pt x="341" y="489"/>
                      <a:pt x="342" y="491"/>
                      <a:pt x="345" y="492"/>
                    </a:cubicBezTo>
                    <a:cubicBezTo>
                      <a:pt x="347" y="494"/>
                      <a:pt x="350" y="495"/>
                      <a:pt x="353" y="495"/>
                    </a:cubicBezTo>
                    <a:cubicBezTo>
                      <a:pt x="355" y="495"/>
                      <a:pt x="356" y="495"/>
                      <a:pt x="357" y="496"/>
                    </a:cubicBezTo>
                    <a:cubicBezTo>
                      <a:pt x="358" y="497"/>
                      <a:pt x="357" y="498"/>
                      <a:pt x="357" y="498"/>
                    </a:cubicBezTo>
                    <a:cubicBezTo>
                      <a:pt x="357" y="500"/>
                      <a:pt x="359" y="500"/>
                      <a:pt x="360" y="502"/>
                    </a:cubicBezTo>
                    <a:cubicBezTo>
                      <a:pt x="360" y="504"/>
                      <a:pt x="356" y="505"/>
                      <a:pt x="354" y="506"/>
                    </a:cubicBezTo>
                    <a:cubicBezTo>
                      <a:pt x="353" y="506"/>
                      <a:pt x="352" y="507"/>
                      <a:pt x="351" y="508"/>
                    </a:cubicBezTo>
                    <a:cubicBezTo>
                      <a:pt x="350" y="509"/>
                      <a:pt x="349" y="509"/>
                      <a:pt x="347" y="509"/>
                    </a:cubicBezTo>
                    <a:cubicBezTo>
                      <a:pt x="345" y="509"/>
                      <a:pt x="342" y="510"/>
                      <a:pt x="340" y="512"/>
                    </a:cubicBezTo>
                    <a:cubicBezTo>
                      <a:pt x="338" y="514"/>
                      <a:pt x="335" y="514"/>
                      <a:pt x="332" y="514"/>
                    </a:cubicBezTo>
                    <a:cubicBezTo>
                      <a:pt x="329" y="514"/>
                      <a:pt x="327" y="512"/>
                      <a:pt x="324" y="511"/>
                    </a:cubicBezTo>
                    <a:cubicBezTo>
                      <a:pt x="323" y="511"/>
                      <a:pt x="319" y="510"/>
                      <a:pt x="322" y="509"/>
                    </a:cubicBezTo>
                    <a:cubicBezTo>
                      <a:pt x="324" y="508"/>
                      <a:pt x="325" y="508"/>
                      <a:pt x="327" y="508"/>
                    </a:cubicBezTo>
                    <a:cubicBezTo>
                      <a:pt x="328" y="509"/>
                      <a:pt x="330" y="509"/>
                      <a:pt x="331" y="508"/>
                    </a:cubicBezTo>
                    <a:cubicBezTo>
                      <a:pt x="331" y="508"/>
                      <a:pt x="335" y="508"/>
                      <a:pt x="334" y="507"/>
                    </a:cubicBezTo>
                    <a:cubicBezTo>
                      <a:pt x="333" y="506"/>
                      <a:pt x="331" y="506"/>
                      <a:pt x="330" y="507"/>
                    </a:cubicBezTo>
                    <a:cubicBezTo>
                      <a:pt x="329" y="507"/>
                      <a:pt x="328" y="507"/>
                      <a:pt x="327" y="506"/>
                    </a:cubicBezTo>
                    <a:cubicBezTo>
                      <a:pt x="326" y="505"/>
                      <a:pt x="325" y="505"/>
                      <a:pt x="324" y="504"/>
                    </a:cubicBezTo>
                    <a:cubicBezTo>
                      <a:pt x="323" y="503"/>
                      <a:pt x="321" y="503"/>
                      <a:pt x="320" y="503"/>
                    </a:cubicBezTo>
                    <a:cubicBezTo>
                      <a:pt x="318" y="503"/>
                      <a:pt x="317" y="503"/>
                      <a:pt x="316" y="503"/>
                    </a:cubicBezTo>
                    <a:cubicBezTo>
                      <a:pt x="315" y="503"/>
                      <a:pt x="314" y="503"/>
                      <a:pt x="313" y="502"/>
                    </a:cubicBezTo>
                    <a:cubicBezTo>
                      <a:pt x="312" y="502"/>
                      <a:pt x="310" y="502"/>
                      <a:pt x="309" y="501"/>
                    </a:cubicBezTo>
                    <a:cubicBezTo>
                      <a:pt x="308" y="500"/>
                      <a:pt x="310" y="499"/>
                      <a:pt x="311" y="499"/>
                    </a:cubicBezTo>
                    <a:cubicBezTo>
                      <a:pt x="311" y="499"/>
                      <a:pt x="317" y="501"/>
                      <a:pt x="317" y="499"/>
                    </a:cubicBezTo>
                    <a:cubicBezTo>
                      <a:pt x="317" y="498"/>
                      <a:pt x="314" y="498"/>
                      <a:pt x="313" y="497"/>
                    </a:cubicBezTo>
                    <a:cubicBezTo>
                      <a:pt x="312" y="497"/>
                      <a:pt x="311" y="496"/>
                      <a:pt x="311" y="494"/>
                    </a:cubicBezTo>
                    <a:cubicBezTo>
                      <a:pt x="310" y="491"/>
                      <a:pt x="317" y="493"/>
                      <a:pt x="319" y="493"/>
                    </a:cubicBezTo>
                    <a:cubicBezTo>
                      <a:pt x="319" y="493"/>
                      <a:pt x="321" y="492"/>
                      <a:pt x="320" y="491"/>
                    </a:cubicBezTo>
                    <a:cubicBezTo>
                      <a:pt x="318" y="491"/>
                      <a:pt x="317" y="491"/>
                      <a:pt x="316" y="491"/>
                    </a:cubicBezTo>
                    <a:cubicBezTo>
                      <a:pt x="314" y="490"/>
                      <a:pt x="310" y="486"/>
                      <a:pt x="312" y="484"/>
                    </a:cubicBezTo>
                    <a:cubicBezTo>
                      <a:pt x="313" y="483"/>
                      <a:pt x="315" y="483"/>
                      <a:pt x="317" y="482"/>
                    </a:cubicBezTo>
                    <a:cubicBezTo>
                      <a:pt x="318" y="482"/>
                      <a:pt x="320" y="481"/>
                      <a:pt x="322" y="481"/>
                    </a:cubicBezTo>
                    <a:cubicBezTo>
                      <a:pt x="324" y="481"/>
                      <a:pt x="326" y="483"/>
                      <a:pt x="327" y="483"/>
                    </a:cubicBezTo>
                    <a:cubicBezTo>
                      <a:pt x="329" y="484"/>
                      <a:pt x="331" y="484"/>
                      <a:pt x="334" y="484"/>
                    </a:cubicBezTo>
                    <a:cubicBezTo>
                      <a:pt x="337" y="485"/>
                      <a:pt x="339" y="485"/>
                      <a:pt x="340" y="488"/>
                    </a:cubicBezTo>
                    <a:cubicBezTo>
                      <a:pt x="340" y="488"/>
                      <a:pt x="340" y="487"/>
                      <a:pt x="339" y="487"/>
                    </a:cubicBezTo>
                    <a:cubicBezTo>
                      <a:pt x="340" y="488"/>
                      <a:pt x="339" y="487"/>
                      <a:pt x="339" y="487"/>
                    </a:cubicBezTo>
                    <a:close/>
                    <a:moveTo>
                      <a:pt x="307" y="475"/>
                    </a:moveTo>
                    <a:cubicBezTo>
                      <a:pt x="307" y="476"/>
                      <a:pt x="306" y="479"/>
                      <a:pt x="308" y="479"/>
                    </a:cubicBezTo>
                    <a:cubicBezTo>
                      <a:pt x="309" y="479"/>
                      <a:pt x="312" y="480"/>
                      <a:pt x="312" y="478"/>
                    </a:cubicBezTo>
                    <a:cubicBezTo>
                      <a:pt x="312" y="476"/>
                      <a:pt x="310" y="475"/>
                      <a:pt x="309" y="475"/>
                    </a:cubicBezTo>
                    <a:cubicBezTo>
                      <a:pt x="307" y="474"/>
                      <a:pt x="307" y="474"/>
                      <a:pt x="307" y="476"/>
                    </a:cubicBezTo>
                    <a:cubicBezTo>
                      <a:pt x="307" y="476"/>
                      <a:pt x="307" y="475"/>
                      <a:pt x="307" y="475"/>
                    </a:cubicBezTo>
                    <a:cubicBezTo>
                      <a:pt x="307" y="476"/>
                      <a:pt x="307" y="475"/>
                      <a:pt x="307" y="475"/>
                    </a:cubicBezTo>
                    <a:close/>
                    <a:moveTo>
                      <a:pt x="328" y="452"/>
                    </a:moveTo>
                    <a:cubicBezTo>
                      <a:pt x="327" y="453"/>
                      <a:pt x="324" y="455"/>
                      <a:pt x="326" y="457"/>
                    </a:cubicBezTo>
                    <a:cubicBezTo>
                      <a:pt x="328" y="458"/>
                      <a:pt x="332" y="460"/>
                      <a:pt x="333" y="459"/>
                    </a:cubicBezTo>
                    <a:cubicBezTo>
                      <a:pt x="335" y="457"/>
                      <a:pt x="333" y="455"/>
                      <a:pt x="333" y="454"/>
                    </a:cubicBezTo>
                    <a:cubicBezTo>
                      <a:pt x="332" y="451"/>
                      <a:pt x="330" y="451"/>
                      <a:pt x="328" y="453"/>
                    </a:cubicBezTo>
                    <a:cubicBezTo>
                      <a:pt x="328" y="453"/>
                      <a:pt x="328" y="452"/>
                      <a:pt x="328" y="452"/>
                    </a:cubicBezTo>
                    <a:cubicBezTo>
                      <a:pt x="327" y="453"/>
                      <a:pt x="328" y="452"/>
                      <a:pt x="328" y="452"/>
                    </a:cubicBezTo>
                    <a:close/>
                    <a:moveTo>
                      <a:pt x="343" y="450"/>
                    </a:moveTo>
                    <a:cubicBezTo>
                      <a:pt x="342" y="450"/>
                      <a:pt x="339" y="448"/>
                      <a:pt x="339" y="451"/>
                    </a:cubicBezTo>
                    <a:cubicBezTo>
                      <a:pt x="340" y="454"/>
                      <a:pt x="343" y="455"/>
                      <a:pt x="346" y="454"/>
                    </a:cubicBezTo>
                    <a:cubicBezTo>
                      <a:pt x="346" y="453"/>
                      <a:pt x="347" y="453"/>
                      <a:pt x="348" y="452"/>
                    </a:cubicBezTo>
                    <a:cubicBezTo>
                      <a:pt x="349" y="452"/>
                      <a:pt x="350" y="451"/>
                      <a:pt x="348" y="450"/>
                    </a:cubicBezTo>
                    <a:cubicBezTo>
                      <a:pt x="347" y="449"/>
                      <a:pt x="344" y="450"/>
                      <a:pt x="342" y="450"/>
                    </a:cubicBezTo>
                    <a:cubicBezTo>
                      <a:pt x="343" y="450"/>
                      <a:pt x="343" y="450"/>
                      <a:pt x="343" y="450"/>
                    </a:cubicBezTo>
                    <a:cubicBezTo>
                      <a:pt x="342" y="450"/>
                      <a:pt x="343" y="450"/>
                      <a:pt x="343" y="450"/>
                    </a:cubicBezTo>
                    <a:close/>
                    <a:moveTo>
                      <a:pt x="337" y="439"/>
                    </a:moveTo>
                    <a:cubicBezTo>
                      <a:pt x="336" y="439"/>
                      <a:pt x="334" y="439"/>
                      <a:pt x="336" y="441"/>
                    </a:cubicBezTo>
                    <a:cubicBezTo>
                      <a:pt x="336" y="441"/>
                      <a:pt x="337" y="442"/>
                      <a:pt x="337" y="442"/>
                    </a:cubicBezTo>
                    <a:cubicBezTo>
                      <a:pt x="339" y="442"/>
                      <a:pt x="339" y="441"/>
                      <a:pt x="340" y="441"/>
                    </a:cubicBezTo>
                    <a:cubicBezTo>
                      <a:pt x="341" y="441"/>
                      <a:pt x="345" y="440"/>
                      <a:pt x="342" y="440"/>
                    </a:cubicBezTo>
                    <a:cubicBezTo>
                      <a:pt x="341" y="439"/>
                      <a:pt x="338" y="439"/>
                      <a:pt x="336" y="439"/>
                    </a:cubicBezTo>
                    <a:cubicBezTo>
                      <a:pt x="337" y="439"/>
                      <a:pt x="337" y="439"/>
                      <a:pt x="337" y="439"/>
                    </a:cubicBezTo>
                    <a:cubicBezTo>
                      <a:pt x="337" y="439"/>
                      <a:pt x="337" y="439"/>
                      <a:pt x="337" y="439"/>
                    </a:cubicBezTo>
                    <a:close/>
                    <a:moveTo>
                      <a:pt x="374" y="494"/>
                    </a:moveTo>
                    <a:cubicBezTo>
                      <a:pt x="372" y="495"/>
                      <a:pt x="371" y="497"/>
                      <a:pt x="370" y="498"/>
                    </a:cubicBezTo>
                    <a:cubicBezTo>
                      <a:pt x="369" y="499"/>
                      <a:pt x="370" y="501"/>
                      <a:pt x="371" y="502"/>
                    </a:cubicBezTo>
                    <a:cubicBezTo>
                      <a:pt x="371" y="503"/>
                      <a:pt x="373" y="505"/>
                      <a:pt x="374" y="505"/>
                    </a:cubicBezTo>
                    <a:cubicBezTo>
                      <a:pt x="375" y="505"/>
                      <a:pt x="375" y="503"/>
                      <a:pt x="375" y="502"/>
                    </a:cubicBezTo>
                    <a:cubicBezTo>
                      <a:pt x="375" y="500"/>
                      <a:pt x="374" y="500"/>
                      <a:pt x="376" y="499"/>
                    </a:cubicBezTo>
                    <a:cubicBezTo>
                      <a:pt x="377" y="499"/>
                      <a:pt x="378" y="498"/>
                      <a:pt x="378" y="498"/>
                    </a:cubicBezTo>
                    <a:cubicBezTo>
                      <a:pt x="379" y="497"/>
                      <a:pt x="379" y="496"/>
                      <a:pt x="380" y="496"/>
                    </a:cubicBezTo>
                    <a:cubicBezTo>
                      <a:pt x="382" y="495"/>
                      <a:pt x="379" y="494"/>
                      <a:pt x="378" y="494"/>
                    </a:cubicBezTo>
                    <a:cubicBezTo>
                      <a:pt x="377" y="494"/>
                      <a:pt x="374" y="494"/>
                      <a:pt x="373" y="495"/>
                    </a:cubicBezTo>
                    <a:cubicBezTo>
                      <a:pt x="373" y="494"/>
                      <a:pt x="373" y="494"/>
                      <a:pt x="374" y="494"/>
                    </a:cubicBezTo>
                    <a:cubicBezTo>
                      <a:pt x="372" y="495"/>
                      <a:pt x="374" y="494"/>
                      <a:pt x="374" y="494"/>
                    </a:cubicBezTo>
                    <a:close/>
                    <a:moveTo>
                      <a:pt x="370" y="466"/>
                    </a:moveTo>
                    <a:cubicBezTo>
                      <a:pt x="370" y="467"/>
                      <a:pt x="369" y="467"/>
                      <a:pt x="369" y="468"/>
                    </a:cubicBezTo>
                    <a:cubicBezTo>
                      <a:pt x="370" y="468"/>
                      <a:pt x="371" y="469"/>
                      <a:pt x="372" y="468"/>
                    </a:cubicBezTo>
                    <a:cubicBezTo>
                      <a:pt x="374" y="468"/>
                      <a:pt x="371" y="466"/>
                      <a:pt x="370" y="467"/>
                    </a:cubicBezTo>
                    <a:cubicBezTo>
                      <a:pt x="370" y="467"/>
                      <a:pt x="370" y="466"/>
                      <a:pt x="370" y="466"/>
                    </a:cubicBezTo>
                    <a:cubicBezTo>
                      <a:pt x="370" y="467"/>
                      <a:pt x="370" y="466"/>
                      <a:pt x="370" y="466"/>
                    </a:cubicBezTo>
                    <a:close/>
                    <a:moveTo>
                      <a:pt x="363" y="553"/>
                    </a:moveTo>
                    <a:cubicBezTo>
                      <a:pt x="364" y="551"/>
                      <a:pt x="366" y="553"/>
                      <a:pt x="367" y="554"/>
                    </a:cubicBezTo>
                    <a:cubicBezTo>
                      <a:pt x="368" y="555"/>
                      <a:pt x="370" y="557"/>
                      <a:pt x="367" y="557"/>
                    </a:cubicBezTo>
                    <a:cubicBezTo>
                      <a:pt x="366" y="556"/>
                      <a:pt x="365" y="556"/>
                      <a:pt x="364" y="556"/>
                    </a:cubicBezTo>
                    <a:cubicBezTo>
                      <a:pt x="363" y="556"/>
                      <a:pt x="361" y="557"/>
                      <a:pt x="361" y="556"/>
                    </a:cubicBezTo>
                    <a:cubicBezTo>
                      <a:pt x="361" y="555"/>
                      <a:pt x="363" y="553"/>
                      <a:pt x="363" y="553"/>
                    </a:cubicBezTo>
                    <a:cubicBezTo>
                      <a:pt x="363" y="553"/>
                      <a:pt x="363" y="553"/>
                      <a:pt x="363" y="553"/>
                    </a:cubicBezTo>
                    <a:cubicBezTo>
                      <a:pt x="364" y="551"/>
                      <a:pt x="363" y="553"/>
                      <a:pt x="363" y="553"/>
                    </a:cubicBezTo>
                    <a:close/>
                    <a:moveTo>
                      <a:pt x="369" y="549"/>
                    </a:moveTo>
                    <a:cubicBezTo>
                      <a:pt x="368" y="549"/>
                      <a:pt x="366" y="549"/>
                      <a:pt x="367" y="551"/>
                    </a:cubicBezTo>
                    <a:cubicBezTo>
                      <a:pt x="367" y="551"/>
                      <a:pt x="369" y="551"/>
                      <a:pt x="370" y="551"/>
                    </a:cubicBezTo>
                    <a:cubicBezTo>
                      <a:pt x="371" y="551"/>
                      <a:pt x="373" y="551"/>
                      <a:pt x="372" y="549"/>
                    </a:cubicBezTo>
                    <a:cubicBezTo>
                      <a:pt x="371" y="548"/>
                      <a:pt x="370" y="549"/>
                      <a:pt x="368" y="549"/>
                    </a:cubicBezTo>
                    <a:cubicBezTo>
                      <a:pt x="369" y="549"/>
                      <a:pt x="369" y="549"/>
                      <a:pt x="369" y="549"/>
                    </a:cubicBezTo>
                    <a:cubicBezTo>
                      <a:pt x="368" y="549"/>
                      <a:pt x="369" y="549"/>
                      <a:pt x="369" y="549"/>
                    </a:cubicBezTo>
                    <a:close/>
                    <a:moveTo>
                      <a:pt x="360" y="549"/>
                    </a:moveTo>
                    <a:cubicBezTo>
                      <a:pt x="359" y="549"/>
                      <a:pt x="356" y="549"/>
                      <a:pt x="357" y="551"/>
                    </a:cubicBezTo>
                    <a:cubicBezTo>
                      <a:pt x="358" y="553"/>
                      <a:pt x="359" y="550"/>
                      <a:pt x="360" y="550"/>
                    </a:cubicBezTo>
                    <a:cubicBezTo>
                      <a:pt x="360" y="550"/>
                      <a:pt x="363" y="551"/>
                      <a:pt x="363" y="550"/>
                    </a:cubicBezTo>
                    <a:cubicBezTo>
                      <a:pt x="363" y="549"/>
                      <a:pt x="360" y="549"/>
                      <a:pt x="359" y="549"/>
                    </a:cubicBezTo>
                    <a:cubicBezTo>
                      <a:pt x="359" y="549"/>
                      <a:pt x="359" y="549"/>
                      <a:pt x="360" y="549"/>
                    </a:cubicBezTo>
                    <a:cubicBezTo>
                      <a:pt x="359" y="549"/>
                      <a:pt x="360" y="549"/>
                      <a:pt x="360" y="549"/>
                    </a:cubicBezTo>
                    <a:close/>
                    <a:moveTo>
                      <a:pt x="373" y="545"/>
                    </a:moveTo>
                    <a:cubicBezTo>
                      <a:pt x="373" y="545"/>
                      <a:pt x="372" y="546"/>
                      <a:pt x="372" y="546"/>
                    </a:cubicBezTo>
                    <a:cubicBezTo>
                      <a:pt x="373" y="546"/>
                      <a:pt x="373" y="547"/>
                      <a:pt x="374" y="547"/>
                    </a:cubicBezTo>
                    <a:cubicBezTo>
                      <a:pt x="375" y="546"/>
                      <a:pt x="374" y="545"/>
                      <a:pt x="373" y="545"/>
                    </a:cubicBezTo>
                    <a:cubicBezTo>
                      <a:pt x="373" y="545"/>
                      <a:pt x="373" y="545"/>
                      <a:pt x="373" y="545"/>
                    </a:cubicBezTo>
                    <a:cubicBezTo>
                      <a:pt x="373" y="545"/>
                      <a:pt x="373" y="545"/>
                      <a:pt x="373" y="545"/>
                    </a:cubicBezTo>
                    <a:close/>
                    <a:moveTo>
                      <a:pt x="341" y="546"/>
                    </a:moveTo>
                    <a:cubicBezTo>
                      <a:pt x="341" y="549"/>
                      <a:pt x="345" y="549"/>
                      <a:pt x="347" y="549"/>
                    </a:cubicBezTo>
                    <a:cubicBezTo>
                      <a:pt x="348" y="550"/>
                      <a:pt x="349" y="549"/>
                      <a:pt x="351" y="549"/>
                    </a:cubicBezTo>
                    <a:cubicBezTo>
                      <a:pt x="352" y="549"/>
                      <a:pt x="352" y="548"/>
                      <a:pt x="351" y="548"/>
                    </a:cubicBezTo>
                    <a:cubicBezTo>
                      <a:pt x="349" y="548"/>
                      <a:pt x="347" y="548"/>
                      <a:pt x="345" y="547"/>
                    </a:cubicBezTo>
                    <a:cubicBezTo>
                      <a:pt x="344" y="546"/>
                      <a:pt x="341" y="544"/>
                      <a:pt x="341" y="547"/>
                    </a:cubicBezTo>
                    <a:cubicBezTo>
                      <a:pt x="341" y="547"/>
                      <a:pt x="341" y="546"/>
                      <a:pt x="341" y="546"/>
                    </a:cubicBezTo>
                    <a:cubicBezTo>
                      <a:pt x="341" y="548"/>
                      <a:pt x="341" y="546"/>
                      <a:pt x="341" y="546"/>
                    </a:cubicBezTo>
                    <a:close/>
                    <a:moveTo>
                      <a:pt x="342" y="552"/>
                    </a:moveTo>
                    <a:cubicBezTo>
                      <a:pt x="344" y="551"/>
                      <a:pt x="344" y="551"/>
                      <a:pt x="346" y="552"/>
                    </a:cubicBezTo>
                    <a:cubicBezTo>
                      <a:pt x="347" y="553"/>
                      <a:pt x="349" y="553"/>
                      <a:pt x="350" y="552"/>
                    </a:cubicBezTo>
                    <a:cubicBezTo>
                      <a:pt x="351" y="552"/>
                      <a:pt x="352" y="551"/>
                      <a:pt x="354" y="552"/>
                    </a:cubicBezTo>
                    <a:cubicBezTo>
                      <a:pt x="355" y="552"/>
                      <a:pt x="355" y="553"/>
                      <a:pt x="354" y="553"/>
                    </a:cubicBezTo>
                    <a:cubicBezTo>
                      <a:pt x="352" y="554"/>
                      <a:pt x="351" y="554"/>
                      <a:pt x="350" y="554"/>
                    </a:cubicBezTo>
                    <a:cubicBezTo>
                      <a:pt x="348" y="555"/>
                      <a:pt x="347" y="555"/>
                      <a:pt x="346" y="555"/>
                    </a:cubicBezTo>
                    <a:cubicBezTo>
                      <a:pt x="344" y="556"/>
                      <a:pt x="343" y="556"/>
                      <a:pt x="342" y="556"/>
                    </a:cubicBezTo>
                    <a:cubicBezTo>
                      <a:pt x="340" y="557"/>
                      <a:pt x="340" y="558"/>
                      <a:pt x="338" y="559"/>
                    </a:cubicBezTo>
                    <a:cubicBezTo>
                      <a:pt x="337" y="560"/>
                      <a:pt x="334" y="564"/>
                      <a:pt x="332" y="562"/>
                    </a:cubicBezTo>
                    <a:cubicBezTo>
                      <a:pt x="332" y="561"/>
                      <a:pt x="333" y="559"/>
                      <a:pt x="333" y="558"/>
                    </a:cubicBezTo>
                    <a:cubicBezTo>
                      <a:pt x="333" y="557"/>
                      <a:pt x="331" y="557"/>
                      <a:pt x="331" y="556"/>
                    </a:cubicBezTo>
                    <a:cubicBezTo>
                      <a:pt x="331" y="555"/>
                      <a:pt x="334" y="555"/>
                      <a:pt x="334" y="555"/>
                    </a:cubicBezTo>
                    <a:cubicBezTo>
                      <a:pt x="335" y="555"/>
                      <a:pt x="336" y="556"/>
                      <a:pt x="337" y="555"/>
                    </a:cubicBezTo>
                    <a:cubicBezTo>
                      <a:pt x="340" y="554"/>
                      <a:pt x="340" y="552"/>
                      <a:pt x="343" y="551"/>
                    </a:cubicBezTo>
                    <a:cubicBezTo>
                      <a:pt x="342" y="551"/>
                      <a:pt x="342" y="552"/>
                      <a:pt x="342" y="552"/>
                    </a:cubicBezTo>
                    <a:cubicBezTo>
                      <a:pt x="343" y="551"/>
                      <a:pt x="342" y="552"/>
                      <a:pt x="342" y="552"/>
                    </a:cubicBezTo>
                    <a:close/>
                    <a:moveTo>
                      <a:pt x="781" y="465"/>
                    </a:moveTo>
                    <a:cubicBezTo>
                      <a:pt x="779" y="466"/>
                      <a:pt x="776" y="468"/>
                      <a:pt x="774" y="468"/>
                    </a:cubicBezTo>
                    <a:cubicBezTo>
                      <a:pt x="772" y="469"/>
                      <a:pt x="770" y="469"/>
                      <a:pt x="769" y="471"/>
                    </a:cubicBezTo>
                    <a:cubicBezTo>
                      <a:pt x="768" y="472"/>
                      <a:pt x="766" y="474"/>
                      <a:pt x="768" y="475"/>
                    </a:cubicBezTo>
                    <a:cubicBezTo>
                      <a:pt x="771" y="475"/>
                      <a:pt x="773" y="475"/>
                      <a:pt x="776" y="474"/>
                    </a:cubicBezTo>
                    <a:cubicBezTo>
                      <a:pt x="779" y="474"/>
                      <a:pt x="782" y="474"/>
                      <a:pt x="785" y="474"/>
                    </a:cubicBezTo>
                    <a:cubicBezTo>
                      <a:pt x="788" y="473"/>
                      <a:pt x="791" y="474"/>
                      <a:pt x="793" y="472"/>
                    </a:cubicBezTo>
                    <a:cubicBezTo>
                      <a:pt x="796" y="471"/>
                      <a:pt x="797" y="473"/>
                      <a:pt x="799" y="473"/>
                    </a:cubicBezTo>
                    <a:cubicBezTo>
                      <a:pt x="802" y="474"/>
                      <a:pt x="803" y="471"/>
                      <a:pt x="805" y="470"/>
                    </a:cubicBezTo>
                    <a:cubicBezTo>
                      <a:pt x="806" y="470"/>
                      <a:pt x="808" y="470"/>
                      <a:pt x="810" y="470"/>
                    </a:cubicBezTo>
                    <a:cubicBezTo>
                      <a:pt x="812" y="469"/>
                      <a:pt x="813" y="467"/>
                      <a:pt x="811" y="466"/>
                    </a:cubicBezTo>
                    <a:cubicBezTo>
                      <a:pt x="809" y="465"/>
                      <a:pt x="812" y="463"/>
                      <a:pt x="811" y="462"/>
                    </a:cubicBezTo>
                    <a:cubicBezTo>
                      <a:pt x="810" y="461"/>
                      <a:pt x="809" y="461"/>
                      <a:pt x="808" y="461"/>
                    </a:cubicBezTo>
                    <a:cubicBezTo>
                      <a:pt x="807" y="460"/>
                      <a:pt x="806" y="459"/>
                      <a:pt x="805" y="459"/>
                    </a:cubicBezTo>
                    <a:cubicBezTo>
                      <a:pt x="803" y="458"/>
                      <a:pt x="800" y="458"/>
                      <a:pt x="799" y="460"/>
                    </a:cubicBezTo>
                    <a:cubicBezTo>
                      <a:pt x="798" y="463"/>
                      <a:pt x="796" y="462"/>
                      <a:pt x="793" y="462"/>
                    </a:cubicBezTo>
                    <a:cubicBezTo>
                      <a:pt x="792" y="462"/>
                      <a:pt x="791" y="463"/>
                      <a:pt x="790" y="463"/>
                    </a:cubicBezTo>
                    <a:cubicBezTo>
                      <a:pt x="789" y="463"/>
                      <a:pt x="787" y="463"/>
                      <a:pt x="786" y="463"/>
                    </a:cubicBezTo>
                    <a:cubicBezTo>
                      <a:pt x="784" y="463"/>
                      <a:pt x="782" y="464"/>
                      <a:pt x="780" y="465"/>
                    </a:cubicBezTo>
                    <a:cubicBezTo>
                      <a:pt x="780" y="465"/>
                      <a:pt x="781" y="465"/>
                      <a:pt x="781" y="465"/>
                    </a:cubicBezTo>
                    <a:cubicBezTo>
                      <a:pt x="778" y="467"/>
                      <a:pt x="781" y="465"/>
                      <a:pt x="781" y="465"/>
                    </a:cubicBezTo>
                    <a:close/>
                    <a:moveTo>
                      <a:pt x="828" y="405"/>
                    </a:moveTo>
                    <a:cubicBezTo>
                      <a:pt x="827" y="402"/>
                      <a:pt x="830" y="402"/>
                      <a:pt x="832" y="402"/>
                    </a:cubicBezTo>
                    <a:cubicBezTo>
                      <a:pt x="835" y="401"/>
                      <a:pt x="837" y="403"/>
                      <a:pt x="840" y="403"/>
                    </a:cubicBezTo>
                    <a:cubicBezTo>
                      <a:pt x="841" y="403"/>
                      <a:pt x="843" y="402"/>
                      <a:pt x="844" y="402"/>
                    </a:cubicBezTo>
                    <a:cubicBezTo>
                      <a:pt x="846" y="402"/>
                      <a:pt x="847" y="403"/>
                      <a:pt x="848" y="403"/>
                    </a:cubicBezTo>
                    <a:cubicBezTo>
                      <a:pt x="851" y="404"/>
                      <a:pt x="853" y="403"/>
                      <a:pt x="854" y="406"/>
                    </a:cubicBezTo>
                    <a:cubicBezTo>
                      <a:pt x="855" y="407"/>
                      <a:pt x="855" y="408"/>
                      <a:pt x="856" y="409"/>
                    </a:cubicBezTo>
                    <a:cubicBezTo>
                      <a:pt x="856" y="409"/>
                      <a:pt x="858" y="409"/>
                      <a:pt x="859" y="410"/>
                    </a:cubicBezTo>
                    <a:cubicBezTo>
                      <a:pt x="861" y="411"/>
                      <a:pt x="862" y="412"/>
                      <a:pt x="864" y="412"/>
                    </a:cubicBezTo>
                    <a:cubicBezTo>
                      <a:pt x="864" y="412"/>
                      <a:pt x="868" y="412"/>
                      <a:pt x="866" y="413"/>
                    </a:cubicBezTo>
                    <a:cubicBezTo>
                      <a:pt x="864" y="414"/>
                      <a:pt x="862" y="414"/>
                      <a:pt x="860" y="413"/>
                    </a:cubicBezTo>
                    <a:cubicBezTo>
                      <a:pt x="859" y="413"/>
                      <a:pt x="856" y="413"/>
                      <a:pt x="856" y="415"/>
                    </a:cubicBezTo>
                    <a:cubicBezTo>
                      <a:pt x="856" y="417"/>
                      <a:pt x="859" y="417"/>
                      <a:pt x="860" y="417"/>
                    </a:cubicBezTo>
                    <a:cubicBezTo>
                      <a:pt x="862" y="418"/>
                      <a:pt x="862" y="420"/>
                      <a:pt x="863" y="421"/>
                    </a:cubicBezTo>
                    <a:cubicBezTo>
                      <a:pt x="864" y="421"/>
                      <a:pt x="867" y="419"/>
                      <a:pt x="866" y="421"/>
                    </a:cubicBezTo>
                    <a:cubicBezTo>
                      <a:pt x="866" y="423"/>
                      <a:pt x="864" y="424"/>
                      <a:pt x="862" y="424"/>
                    </a:cubicBezTo>
                    <a:cubicBezTo>
                      <a:pt x="859" y="424"/>
                      <a:pt x="857" y="423"/>
                      <a:pt x="854" y="421"/>
                    </a:cubicBezTo>
                    <a:cubicBezTo>
                      <a:pt x="853" y="421"/>
                      <a:pt x="853" y="420"/>
                      <a:pt x="851" y="419"/>
                    </a:cubicBezTo>
                    <a:cubicBezTo>
                      <a:pt x="851" y="418"/>
                      <a:pt x="849" y="418"/>
                      <a:pt x="848" y="417"/>
                    </a:cubicBezTo>
                    <a:cubicBezTo>
                      <a:pt x="846" y="416"/>
                      <a:pt x="843" y="415"/>
                      <a:pt x="841" y="415"/>
                    </a:cubicBezTo>
                    <a:cubicBezTo>
                      <a:pt x="839" y="415"/>
                      <a:pt x="837" y="415"/>
                      <a:pt x="835" y="415"/>
                    </a:cubicBezTo>
                    <a:cubicBezTo>
                      <a:pt x="833" y="414"/>
                      <a:pt x="833" y="412"/>
                      <a:pt x="833" y="411"/>
                    </a:cubicBezTo>
                    <a:cubicBezTo>
                      <a:pt x="832" y="409"/>
                      <a:pt x="830" y="409"/>
                      <a:pt x="829" y="408"/>
                    </a:cubicBezTo>
                    <a:cubicBezTo>
                      <a:pt x="827" y="407"/>
                      <a:pt x="828" y="406"/>
                      <a:pt x="827" y="404"/>
                    </a:cubicBezTo>
                    <a:cubicBezTo>
                      <a:pt x="827" y="404"/>
                      <a:pt x="828" y="405"/>
                      <a:pt x="828" y="405"/>
                    </a:cubicBezTo>
                    <a:cubicBezTo>
                      <a:pt x="827" y="404"/>
                      <a:pt x="828" y="405"/>
                      <a:pt x="828" y="405"/>
                    </a:cubicBezTo>
                    <a:close/>
                    <a:moveTo>
                      <a:pt x="831" y="396"/>
                    </a:moveTo>
                    <a:cubicBezTo>
                      <a:pt x="830" y="399"/>
                      <a:pt x="836" y="398"/>
                      <a:pt x="837" y="398"/>
                    </a:cubicBezTo>
                    <a:cubicBezTo>
                      <a:pt x="839" y="398"/>
                      <a:pt x="841" y="399"/>
                      <a:pt x="842" y="400"/>
                    </a:cubicBezTo>
                    <a:cubicBezTo>
                      <a:pt x="845" y="400"/>
                      <a:pt x="848" y="400"/>
                      <a:pt x="850" y="400"/>
                    </a:cubicBezTo>
                    <a:cubicBezTo>
                      <a:pt x="852" y="400"/>
                      <a:pt x="855" y="401"/>
                      <a:pt x="856" y="402"/>
                    </a:cubicBezTo>
                    <a:cubicBezTo>
                      <a:pt x="858" y="404"/>
                      <a:pt x="858" y="406"/>
                      <a:pt x="861" y="407"/>
                    </a:cubicBezTo>
                    <a:cubicBezTo>
                      <a:pt x="862" y="407"/>
                      <a:pt x="864" y="407"/>
                      <a:pt x="865" y="407"/>
                    </a:cubicBezTo>
                    <a:cubicBezTo>
                      <a:pt x="866" y="407"/>
                      <a:pt x="867" y="406"/>
                      <a:pt x="869" y="406"/>
                    </a:cubicBezTo>
                    <a:cubicBezTo>
                      <a:pt x="869" y="406"/>
                      <a:pt x="870" y="407"/>
                      <a:pt x="870" y="406"/>
                    </a:cubicBezTo>
                    <a:cubicBezTo>
                      <a:pt x="871" y="406"/>
                      <a:pt x="870" y="404"/>
                      <a:pt x="869" y="404"/>
                    </a:cubicBezTo>
                    <a:cubicBezTo>
                      <a:pt x="869" y="404"/>
                      <a:pt x="868" y="404"/>
                      <a:pt x="867" y="404"/>
                    </a:cubicBezTo>
                    <a:cubicBezTo>
                      <a:pt x="866" y="403"/>
                      <a:pt x="867" y="402"/>
                      <a:pt x="867" y="402"/>
                    </a:cubicBezTo>
                    <a:cubicBezTo>
                      <a:pt x="868" y="401"/>
                      <a:pt x="871" y="400"/>
                      <a:pt x="870" y="400"/>
                    </a:cubicBezTo>
                    <a:cubicBezTo>
                      <a:pt x="869" y="399"/>
                      <a:pt x="867" y="399"/>
                      <a:pt x="865" y="399"/>
                    </a:cubicBezTo>
                    <a:cubicBezTo>
                      <a:pt x="864" y="398"/>
                      <a:pt x="863" y="398"/>
                      <a:pt x="862" y="397"/>
                    </a:cubicBezTo>
                    <a:cubicBezTo>
                      <a:pt x="861" y="397"/>
                      <a:pt x="860" y="396"/>
                      <a:pt x="859" y="396"/>
                    </a:cubicBezTo>
                    <a:cubicBezTo>
                      <a:pt x="858" y="395"/>
                      <a:pt x="857" y="395"/>
                      <a:pt x="856" y="396"/>
                    </a:cubicBezTo>
                    <a:cubicBezTo>
                      <a:pt x="855" y="396"/>
                      <a:pt x="854" y="395"/>
                      <a:pt x="853" y="395"/>
                    </a:cubicBezTo>
                    <a:cubicBezTo>
                      <a:pt x="850" y="394"/>
                      <a:pt x="848" y="396"/>
                      <a:pt x="846" y="396"/>
                    </a:cubicBezTo>
                    <a:cubicBezTo>
                      <a:pt x="844" y="396"/>
                      <a:pt x="843" y="395"/>
                      <a:pt x="841" y="395"/>
                    </a:cubicBezTo>
                    <a:cubicBezTo>
                      <a:pt x="840" y="395"/>
                      <a:pt x="839" y="396"/>
                      <a:pt x="837" y="396"/>
                    </a:cubicBezTo>
                    <a:cubicBezTo>
                      <a:pt x="836" y="396"/>
                      <a:pt x="832" y="395"/>
                      <a:pt x="831" y="396"/>
                    </a:cubicBezTo>
                    <a:cubicBezTo>
                      <a:pt x="831" y="396"/>
                      <a:pt x="831" y="396"/>
                      <a:pt x="831" y="396"/>
                    </a:cubicBezTo>
                    <a:cubicBezTo>
                      <a:pt x="830" y="399"/>
                      <a:pt x="831" y="396"/>
                      <a:pt x="831" y="396"/>
                    </a:cubicBezTo>
                    <a:close/>
                    <a:moveTo>
                      <a:pt x="822" y="383"/>
                    </a:moveTo>
                    <a:cubicBezTo>
                      <a:pt x="823" y="383"/>
                      <a:pt x="825" y="384"/>
                      <a:pt x="826" y="383"/>
                    </a:cubicBezTo>
                    <a:cubicBezTo>
                      <a:pt x="828" y="383"/>
                      <a:pt x="829" y="382"/>
                      <a:pt x="831" y="383"/>
                    </a:cubicBezTo>
                    <a:cubicBezTo>
                      <a:pt x="834" y="384"/>
                      <a:pt x="836" y="386"/>
                      <a:pt x="839" y="386"/>
                    </a:cubicBezTo>
                    <a:cubicBezTo>
                      <a:pt x="841" y="386"/>
                      <a:pt x="842" y="386"/>
                      <a:pt x="842" y="387"/>
                    </a:cubicBezTo>
                    <a:cubicBezTo>
                      <a:pt x="842" y="388"/>
                      <a:pt x="842" y="388"/>
                      <a:pt x="841" y="388"/>
                    </a:cubicBezTo>
                    <a:cubicBezTo>
                      <a:pt x="840" y="388"/>
                      <a:pt x="838" y="388"/>
                      <a:pt x="837" y="388"/>
                    </a:cubicBezTo>
                    <a:cubicBezTo>
                      <a:pt x="836" y="387"/>
                      <a:pt x="834" y="387"/>
                      <a:pt x="833" y="387"/>
                    </a:cubicBezTo>
                    <a:cubicBezTo>
                      <a:pt x="832" y="387"/>
                      <a:pt x="832" y="387"/>
                      <a:pt x="831" y="387"/>
                    </a:cubicBezTo>
                    <a:cubicBezTo>
                      <a:pt x="830" y="387"/>
                      <a:pt x="830" y="386"/>
                      <a:pt x="829" y="386"/>
                    </a:cubicBezTo>
                    <a:cubicBezTo>
                      <a:pt x="826" y="385"/>
                      <a:pt x="823" y="386"/>
                      <a:pt x="820" y="386"/>
                    </a:cubicBezTo>
                    <a:cubicBezTo>
                      <a:pt x="818" y="386"/>
                      <a:pt x="817" y="386"/>
                      <a:pt x="816" y="385"/>
                    </a:cubicBezTo>
                    <a:cubicBezTo>
                      <a:pt x="815" y="385"/>
                      <a:pt x="814" y="384"/>
                      <a:pt x="816" y="383"/>
                    </a:cubicBezTo>
                    <a:cubicBezTo>
                      <a:pt x="818" y="382"/>
                      <a:pt x="821" y="383"/>
                      <a:pt x="823" y="383"/>
                    </a:cubicBezTo>
                    <a:cubicBezTo>
                      <a:pt x="823" y="383"/>
                      <a:pt x="822" y="383"/>
                      <a:pt x="822" y="383"/>
                    </a:cubicBezTo>
                    <a:cubicBezTo>
                      <a:pt x="823" y="383"/>
                      <a:pt x="822" y="383"/>
                      <a:pt x="822" y="383"/>
                    </a:cubicBezTo>
                    <a:close/>
                    <a:moveTo>
                      <a:pt x="880" y="391"/>
                    </a:moveTo>
                    <a:cubicBezTo>
                      <a:pt x="879" y="391"/>
                      <a:pt x="877" y="392"/>
                      <a:pt x="878" y="393"/>
                    </a:cubicBezTo>
                    <a:cubicBezTo>
                      <a:pt x="878" y="393"/>
                      <a:pt x="881" y="393"/>
                      <a:pt x="882" y="393"/>
                    </a:cubicBezTo>
                    <a:cubicBezTo>
                      <a:pt x="883" y="393"/>
                      <a:pt x="883" y="392"/>
                      <a:pt x="882" y="392"/>
                    </a:cubicBezTo>
                    <a:cubicBezTo>
                      <a:pt x="881" y="391"/>
                      <a:pt x="880" y="391"/>
                      <a:pt x="879" y="391"/>
                    </a:cubicBezTo>
                    <a:cubicBezTo>
                      <a:pt x="879" y="391"/>
                      <a:pt x="880" y="391"/>
                      <a:pt x="880" y="391"/>
                    </a:cubicBezTo>
                    <a:cubicBezTo>
                      <a:pt x="880" y="391"/>
                      <a:pt x="880" y="391"/>
                      <a:pt x="880" y="391"/>
                    </a:cubicBezTo>
                    <a:close/>
                    <a:moveTo>
                      <a:pt x="880" y="351"/>
                    </a:moveTo>
                    <a:cubicBezTo>
                      <a:pt x="878" y="353"/>
                      <a:pt x="878" y="354"/>
                      <a:pt x="876" y="354"/>
                    </a:cubicBezTo>
                    <a:cubicBezTo>
                      <a:pt x="875" y="354"/>
                      <a:pt x="872" y="354"/>
                      <a:pt x="871" y="354"/>
                    </a:cubicBezTo>
                    <a:cubicBezTo>
                      <a:pt x="870" y="355"/>
                      <a:pt x="870" y="357"/>
                      <a:pt x="871" y="357"/>
                    </a:cubicBezTo>
                    <a:cubicBezTo>
                      <a:pt x="872" y="358"/>
                      <a:pt x="874" y="357"/>
                      <a:pt x="875" y="358"/>
                    </a:cubicBezTo>
                    <a:cubicBezTo>
                      <a:pt x="877" y="358"/>
                      <a:pt x="877" y="359"/>
                      <a:pt x="879" y="360"/>
                    </a:cubicBezTo>
                    <a:cubicBezTo>
                      <a:pt x="880" y="361"/>
                      <a:pt x="882" y="361"/>
                      <a:pt x="883" y="361"/>
                    </a:cubicBezTo>
                    <a:cubicBezTo>
                      <a:pt x="884" y="360"/>
                      <a:pt x="885" y="359"/>
                      <a:pt x="886" y="359"/>
                    </a:cubicBezTo>
                    <a:cubicBezTo>
                      <a:pt x="888" y="358"/>
                      <a:pt x="890" y="358"/>
                      <a:pt x="891" y="358"/>
                    </a:cubicBezTo>
                    <a:cubicBezTo>
                      <a:pt x="893" y="358"/>
                      <a:pt x="894" y="357"/>
                      <a:pt x="896" y="357"/>
                    </a:cubicBezTo>
                    <a:cubicBezTo>
                      <a:pt x="896" y="357"/>
                      <a:pt x="898" y="357"/>
                      <a:pt x="898" y="356"/>
                    </a:cubicBezTo>
                    <a:cubicBezTo>
                      <a:pt x="898" y="355"/>
                      <a:pt x="896" y="354"/>
                      <a:pt x="895" y="354"/>
                    </a:cubicBezTo>
                    <a:cubicBezTo>
                      <a:pt x="894" y="353"/>
                      <a:pt x="893" y="352"/>
                      <a:pt x="892" y="351"/>
                    </a:cubicBezTo>
                    <a:cubicBezTo>
                      <a:pt x="890" y="350"/>
                      <a:pt x="887" y="350"/>
                      <a:pt x="884" y="350"/>
                    </a:cubicBezTo>
                    <a:cubicBezTo>
                      <a:pt x="882" y="350"/>
                      <a:pt x="881" y="350"/>
                      <a:pt x="879" y="352"/>
                    </a:cubicBezTo>
                    <a:cubicBezTo>
                      <a:pt x="879" y="352"/>
                      <a:pt x="879" y="352"/>
                      <a:pt x="880" y="351"/>
                    </a:cubicBezTo>
                    <a:cubicBezTo>
                      <a:pt x="879" y="352"/>
                      <a:pt x="880" y="351"/>
                      <a:pt x="880" y="351"/>
                    </a:cubicBezTo>
                    <a:close/>
                    <a:moveTo>
                      <a:pt x="894" y="329"/>
                    </a:moveTo>
                    <a:cubicBezTo>
                      <a:pt x="893" y="331"/>
                      <a:pt x="896" y="333"/>
                      <a:pt x="893" y="334"/>
                    </a:cubicBezTo>
                    <a:cubicBezTo>
                      <a:pt x="892" y="334"/>
                      <a:pt x="893" y="336"/>
                      <a:pt x="893" y="336"/>
                    </a:cubicBezTo>
                    <a:cubicBezTo>
                      <a:pt x="893" y="337"/>
                      <a:pt x="895" y="337"/>
                      <a:pt x="896" y="337"/>
                    </a:cubicBezTo>
                    <a:cubicBezTo>
                      <a:pt x="897" y="338"/>
                      <a:pt x="898" y="338"/>
                      <a:pt x="898" y="338"/>
                    </a:cubicBezTo>
                    <a:cubicBezTo>
                      <a:pt x="899" y="339"/>
                      <a:pt x="900" y="339"/>
                      <a:pt x="901" y="339"/>
                    </a:cubicBezTo>
                    <a:cubicBezTo>
                      <a:pt x="902" y="338"/>
                      <a:pt x="902" y="337"/>
                      <a:pt x="903" y="336"/>
                    </a:cubicBezTo>
                    <a:cubicBezTo>
                      <a:pt x="903" y="336"/>
                      <a:pt x="904" y="336"/>
                      <a:pt x="904" y="336"/>
                    </a:cubicBezTo>
                    <a:cubicBezTo>
                      <a:pt x="906" y="335"/>
                      <a:pt x="906" y="334"/>
                      <a:pt x="905" y="333"/>
                    </a:cubicBezTo>
                    <a:cubicBezTo>
                      <a:pt x="903" y="332"/>
                      <a:pt x="901" y="333"/>
                      <a:pt x="901" y="331"/>
                    </a:cubicBezTo>
                    <a:cubicBezTo>
                      <a:pt x="901" y="329"/>
                      <a:pt x="900" y="329"/>
                      <a:pt x="898" y="329"/>
                    </a:cubicBezTo>
                    <a:cubicBezTo>
                      <a:pt x="896" y="329"/>
                      <a:pt x="895" y="329"/>
                      <a:pt x="894" y="330"/>
                    </a:cubicBezTo>
                    <a:cubicBezTo>
                      <a:pt x="894" y="330"/>
                      <a:pt x="894" y="330"/>
                      <a:pt x="894" y="329"/>
                    </a:cubicBezTo>
                    <a:cubicBezTo>
                      <a:pt x="894" y="330"/>
                      <a:pt x="894" y="329"/>
                      <a:pt x="894" y="329"/>
                    </a:cubicBezTo>
                    <a:close/>
                    <a:moveTo>
                      <a:pt x="923" y="321"/>
                    </a:moveTo>
                    <a:cubicBezTo>
                      <a:pt x="923" y="323"/>
                      <a:pt x="924" y="325"/>
                      <a:pt x="923" y="327"/>
                    </a:cubicBezTo>
                    <a:cubicBezTo>
                      <a:pt x="922" y="328"/>
                      <a:pt x="923" y="329"/>
                      <a:pt x="925" y="329"/>
                    </a:cubicBezTo>
                    <a:cubicBezTo>
                      <a:pt x="927" y="330"/>
                      <a:pt x="929" y="330"/>
                      <a:pt x="932" y="330"/>
                    </a:cubicBezTo>
                    <a:cubicBezTo>
                      <a:pt x="934" y="330"/>
                      <a:pt x="936" y="331"/>
                      <a:pt x="939" y="332"/>
                    </a:cubicBezTo>
                    <a:cubicBezTo>
                      <a:pt x="940" y="332"/>
                      <a:pt x="941" y="332"/>
                      <a:pt x="942" y="332"/>
                    </a:cubicBezTo>
                    <a:cubicBezTo>
                      <a:pt x="943" y="332"/>
                      <a:pt x="944" y="332"/>
                      <a:pt x="945" y="331"/>
                    </a:cubicBezTo>
                    <a:cubicBezTo>
                      <a:pt x="947" y="331"/>
                      <a:pt x="947" y="328"/>
                      <a:pt x="948" y="326"/>
                    </a:cubicBezTo>
                    <a:cubicBezTo>
                      <a:pt x="949" y="323"/>
                      <a:pt x="943" y="328"/>
                      <a:pt x="942" y="328"/>
                    </a:cubicBezTo>
                    <a:cubicBezTo>
                      <a:pt x="941" y="328"/>
                      <a:pt x="939" y="326"/>
                      <a:pt x="938" y="325"/>
                    </a:cubicBezTo>
                    <a:cubicBezTo>
                      <a:pt x="938" y="324"/>
                      <a:pt x="937" y="324"/>
                      <a:pt x="936" y="324"/>
                    </a:cubicBezTo>
                    <a:cubicBezTo>
                      <a:pt x="936" y="323"/>
                      <a:pt x="937" y="322"/>
                      <a:pt x="938" y="322"/>
                    </a:cubicBezTo>
                    <a:cubicBezTo>
                      <a:pt x="940" y="322"/>
                      <a:pt x="941" y="320"/>
                      <a:pt x="939" y="318"/>
                    </a:cubicBezTo>
                    <a:cubicBezTo>
                      <a:pt x="938" y="317"/>
                      <a:pt x="936" y="315"/>
                      <a:pt x="935" y="317"/>
                    </a:cubicBezTo>
                    <a:cubicBezTo>
                      <a:pt x="935" y="318"/>
                      <a:pt x="935" y="320"/>
                      <a:pt x="934" y="320"/>
                    </a:cubicBezTo>
                    <a:cubicBezTo>
                      <a:pt x="933" y="320"/>
                      <a:pt x="932" y="320"/>
                      <a:pt x="931" y="319"/>
                    </a:cubicBezTo>
                    <a:cubicBezTo>
                      <a:pt x="931" y="318"/>
                      <a:pt x="931" y="317"/>
                      <a:pt x="930" y="317"/>
                    </a:cubicBezTo>
                    <a:cubicBezTo>
                      <a:pt x="929" y="317"/>
                      <a:pt x="928" y="317"/>
                      <a:pt x="928" y="317"/>
                    </a:cubicBezTo>
                    <a:cubicBezTo>
                      <a:pt x="926" y="318"/>
                      <a:pt x="926" y="318"/>
                      <a:pt x="924" y="318"/>
                    </a:cubicBezTo>
                    <a:cubicBezTo>
                      <a:pt x="922" y="319"/>
                      <a:pt x="923" y="321"/>
                      <a:pt x="923" y="322"/>
                    </a:cubicBezTo>
                    <a:cubicBezTo>
                      <a:pt x="923" y="322"/>
                      <a:pt x="923" y="321"/>
                      <a:pt x="923" y="321"/>
                    </a:cubicBezTo>
                    <a:cubicBezTo>
                      <a:pt x="923" y="322"/>
                      <a:pt x="923" y="321"/>
                      <a:pt x="923" y="321"/>
                    </a:cubicBezTo>
                    <a:close/>
                    <a:moveTo>
                      <a:pt x="920" y="269"/>
                    </a:moveTo>
                    <a:cubicBezTo>
                      <a:pt x="919" y="271"/>
                      <a:pt x="919" y="273"/>
                      <a:pt x="921" y="273"/>
                    </a:cubicBezTo>
                    <a:cubicBezTo>
                      <a:pt x="922" y="274"/>
                      <a:pt x="924" y="274"/>
                      <a:pt x="924" y="272"/>
                    </a:cubicBezTo>
                    <a:cubicBezTo>
                      <a:pt x="923" y="271"/>
                      <a:pt x="922" y="271"/>
                      <a:pt x="922" y="270"/>
                    </a:cubicBezTo>
                    <a:cubicBezTo>
                      <a:pt x="920" y="269"/>
                      <a:pt x="920" y="269"/>
                      <a:pt x="920" y="270"/>
                    </a:cubicBezTo>
                    <a:cubicBezTo>
                      <a:pt x="920" y="270"/>
                      <a:pt x="920" y="270"/>
                      <a:pt x="920" y="269"/>
                    </a:cubicBezTo>
                    <a:cubicBezTo>
                      <a:pt x="920" y="270"/>
                      <a:pt x="920" y="269"/>
                      <a:pt x="920" y="269"/>
                    </a:cubicBezTo>
                    <a:close/>
                    <a:moveTo>
                      <a:pt x="919" y="278"/>
                    </a:moveTo>
                    <a:cubicBezTo>
                      <a:pt x="918" y="280"/>
                      <a:pt x="920" y="282"/>
                      <a:pt x="922" y="284"/>
                    </a:cubicBezTo>
                    <a:cubicBezTo>
                      <a:pt x="923" y="285"/>
                      <a:pt x="923" y="288"/>
                      <a:pt x="923" y="290"/>
                    </a:cubicBezTo>
                    <a:cubicBezTo>
                      <a:pt x="923" y="291"/>
                      <a:pt x="924" y="292"/>
                      <a:pt x="925" y="293"/>
                    </a:cubicBezTo>
                    <a:cubicBezTo>
                      <a:pt x="925" y="294"/>
                      <a:pt x="926" y="295"/>
                      <a:pt x="926" y="296"/>
                    </a:cubicBezTo>
                    <a:cubicBezTo>
                      <a:pt x="927" y="297"/>
                      <a:pt x="927" y="297"/>
                      <a:pt x="928" y="297"/>
                    </a:cubicBezTo>
                    <a:cubicBezTo>
                      <a:pt x="929" y="297"/>
                      <a:pt x="928" y="295"/>
                      <a:pt x="928" y="294"/>
                    </a:cubicBezTo>
                    <a:cubicBezTo>
                      <a:pt x="926" y="290"/>
                      <a:pt x="927" y="284"/>
                      <a:pt x="926" y="279"/>
                    </a:cubicBezTo>
                    <a:cubicBezTo>
                      <a:pt x="925" y="276"/>
                      <a:pt x="924" y="276"/>
                      <a:pt x="922" y="276"/>
                    </a:cubicBezTo>
                    <a:cubicBezTo>
                      <a:pt x="920" y="275"/>
                      <a:pt x="919" y="276"/>
                      <a:pt x="919" y="278"/>
                    </a:cubicBezTo>
                    <a:cubicBezTo>
                      <a:pt x="919" y="278"/>
                      <a:pt x="919" y="278"/>
                      <a:pt x="919" y="278"/>
                    </a:cubicBezTo>
                    <a:cubicBezTo>
                      <a:pt x="918" y="280"/>
                      <a:pt x="919" y="278"/>
                      <a:pt x="919" y="278"/>
                    </a:cubicBezTo>
                    <a:close/>
                    <a:moveTo>
                      <a:pt x="865" y="273"/>
                    </a:moveTo>
                    <a:cubicBezTo>
                      <a:pt x="864" y="274"/>
                      <a:pt x="863" y="276"/>
                      <a:pt x="865" y="277"/>
                    </a:cubicBezTo>
                    <a:cubicBezTo>
                      <a:pt x="866" y="278"/>
                      <a:pt x="870" y="279"/>
                      <a:pt x="871" y="278"/>
                    </a:cubicBezTo>
                    <a:cubicBezTo>
                      <a:pt x="872" y="275"/>
                      <a:pt x="867" y="276"/>
                      <a:pt x="868" y="275"/>
                    </a:cubicBezTo>
                    <a:cubicBezTo>
                      <a:pt x="868" y="272"/>
                      <a:pt x="866" y="273"/>
                      <a:pt x="864" y="274"/>
                    </a:cubicBezTo>
                    <a:cubicBezTo>
                      <a:pt x="865" y="274"/>
                      <a:pt x="865" y="274"/>
                      <a:pt x="865" y="273"/>
                    </a:cubicBezTo>
                    <a:cubicBezTo>
                      <a:pt x="864" y="274"/>
                      <a:pt x="865" y="273"/>
                      <a:pt x="865" y="273"/>
                    </a:cubicBezTo>
                    <a:close/>
                    <a:moveTo>
                      <a:pt x="938" y="230"/>
                    </a:moveTo>
                    <a:cubicBezTo>
                      <a:pt x="937" y="231"/>
                      <a:pt x="932" y="236"/>
                      <a:pt x="935" y="236"/>
                    </a:cubicBezTo>
                    <a:cubicBezTo>
                      <a:pt x="937" y="235"/>
                      <a:pt x="938" y="235"/>
                      <a:pt x="939" y="235"/>
                    </a:cubicBezTo>
                    <a:cubicBezTo>
                      <a:pt x="941" y="234"/>
                      <a:pt x="941" y="234"/>
                      <a:pt x="942" y="232"/>
                    </a:cubicBezTo>
                    <a:cubicBezTo>
                      <a:pt x="943" y="231"/>
                      <a:pt x="945" y="227"/>
                      <a:pt x="942" y="228"/>
                    </a:cubicBezTo>
                    <a:cubicBezTo>
                      <a:pt x="940" y="228"/>
                      <a:pt x="938" y="229"/>
                      <a:pt x="937" y="230"/>
                    </a:cubicBezTo>
                    <a:cubicBezTo>
                      <a:pt x="937" y="230"/>
                      <a:pt x="937" y="230"/>
                      <a:pt x="938" y="230"/>
                    </a:cubicBezTo>
                    <a:cubicBezTo>
                      <a:pt x="937" y="231"/>
                      <a:pt x="938" y="230"/>
                      <a:pt x="938" y="230"/>
                    </a:cubicBezTo>
                    <a:close/>
                    <a:moveTo>
                      <a:pt x="913" y="190"/>
                    </a:moveTo>
                    <a:cubicBezTo>
                      <a:pt x="913" y="191"/>
                      <a:pt x="912" y="192"/>
                      <a:pt x="912" y="192"/>
                    </a:cubicBezTo>
                    <a:cubicBezTo>
                      <a:pt x="911" y="192"/>
                      <a:pt x="910" y="193"/>
                      <a:pt x="910" y="194"/>
                    </a:cubicBezTo>
                    <a:cubicBezTo>
                      <a:pt x="909" y="195"/>
                      <a:pt x="912" y="194"/>
                      <a:pt x="913" y="194"/>
                    </a:cubicBezTo>
                    <a:cubicBezTo>
                      <a:pt x="914" y="194"/>
                      <a:pt x="917" y="194"/>
                      <a:pt x="916" y="192"/>
                    </a:cubicBezTo>
                    <a:cubicBezTo>
                      <a:pt x="916" y="191"/>
                      <a:pt x="916" y="190"/>
                      <a:pt x="915" y="189"/>
                    </a:cubicBezTo>
                    <a:cubicBezTo>
                      <a:pt x="914" y="189"/>
                      <a:pt x="913" y="190"/>
                      <a:pt x="913" y="191"/>
                    </a:cubicBezTo>
                    <a:cubicBezTo>
                      <a:pt x="913" y="191"/>
                      <a:pt x="913" y="191"/>
                      <a:pt x="913" y="190"/>
                    </a:cubicBezTo>
                    <a:cubicBezTo>
                      <a:pt x="913" y="191"/>
                      <a:pt x="913" y="190"/>
                      <a:pt x="913" y="190"/>
                    </a:cubicBezTo>
                    <a:close/>
                    <a:moveTo>
                      <a:pt x="928" y="199"/>
                    </a:moveTo>
                    <a:cubicBezTo>
                      <a:pt x="927" y="199"/>
                      <a:pt x="926" y="200"/>
                      <a:pt x="926" y="201"/>
                    </a:cubicBezTo>
                    <a:cubicBezTo>
                      <a:pt x="925" y="201"/>
                      <a:pt x="926" y="201"/>
                      <a:pt x="927" y="201"/>
                    </a:cubicBezTo>
                    <a:cubicBezTo>
                      <a:pt x="928" y="201"/>
                      <a:pt x="928" y="200"/>
                      <a:pt x="929" y="200"/>
                    </a:cubicBezTo>
                    <a:cubicBezTo>
                      <a:pt x="930" y="199"/>
                      <a:pt x="932" y="200"/>
                      <a:pt x="932" y="199"/>
                    </a:cubicBezTo>
                    <a:cubicBezTo>
                      <a:pt x="932" y="197"/>
                      <a:pt x="928" y="198"/>
                      <a:pt x="928" y="199"/>
                    </a:cubicBezTo>
                    <a:cubicBezTo>
                      <a:pt x="928" y="199"/>
                      <a:pt x="928" y="199"/>
                      <a:pt x="928" y="199"/>
                    </a:cubicBezTo>
                    <a:cubicBezTo>
                      <a:pt x="928" y="199"/>
                      <a:pt x="928" y="199"/>
                      <a:pt x="928" y="199"/>
                    </a:cubicBezTo>
                    <a:close/>
                    <a:moveTo>
                      <a:pt x="939" y="179"/>
                    </a:moveTo>
                    <a:cubicBezTo>
                      <a:pt x="938" y="181"/>
                      <a:pt x="935" y="184"/>
                      <a:pt x="937" y="186"/>
                    </a:cubicBezTo>
                    <a:cubicBezTo>
                      <a:pt x="937" y="186"/>
                      <a:pt x="938" y="185"/>
                      <a:pt x="939" y="185"/>
                    </a:cubicBezTo>
                    <a:cubicBezTo>
                      <a:pt x="939" y="184"/>
                      <a:pt x="941" y="184"/>
                      <a:pt x="942" y="184"/>
                    </a:cubicBezTo>
                    <a:cubicBezTo>
                      <a:pt x="942" y="184"/>
                      <a:pt x="944" y="184"/>
                      <a:pt x="944" y="183"/>
                    </a:cubicBezTo>
                    <a:cubicBezTo>
                      <a:pt x="945" y="182"/>
                      <a:pt x="943" y="181"/>
                      <a:pt x="943" y="180"/>
                    </a:cubicBezTo>
                    <a:cubicBezTo>
                      <a:pt x="942" y="180"/>
                      <a:pt x="942" y="179"/>
                      <a:pt x="941" y="178"/>
                    </a:cubicBezTo>
                    <a:cubicBezTo>
                      <a:pt x="940" y="178"/>
                      <a:pt x="939" y="179"/>
                      <a:pt x="939" y="180"/>
                    </a:cubicBezTo>
                    <a:cubicBezTo>
                      <a:pt x="939" y="180"/>
                      <a:pt x="939" y="180"/>
                      <a:pt x="939" y="179"/>
                    </a:cubicBezTo>
                    <a:cubicBezTo>
                      <a:pt x="938" y="181"/>
                      <a:pt x="939" y="179"/>
                      <a:pt x="939" y="179"/>
                    </a:cubicBezTo>
                    <a:close/>
                    <a:moveTo>
                      <a:pt x="910" y="176"/>
                    </a:moveTo>
                    <a:cubicBezTo>
                      <a:pt x="909" y="178"/>
                      <a:pt x="909" y="178"/>
                      <a:pt x="908" y="179"/>
                    </a:cubicBezTo>
                    <a:cubicBezTo>
                      <a:pt x="907" y="179"/>
                      <a:pt x="906" y="181"/>
                      <a:pt x="906" y="182"/>
                    </a:cubicBezTo>
                    <a:cubicBezTo>
                      <a:pt x="906" y="182"/>
                      <a:pt x="908" y="181"/>
                      <a:pt x="908" y="181"/>
                    </a:cubicBezTo>
                    <a:cubicBezTo>
                      <a:pt x="909" y="181"/>
                      <a:pt x="911" y="181"/>
                      <a:pt x="912" y="180"/>
                    </a:cubicBezTo>
                    <a:cubicBezTo>
                      <a:pt x="913" y="179"/>
                      <a:pt x="912" y="178"/>
                      <a:pt x="913" y="178"/>
                    </a:cubicBezTo>
                    <a:cubicBezTo>
                      <a:pt x="914" y="177"/>
                      <a:pt x="915" y="176"/>
                      <a:pt x="914" y="176"/>
                    </a:cubicBezTo>
                    <a:cubicBezTo>
                      <a:pt x="912" y="174"/>
                      <a:pt x="910" y="175"/>
                      <a:pt x="909" y="177"/>
                    </a:cubicBezTo>
                    <a:cubicBezTo>
                      <a:pt x="910" y="177"/>
                      <a:pt x="910" y="177"/>
                      <a:pt x="910" y="176"/>
                    </a:cubicBezTo>
                    <a:cubicBezTo>
                      <a:pt x="909" y="178"/>
                      <a:pt x="910" y="176"/>
                      <a:pt x="910" y="176"/>
                    </a:cubicBezTo>
                    <a:close/>
                    <a:moveTo>
                      <a:pt x="917" y="178"/>
                    </a:moveTo>
                    <a:cubicBezTo>
                      <a:pt x="916" y="179"/>
                      <a:pt x="915" y="179"/>
                      <a:pt x="917" y="180"/>
                    </a:cubicBezTo>
                    <a:cubicBezTo>
                      <a:pt x="918" y="180"/>
                      <a:pt x="919" y="179"/>
                      <a:pt x="919" y="178"/>
                    </a:cubicBezTo>
                    <a:cubicBezTo>
                      <a:pt x="919" y="178"/>
                      <a:pt x="919" y="177"/>
                      <a:pt x="918" y="177"/>
                    </a:cubicBezTo>
                    <a:cubicBezTo>
                      <a:pt x="917" y="176"/>
                      <a:pt x="917" y="177"/>
                      <a:pt x="916" y="178"/>
                    </a:cubicBezTo>
                    <a:cubicBezTo>
                      <a:pt x="916" y="178"/>
                      <a:pt x="917" y="178"/>
                      <a:pt x="917" y="178"/>
                    </a:cubicBezTo>
                    <a:cubicBezTo>
                      <a:pt x="916" y="179"/>
                      <a:pt x="917" y="178"/>
                      <a:pt x="917" y="178"/>
                    </a:cubicBezTo>
                    <a:close/>
                    <a:moveTo>
                      <a:pt x="910" y="139"/>
                    </a:moveTo>
                    <a:cubicBezTo>
                      <a:pt x="911" y="139"/>
                      <a:pt x="912" y="140"/>
                      <a:pt x="913" y="141"/>
                    </a:cubicBezTo>
                    <a:cubicBezTo>
                      <a:pt x="914" y="142"/>
                      <a:pt x="916" y="141"/>
                      <a:pt x="917" y="142"/>
                    </a:cubicBezTo>
                    <a:cubicBezTo>
                      <a:pt x="917" y="144"/>
                      <a:pt x="916" y="144"/>
                      <a:pt x="915" y="143"/>
                    </a:cubicBezTo>
                    <a:cubicBezTo>
                      <a:pt x="913" y="143"/>
                      <a:pt x="911" y="143"/>
                      <a:pt x="909" y="144"/>
                    </a:cubicBezTo>
                    <a:cubicBezTo>
                      <a:pt x="909" y="144"/>
                      <a:pt x="903" y="145"/>
                      <a:pt x="904" y="143"/>
                    </a:cubicBezTo>
                    <a:cubicBezTo>
                      <a:pt x="905" y="142"/>
                      <a:pt x="906" y="142"/>
                      <a:pt x="907" y="141"/>
                    </a:cubicBezTo>
                    <a:cubicBezTo>
                      <a:pt x="908" y="140"/>
                      <a:pt x="909" y="139"/>
                      <a:pt x="911" y="139"/>
                    </a:cubicBezTo>
                    <a:cubicBezTo>
                      <a:pt x="910" y="139"/>
                      <a:pt x="910" y="139"/>
                      <a:pt x="910" y="139"/>
                    </a:cubicBezTo>
                    <a:cubicBezTo>
                      <a:pt x="911" y="139"/>
                      <a:pt x="910" y="139"/>
                      <a:pt x="910" y="139"/>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37" name="Freeform 182">
                <a:extLst>
                  <a:ext uri="{FF2B5EF4-FFF2-40B4-BE49-F238E27FC236}">
                    <a16:creationId xmlns:a16="http://schemas.microsoft.com/office/drawing/2014/main" id="{8AEFD0E0-71D6-3F77-E419-32AAF5877086}"/>
                  </a:ext>
                </a:extLst>
              </p:cNvPr>
              <p:cNvSpPr/>
              <p:nvPr>
                <p:custDataLst>
                  <p:tags r:id="rId175"/>
                </p:custDataLst>
              </p:nvPr>
            </p:nvSpPr>
            <p:spPr bwMode="auto">
              <a:xfrm>
                <a:off x="5836603" y="4130007"/>
                <a:ext cx="318887" cy="215567"/>
              </a:xfrm>
              <a:custGeom>
                <a:avLst/>
                <a:gdLst>
                  <a:gd name="T0" fmla="*/ 72 w 214"/>
                  <a:gd name="T1" fmla="*/ 108 h 145"/>
                  <a:gd name="T2" fmla="*/ 81 w 214"/>
                  <a:gd name="T3" fmla="*/ 99 h 145"/>
                  <a:gd name="T4" fmla="*/ 102 w 214"/>
                  <a:gd name="T5" fmla="*/ 109 h 145"/>
                  <a:gd name="T6" fmla="*/ 129 w 214"/>
                  <a:gd name="T7" fmla="*/ 114 h 145"/>
                  <a:gd name="T8" fmla="*/ 140 w 214"/>
                  <a:gd name="T9" fmla="*/ 105 h 145"/>
                  <a:gd name="T10" fmla="*/ 154 w 214"/>
                  <a:gd name="T11" fmla="*/ 106 h 145"/>
                  <a:gd name="T12" fmla="*/ 165 w 214"/>
                  <a:gd name="T13" fmla="*/ 100 h 145"/>
                  <a:gd name="T14" fmla="*/ 176 w 214"/>
                  <a:gd name="T15" fmla="*/ 102 h 145"/>
                  <a:gd name="T16" fmla="*/ 191 w 214"/>
                  <a:gd name="T17" fmla="*/ 97 h 145"/>
                  <a:gd name="T18" fmla="*/ 206 w 214"/>
                  <a:gd name="T19" fmla="*/ 99 h 145"/>
                  <a:gd name="T20" fmla="*/ 213 w 214"/>
                  <a:gd name="T21" fmla="*/ 97 h 145"/>
                  <a:gd name="T22" fmla="*/ 214 w 214"/>
                  <a:gd name="T23" fmla="*/ 92 h 145"/>
                  <a:gd name="T24" fmla="*/ 204 w 214"/>
                  <a:gd name="T25" fmla="*/ 84 h 145"/>
                  <a:gd name="T26" fmla="*/ 200 w 214"/>
                  <a:gd name="T27" fmla="*/ 75 h 145"/>
                  <a:gd name="T28" fmla="*/ 184 w 214"/>
                  <a:gd name="T29" fmla="*/ 60 h 145"/>
                  <a:gd name="T30" fmla="*/ 180 w 214"/>
                  <a:gd name="T31" fmla="*/ 54 h 145"/>
                  <a:gd name="T32" fmla="*/ 169 w 214"/>
                  <a:gd name="T33" fmla="*/ 47 h 145"/>
                  <a:gd name="T34" fmla="*/ 162 w 214"/>
                  <a:gd name="T35" fmla="*/ 40 h 145"/>
                  <a:gd name="T36" fmla="*/ 152 w 214"/>
                  <a:gd name="T37" fmla="*/ 39 h 145"/>
                  <a:gd name="T38" fmla="*/ 153 w 214"/>
                  <a:gd name="T39" fmla="*/ 25 h 145"/>
                  <a:gd name="T40" fmla="*/ 148 w 214"/>
                  <a:gd name="T41" fmla="*/ 10 h 145"/>
                  <a:gd name="T42" fmla="*/ 141 w 214"/>
                  <a:gd name="T43" fmla="*/ 1 h 145"/>
                  <a:gd name="T44" fmla="*/ 129 w 214"/>
                  <a:gd name="T45" fmla="*/ 2 h 145"/>
                  <a:gd name="T46" fmla="*/ 121 w 214"/>
                  <a:gd name="T47" fmla="*/ 10 h 145"/>
                  <a:gd name="T48" fmla="*/ 112 w 214"/>
                  <a:gd name="T49" fmla="*/ 20 h 145"/>
                  <a:gd name="T50" fmla="*/ 81 w 214"/>
                  <a:gd name="T51" fmla="*/ 34 h 145"/>
                  <a:gd name="T52" fmla="*/ 76 w 214"/>
                  <a:gd name="T53" fmla="*/ 39 h 145"/>
                  <a:gd name="T54" fmla="*/ 70 w 214"/>
                  <a:gd name="T55" fmla="*/ 49 h 145"/>
                  <a:gd name="T56" fmla="*/ 46 w 214"/>
                  <a:gd name="T57" fmla="*/ 54 h 145"/>
                  <a:gd name="T58" fmla="*/ 30 w 214"/>
                  <a:gd name="T59" fmla="*/ 56 h 145"/>
                  <a:gd name="T60" fmla="*/ 14 w 214"/>
                  <a:gd name="T61" fmla="*/ 60 h 145"/>
                  <a:gd name="T62" fmla="*/ 2 w 214"/>
                  <a:gd name="T63" fmla="*/ 81 h 145"/>
                  <a:gd name="T64" fmla="*/ 1 w 214"/>
                  <a:gd name="T65" fmla="*/ 87 h 145"/>
                  <a:gd name="T66" fmla="*/ 4 w 214"/>
                  <a:gd name="T67" fmla="*/ 102 h 145"/>
                  <a:gd name="T68" fmla="*/ 10 w 214"/>
                  <a:gd name="T69" fmla="*/ 114 h 145"/>
                  <a:gd name="T70" fmla="*/ 23 w 214"/>
                  <a:gd name="T71" fmla="*/ 132 h 145"/>
                  <a:gd name="T72" fmla="*/ 29 w 214"/>
                  <a:gd name="T73" fmla="*/ 145 h 145"/>
                  <a:gd name="T74" fmla="*/ 38 w 214"/>
                  <a:gd name="T75" fmla="*/ 125 h 145"/>
                  <a:gd name="T76" fmla="*/ 70 w 214"/>
                  <a:gd name="T77" fmla="*/ 11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4" h="145">
                    <a:moveTo>
                      <a:pt x="70" y="111"/>
                    </a:moveTo>
                    <a:cubicBezTo>
                      <a:pt x="71" y="110"/>
                      <a:pt x="71" y="109"/>
                      <a:pt x="72" y="108"/>
                    </a:cubicBezTo>
                    <a:cubicBezTo>
                      <a:pt x="72" y="107"/>
                      <a:pt x="73" y="105"/>
                      <a:pt x="74" y="104"/>
                    </a:cubicBezTo>
                    <a:cubicBezTo>
                      <a:pt x="76" y="102"/>
                      <a:pt x="79" y="101"/>
                      <a:pt x="81" y="99"/>
                    </a:cubicBezTo>
                    <a:cubicBezTo>
                      <a:pt x="86" y="97"/>
                      <a:pt x="92" y="100"/>
                      <a:pt x="96" y="104"/>
                    </a:cubicBezTo>
                    <a:cubicBezTo>
                      <a:pt x="98" y="106"/>
                      <a:pt x="99" y="107"/>
                      <a:pt x="102" y="109"/>
                    </a:cubicBezTo>
                    <a:cubicBezTo>
                      <a:pt x="104" y="110"/>
                      <a:pt x="107" y="111"/>
                      <a:pt x="110" y="112"/>
                    </a:cubicBezTo>
                    <a:cubicBezTo>
                      <a:pt x="116" y="113"/>
                      <a:pt x="123" y="114"/>
                      <a:pt x="129" y="114"/>
                    </a:cubicBezTo>
                    <a:cubicBezTo>
                      <a:pt x="132" y="115"/>
                      <a:pt x="133" y="114"/>
                      <a:pt x="135" y="112"/>
                    </a:cubicBezTo>
                    <a:cubicBezTo>
                      <a:pt x="136" y="109"/>
                      <a:pt x="138" y="106"/>
                      <a:pt x="140" y="105"/>
                    </a:cubicBezTo>
                    <a:cubicBezTo>
                      <a:pt x="142" y="103"/>
                      <a:pt x="144" y="105"/>
                      <a:pt x="146" y="106"/>
                    </a:cubicBezTo>
                    <a:cubicBezTo>
                      <a:pt x="149" y="108"/>
                      <a:pt x="151" y="107"/>
                      <a:pt x="154" y="106"/>
                    </a:cubicBezTo>
                    <a:cubicBezTo>
                      <a:pt x="157" y="104"/>
                      <a:pt x="159" y="103"/>
                      <a:pt x="161" y="102"/>
                    </a:cubicBezTo>
                    <a:cubicBezTo>
                      <a:pt x="163" y="101"/>
                      <a:pt x="164" y="100"/>
                      <a:pt x="165" y="100"/>
                    </a:cubicBezTo>
                    <a:cubicBezTo>
                      <a:pt x="167" y="99"/>
                      <a:pt x="168" y="100"/>
                      <a:pt x="170" y="101"/>
                    </a:cubicBezTo>
                    <a:cubicBezTo>
                      <a:pt x="172" y="102"/>
                      <a:pt x="174" y="102"/>
                      <a:pt x="176" y="102"/>
                    </a:cubicBezTo>
                    <a:cubicBezTo>
                      <a:pt x="179" y="101"/>
                      <a:pt x="180" y="100"/>
                      <a:pt x="181" y="97"/>
                    </a:cubicBezTo>
                    <a:cubicBezTo>
                      <a:pt x="184" y="92"/>
                      <a:pt x="188" y="96"/>
                      <a:pt x="191" y="97"/>
                    </a:cubicBezTo>
                    <a:cubicBezTo>
                      <a:pt x="194" y="98"/>
                      <a:pt x="196" y="96"/>
                      <a:pt x="198" y="97"/>
                    </a:cubicBezTo>
                    <a:cubicBezTo>
                      <a:pt x="201" y="99"/>
                      <a:pt x="203" y="100"/>
                      <a:pt x="206" y="99"/>
                    </a:cubicBezTo>
                    <a:cubicBezTo>
                      <a:pt x="207" y="98"/>
                      <a:pt x="208" y="98"/>
                      <a:pt x="209" y="98"/>
                    </a:cubicBezTo>
                    <a:cubicBezTo>
                      <a:pt x="210" y="97"/>
                      <a:pt x="212" y="98"/>
                      <a:pt x="213" y="97"/>
                    </a:cubicBezTo>
                    <a:cubicBezTo>
                      <a:pt x="214" y="97"/>
                      <a:pt x="214" y="97"/>
                      <a:pt x="214" y="96"/>
                    </a:cubicBezTo>
                    <a:cubicBezTo>
                      <a:pt x="214" y="94"/>
                      <a:pt x="214" y="93"/>
                      <a:pt x="214" y="92"/>
                    </a:cubicBezTo>
                    <a:cubicBezTo>
                      <a:pt x="214" y="90"/>
                      <a:pt x="212" y="89"/>
                      <a:pt x="211" y="88"/>
                    </a:cubicBezTo>
                    <a:cubicBezTo>
                      <a:pt x="209" y="87"/>
                      <a:pt x="207" y="85"/>
                      <a:pt x="204" y="84"/>
                    </a:cubicBezTo>
                    <a:cubicBezTo>
                      <a:pt x="202" y="83"/>
                      <a:pt x="200" y="82"/>
                      <a:pt x="200" y="79"/>
                    </a:cubicBezTo>
                    <a:cubicBezTo>
                      <a:pt x="200" y="77"/>
                      <a:pt x="200" y="76"/>
                      <a:pt x="200" y="75"/>
                    </a:cubicBezTo>
                    <a:cubicBezTo>
                      <a:pt x="199" y="73"/>
                      <a:pt x="198" y="72"/>
                      <a:pt x="197" y="71"/>
                    </a:cubicBezTo>
                    <a:cubicBezTo>
                      <a:pt x="193" y="67"/>
                      <a:pt x="188" y="63"/>
                      <a:pt x="184" y="60"/>
                    </a:cubicBezTo>
                    <a:cubicBezTo>
                      <a:pt x="183" y="59"/>
                      <a:pt x="182" y="58"/>
                      <a:pt x="181" y="57"/>
                    </a:cubicBezTo>
                    <a:cubicBezTo>
                      <a:pt x="180" y="56"/>
                      <a:pt x="180" y="55"/>
                      <a:pt x="180" y="54"/>
                    </a:cubicBezTo>
                    <a:cubicBezTo>
                      <a:pt x="180" y="52"/>
                      <a:pt x="177" y="50"/>
                      <a:pt x="176" y="49"/>
                    </a:cubicBezTo>
                    <a:cubicBezTo>
                      <a:pt x="174" y="48"/>
                      <a:pt x="171" y="48"/>
                      <a:pt x="169" y="47"/>
                    </a:cubicBezTo>
                    <a:cubicBezTo>
                      <a:pt x="167" y="47"/>
                      <a:pt x="163" y="46"/>
                      <a:pt x="163" y="44"/>
                    </a:cubicBezTo>
                    <a:cubicBezTo>
                      <a:pt x="163" y="43"/>
                      <a:pt x="163" y="41"/>
                      <a:pt x="162" y="40"/>
                    </a:cubicBezTo>
                    <a:cubicBezTo>
                      <a:pt x="162" y="40"/>
                      <a:pt x="161" y="40"/>
                      <a:pt x="160" y="40"/>
                    </a:cubicBezTo>
                    <a:cubicBezTo>
                      <a:pt x="158" y="40"/>
                      <a:pt x="154" y="41"/>
                      <a:pt x="152" y="39"/>
                    </a:cubicBezTo>
                    <a:cubicBezTo>
                      <a:pt x="150" y="38"/>
                      <a:pt x="150" y="34"/>
                      <a:pt x="150" y="32"/>
                    </a:cubicBezTo>
                    <a:cubicBezTo>
                      <a:pt x="150" y="29"/>
                      <a:pt x="153" y="28"/>
                      <a:pt x="153" y="25"/>
                    </a:cubicBezTo>
                    <a:cubicBezTo>
                      <a:pt x="154" y="23"/>
                      <a:pt x="154" y="20"/>
                      <a:pt x="153" y="17"/>
                    </a:cubicBezTo>
                    <a:cubicBezTo>
                      <a:pt x="152" y="15"/>
                      <a:pt x="150" y="13"/>
                      <a:pt x="148" y="10"/>
                    </a:cubicBezTo>
                    <a:cubicBezTo>
                      <a:pt x="146" y="8"/>
                      <a:pt x="144" y="6"/>
                      <a:pt x="143" y="3"/>
                    </a:cubicBezTo>
                    <a:cubicBezTo>
                      <a:pt x="142" y="3"/>
                      <a:pt x="142" y="1"/>
                      <a:pt x="141" y="1"/>
                    </a:cubicBezTo>
                    <a:cubicBezTo>
                      <a:pt x="140" y="0"/>
                      <a:pt x="138" y="1"/>
                      <a:pt x="137" y="1"/>
                    </a:cubicBezTo>
                    <a:cubicBezTo>
                      <a:pt x="134" y="1"/>
                      <a:pt x="131" y="1"/>
                      <a:pt x="129" y="2"/>
                    </a:cubicBezTo>
                    <a:cubicBezTo>
                      <a:pt x="127" y="3"/>
                      <a:pt x="123" y="5"/>
                      <a:pt x="122" y="7"/>
                    </a:cubicBezTo>
                    <a:cubicBezTo>
                      <a:pt x="122" y="8"/>
                      <a:pt x="122" y="9"/>
                      <a:pt x="121" y="10"/>
                    </a:cubicBezTo>
                    <a:cubicBezTo>
                      <a:pt x="120" y="11"/>
                      <a:pt x="119" y="12"/>
                      <a:pt x="118" y="13"/>
                    </a:cubicBezTo>
                    <a:cubicBezTo>
                      <a:pt x="116" y="16"/>
                      <a:pt x="114" y="18"/>
                      <a:pt x="112" y="20"/>
                    </a:cubicBezTo>
                    <a:cubicBezTo>
                      <a:pt x="108" y="25"/>
                      <a:pt x="104" y="29"/>
                      <a:pt x="98" y="32"/>
                    </a:cubicBezTo>
                    <a:cubicBezTo>
                      <a:pt x="93" y="34"/>
                      <a:pt x="87" y="34"/>
                      <a:pt x="81" y="34"/>
                    </a:cubicBezTo>
                    <a:cubicBezTo>
                      <a:pt x="80" y="34"/>
                      <a:pt x="76" y="33"/>
                      <a:pt x="76" y="35"/>
                    </a:cubicBezTo>
                    <a:cubicBezTo>
                      <a:pt x="75" y="37"/>
                      <a:pt x="76" y="38"/>
                      <a:pt x="76" y="39"/>
                    </a:cubicBezTo>
                    <a:cubicBezTo>
                      <a:pt x="77" y="40"/>
                      <a:pt x="76" y="42"/>
                      <a:pt x="75" y="43"/>
                    </a:cubicBezTo>
                    <a:cubicBezTo>
                      <a:pt x="73" y="45"/>
                      <a:pt x="72" y="47"/>
                      <a:pt x="70" y="49"/>
                    </a:cubicBezTo>
                    <a:cubicBezTo>
                      <a:pt x="68" y="50"/>
                      <a:pt x="65" y="51"/>
                      <a:pt x="63" y="51"/>
                    </a:cubicBezTo>
                    <a:cubicBezTo>
                      <a:pt x="57" y="51"/>
                      <a:pt x="51" y="51"/>
                      <a:pt x="46" y="54"/>
                    </a:cubicBezTo>
                    <a:cubicBezTo>
                      <a:pt x="42" y="57"/>
                      <a:pt x="38" y="60"/>
                      <a:pt x="34" y="56"/>
                    </a:cubicBezTo>
                    <a:cubicBezTo>
                      <a:pt x="33" y="54"/>
                      <a:pt x="32" y="56"/>
                      <a:pt x="30" y="56"/>
                    </a:cubicBezTo>
                    <a:cubicBezTo>
                      <a:pt x="27" y="57"/>
                      <a:pt x="24" y="57"/>
                      <a:pt x="21" y="58"/>
                    </a:cubicBezTo>
                    <a:cubicBezTo>
                      <a:pt x="18" y="58"/>
                      <a:pt x="16" y="58"/>
                      <a:pt x="14" y="60"/>
                    </a:cubicBezTo>
                    <a:cubicBezTo>
                      <a:pt x="12" y="62"/>
                      <a:pt x="11" y="64"/>
                      <a:pt x="10" y="67"/>
                    </a:cubicBezTo>
                    <a:cubicBezTo>
                      <a:pt x="8" y="72"/>
                      <a:pt x="7" y="78"/>
                      <a:pt x="2" y="81"/>
                    </a:cubicBezTo>
                    <a:cubicBezTo>
                      <a:pt x="1" y="82"/>
                      <a:pt x="0" y="83"/>
                      <a:pt x="0" y="84"/>
                    </a:cubicBezTo>
                    <a:cubicBezTo>
                      <a:pt x="0" y="85"/>
                      <a:pt x="1" y="86"/>
                      <a:pt x="1" y="87"/>
                    </a:cubicBezTo>
                    <a:cubicBezTo>
                      <a:pt x="2" y="89"/>
                      <a:pt x="1" y="93"/>
                      <a:pt x="1" y="96"/>
                    </a:cubicBezTo>
                    <a:cubicBezTo>
                      <a:pt x="1" y="98"/>
                      <a:pt x="3" y="100"/>
                      <a:pt x="4" y="102"/>
                    </a:cubicBezTo>
                    <a:cubicBezTo>
                      <a:pt x="5" y="104"/>
                      <a:pt x="5" y="106"/>
                      <a:pt x="6" y="109"/>
                    </a:cubicBezTo>
                    <a:cubicBezTo>
                      <a:pt x="8" y="111"/>
                      <a:pt x="9" y="112"/>
                      <a:pt x="10" y="114"/>
                    </a:cubicBezTo>
                    <a:cubicBezTo>
                      <a:pt x="11" y="117"/>
                      <a:pt x="11" y="119"/>
                      <a:pt x="12" y="122"/>
                    </a:cubicBezTo>
                    <a:cubicBezTo>
                      <a:pt x="15" y="126"/>
                      <a:pt x="19" y="129"/>
                      <a:pt x="23" y="132"/>
                    </a:cubicBezTo>
                    <a:cubicBezTo>
                      <a:pt x="24" y="134"/>
                      <a:pt x="27" y="135"/>
                      <a:pt x="27" y="137"/>
                    </a:cubicBezTo>
                    <a:cubicBezTo>
                      <a:pt x="28" y="140"/>
                      <a:pt x="27" y="142"/>
                      <a:pt x="29" y="145"/>
                    </a:cubicBezTo>
                    <a:cubicBezTo>
                      <a:pt x="32" y="141"/>
                      <a:pt x="31" y="137"/>
                      <a:pt x="32" y="133"/>
                    </a:cubicBezTo>
                    <a:cubicBezTo>
                      <a:pt x="32" y="129"/>
                      <a:pt x="34" y="126"/>
                      <a:pt x="38" y="125"/>
                    </a:cubicBezTo>
                    <a:cubicBezTo>
                      <a:pt x="47" y="121"/>
                      <a:pt x="58" y="123"/>
                      <a:pt x="67" y="124"/>
                    </a:cubicBezTo>
                    <a:cubicBezTo>
                      <a:pt x="67" y="119"/>
                      <a:pt x="65" y="112"/>
                      <a:pt x="70" y="111"/>
                    </a:cubicBezTo>
                    <a:cubicBezTo>
                      <a:pt x="70" y="110"/>
                      <a:pt x="70" y="111"/>
                      <a:pt x="70" y="111"/>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38" name="Freeform 184">
                <a:extLst>
                  <a:ext uri="{FF2B5EF4-FFF2-40B4-BE49-F238E27FC236}">
                    <a16:creationId xmlns:a16="http://schemas.microsoft.com/office/drawing/2014/main" id="{897367B5-9577-CC7C-0788-DBFFCEDC590C}"/>
                  </a:ext>
                </a:extLst>
              </p:cNvPr>
              <p:cNvSpPr/>
              <p:nvPr>
                <p:custDataLst>
                  <p:tags r:id="rId176"/>
                </p:custDataLst>
              </p:nvPr>
            </p:nvSpPr>
            <p:spPr bwMode="auto">
              <a:xfrm>
                <a:off x="5774100" y="4520325"/>
                <a:ext cx="21684" cy="33164"/>
              </a:xfrm>
              <a:custGeom>
                <a:avLst/>
                <a:gdLst>
                  <a:gd name="T0" fmla="*/ 5 w 15"/>
                  <a:gd name="T1" fmla="*/ 17 h 22"/>
                  <a:gd name="T2" fmla="*/ 7 w 15"/>
                  <a:gd name="T3" fmla="*/ 9 h 22"/>
                  <a:gd name="T4" fmla="*/ 11 w 15"/>
                  <a:gd name="T5" fmla="*/ 6 h 22"/>
                  <a:gd name="T6" fmla="*/ 15 w 15"/>
                  <a:gd name="T7" fmla="*/ 3 h 22"/>
                  <a:gd name="T8" fmla="*/ 13 w 15"/>
                  <a:gd name="T9" fmla="*/ 1 h 22"/>
                  <a:gd name="T10" fmla="*/ 9 w 15"/>
                  <a:gd name="T11" fmla="*/ 3 h 22"/>
                  <a:gd name="T12" fmla="*/ 4 w 15"/>
                  <a:gd name="T13" fmla="*/ 6 h 22"/>
                  <a:gd name="T14" fmla="*/ 0 w 15"/>
                  <a:gd name="T15" fmla="*/ 10 h 22"/>
                  <a:gd name="T16" fmla="*/ 1 w 15"/>
                  <a:gd name="T17" fmla="*/ 14 h 22"/>
                  <a:gd name="T18" fmla="*/ 2 w 15"/>
                  <a:gd name="T19" fmla="*/ 21 h 22"/>
                  <a:gd name="T20" fmla="*/ 5 w 15"/>
                  <a:gd name="T21" fmla="*/ 20 h 22"/>
                  <a:gd name="T22" fmla="*/ 5 w 15"/>
                  <a:gd name="T23" fmla="*/ 16 h 22"/>
                  <a:gd name="T24" fmla="*/ 5 w 15"/>
                  <a:gd name="T25" fmla="*/ 17 h 22"/>
                  <a:gd name="T26" fmla="*/ 5 w 15"/>
                  <a:gd name="T27"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22">
                    <a:moveTo>
                      <a:pt x="5" y="17"/>
                    </a:moveTo>
                    <a:cubicBezTo>
                      <a:pt x="5" y="14"/>
                      <a:pt x="6" y="11"/>
                      <a:pt x="7" y="9"/>
                    </a:cubicBezTo>
                    <a:cubicBezTo>
                      <a:pt x="8" y="7"/>
                      <a:pt x="9" y="7"/>
                      <a:pt x="11" y="6"/>
                    </a:cubicBezTo>
                    <a:cubicBezTo>
                      <a:pt x="12" y="5"/>
                      <a:pt x="14" y="4"/>
                      <a:pt x="15" y="3"/>
                    </a:cubicBezTo>
                    <a:cubicBezTo>
                      <a:pt x="14" y="2"/>
                      <a:pt x="13" y="2"/>
                      <a:pt x="13" y="1"/>
                    </a:cubicBezTo>
                    <a:cubicBezTo>
                      <a:pt x="11" y="0"/>
                      <a:pt x="10" y="2"/>
                      <a:pt x="9" y="3"/>
                    </a:cubicBezTo>
                    <a:cubicBezTo>
                      <a:pt x="7" y="4"/>
                      <a:pt x="5" y="5"/>
                      <a:pt x="4" y="6"/>
                    </a:cubicBezTo>
                    <a:cubicBezTo>
                      <a:pt x="3" y="7"/>
                      <a:pt x="0" y="8"/>
                      <a:pt x="0" y="10"/>
                    </a:cubicBezTo>
                    <a:cubicBezTo>
                      <a:pt x="0" y="11"/>
                      <a:pt x="1" y="13"/>
                      <a:pt x="1" y="14"/>
                    </a:cubicBezTo>
                    <a:cubicBezTo>
                      <a:pt x="2" y="16"/>
                      <a:pt x="2" y="18"/>
                      <a:pt x="2" y="21"/>
                    </a:cubicBezTo>
                    <a:cubicBezTo>
                      <a:pt x="3" y="22"/>
                      <a:pt x="4" y="21"/>
                      <a:pt x="5" y="20"/>
                    </a:cubicBezTo>
                    <a:cubicBezTo>
                      <a:pt x="5" y="19"/>
                      <a:pt x="5" y="17"/>
                      <a:pt x="5" y="16"/>
                    </a:cubicBezTo>
                    <a:cubicBezTo>
                      <a:pt x="5" y="16"/>
                      <a:pt x="5" y="16"/>
                      <a:pt x="5" y="17"/>
                    </a:cubicBezTo>
                    <a:cubicBezTo>
                      <a:pt x="5" y="14"/>
                      <a:pt x="5" y="17"/>
                      <a:pt x="5" y="17"/>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39" name="Freeform 185">
                <a:extLst>
                  <a:ext uri="{FF2B5EF4-FFF2-40B4-BE49-F238E27FC236}">
                    <a16:creationId xmlns:a16="http://schemas.microsoft.com/office/drawing/2014/main" id="{78D17AFF-2586-548C-70C0-55C8628F5609}"/>
                  </a:ext>
                </a:extLst>
              </p:cNvPr>
              <p:cNvSpPr/>
              <p:nvPr>
                <p:custDataLst>
                  <p:tags r:id="rId177"/>
                </p:custDataLst>
              </p:nvPr>
            </p:nvSpPr>
            <p:spPr bwMode="auto">
              <a:xfrm>
                <a:off x="5975637" y="4865998"/>
                <a:ext cx="229598" cy="238528"/>
              </a:xfrm>
              <a:custGeom>
                <a:avLst/>
                <a:gdLst>
                  <a:gd name="T0" fmla="*/ 147 w 155"/>
                  <a:gd name="T1" fmla="*/ 82 h 160"/>
                  <a:gd name="T2" fmla="*/ 155 w 155"/>
                  <a:gd name="T3" fmla="*/ 74 h 160"/>
                  <a:gd name="T4" fmla="*/ 144 w 155"/>
                  <a:gd name="T5" fmla="*/ 67 h 160"/>
                  <a:gd name="T6" fmla="*/ 129 w 155"/>
                  <a:gd name="T7" fmla="*/ 54 h 160"/>
                  <a:gd name="T8" fmla="*/ 122 w 155"/>
                  <a:gd name="T9" fmla="*/ 46 h 160"/>
                  <a:gd name="T10" fmla="*/ 117 w 155"/>
                  <a:gd name="T11" fmla="*/ 38 h 160"/>
                  <a:gd name="T12" fmla="*/ 105 w 155"/>
                  <a:gd name="T13" fmla="*/ 30 h 160"/>
                  <a:gd name="T14" fmla="*/ 98 w 155"/>
                  <a:gd name="T15" fmla="*/ 16 h 160"/>
                  <a:gd name="T16" fmla="*/ 91 w 155"/>
                  <a:gd name="T17" fmla="*/ 4 h 160"/>
                  <a:gd name="T18" fmla="*/ 86 w 155"/>
                  <a:gd name="T19" fmla="*/ 1 h 160"/>
                  <a:gd name="T20" fmla="*/ 73 w 155"/>
                  <a:gd name="T21" fmla="*/ 2 h 160"/>
                  <a:gd name="T22" fmla="*/ 60 w 155"/>
                  <a:gd name="T23" fmla="*/ 10 h 160"/>
                  <a:gd name="T24" fmla="*/ 51 w 155"/>
                  <a:gd name="T25" fmla="*/ 4 h 160"/>
                  <a:gd name="T26" fmla="*/ 23 w 155"/>
                  <a:gd name="T27" fmla="*/ 8 h 160"/>
                  <a:gd name="T28" fmla="*/ 17 w 155"/>
                  <a:gd name="T29" fmla="*/ 31 h 160"/>
                  <a:gd name="T30" fmla="*/ 17 w 155"/>
                  <a:gd name="T31" fmla="*/ 60 h 160"/>
                  <a:gd name="T32" fmla="*/ 13 w 155"/>
                  <a:gd name="T33" fmla="*/ 73 h 160"/>
                  <a:gd name="T34" fmla="*/ 1 w 155"/>
                  <a:gd name="T35" fmla="*/ 76 h 160"/>
                  <a:gd name="T36" fmla="*/ 0 w 155"/>
                  <a:gd name="T37" fmla="*/ 106 h 160"/>
                  <a:gd name="T38" fmla="*/ 0 w 155"/>
                  <a:gd name="T39" fmla="*/ 120 h 160"/>
                  <a:gd name="T40" fmla="*/ 2 w 155"/>
                  <a:gd name="T41" fmla="*/ 123 h 160"/>
                  <a:gd name="T42" fmla="*/ 11 w 155"/>
                  <a:gd name="T43" fmla="*/ 136 h 160"/>
                  <a:gd name="T44" fmla="*/ 12 w 155"/>
                  <a:gd name="T45" fmla="*/ 152 h 160"/>
                  <a:gd name="T46" fmla="*/ 21 w 155"/>
                  <a:gd name="T47" fmla="*/ 159 h 160"/>
                  <a:gd name="T48" fmla="*/ 35 w 155"/>
                  <a:gd name="T49" fmla="*/ 153 h 160"/>
                  <a:gd name="T50" fmla="*/ 44 w 155"/>
                  <a:gd name="T51" fmla="*/ 141 h 160"/>
                  <a:gd name="T52" fmla="*/ 52 w 155"/>
                  <a:gd name="T53" fmla="*/ 131 h 160"/>
                  <a:gd name="T54" fmla="*/ 68 w 155"/>
                  <a:gd name="T55" fmla="*/ 137 h 160"/>
                  <a:gd name="T56" fmla="*/ 85 w 155"/>
                  <a:gd name="T57" fmla="*/ 140 h 160"/>
                  <a:gd name="T58" fmla="*/ 95 w 155"/>
                  <a:gd name="T59" fmla="*/ 130 h 160"/>
                  <a:gd name="T60" fmla="*/ 105 w 155"/>
                  <a:gd name="T61" fmla="*/ 120 h 160"/>
                  <a:gd name="T62" fmla="*/ 116 w 155"/>
                  <a:gd name="T63" fmla="*/ 108 h 160"/>
                  <a:gd name="T64" fmla="*/ 126 w 155"/>
                  <a:gd name="T65" fmla="*/ 96 h 160"/>
                  <a:gd name="T66" fmla="*/ 141 w 155"/>
                  <a:gd name="T67" fmla="*/ 83 h 160"/>
                  <a:gd name="T68" fmla="*/ 140 w 155"/>
                  <a:gd name="T69" fmla="*/ 8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5" h="160">
                    <a:moveTo>
                      <a:pt x="140" y="83"/>
                    </a:moveTo>
                    <a:cubicBezTo>
                      <a:pt x="142" y="82"/>
                      <a:pt x="144" y="82"/>
                      <a:pt x="147" y="82"/>
                    </a:cubicBezTo>
                    <a:cubicBezTo>
                      <a:pt x="149" y="81"/>
                      <a:pt x="151" y="79"/>
                      <a:pt x="153" y="77"/>
                    </a:cubicBezTo>
                    <a:cubicBezTo>
                      <a:pt x="153" y="76"/>
                      <a:pt x="155" y="75"/>
                      <a:pt x="155" y="74"/>
                    </a:cubicBezTo>
                    <a:cubicBezTo>
                      <a:pt x="154" y="73"/>
                      <a:pt x="153" y="72"/>
                      <a:pt x="152" y="71"/>
                    </a:cubicBezTo>
                    <a:cubicBezTo>
                      <a:pt x="150" y="69"/>
                      <a:pt x="148" y="68"/>
                      <a:pt x="144" y="67"/>
                    </a:cubicBezTo>
                    <a:cubicBezTo>
                      <a:pt x="139" y="67"/>
                      <a:pt x="134" y="66"/>
                      <a:pt x="131" y="61"/>
                    </a:cubicBezTo>
                    <a:cubicBezTo>
                      <a:pt x="130" y="58"/>
                      <a:pt x="130" y="56"/>
                      <a:pt x="129" y="54"/>
                    </a:cubicBezTo>
                    <a:cubicBezTo>
                      <a:pt x="129" y="52"/>
                      <a:pt x="130" y="47"/>
                      <a:pt x="127" y="47"/>
                    </a:cubicBezTo>
                    <a:cubicBezTo>
                      <a:pt x="125" y="47"/>
                      <a:pt x="123" y="47"/>
                      <a:pt x="122" y="46"/>
                    </a:cubicBezTo>
                    <a:cubicBezTo>
                      <a:pt x="121" y="44"/>
                      <a:pt x="122" y="41"/>
                      <a:pt x="120" y="40"/>
                    </a:cubicBezTo>
                    <a:cubicBezTo>
                      <a:pt x="120" y="39"/>
                      <a:pt x="118" y="38"/>
                      <a:pt x="117" y="38"/>
                    </a:cubicBezTo>
                    <a:cubicBezTo>
                      <a:pt x="116" y="37"/>
                      <a:pt x="114" y="36"/>
                      <a:pt x="113" y="35"/>
                    </a:cubicBezTo>
                    <a:cubicBezTo>
                      <a:pt x="110" y="34"/>
                      <a:pt x="108" y="32"/>
                      <a:pt x="105" y="30"/>
                    </a:cubicBezTo>
                    <a:cubicBezTo>
                      <a:pt x="102" y="29"/>
                      <a:pt x="102" y="27"/>
                      <a:pt x="102" y="24"/>
                    </a:cubicBezTo>
                    <a:cubicBezTo>
                      <a:pt x="101" y="21"/>
                      <a:pt x="99" y="18"/>
                      <a:pt x="98" y="16"/>
                    </a:cubicBezTo>
                    <a:cubicBezTo>
                      <a:pt x="96" y="13"/>
                      <a:pt x="95" y="10"/>
                      <a:pt x="94" y="8"/>
                    </a:cubicBezTo>
                    <a:cubicBezTo>
                      <a:pt x="93" y="7"/>
                      <a:pt x="92" y="5"/>
                      <a:pt x="91" y="4"/>
                    </a:cubicBezTo>
                    <a:cubicBezTo>
                      <a:pt x="91" y="3"/>
                      <a:pt x="90" y="1"/>
                      <a:pt x="89" y="0"/>
                    </a:cubicBezTo>
                    <a:cubicBezTo>
                      <a:pt x="88" y="0"/>
                      <a:pt x="86" y="0"/>
                      <a:pt x="86" y="1"/>
                    </a:cubicBezTo>
                    <a:cubicBezTo>
                      <a:pt x="84" y="1"/>
                      <a:pt x="83" y="1"/>
                      <a:pt x="81" y="1"/>
                    </a:cubicBezTo>
                    <a:cubicBezTo>
                      <a:pt x="79" y="1"/>
                      <a:pt x="76" y="1"/>
                      <a:pt x="73" y="2"/>
                    </a:cubicBezTo>
                    <a:cubicBezTo>
                      <a:pt x="71" y="3"/>
                      <a:pt x="69" y="5"/>
                      <a:pt x="66" y="7"/>
                    </a:cubicBezTo>
                    <a:cubicBezTo>
                      <a:pt x="64" y="9"/>
                      <a:pt x="62" y="10"/>
                      <a:pt x="60" y="10"/>
                    </a:cubicBezTo>
                    <a:cubicBezTo>
                      <a:pt x="58" y="10"/>
                      <a:pt x="56" y="9"/>
                      <a:pt x="56" y="7"/>
                    </a:cubicBezTo>
                    <a:cubicBezTo>
                      <a:pt x="55" y="4"/>
                      <a:pt x="53" y="4"/>
                      <a:pt x="51" y="4"/>
                    </a:cubicBezTo>
                    <a:cubicBezTo>
                      <a:pt x="44" y="5"/>
                      <a:pt x="38" y="6"/>
                      <a:pt x="32" y="7"/>
                    </a:cubicBezTo>
                    <a:cubicBezTo>
                      <a:pt x="29" y="7"/>
                      <a:pt x="26" y="8"/>
                      <a:pt x="23" y="8"/>
                    </a:cubicBezTo>
                    <a:cubicBezTo>
                      <a:pt x="20" y="8"/>
                      <a:pt x="18" y="8"/>
                      <a:pt x="17" y="11"/>
                    </a:cubicBezTo>
                    <a:cubicBezTo>
                      <a:pt x="17" y="18"/>
                      <a:pt x="17" y="24"/>
                      <a:pt x="17" y="31"/>
                    </a:cubicBezTo>
                    <a:cubicBezTo>
                      <a:pt x="17" y="37"/>
                      <a:pt x="17" y="44"/>
                      <a:pt x="17" y="50"/>
                    </a:cubicBezTo>
                    <a:cubicBezTo>
                      <a:pt x="17" y="53"/>
                      <a:pt x="17" y="56"/>
                      <a:pt x="17" y="60"/>
                    </a:cubicBezTo>
                    <a:cubicBezTo>
                      <a:pt x="17" y="63"/>
                      <a:pt x="18" y="66"/>
                      <a:pt x="17" y="69"/>
                    </a:cubicBezTo>
                    <a:cubicBezTo>
                      <a:pt x="17" y="72"/>
                      <a:pt x="15" y="73"/>
                      <a:pt x="13" y="73"/>
                    </a:cubicBezTo>
                    <a:cubicBezTo>
                      <a:pt x="10" y="73"/>
                      <a:pt x="7" y="74"/>
                      <a:pt x="4" y="74"/>
                    </a:cubicBezTo>
                    <a:cubicBezTo>
                      <a:pt x="2" y="73"/>
                      <a:pt x="1" y="74"/>
                      <a:pt x="1" y="76"/>
                    </a:cubicBezTo>
                    <a:cubicBezTo>
                      <a:pt x="1" y="80"/>
                      <a:pt x="1" y="83"/>
                      <a:pt x="1" y="87"/>
                    </a:cubicBezTo>
                    <a:cubicBezTo>
                      <a:pt x="1" y="93"/>
                      <a:pt x="0" y="100"/>
                      <a:pt x="0" y="106"/>
                    </a:cubicBezTo>
                    <a:cubicBezTo>
                      <a:pt x="0" y="109"/>
                      <a:pt x="0" y="112"/>
                      <a:pt x="0" y="115"/>
                    </a:cubicBezTo>
                    <a:cubicBezTo>
                      <a:pt x="0" y="117"/>
                      <a:pt x="0" y="118"/>
                      <a:pt x="0" y="120"/>
                    </a:cubicBezTo>
                    <a:cubicBezTo>
                      <a:pt x="0" y="121"/>
                      <a:pt x="0" y="121"/>
                      <a:pt x="0" y="122"/>
                    </a:cubicBezTo>
                    <a:cubicBezTo>
                      <a:pt x="0" y="123"/>
                      <a:pt x="1" y="123"/>
                      <a:pt x="2" y="123"/>
                    </a:cubicBezTo>
                    <a:cubicBezTo>
                      <a:pt x="4" y="124"/>
                      <a:pt x="5" y="126"/>
                      <a:pt x="6" y="128"/>
                    </a:cubicBezTo>
                    <a:cubicBezTo>
                      <a:pt x="8" y="130"/>
                      <a:pt x="9" y="133"/>
                      <a:pt x="11" y="136"/>
                    </a:cubicBezTo>
                    <a:cubicBezTo>
                      <a:pt x="12" y="138"/>
                      <a:pt x="13" y="141"/>
                      <a:pt x="14" y="143"/>
                    </a:cubicBezTo>
                    <a:cubicBezTo>
                      <a:pt x="14" y="146"/>
                      <a:pt x="13" y="149"/>
                      <a:pt x="12" y="152"/>
                    </a:cubicBezTo>
                    <a:cubicBezTo>
                      <a:pt x="11" y="154"/>
                      <a:pt x="11" y="156"/>
                      <a:pt x="13" y="158"/>
                    </a:cubicBezTo>
                    <a:cubicBezTo>
                      <a:pt x="15" y="160"/>
                      <a:pt x="18" y="159"/>
                      <a:pt x="21" y="159"/>
                    </a:cubicBezTo>
                    <a:cubicBezTo>
                      <a:pt x="23" y="159"/>
                      <a:pt x="26" y="160"/>
                      <a:pt x="29" y="158"/>
                    </a:cubicBezTo>
                    <a:cubicBezTo>
                      <a:pt x="31" y="157"/>
                      <a:pt x="33" y="155"/>
                      <a:pt x="35" y="153"/>
                    </a:cubicBezTo>
                    <a:cubicBezTo>
                      <a:pt x="37" y="151"/>
                      <a:pt x="39" y="149"/>
                      <a:pt x="41" y="148"/>
                    </a:cubicBezTo>
                    <a:cubicBezTo>
                      <a:pt x="43" y="146"/>
                      <a:pt x="44" y="144"/>
                      <a:pt x="44" y="141"/>
                    </a:cubicBezTo>
                    <a:cubicBezTo>
                      <a:pt x="45" y="139"/>
                      <a:pt x="45" y="137"/>
                      <a:pt x="47" y="135"/>
                    </a:cubicBezTo>
                    <a:cubicBezTo>
                      <a:pt x="48" y="133"/>
                      <a:pt x="50" y="132"/>
                      <a:pt x="52" y="131"/>
                    </a:cubicBezTo>
                    <a:cubicBezTo>
                      <a:pt x="55" y="131"/>
                      <a:pt x="57" y="132"/>
                      <a:pt x="60" y="133"/>
                    </a:cubicBezTo>
                    <a:cubicBezTo>
                      <a:pt x="63" y="134"/>
                      <a:pt x="65" y="136"/>
                      <a:pt x="68" y="137"/>
                    </a:cubicBezTo>
                    <a:cubicBezTo>
                      <a:pt x="71" y="138"/>
                      <a:pt x="74" y="140"/>
                      <a:pt x="76" y="140"/>
                    </a:cubicBezTo>
                    <a:cubicBezTo>
                      <a:pt x="79" y="141"/>
                      <a:pt x="82" y="140"/>
                      <a:pt x="85" y="140"/>
                    </a:cubicBezTo>
                    <a:cubicBezTo>
                      <a:pt x="88" y="139"/>
                      <a:pt x="90" y="139"/>
                      <a:pt x="92" y="137"/>
                    </a:cubicBezTo>
                    <a:cubicBezTo>
                      <a:pt x="95" y="135"/>
                      <a:pt x="95" y="133"/>
                      <a:pt x="95" y="130"/>
                    </a:cubicBezTo>
                    <a:cubicBezTo>
                      <a:pt x="96" y="128"/>
                      <a:pt x="96" y="125"/>
                      <a:pt x="98" y="123"/>
                    </a:cubicBezTo>
                    <a:cubicBezTo>
                      <a:pt x="99" y="120"/>
                      <a:pt x="102" y="120"/>
                      <a:pt x="105" y="120"/>
                    </a:cubicBezTo>
                    <a:cubicBezTo>
                      <a:pt x="107" y="119"/>
                      <a:pt x="110" y="117"/>
                      <a:pt x="112" y="115"/>
                    </a:cubicBezTo>
                    <a:cubicBezTo>
                      <a:pt x="114" y="113"/>
                      <a:pt x="115" y="111"/>
                      <a:pt x="116" y="108"/>
                    </a:cubicBezTo>
                    <a:cubicBezTo>
                      <a:pt x="116" y="106"/>
                      <a:pt x="117" y="104"/>
                      <a:pt x="119" y="102"/>
                    </a:cubicBezTo>
                    <a:cubicBezTo>
                      <a:pt x="121" y="100"/>
                      <a:pt x="124" y="98"/>
                      <a:pt x="126" y="96"/>
                    </a:cubicBezTo>
                    <a:cubicBezTo>
                      <a:pt x="129" y="94"/>
                      <a:pt x="132" y="92"/>
                      <a:pt x="134" y="89"/>
                    </a:cubicBezTo>
                    <a:cubicBezTo>
                      <a:pt x="136" y="87"/>
                      <a:pt x="138" y="84"/>
                      <a:pt x="141" y="83"/>
                    </a:cubicBezTo>
                    <a:cubicBezTo>
                      <a:pt x="140" y="83"/>
                      <a:pt x="140" y="83"/>
                      <a:pt x="140" y="83"/>
                    </a:cubicBezTo>
                    <a:cubicBezTo>
                      <a:pt x="143" y="81"/>
                      <a:pt x="140" y="83"/>
                      <a:pt x="140" y="83"/>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40" name="Freeform 186">
                <a:extLst>
                  <a:ext uri="{FF2B5EF4-FFF2-40B4-BE49-F238E27FC236}">
                    <a16:creationId xmlns:a16="http://schemas.microsoft.com/office/drawing/2014/main" id="{AB1E531A-7868-08AF-F51F-F8D8FC6DDEAA}"/>
                  </a:ext>
                </a:extLst>
              </p:cNvPr>
              <p:cNvSpPr/>
              <p:nvPr>
                <p:custDataLst>
                  <p:tags r:id="rId178"/>
                </p:custDataLst>
              </p:nvPr>
            </p:nvSpPr>
            <p:spPr bwMode="auto">
              <a:xfrm>
                <a:off x="5780478" y="4274144"/>
                <a:ext cx="478331" cy="477055"/>
              </a:xfrm>
              <a:custGeom>
                <a:avLst/>
                <a:gdLst>
                  <a:gd name="T0" fmla="*/ 170 w 322"/>
                  <a:gd name="T1" fmla="*/ 279 h 320"/>
                  <a:gd name="T2" fmla="*/ 188 w 322"/>
                  <a:gd name="T3" fmla="*/ 278 h 320"/>
                  <a:gd name="T4" fmla="*/ 201 w 322"/>
                  <a:gd name="T5" fmla="*/ 276 h 320"/>
                  <a:gd name="T6" fmla="*/ 209 w 322"/>
                  <a:gd name="T7" fmla="*/ 283 h 320"/>
                  <a:gd name="T8" fmla="*/ 226 w 322"/>
                  <a:gd name="T9" fmla="*/ 289 h 320"/>
                  <a:gd name="T10" fmla="*/ 248 w 322"/>
                  <a:gd name="T11" fmla="*/ 290 h 320"/>
                  <a:gd name="T12" fmla="*/ 276 w 322"/>
                  <a:gd name="T13" fmla="*/ 304 h 320"/>
                  <a:gd name="T14" fmla="*/ 296 w 322"/>
                  <a:gd name="T15" fmla="*/ 316 h 320"/>
                  <a:gd name="T16" fmla="*/ 295 w 322"/>
                  <a:gd name="T17" fmla="*/ 298 h 320"/>
                  <a:gd name="T18" fmla="*/ 281 w 322"/>
                  <a:gd name="T19" fmla="*/ 299 h 320"/>
                  <a:gd name="T20" fmla="*/ 273 w 322"/>
                  <a:gd name="T21" fmla="*/ 278 h 320"/>
                  <a:gd name="T22" fmla="*/ 275 w 322"/>
                  <a:gd name="T23" fmla="*/ 261 h 320"/>
                  <a:gd name="T24" fmla="*/ 279 w 322"/>
                  <a:gd name="T25" fmla="*/ 241 h 320"/>
                  <a:gd name="T26" fmla="*/ 288 w 322"/>
                  <a:gd name="T27" fmla="*/ 232 h 320"/>
                  <a:gd name="T28" fmla="*/ 305 w 322"/>
                  <a:gd name="T29" fmla="*/ 220 h 320"/>
                  <a:gd name="T30" fmla="*/ 292 w 322"/>
                  <a:gd name="T31" fmla="*/ 205 h 320"/>
                  <a:gd name="T32" fmla="*/ 287 w 322"/>
                  <a:gd name="T33" fmla="*/ 196 h 320"/>
                  <a:gd name="T34" fmla="*/ 287 w 322"/>
                  <a:gd name="T35" fmla="*/ 183 h 320"/>
                  <a:gd name="T36" fmla="*/ 285 w 322"/>
                  <a:gd name="T37" fmla="*/ 161 h 320"/>
                  <a:gd name="T38" fmla="*/ 285 w 322"/>
                  <a:gd name="T39" fmla="*/ 140 h 320"/>
                  <a:gd name="T40" fmla="*/ 286 w 322"/>
                  <a:gd name="T41" fmla="*/ 123 h 320"/>
                  <a:gd name="T42" fmla="*/ 292 w 322"/>
                  <a:gd name="T43" fmla="*/ 105 h 320"/>
                  <a:gd name="T44" fmla="*/ 310 w 322"/>
                  <a:gd name="T45" fmla="*/ 64 h 320"/>
                  <a:gd name="T46" fmla="*/ 320 w 322"/>
                  <a:gd name="T47" fmla="*/ 52 h 320"/>
                  <a:gd name="T48" fmla="*/ 313 w 322"/>
                  <a:gd name="T49" fmla="*/ 32 h 320"/>
                  <a:gd name="T50" fmla="*/ 309 w 322"/>
                  <a:gd name="T51" fmla="*/ 25 h 320"/>
                  <a:gd name="T52" fmla="*/ 297 w 322"/>
                  <a:gd name="T53" fmla="*/ 18 h 320"/>
                  <a:gd name="T54" fmla="*/ 281 w 322"/>
                  <a:gd name="T55" fmla="*/ 16 h 320"/>
                  <a:gd name="T56" fmla="*/ 265 w 322"/>
                  <a:gd name="T57" fmla="*/ 14 h 320"/>
                  <a:gd name="T58" fmla="*/ 254 w 322"/>
                  <a:gd name="T59" fmla="*/ 2 h 320"/>
                  <a:gd name="T60" fmla="*/ 243 w 322"/>
                  <a:gd name="T61" fmla="*/ 4 h 320"/>
                  <a:gd name="T62" fmla="*/ 223 w 322"/>
                  <a:gd name="T63" fmla="*/ 0 h 320"/>
                  <a:gd name="T64" fmla="*/ 209 w 322"/>
                  <a:gd name="T65" fmla="*/ 7 h 320"/>
                  <a:gd name="T66" fmla="*/ 191 w 322"/>
                  <a:gd name="T67" fmla="*/ 12 h 320"/>
                  <a:gd name="T68" fmla="*/ 178 w 322"/>
                  <a:gd name="T69" fmla="*/ 11 h 320"/>
                  <a:gd name="T70" fmla="*/ 146 w 322"/>
                  <a:gd name="T71" fmla="*/ 16 h 320"/>
                  <a:gd name="T72" fmla="*/ 125 w 322"/>
                  <a:gd name="T73" fmla="*/ 4 h 320"/>
                  <a:gd name="T74" fmla="*/ 110 w 322"/>
                  <a:gd name="T75" fmla="*/ 15 h 320"/>
                  <a:gd name="T76" fmla="*/ 108 w 322"/>
                  <a:gd name="T77" fmla="*/ 25 h 320"/>
                  <a:gd name="T78" fmla="*/ 97 w 322"/>
                  <a:gd name="T79" fmla="*/ 58 h 320"/>
                  <a:gd name="T80" fmla="*/ 77 w 322"/>
                  <a:gd name="T81" fmla="*/ 96 h 320"/>
                  <a:gd name="T82" fmla="*/ 66 w 322"/>
                  <a:gd name="T83" fmla="*/ 139 h 320"/>
                  <a:gd name="T84" fmla="*/ 45 w 322"/>
                  <a:gd name="T85" fmla="*/ 168 h 320"/>
                  <a:gd name="T86" fmla="*/ 34 w 322"/>
                  <a:gd name="T87" fmla="*/ 164 h 320"/>
                  <a:gd name="T88" fmla="*/ 23 w 322"/>
                  <a:gd name="T89" fmla="*/ 168 h 320"/>
                  <a:gd name="T90" fmla="*/ 12 w 322"/>
                  <a:gd name="T91" fmla="*/ 170 h 320"/>
                  <a:gd name="T92" fmla="*/ 4 w 322"/>
                  <a:gd name="T93" fmla="*/ 179 h 320"/>
                  <a:gd name="T94" fmla="*/ 0 w 322"/>
                  <a:gd name="T95" fmla="*/ 192 h 320"/>
                  <a:gd name="T96" fmla="*/ 16 w 322"/>
                  <a:gd name="T97" fmla="*/ 188 h 320"/>
                  <a:gd name="T98" fmla="*/ 65 w 322"/>
                  <a:gd name="T99" fmla="*/ 188 h 320"/>
                  <a:gd name="T100" fmla="*/ 86 w 322"/>
                  <a:gd name="T101" fmla="*/ 220 h 320"/>
                  <a:gd name="T102" fmla="*/ 104 w 322"/>
                  <a:gd name="T103" fmla="*/ 225 h 320"/>
                  <a:gd name="T104" fmla="*/ 121 w 322"/>
                  <a:gd name="T105" fmla="*/ 215 h 320"/>
                  <a:gd name="T106" fmla="*/ 137 w 322"/>
                  <a:gd name="T107" fmla="*/ 207 h 320"/>
                  <a:gd name="T108" fmla="*/ 156 w 322"/>
                  <a:gd name="T109" fmla="*/ 212 h 320"/>
                  <a:gd name="T110" fmla="*/ 164 w 322"/>
                  <a:gd name="T111" fmla="*/ 231 h 320"/>
                  <a:gd name="T112" fmla="*/ 163 w 322"/>
                  <a:gd name="T113" fmla="*/ 253 h 320"/>
                  <a:gd name="T114" fmla="*/ 170 w 322"/>
                  <a:gd name="T115" fmla="*/ 271 h 320"/>
                  <a:gd name="T116" fmla="*/ 169 w 322"/>
                  <a:gd name="T117" fmla="*/ 27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2" h="320">
                    <a:moveTo>
                      <a:pt x="169" y="274"/>
                    </a:moveTo>
                    <a:cubicBezTo>
                      <a:pt x="168" y="275"/>
                      <a:pt x="168" y="275"/>
                      <a:pt x="169" y="276"/>
                    </a:cubicBezTo>
                    <a:cubicBezTo>
                      <a:pt x="169" y="277"/>
                      <a:pt x="169" y="279"/>
                      <a:pt x="170" y="279"/>
                    </a:cubicBezTo>
                    <a:cubicBezTo>
                      <a:pt x="171" y="280"/>
                      <a:pt x="173" y="279"/>
                      <a:pt x="174" y="279"/>
                    </a:cubicBezTo>
                    <a:cubicBezTo>
                      <a:pt x="176" y="278"/>
                      <a:pt x="177" y="278"/>
                      <a:pt x="179" y="278"/>
                    </a:cubicBezTo>
                    <a:cubicBezTo>
                      <a:pt x="182" y="278"/>
                      <a:pt x="185" y="278"/>
                      <a:pt x="188" y="278"/>
                    </a:cubicBezTo>
                    <a:cubicBezTo>
                      <a:pt x="190" y="278"/>
                      <a:pt x="191" y="278"/>
                      <a:pt x="192" y="278"/>
                    </a:cubicBezTo>
                    <a:cubicBezTo>
                      <a:pt x="193" y="278"/>
                      <a:pt x="195" y="278"/>
                      <a:pt x="196" y="277"/>
                    </a:cubicBezTo>
                    <a:cubicBezTo>
                      <a:pt x="198" y="276"/>
                      <a:pt x="198" y="275"/>
                      <a:pt x="201" y="276"/>
                    </a:cubicBezTo>
                    <a:cubicBezTo>
                      <a:pt x="203" y="276"/>
                      <a:pt x="206" y="278"/>
                      <a:pt x="207" y="280"/>
                    </a:cubicBezTo>
                    <a:cubicBezTo>
                      <a:pt x="207" y="281"/>
                      <a:pt x="207" y="282"/>
                      <a:pt x="207" y="283"/>
                    </a:cubicBezTo>
                    <a:cubicBezTo>
                      <a:pt x="207" y="284"/>
                      <a:pt x="209" y="283"/>
                      <a:pt x="209" y="283"/>
                    </a:cubicBezTo>
                    <a:cubicBezTo>
                      <a:pt x="212" y="282"/>
                      <a:pt x="215" y="281"/>
                      <a:pt x="218" y="280"/>
                    </a:cubicBezTo>
                    <a:cubicBezTo>
                      <a:pt x="221" y="279"/>
                      <a:pt x="222" y="281"/>
                      <a:pt x="222" y="283"/>
                    </a:cubicBezTo>
                    <a:cubicBezTo>
                      <a:pt x="223" y="286"/>
                      <a:pt x="223" y="288"/>
                      <a:pt x="226" y="289"/>
                    </a:cubicBezTo>
                    <a:cubicBezTo>
                      <a:pt x="228" y="290"/>
                      <a:pt x="231" y="291"/>
                      <a:pt x="234" y="291"/>
                    </a:cubicBezTo>
                    <a:cubicBezTo>
                      <a:pt x="237" y="292"/>
                      <a:pt x="240" y="293"/>
                      <a:pt x="243" y="293"/>
                    </a:cubicBezTo>
                    <a:cubicBezTo>
                      <a:pt x="246" y="293"/>
                      <a:pt x="247" y="292"/>
                      <a:pt x="248" y="290"/>
                    </a:cubicBezTo>
                    <a:cubicBezTo>
                      <a:pt x="249" y="288"/>
                      <a:pt x="251" y="286"/>
                      <a:pt x="253" y="287"/>
                    </a:cubicBezTo>
                    <a:cubicBezTo>
                      <a:pt x="258" y="290"/>
                      <a:pt x="258" y="295"/>
                      <a:pt x="262" y="298"/>
                    </a:cubicBezTo>
                    <a:cubicBezTo>
                      <a:pt x="266" y="301"/>
                      <a:pt x="272" y="300"/>
                      <a:pt x="276" y="304"/>
                    </a:cubicBezTo>
                    <a:cubicBezTo>
                      <a:pt x="279" y="309"/>
                      <a:pt x="283" y="313"/>
                      <a:pt x="286" y="318"/>
                    </a:cubicBezTo>
                    <a:cubicBezTo>
                      <a:pt x="288" y="320"/>
                      <a:pt x="290" y="318"/>
                      <a:pt x="292" y="318"/>
                    </a:cubicBezTo>
                    <a:cubicBezTo>
                      <a:pt x="293" y="317"/>
                      <a:pt x="295" y="317"/>
                      <a:pt x="296" y="316"/>
                    </a:cubicBezTo>
                    <a:cubicBezTo>
                      <a:pt x="297" y="315"/>
                      <a:pt x="296" y="314"/>
                      <a:pt x="296" y="313"/>
                    </a:cubicBezTo>
                    <a:cubicBezTo>
                      <a:pt x="296" y="310"/>
                      <a:pt x="297" y="307"/>
                      <a:pt x="297" y="304"/>
                    </a:cubicBezTo>
                    <a:cubicBezTo>
                      <a:pt x="296" y="302"/>
                      <a:pt x="297" y="299"/>
                      <a:pt x="295" y="298"/>
                    </a:cubicBezTo>
                    <a:cubicBezTo>
                      <a:pt x="293" y="297"/>
                      <a:pt x="292" y="300"/>
                      <a:pt x="292" y="301"/>
                    </a:cubicBezTo>
                    <a:cubicBezTo>
                      <a:pt x="290" y="304"/>
                      <a:pt x="289" y="304"/>
                      <a:pt x="286" y="303"/>
                    </a:cubicBezTo>
                    <a:cubicBezTo>
                      <a:pt x="283" y="302"/>
                      <a:pt x="282" y="301"/>
                      <a:pt x="281" y="299"/>
                    </a:cubicBezTo>
                    <a:cubicBezTo>
                      <a:pt x="280" y="298"/>
                      <a:pt x="280" y="297"/>
                      <a:pt x="279" y="296"/>
                    </a:cubicBezTo>
                    <a:cubicBezTo>
                      <a:pt x="278" y="295"/>
                      <a:pt x="276" y="294"/>
                      <a:pt x="275" y="293"/>
                    </a:cubicBezTo>
                    <a:cubicBezTo>
                      <a:pt x="270" y="290"/>
                      <a:pt x="272" y="283"/>
                      <a:pt x="273" y="278"/>
                    </a:cubicBezTo>
                    <a:cubicBezTo>
                      <a:pt x="274" y="275"/>
                      <a:pt x="275" y="272"/>
                      <a:pt x="276" y="270"/>
                    </a:cubicBezTo>
                    <a:cubicBezTo>
                      <a:pt x="276" y="268"/>
                      <a:pt x="276" y="267"/>
                      <a:pt x="276" y="266"/>
                    </a:cubicBezTo>
                    <a:cubicBezTo>
                      <a:pt x="275" y="264"/>
                      <a:pt x="275" y="263"/>
                      <a:pt x="275" y="261"/>
                    </a:cubicBezTo>
                    <a:cubicBezTo>
                      <a:pt x="275" y="259"/>
                      <a:pt x="277" y="257"/>
                      <a:pt x="276" y="254"/>
                    </a:cubicBezTo>
                    <a:cubicBezTo>
                      <a:pt x="276" y="252"/>
                      <a:pt x="273" y="249"/>
                      <a:pt x="274" y="247"/>
                    </a:cubicBezTo>
                    <a:cubicBezTo>
                      <a:pt x="274" y="244"/>
                      <a:pt x="277" y="242"/>
                      <a:pt x="279" y="241"/>
                    </a:cubicBezTo>
                    <a:cubicBezTo>
                      <a:pt x="280" y="240"/>
                      <a:pt x="281" y="239"/>
                      <a:pt x="281" y="238"/>
                    </a:cubicBezTo>
                    <a:cubicBezTo>
                      <a:pt x="282" y="237"/>
                      <a:pt x="282" y="236"/>
                      <a:pt x="282" y="235"/>
                    </a:cubicBezTo>
                    <a:cubicBezTo>
                      <a:pt x="283" y="232"/>
                      <a:pt x="286" y="232"/>
                      <a:pt x="288" y="232"/>
                    </a:cubicBezTo>
                    <a:cubicBezTo>
                      <a:pt x="291" y="231"/>
                      <a:pt x="294" y="231"/>
                      <a:pt x="297" y="230"/>
                    </a:cubicBezTo>
                    <a:cubicBezTo>
                      <a:pt x="300" y="230"/>
                      <a:pt x="303" y="229"/>
                      <a:pt x="306" y="229"/>
                    </a:cubicBezTo>
                    <a:cubicBezTo>
                      <a:pt x="306" y="226"/>
                      <a:pt x="306" y="223"/>
                      <a:pt x="305" y="220"/>
                    </a:cubicBezTo>
                    <a:cubicBezTo>
                      <a:pt x="304" y="218"/>
                      <a:pt x="303" y="216"/>
                      <a:pt x="302" y="214"/>
                    </a:cubicBezTo>
                    <a:cubicBezTo>
                      <a:pt x="301" y="211"/>
                      <a:pt x="299" y="211"/>
                      <a:pt x="297" y="210"/>
                    </a:cubicBezTo>
                    <a:cubicBezTo>
                      <a:pt x="295" y="209"/>
                      <a:pt x="293" y="207"/>
                      <a:pt x="292" y="205"/>
                    </a:cubicBezTo>
                    <a:cubicBezTo>
                      <a:pt x="291" y="204"/>
                      <a:pt x="291" y="202"/>
                      <a:pt x="291" y="201"/>
                    </a:cubicBezTo>
                    <a:cubicBezTo>
                      <a:pt x="290" y="200"/>
                      <a:pt x="290" y="199"/>
                      <a:pt x="290" y="198"/>
                    </a:cubicBezTo>
                    <a:cubicBezTo>
                      <a:pt x="289" y="197"/>
                      <a:pt x="288" y="197"/>
                      <a:pt x="287" y="196"/>
                    </a:cubicBezTo>
                    <a:cubicBezTo>
                      <a:pt x="287" y="194"/>
                      <a:pt x="286" y="193"/>
                      <a:pt x="286" y="192"/>
                    </a:cubicBezTo>
                    <a:cubicBezTo>
                      <a:pt x="286" y="191"/>
                      <a:pt x="286" y="189"/>
                      <a:pt x="286" y="188"/>
                    </a:cubicBezTo>
                    <a:cubicBezTo>
                      <a:pt x="286" y="186"/>
                      <a:pt x="287" y="185"/>
                      <a:pt x="287" y="183"/>
                    </a:cubicBezTo>
                    <a:cubicBezTo>
                      <a:pt x="286" y="181"/>
                      <a:pt x="284" y="179"/>
                      <a:pt x="284" y="177"/>
                    </a:cubicBezTo>
                    <a:cubicBezTo>
                      <a:pt x="283" y="174"/>
                      <a:pt x="285" y="172"/>
                      <a:pt x="286" y="169"/>
                    </a:cubicBezTo>
                    <a:cubicBezTo>
                      <a:pt x="287" y="166"/>
                      <a:pt x="286" y="164"/>
                      <a:pt x="285" y="161"/>
                    </a:cubicBezTo>
                    <a:cubicBezTo>
                      <a:pt x="284" y="159"/>
                      <a:pt x="284" y="156"/>
                      <a:pt x="287" y="155"/>
                    </a:cubicBezTo>
                    <a:cubicBezTo>
                      <a:pt x="288" y="155"/>
                      <a:pt x="286" y="148"/>
                      <a:pt x="286" y="147"/>
                    </a:cubicBezTo>
                    <a:cubicBezTo>
                      <a:pt x="286" y="145"/>
                      <a:pt x="286" y="142"/>
                      <a:pt x="285" y="140"/>
                    </a:cubicBezTo>
                    <a:cubicBezTo>
                      <a:pt x="283" y="138"/>
                      <a:pt x="282" y="135"/>
                      <a:pt x="282" y="132"/>
                    </a:cubicBezTo>
                    <a:cubicBezTo>
                      <a:pt x="282" y="129"/>
                      <a:pt x="284" y="129"/>
                      <a:pt x="285" y="127"/>
                    </a:cubicBezTo>
                    <a:cubicBezTo>
                      <a:pt x="286" y="126"/>
                      <a:pt x="286" y="124"/>
                      <a:pt x="286" y="123"/>
                    </a:cubicBezTo>
                    <a:cubicBezTo>
                      <a:pt x="286" y="122"/>
                      <a:pt x="286" y="121"/>
                      <a:pt x="286" y="119"/>
                    </a:cubicBezTo>
                    <a:cubicBezTo>
                      <a:pt x="287" y="117"/>
                      <a:pt x="290" y="115"/>
                      <a:pt x="291" y="113"/>
                    </a:cubicBezTo>
                    <a:cubicBezTo>
                      <a:pt x="292" y="111"/>
                      <a:pt x="292" y="108"/>
                      <a:pt x="292" y="105"/>
                    </a:cubicBezTo>
                    <a:cubicBezTo>
                      <a:pt x="292" y="102"/>
                      <a:pt x="293" y="98"/>
                      <a:pt x="294" y="95"/>
                    </a:cubicBezTo>
                    <a:cubicBezTo>
                      <a:pt x="295" y="89"/>
                      <a:pt x="296" y="83"/>
                      <a:pt x="298" y="77"/>
                    </a:cubicBezTo>
                    <a:cubicBezTo>
                      <a:pt x="301" y="72"/>
                      <a:pt x="306" y="68"/>
                      <a:pt x="310" y="64"/>
                    </a:cubicBezTo>
                    <a:cubicBezTo>
                      <a:pt x="312" y="62"/>
                      <a:pt x="314" y="60"/>
                      <a:pt x="316" y="58"/>
                    </a:cubicBezTo>
                    <a:cubicBezTo>
                      <a:pt x="317" y="57"/>
                      <a:pt x="318" y="56"/>
                      <a:pt x="319" y="55"/>
                    </a:cubicBezTo>
                    <a:cubicBezTo>
                      <a:pt x="320" y="54"/>
                      <a:pt x="322" y="53"/>
                      <a:pt x="320" y="52"/>
                    </a:cubicBezTo>
                    <a:cubicBezTo>
                      <a:pt x="318" y="50"/>
                      <a:pt x="316" y="49"/>
                      <a:pt x="314" y="48"/>
                    </a:cubicBezTo>
                    <a:cubicBezTo>
                      <a:pt x="311" y="46"/>
                      <a:pt x="312" y="43"/>
                      <a:pt x="312" y="40"/>
                    </a:cubicBezTo>
                    <a:cubicBezTo>
                      <a:pt x="312" y="38"/>
                      <a:pt x="312" y="35"/>
                      <a:pt x="313" y="32"/>
                    </a:cubicBezTo>
                    <a:cubicBezTo>
                      <a:pt x="313" y="32"/>
                      <a:pt x="314" y="31"/>
                      <a:pt x="314" y="30"/>
                    </a:cubicBezTo>
                    <a:cubicBezTo>
                      <a:pt x="313" y="30"/>
                      <a:pt x="311" y="30"/>
                      <a:pt x="310" y="29"/>
                    </a:cubicBezTo>
                    <a:cubicBezTo>
                      <a:pt x="309" y="28"/>
                      <a:pt x="308" y="27"/>
                      <a:pt x="309" y="25"/>
                    </a:cubicBezTo>
                    <a:cubicBezTo>
                      <a:pt x="309" y="25"/>
                      <a:pt x="309" y="24"/>
                      <a:pt x="309" y="24"/>
                    </a:cubicBezTo>
                    <a:cubicBezTo>
                      <a:pt x="307" y="23"/>
                      <a:pt x="306" y="23"/>
                      <a:pt x="304" y="22"/>
                    </a:cubicBezTo>
                    <a:cubicBezTo>
                      <a:pt x="302" y="22"/>
                      <a:pt x="298" y="20"/>
                      <a:pt x="297" y="18"/>
                    </a:cubicBezTo>
                    <a:cubicBezTo>
                      <a:pt x="297" y="18"/>
                      <a:pt x="296" y="13"/>
                      <a:pt x="296" y="13"/>
                    </a:cubicBezTo>
                    <a:cubicBezTo>
                      <a:pt x="294" y="12"/>
                      <a:pt x="291" y="14"/>
                      <a:pt x="289" y="15"/>
                    </a:cubicBezTo>
                    <a:cubicBezTo>
                      <a:pt x="286" y="16"/>
                      <a:pt x="284" y="16"/>
                      <a:pt x="281" y="16"/>
                    </a:cubicBezTo>
                    <a:cubicBezTo>
                      <a:pt x="279" y="16"/>
                      <a:pt x="278" y="15"/>
                      <a:pt x="276" y="16"/>
                    </a:cubicBezTo>
                    <a:cubicBezTo>
                      <a:pt x="275" y="16"/>
                      <a:pt x="274" y="17"/>
                      <a:pt x="273" y="17"/>
                    </a:cubicBezTo>
                    <a:cubicBezTo>
                      <a:pt x="270" y="18"/>
                      <a:pt x="267" y="15"/>
                      <a:pt x="265" y="14"/>
                    </a:cubicBezTo>
                    <a:cubicBezTo>
                      <a:pt x="263" y="13"/>
                      <a:pt x="260" y="11"/>
                      <a:pt x="260" y="9"/>
                    </a:cubicBezTo>
                    <a:cubicBezTo>
                      <a:pt x="260" y="7"/>
                      <a:pt x="258" y="5"/>
                      <a:pt x="256" y="4"/>
                    </a:cubicBezTo>
                    <a:cubicBezTo>
                      <a:pt x="255" y="4"/>
                      <a:pt x="255" y="3"/>
                      <a:pt x="254" y="2"/>
                    </a:cubicBezTo>
                    <a:cubicBezTo>
                      <a:pt x="253" y="1"/>
                      <a:pt x="252" y="2"/>
                      <a:pt x="251" y="2"/>
                    </a:cubicBezTo>
                    <a:cubicBezTo>
                      <a:pt x="250" y="3"/>
                      <a:pt x="248" y="3"/>
                      <a:pt x="247" y="3"/>
                    </a:cubicBezTo>
                    <a:cubicBezTo>
                      <a:pt x="246" y="3"/>
                      <a:pt x="244" y="4"/>
                      <a:pt x="243" y="4"/>
                    </a:cubicBezTo>
                    <a:cubicBezTo>
                      <a:pt x="240" y="5"/>
                      <a:pt x="238" y="4"/>
                      <a:pt x="236" y="3"/>
                    </a:cubicBezTo>
                    <a:cubicBezTo>
                      <a:pt x="233" y="1"/>
                      <a:pt x="231" y="3"/>
                      <a:pt x="229" y="2"/>
                    </a:cubicBezTo>
                    <a:cubicBezTo>
                      <a:pt x="227" y="2"/>
                      <a:pt x="225" y="0"/>
                      <a:pt x="223" y="0"/>
                    </a:cubicBezTo>
                    <a:cubicBezTo>
                      <a:pt x="221" y="0"/>
                      <a:pt x="220" y="3"/>
                      <a:pt x="219" y="5"/>
                    </a:cubicBezTo>
                    <a:cubicBezTo>
                      <a:pt x="218" y="6"/>
                      <a:pt x="215" y="7"/>
                      <a:pt x="213" y="7"/>
                    </a:cubicBezTo>
                    <a:cubicBezTo>
                      <a:pt x="212" y="7"/>
                      <a:pt x="210" y="7"/>
                      <a:pt x="209" y="7"/>
                    </a:cubicBezTo>
                    <a:cubicBezTo>
                      <a:pt x="208" y="7"/>
                      <a:pt x="207" y="6"/>
                      <a:pt x="205" y="5"/>
                    </a:cubicBezTo>
                    <a:cubicBezTo>
                      <a:pt x="203" y="4"/>
                      <a:pt x="201" y="7"/>
                      <a:pt x="199" y="7"/>
                    </a:cubicBezTo>
                    <a:cubicBezTo>
                      <a:pt x="196" y="9"/>
                      <a:pt x="194" y="11"/>
                      <a:pt x="191" y="12"/>
                    </a:cubicBezTo>
                    <a:cubicBezTo>
                      <a:pt x="188" y="13"/>
                      <a:pt x="186" y="13"/>
                      <a:pt x="184" y="11"/>
                    </a:cubicBezTo>
                    <a:cubicBezTo>
                      <a:pt x="183" y="11"/>
                      <a:pt x="182" y="10"/>
                      <a:pt x="180" y="9"/>
                    </a:cubicBezTo>
                    <a:cubicBezTo>
                      <a:pt x="179" y="9"/>
                      <a:pt x="178" y="11"/>
                      <a:pt x="178" y="11"/>
                    </a:cubicBezTo>
                    <a:cubicBezTo>
                      <a:pt x="176" y="14"/>
                      <a:pt x="175" y="16"/>
                      <a:pt x="173" y="18"/>
                    </a:cubicBezTo>
                    <a:cubicBezTo>
                      <a:pt x="171" y="20"/>
                      <a:pt x="168" y="20"/>
                      <a:pt x="165" y="19"/>
                    </a:cubicBezTo>
                    <a:cubicBezTo>
                      <a:pt x="159" y="19"/>
                      <a:pt x="152" y="18"/>
                      <a:pt x="146" y="16"/>
                    </a:cubicBezTo>
                    <a:cubicBezTo>
                      <a:pt x="143" y="16"/>
                      <a:pt x="141" y="15"/>
                      <a:pt x="139" y="14"/>
                    </a:cubicBezTo>
                    <a:cubicBezTo>
                      <a:pt x="136" y="12"/>
                      <a:pt x="134" y="10"/>
                      <a:pt x="132" y="8"/>
                    </a:cubicBezTo>
                    <a:cubicBezTo>
                      <a:pt x="130" y="7"/>
                      <a:pt x="128" y="5"/>
                      <a:pt x="125" y="4"/>
                    </a:cubicBezTo>
                    <a:cubicBezTo>
                      <a:pt x="122" y="4"/>
                      <a:pt x="120" y="5"/>
                      <a:pt x="117" y="6"/>
                    </a:cubicBezTo>
                    <a:cubicBezTo>
                      <a:pt x="115" y="8"/>
                      <a:pt x="113" y="9"/>
                      <a:pt x="112" y="12"/>
                    </a:cubicBezTo>
                    <a:cubicBezTo>
                      <a:pt x="111" y="13"/>
                      <a:pt x="111" y="14"/>
                      <a:pt x="110" y="15"/>
                    </a:cubicBezTo>
                    <a:cubicBezTo>
                      <a:pt x="109" y="16"/>
                      <a:pt x="108" y="16"/>
                      <a:pt x="108" y="17"/>
                    </a:cubicBezTo>
                    <a:cubicBezTo>
                      <a:pt x="107" y="18"/>
                      <a:pt x="107" y="19"/>
                      <a:pt x="107" y="20"/>
                    </a:cubicBezTo>
                    <a:cubicBezTo>
                      <a:pt x="107" y="22"/>
                      <a:pt x="107" y="23"/>
                      <a:pt x="108" y="25"/>
                    </a:cubicBezTo>
                    <a:cubicBezTo>
                      <a:pt x="108" y="28"/>
                      <a:pt x="108" y="31"/>
                      <a:pt x="108" y="34"/>
                    </a:cubicBezTo>
                    <a:cubicBezTo>
                      <a:pt x="107" y="40"/>
                      <a:pt x="103" y="45"/>
                      <a:pt x="100" y="50"/>
                    </a:cubicBezTo>
                    <a:cubicBezTo>
                      <a:pt x="99" y="53"/>
                      <a:pt x="98" y="55"/>
                      <a:pt x="97" y="58"/>
                    </a:cubicBezTo>
                    <a:cubicBezTo>
                      <a:pt x="97" y="61"/>
                      <a:pt x="97" y="64"/>
                      <a:pt x="96" y="67"/>
                    </a:cubicBezTo>
                    <a:cubicBezTo>
                      <a:pt x="95" y="72"/>
                      <a:pt x="92" y="78"/>
                      <a:pt x="89" y="82"/>
                    </a:cubicBezTo>
                    <a:cubicBezTo>
                      <a:pt x="85" y="87"/>
                      <a:pt x="81" y="91"/>
                      <a:pt x="77" y="96"/>
                    </a:cubicBezTo>
                    <a:cubicBezTo>
                      <a:pt x="74" y="101"/>
                      <a:pt x="70" y="106"/>
                      <a:pt x="68" y="112"/>
                    </a:cubicBezTo>
                    <a:cubicBezTo>
                      <a:pt x="66" y="118"/>
                      <a:pt x="66" y="124"/>
                      <a:pt x="66" y="130"/>
                    </a:cubicBezTo>
                    <a:cubicBezTo>
                      <a:pt x="66" y="133"/>
                      <a:pt x="66" y="136"/>
                      <a:pt x="66" y="139"/>
                    </a:cubicBezTo>
                    <a:cubicBezTo>
                      <a:pt x="67" y="142"/>
                      <a:pt x="67" y="145"/>
                      <a:pt x="66" y="148"/>
                    </a:cubicBezTo>
                    <a:cubicBezTo>
                      <a:pt x="65" y="153"/>
                      <a:pt x="62" y="156"/>
                      <a:pt x="58" y="159"/>
                    </a:cubicBezTo>
                    <a:cubicBezTo>
                      <a:pt x="54" y="162"/>
                      <a:pt x="49" y="165"/>
                      <a:pt x="45" y="168"/>
                    </a:cubicBezTo>
                    <a:cubicBezTo>
                      <a:pt x="43" y="170"/>
                      <a:pt x="41" y="174"/>
                      <a:pt x="38" y="174"/>
                    </a:cubicBezTo>
                    <a:cubicBezTo>
                      <a:pt x="35" y="174"/>
                      <a:pt x="35" y="170"/>
                      <a:pt x="35" y="168"/>
                    </a:cubicBezTo>
                    <a:cubicBezTo>
                      <a:pt x="35" y="167"/>
                      <a:pt x="35" y="164"/>
                      <a:pt x="34" y="164"/>
                    </a:cubicBezTo>
                    <a:cubicBezTo>
                      <a:pt x="33" y="164"/>
                      <a:pt x="32" y="165"/>
                      <a:pt x="31" y="166"/>
                    </a:cubicBezTo>
                    <a:cubicBezTo>
                      <a:pt x="30" y="166"/>
                      <a:pt x="28" y="167"/>
                      <a:pt x="27" y="167"/>
                    </a:cubicBezTo>
                    <a:cubicBezTo>
                      <a:pt x="25" y="167"/>
                      <a:pt x="24" y="166"/>
                      <a:pt x="23" y="168"/>
                    </a:cubicBezTo>
                    <a:cubicBezTo>
                      <a:pt x="22" y="170"/>
                      <a:pt x="21" y="174"/>
                      <a:pt x="18" y="173"/>
                    </a:cubicBezTo>
                    <a:cubicBezTo>
                      <a:pt x="16" y="172"/>
                      <a:pt x="15" y="171"/>
                      <a:pt x="13" y="170"/>
                    </a:cubicBezTo>
                    <a:cubicBezTo>
                      <a:pt x="13" y="169"/>
                      <a:pt x="13" y="169"/>
                      <a:pt x="12" y="170"/>
                    </a:cubicBezTo>
                    <a:cubicBezTo>
                      <a:pt x="11" y="171"/>
                      <a:pt x="10" y="172"/>
                      <a:pt x="9" y="172"/>
                    </a:cubicBezTo>
                    <a:cubicBezTo>
                      <a:pt x="8" y="173"/>
                      <a:pt x="6" y="173"/>
                      <a:pt x="5" y="175"/>
                    </a:cubicBezTo>
                    <a:cubicBezTo>
                      <a:pt x="4" y="176"/>
                      <a:pt x="4" y="177"/>
                      <a:pt x="4" y="179"/>
                    </a:cubicBezTo>
                    <a:cubicBezTo>
                      <a:pt x="3" y="182"/>
                      <a:pt x="4" y="187"/>
                      <a:pt x="0" y="188"/>
                    </a:cubicBezTo>
                    <a:cubicBezTo>
                      <a:pt x="2" y="189"/>
                      <a:pt x="2" y="190"/>
                      <a:pt x="1" y="192"/>
                    </a:cubicBezTo>
                    <a:cubicBezTo>
                      <a:pt x="1" y="193"/>
                      <a:pt x="0" y="192"/>
                      <a:pt x="0" y="192"/>
                    </a:cubicBezTo>
                    <a:cubicBezTo>
                      <a:pt x="0" y="193"/>
                      <a:pt x="0" y="193"/>
                      <a:pt x="0" y="194"/>
                    </a:cubicBezTo>
                    <a:cubicBezTo>
                      <a:pt x="2" y="192"/>
                      <a:pt x="4" y="191"/>
                      <a:pt x="7" y="190"/>
                    </a:cubicBezTo>
                    <a:cubicBezTo>
                      <a:pt x="10" y="189"/>
                      <a:pt x="13" y="189"/>
                      <a:pt x="16" y="188"/>
                    </a:cubicBezTo>
                    <a:cubicBezTo>
                      <a:pt x="23" y="188"/>
                      <a:pt x="29" y="188"/>
                      <a:pt x="36" y="188"/>
                    </a:cubicBezTo>
                    <a:cubicBezTo>
                      <a:pt x="42" y="188"/>
                      <a:pt x="49" y="188"/>
                      <a:pt x="55" y="188"/>
                    </a:cubicBezTo>
                    <a:cubicBezTo>
                      <a:pt x="58" y="188"/>
                      <a:pt x="62" y="188"/>
                      <a:pt x="65" y="188"/>
                    </a:cubicBezTo>
                    <a:cubicBezTo>
                      <a:pt x="67" y="188"/>
                      <a:pt x="70" y="188"/>
                      <a:pt x="72" y="190"/>
                    </a:cubicBezTo>
                    <a:cubicBezTo>
                      <a:pt x="77" y="192"/>
                      <a:pt x="76" y="200"/>
                      <a:pt x="77" y="204"/>
                    </a:cubicBezTo>
                    <a:cubicBezTo>
                      <a:pt x="79" y="210"/>
                      <a:pt x="82" y="215"/>
                      <a:pt x="86" y="220"/>
                    </a:cubicBezTo>
                    <a:cubicBezTo>
                      <a:pt x="87" y="222"/>
                      <a:pt x="88" y="224"/>
                      <a:pt x="90" y="226"/>
                    </a:cubicBezTo>
                    <a:cubicBezTo>
                      <a:pt x="92" y="228"/>
                      <a:pt x="95" y="227"/>
                      <a:pt x="97" y="227"/>
                    </a:cubicBezTo>
                    <a:cubicBezTo>
                      <a:pt x="99" y="227"/>
                      <a:pt x="102" y="226"/>
                      <a:pt x="104" y="225"/>
                    </a:cubicBezTo>
                    <a:cubicBezTo>
                      <a:pt x="107" y="224"/>
                      <a:pt x="110" y="224"/>
                      <a:pt x="113" y="224"/>
                    </a:cubicBezTo>
                    <a:cubicBezTo>
                      <a:pt x="114" y="225"/>
                      <a:pt x="117" y="226"/>
                      <a:pt x="119" y="224"/>
                    </a:cubicBezTo>
                    <a:cubicBezTo>
                      <a:pt x="120" y="222"/>
                      <a:pt x="120" y="218"/>
                      <a:pt x="121" y="215"/>
                    </a:cubicBezTo>
                    <a:cubicBezTo>
                      <a:pt x="121" y="213"/>
                      <a:pt x="121" y="210"/>
                      <a:pt x="123" y="209"/>
                    </a:cubicBezTo>
                    <a:cubicBezTo>
                      <a:pt x="125" y="207"/>
                      <a:pt x="127" y="207"/>
                      <a:pt x="129" y="207"/>
                    </a:cubicBezTo>
                    <a:cubicBezTo>
                      <a:pt x="132" y="207"/>
                      <a:pt x="135" y="207"/>
                      <a:pt x="137" y="207"/>
                    </a:cubicBezTo>
                    <a:cubicBezTo>
                      <a:pt x="140" y="207"/>
                      <a:pt x="141" y="208"/>
                      <a:pt x="141" y="211"/>
                    </a:cubicBezTo>
                    <a:cubicBezTo>
                      <a:pt x="141" y="214"/>
                      <a:pt x="145" y="212"/>
                      <a:pt x="147" y="212"/>
                    </a:cubicBezTo>
                    <a:cubicBezTo>
                      <a:pt x="150" y="212"/>
                      <a:pt x="153" y="212"/>
                      <a:pt x="156" y="212"/>
                    </a:cubicBezTo>
                    <a:cubicBezTo>
                      <a:pt x="159" y="212"/>
                      <a:pt x="161" y="212"/>
                      <a:pt x="162" y="215"/>
                    </a:cubicBezTo>
                    <a:cubicBezTo>
                      <a:pt x="163" y="218"/>
                      <a:pt x="162" y="221"/>
                      <a:pt x="162" y="224"/>
                    </a:cubicBezTo>
                    <a:cubicBezTo>
                      <a:pt x="161" y="227"/>
                      <a:pt x="163" y="229"/>
                      <a:pt x="164" y="231"/>
                    </a:cubicBezTo>
                    <a:cubicBezTo>
                      <a:pt x="164" y="234"/>
                      <a:pt x="164" y="237"/>
                      <a:pt x="163" y="240"/>
                    </a:cubicBezTo>
                    <a:cubicBezTo>
                      <a:pt x="163" y="243"/>
                      <a:pt x="162" y="246"/>
                      <a:pt x="163" y="249"/>
                    </a:cubicBezTo>
                    <a:cubicBezTo>
                      <a:pt x="163" y="250"/>
                      <a:pt x="163" y="252"/>
                      <a:pt x="163" y="253"/>
                    </a:cubicBezTo>
                    <a:cubicBezTo>
                      <a:pt x="164" y="254"/>
                      <a:pt x="165" y="255"/>
                      <a:pt x="166" y="256"/>
                    </a:cubicBezTo>
                    <a:cubicBezTo>
                      <a:pt x="168" y="258"/>
                      <a:pt x="169" y="260"/>
                      <a:pt x="169" y="263"/>
                    </a:cubicBezTo>
                    <a:cubicBezTo>
                      <a:pt x="170" y="265"/>
                      <a:pt x="171" y="269"/>
                      <a:pt x="170" y="271"/>
                    </a:cubicBezTo>
                    <a:cubicBezTo>
                      <a:pt x="170" y="272"/>
                      <a:pt x="169" y="273"/>
                      <a:pt x="169" y="274"/>
                    </a:cubicBezTo>
                    <a:cubicBezTo>
                      <a:pt x="169" y="274"/>
                      <a:pt x="169" y="274"/>
                      <a:pt x="169" y="274"/>
                    </a:cubicBezTo>
                    <a:cubicBezTo>
                      <a:pt x="169" y="274"/>
                      <a:pt x="169" y="274"/>
                      <a:pt x="169" y="274"/>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41" name="Freeform 187">
                <a:extLst>
                  <a:ext uri="{FF2B5EF4-FFF2-40B4-BE49-F238E27FC236}">
                    <a16:creationId xmlns:a16="http://schemas.microsoft.com/office/drawing/2014/main" id="{60251476-1B1A-1C78-1180-716A892880F5}"/>
                  </a:ext>
                </a:extLst>
              </p:cNvPr>
              <p:cNvSpPr/>
              <p:nvPr>
                <p:custDataLst>
                  <p:tags r:id="rId179"/>
                </p:custDataLst>
              </p:nvPr>
            </p:nvSpPr>
            <p:spPr bwMode="auto">
              <a:xfrm>
                <a:off x="5706497" y="4350677"/>
                <a:ext cx="48471" cy="30613"/>
              </a:xfrm>
              <a:custGeom>
                <a:avLst/>
                <a:gdLst>
                  <a:gd name="T0" fmla="*/ 2 w 32"/>
                  <a:gd name="T1" fmla="*/ 15 h 21"/>
                  <a:gd name="T2" fmla="*/ 0 w 32"/>
                  <a:gd name="T3" fmla="*/ 18 h 21"/>
                  <a:gd name="T4" fmla="*/ 1 w 32"/>
                  <a:gd name="T5" fmla="*/ 20 h 21"/>
                  <a:gd name="T6" fmla="*/ 3 w 32"/>
                  <a:gd name="T7" fmla="*/ 20 h 21"/>
                  <a:gd name="T8" fmla="*/ 4 w 32"/>
                  <a:gd name="T9" fmla="*/ 20 h 21"/>
                  <a:gd name="T10" fmla="*/ 6 w 32"/>
                  <a:gd name="T11" fmla="*/ 20 h 21"/>
                  <a:gd name="T12" fmla="*/ 9 w 32"/>
                  <a:gd name="T13" fmla="*/ 20 h 21"/>
                  <a:gd name="T14" fmla="*/ 21 w 32"/>
                  <a:gd name="T15" fmla="*/ 20 h 21"/>
                  <a:gd name="T16" fmla="*/ 26 w 32"/>
                  <a:gd name="T17" fmla="*/ 20 h 21"/>
                  <a:gd name="T18" fmla="*/ 30 w 32"/>
                  <a:gd name="T19" fmla="*/ 19 h 21"/>
                  <a:gd name="T20" fmla="*/ 31 w 32"/>
                  <a:gd name="T21" fmla="*/ 13 h 21"/>
                  <a:gd name="T22" fmla="*/ 31 w 32"/>
                  <a:gd name="T23" fmla="*/ 7 h 21"/>
                  <a:gd name="T24" fmla="*/ 31 w 32"/>
                  <a:gd name="T25" fmla="*/ 4 h 21"/>
                  <a:gd name="T26" fmla="*/ 29 w 32"/>
                  <a:gd name="T27" fmla="*/ 2 h 21"/>
                  <a:gd name="T28" fmla="*/ 7 w 32"/>
                  <a:gd name="T29" fmla="*/ 0 h 21"/>
                  <a:gd name="T30" fmla="*/ 6 w 32"/>
                  <a:gd name="T31" fmla="*/ 5 h 21"/>
                  <a:gd name="T32" fmla="*/ 6 w 32"/>
                  <a:gd name="T33" fmla="*/ 9 h 21"/>
                  <a:gd name="T34" fmla="*/ 1 w 32"/>
                  <a:gd name="T35" fmla="*/ 15 h 21"/>
                  <a:gd name="T36" fmla="*/ 2 w 32"/>
                  <a:gd name="T37" fmla="*/ 15 h 21"/>
                  <a:gd name="T38" fmla="*/ 2 w 32"/>
                  <a:gd name="T39"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21">
                    <a:moveTo>
                      <a:pt x="2" y="15"/>
                    </a:moveTo>
                    <a:cubicBezTo>
                      <a:pt x="1" y="16"/>
                      <a:pt x="0" y="16"/>
                      <a:pt x="0" y="18"/>
                    </a:cubicBezTo>
                    <a:cubicBezTo>
                      <a:pt x="0" y="18"/>
                      <a:pt x="0" y="20"/>
                      <a:pt x="1" y="20"/>
                    </a:cubicBezTo>
                    <a:cubicBezTo>
                      <a:pt x="2" y="20"/>
                      <a:pt x="2" y="20"/>
                      <a:pt x="3" y="20"/>
                    </a:cubicBezTo>
                    <a:cubicBezTo>
                      <a:pt x="4" y="19"/>
                      <a:pt x="3" y="20"/>
                      <a:pt x="4" y="20"/>
                    </a:cubicBezTo>
                    <a:cubicBezTo>
                      <a:pt x="4" y="21"/>
                      <a:pt x="6" y="20"/>
                      <a:pt x="6" y="20"/>
                    </a:cubicBezTo>
                    <a:cubicBezTo>
                      <a:pt x="7" y="20"/>
                      <a:pt x="8" y="20"/>
                      <a:pt x="9" y="20"/>
                    </a:cubicBezTo>
                    <a:cubicBezTo>
                      <a:pt x="13" y="20"/>
                      <a:pt x="17" y="20"/>
                      <a:pt x="21" y="20"/>
                    </a:cubicBezTo>
                    <a:cubicBezTo>
                      <a:pt x="23" y="20"/>
                      <a:pt x="24" y="20"/>
                      <a:pt x="26" y="20"/>
                    </a:cubicBezTo>
                    <a:cubicBezTo>
                      <a:pt x="27" y="20"/>
                      <a:pt x="29" y="20"/>
                      <a:pt x="30" y="19"/>
                    </a:cubicBezTo>
                    <a:cubicBezTo>
                      <a:pt x="32" y="18"/>
                      <a:pt x="31" y="14"/>
                      <a:pt x="31" y="13"/>
                    </a:cubicBezTo>
                    <a:cubicBezTo>
                      <a:pt x="31" y="11"/>
                      <a:pt x="31" y="9"/>
                      <a:pt x="31" y="7"/>
                    </a:cubicBezTo>
                    <a:cubicBezTo>
                      <a:pt x="31" y="6"/>
                      <a:pt x="31" y="5"/>
                      <a:pt x="31" y="4"/>
                    </a:cubicBezTo>
                    <a:cubicBezTo>
                      <a:pt x="31" y="2"/>
                      <a:pt x="31" y="2"/>
                      <a:pt x="29" y="2"/>
                    </a:cubicBezTo>
                    <a:cubicBezTo>
                      <a:pt x="22" y="2"/>
                      <a:pt x="13" y="4"/>
                      <a:pt x="7" y="0"/>
                    </a:cubicBezTo>
                    <a:cubicBezTo>
                      <a:pt x="7" y="2"/>
                      <a:pt x="7" y="4"/>
                      <a:pt x="6" y="5"/>
                    </a:cubicBezTo>
                    <a:cubicBezTo>
                      <a:pt x="5" y="7"/>
                      <a:pt x="6" y="7"/>
                      <a:pt x="6" y="9"/>
                    </a:cubicBezTo>
                    <a:cubicBezTo>
                      <a:pt x="6" y="12"/>
                      <a:pt x="3" y="13"/>
                      <a:pt x="1" y="15"/>
                    </a:cubicBezTo>
                    <a:cubicBezTo>
                      <a:pt x="2" y="15"/>
                      <a:pt x="2" y="15"/>
                      <a:pt x="2" y="15"/>
                    </a:cubicBezTo>
                    <a:cubicBezTo>
                      <a:pt x="1" y="16"/>
                      <a:pt x="2" y="15"/>
                      <a:pt x="2" y="15"/>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42" name="Freeform 188">
                <a:extLst>
                  <a:ext uri="{FF2B5EF4-FFF2-40B4-BE49-F238E27FC236}">
                    <a16:creationId xmlns:a16="http://schemas.microsoft.com/office/drawing/2014/main" id="{0FFF9059-A367-A3BD-8639-8A2A7590570E}"/>
                  </a:ext>
                </a:extLst>
              </p:cNvPr>
              <p:cNvSpPr>
                <a:spLocks noEditPoints="1"/>
              </p:cNvSpPr>
              <p:nvPr>
                <p:custDataLst>
                  <p:tags r:id="rId180"/>
                </p:custDataLst>
              </p:nvPr>
            </p:nvSpPr>
            <p:spPr bwMode="auto">
              <a:xfrm>
                <a:off x="5679710" y="4075159"/>
                <a:ext cx="196434" cy="288274"/>
              </a:xfrm>
              <a:custGeom>
                <a:avLst/>
                <a:gdLst>
                  <a:gd name="T0" fmla="*/ 130 w 132"/>
                  <a:gd name="T1" fmla="*/ 178 h 194"/>
                  <a:gd name="T2" fmla="*/ 124 w 132"/>
                  <a:gd name="T3" fmla="*/ 169 h 194"/>
                  <a:gd name="T4" fmla="*/ 114 w 132"/>
                  <a:gd name="T5" fmla="*/ 157 h 194"/>
                  <a:gd name="T6" fmla="*/ 107 w 132"/>
                  <a:gd name="T7" fmla="*/ 142 h 194"/>
                  <a:gd name="T8" fmla="*/ 104 w 132"/>
                  <a:gd name="T9" fmla="*/ 128 h 194"/>
                  <a:gd name="T10" fmla="*/ 103 w 132"/>
                  <a:gd name="T11" fmla="*/ 121 h 194"/>
                  <a:gd name="T12" fmla="*/ 111 w 132"/>
                  <a:gd name="T13" fmla="*/ 108 h 194"/>
                  <a:gd name="T14" fmla="*/ 119 w 132"/>
                  <a:gd name="T15" fmla="*/ 94 h 194"/>
                  <a:gd name="T16" fmla="*/ 120 w 132"/>
                  <a:gd name="T17" fmla="*/ 92 h 194"/>
                  <a:gd name="T18" fmla="*/ 109 w 132"/>
                  <a:gd name="T19" fmla="*/ 74 h 194"/>
                  <a:gd name="T20" fmla="*/ 96 w 132"/>
                  <a:gd name="T21" fmla="*/ 56 h 194"/>
                  <a:gd name="T22" fmla="*/ 109 w 132"/>
                  <a:gd name="T23" fmla="*/ 54 h 194"/>
                  <a:gd name="T24" fmla="*/ 121 w 132"/>
                  <a:gd name="T25" fmla="*/ 52 h 194"/>
                  <a:gd name="T26" fmla="*/ 114 w 132"/>
                  <a:gd name="T27" fmla="*/ 41 h 194"/>
                  <a:gd name="T28" fmla="*/ 114 w 132"/>
                  <a:gd name="T29" fmla="*/ 25 h 194"/>
                  <a:gd name="T30" fmla="*/ 109 w 132"/>
                  <a:gd name="T31" fmla="*/ 10 h 194"/>
                  <a:gd name="T32" fmla="*/ 99 w 132"/>
                  <a:gd name="T33" fmla="*/ 1 h 194"/>
                  <a:gd name="T34" fmla="*/ 99 w 132"/>
                  <a:gd name="T35" fmla="*/ 8 h 194"/>
                  <a:gd name="T36" fmla="*/ 106 w 132"/>
                  <a:gd name="T37" fmla="*/ 19 h 194"/>
                  <a:gd name="T38" fmla="*/ 101 w 132"/>
                  <a:gd name="T39" fmla="*/ 32 h 194"/>
                  <a:gd name="T40" fmla="*/ 89 w 132"/>
                  <a:gd name="T41" fmla="*/ 41 h 194"/>
                  <a:gd name="T42" fmla="*/ 83 w 132"/>
                  <a:gd name="T43" fmla="*/ 55 h 194"/>
                  <a:gd name="T44" fmla="*/ 76 w 132"/>
                  <a:gd name="T45" fmla="*/ 67 h 194"/>
                  <a:gd name="T46" fmla="*/ 69 w 132"/>
                  <a:gd name="T47" fmla="*/ 79 h 194"/>
                  <a:gd name="T48" fmla="*/ 66 w 132"/>
                  <a:gd name="T49" fmla="*/ 85 h 194"/>
                  <a:gd name="T50" fmla="*/ 59 w 132"/>
                  <a:gd name="T51" fmla="*/ 100 h 194"/>
                  <a:gd name="T52" fmla="*/ 51 w 132"/>
                  <a:gd name="T53" fmla="*/ 113 h 194"/>
                  <a:gd name="T54" fmla="*/ 38 w 132"/>
                  <a:gd name="T55" fmla="*/ 106 h 194"/>
                  <a:gd name="T56" fmla="*/ 32 w 132"/>
                  <a:gd name="T57" fmla="*/ 108 h 194"/>
                  <a:gd name="T58" fmla="*/ 25 w 132"/>
                  <a:gd name="T59" fmla="*/ 109 h 194"/>
                  <a:gd name="T60" fmla="*/ 10 w 132"/>
                  <a:gd name="T61" fmla="*/ 125 h 194"/>
                  <a:gd name="T62" fmla="*/ 5 w 132"/>
                  <a:gd name="T63" fmla="*/ 143 h 194"/>
                  <a:gd name="T64" fmla="*/ 8 w 132"/>
                  <a:gd name="T65" fmla="*/ 146 h 194"/>
                  <a:gd name="T66" fmla="*/ 17 w 132"/>
                  <a:gd name="T67" fmla="*/ 154 h 194"/>
                  <a:gd name="T68" fmla="*/ 22 w 132"/>
                  <a:gd name="T69" fmla="*/ 155 h 194"/>
                  <a:gd name="T70" fmla="*/ 20 w 132"/>
                  <a:gd name="T71" fmla="*/ 161 h 194"/>
                  <a:gd name="T72" fmla="*/ 26 w 132"/>
                  <a:gd name="T73" fmla="*/ 170 h 194"/>
                  <a:gd name="T74" fmla="*/ 25 w 132"/>
                  <a:gd name="T75" fmla="*/ 183 h 194"/>
                  <a:gd name="T76" fmla="*/ 39 w 132"/>
                  <a:gd name="T77" fmla="*/ 185 h 194"/>
                  <a:gd name="T78" fmla="*/ 52 w 132"/>
                  <a:gd name="T79" fmla="*/ 184 h 194"/>
                  <a:gd name="T80" fmla="*/ 76 w 132"/>
                  <a:gd name="T81" fmla="*/ 183 h 194"/>
                  <a:gd name="T82" fmla="*/ 92 w 132"/>
                  <a:gd name="T83" fmla="*/ 186 h 194"/>
                  <a:gd name="T84" fmla="*/ 106 w 132"/>
                  <a:gd name="T85" fmla="*/ 186 h 194"/>
                  <a:gd name="T86" fmla="*/ 119 w 132"/>
                  <a:gd name="T87" fmla="*/ 189 h 194"/>
                  <a:gd name="T88" fmla="*/ 130 w 132"/>
                  <a:gd name="T89" fmla="*/ 191 h 194"/>
                  <a:gd name="T90" fmla="*/ 131 w 132"/>
                  <a:gd name="T91" fmla="*/ 184 h 194"/>
                  <a:gd name="T92" fmla="*/ 132 w 132"/>
                  <a:gd name="T93" fmla="*/ 182 h 194"/>
                  <a:gd name="T94" fmla="*/ 8 w 132"/>
                  <a:gd name="T95" fmla="*/ 160 h 194"/>
                  <a:gd name="T96" fmla="*/ 4 w 132"/>
                  <a:gd name="T97" fmla="*/ 163 h 194"/>
                  <a:gd name="T98" fmla="*/ 1 w 132"/>
                  <a:gd name="T99" fmla="*/ 168 h 194"/>
                  <a:gd name="T100" fmla="*/ 6 w 132"/>
                  <a:gd name="T101" fmla="*/ 164 h 194"/>
                  <a:gd name="T102" fmla="*/ 7 w 132"/>
                  <a:gd name="T103" fmla="*/ 160 h 194"/>
                  <a:gd name="T104" fmla="*/ 8 w 132"/>
                  <a:gd name="T105" fmla="*/ 16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2" h="194">
                    <a:moveTo>
                      <a:pt x="132" y="182"/>
                    </a:moveTo>
                    <a:cubicBezTo>
                      <a:pt x="131" y="181"/>
                      <a:pt x="130" y="180"/>
                      <a:pt x="130" y="178"/>
                    </a:cubicBezTo>
                    <a:cubicBezTo>
                      <a:pt x="130" y="177"/>
                      <a:pt x="130" y="176"/>
                      <a:pt x="130" y="175"/>
                    </a:cubicBezTo>
                    <a:cubicBezTo>
                      <a:pt x="129" y="172"/>
                      <a:pt x="126" y="171"/>
                      <a:pt x="124" y="169"/>
                    </a:cubicBezTo>
                    <a:cubicBezTo>
                      <a:pt x="122" y="168"/>
                      <a:pt x="120" y="166"/>
                      <a:pt x="118" y="164"/>
                    </a:cubicBezTo>
                    <a:cubicBezTo>
                      <a:pt x="117" y="162"/>
                      <a:pt x="115" y="159"/>
                      <a:pt x="114" y="157"/>
                    </a:cubicBezTo>
                    <a:cubicBezTo>
                      <a:pt x="114" y="154"/>
                      <a:pt x="113" y="152"/>
                      <a:pt x="111" y="149"/>
                    </a:cubicBezTo>
                    <a:cubicBezTo>
                      <a:pt x="109" y="147"/>
                      <a:pt x="108" y="145"/>
                      <a:pt x="107" y="142"/>
                    </a:cubicBezTo>
                    <a:cubicBezTo>
                      <a:pt x="107" y="139"/>
                      <a:pt x="106" y="138"/>
                      <a:pt x="104" y="135"/>
                    </a:cubicBezTo>
                    <a:cubicBezTo>
                      <a:pt x="103" y="133"/>
                      <a:pt x="104" y="130"/>
                      <a:pt x="104" y="128"/>
                    </a:cubicBezTo>
                    <a:cubicBezTo>
                      <a:pt x="104" y="127"/>
                      <a:pt x="105" y="125"/>
                      <a:pt x="104" y="124"/>
                    </a:cubicBezTo>
                    <a:cubicBezTo>
                      <a:pt x="104" y="123"/>
                      <a:pt x="103" y="122"/>
                      <a:pt x="103" y="121"/>
                    </a:cubicBezTo>
                    <a:cubicBezTo>
                      <a:pt x="102" y="118"/>
                      <a:pt x="105" y="117"/>
                      <a:pt x="107" y="115"/>
                    </a:cubicBezTo>
                    <a:cubicBezTo>
                      <a:pt x="109" y="113"/>
                      <a:pt x="110" y="111"/>
                      <a:pt x="111" y="108"/>
                    </a:cubicBezTo>
                    <a:cubicBezTo>
                      <a:pt x="112" y="105"/>
                      <a:pt x="113" y="103"/>
                      <a:pt x="114" y="100"/>
                    </a:cubicBezTo>
                    <a:cubicBezTo>
                      <a:pt x="115" y="98"/>
                      <a:pt x="117" y="96"/>
                      <a:pt x="119" y="94"/>
                    </a:cubicBezTo>
                    <a:cubicBezTo>
                      <a:pt x="119" y="94"/>
                      <a:pt x="120" y="94"/>
                      <a:pt x="120" y="93"/>
                    </a:cubicBezTo>
                    <a:cubicBezTo>
                      <a:pt x="121" y="93"/>
                      <a:pt x="121" y="93"/>
                      <a:pt x="120" y="92"/>
                    </a:cubicBezTo>
                    <a:cubicBezTo>
                      <a:pt x="120" y="90"/>
                      <a:pt x="120" y="89"/>
                      <a:pt x="119" y="87"/>
                    </a:cubicBezTo>
                    <a:cubicBezTo>
                      <a:pt x="116" y="82"/>
                      <a:pt x="113" y="78"/>
                      <a:pt x="109" y="74"/>
                    </a:cubicBezTo>
                    <a:cubicBezTo>
                      <a:pt x="105" y="70"/>
                      <a:pt x="100" y="67"/>
                      <a:pt x="97" y="62"/>
                    </a:cubicBezTo>
                    <a:cubicBezTo>
                      <a:pt x="96" y="60"/>
                      <a:pt x="95" y="58"/>
                      <a:pt x="96" y="56"/>
                    </a:cubicBezTo>
                    <a:cubicBezTo>
                      <a:pt x="97" y="54"/>
                      <a:pt x="99" y="53"/>
                      <a:pt x="101" y="53"/>
                    </a:cubicBezTo>
                    <a:cubicBezTo>
                      <a:pt x="104" y="52"/>
                      <a:pt x="106" y="53"/>
                      <a:pt x="109" y="54"/>
                    </a:cubicBezTo>
                    <a:cubicBezTo>
                      <a:pt x="112" y="55"/>
                      <a:pt x="115" y="54"/>
                      <a:pt x="118" y="53"/>
                    </a:cubicBezTo>
                    <a:cubicBezTo>
                      <a:pt x="119" y="53"/>
                      <a:pt x="121" y="53"/>
                      <a:pt x="121" y="52"/>
                    </a:cubicBezTo>
                    <a:cubicBezTo>
                      <a:pt x="121" y="51"/>
                      <a:pt x="120" y="50"/>
                      <a:pt x="119" y="49"/>
                    </a:cubicBezTo>
                    <a:cubicBezTo>
                      <a:pt x="117" y="47"/>
                      <a:pt x="115" y="44"/>
                      <a:pt x="114" y="41"/>
                    </a:cubicBezTo>
                    <a:cubicBezTo>
                      <a:pt x="113" y="39"/>
                      <a:pt x="113" y="36"/>
                      <a:pt x="113" y="33"/>
                    </a:cubicBezTo>
                    <a:cubicBezTo>
                      <a:pt x="113" y="30"/>
                      <a:pt x="114" y="28"/>
                      <a:pt x="114" y="25"/>
                    </a:cubicBezTo>
                    <a:cubicBezTo>
                      <a:pt x="115" y="23"/>
                      <a:pt x="114" y="21"/>
                      <a:pt x="113" y="18"/>
                    </a:cubicBezTo>
                    <a:cubicBezTo>
                      <a:pt x="111" y="16"/>
                      <a:pt x="110" y="13"/>
                      <a:pt x="109" y="10"/>
                    </a:cubicBezTo>
                    <a:cubicBezTo>
                      <a:pt x="109" y="7"/>
                      <a:pt x="108" y="5"/>
                      <a:pt x="106" y="3"/>
                    </a:cubicBezTo>
                    <a:cubicBezTo>
                      <a:pt x="104" y="2"/>
                      <a:pt x="101" y="0"/>
                      <a:pt x="99" y="1"/>
                    </a:cubicBezTo>
                    <a:cubicBezTo>
                      <a:pt x="98" y="2"/>
                      <a:pt x="99" y="2"/>
                      <a:pt x="99" y="3"/>
                    </a:cubicBezTo>
                    <a:cubicBezTo>
                      <a:pt x="99" y="5"/>
                      <a:pt x="99" y="6"/>
                      <a:pt x="99" y="8"/>
                    </a:cubicBezTo>
                    <a:cubicBezTo>
                      <a:pt x="99" y="10"/>
                      <a:pt x="100" y="13"/>
                      <a:pt x="103" y="14"/>
                    </a:cubicBezTo>
                    <a:cubicBezTo>
                      <a:pt x="106" y="14"/>
                      <a:pt x="106" y="16"/>
                      <a:pt x="106" y="19"/>
                    </a:cubicBezTo>
                    <a:cubicBezTo>
                      <a:pt x="107" y="21"/>
                      <a:pt x="107" y="24"/>
                      <a:pt x="106" y="27"/>
                    </a:cubicBezTo>
                    <a:cubicBezTo>
                      <a:pt x="105" y="29"/>
                      <a:pt x="103" y="31"/>
                      <a:pt x="101" y="32"/>
                    </a:cubicBezTo>
                    <a:cubicBezTo>
                      <a:pt x="98" y="33"/>
                      <a:pt x="95" y="32"/>
                      <a:pt x="93" y="35"/>
                    </a:cubicBezTo>
                    <a:cubicBezTo>
                      <a:pt x="91" y="36"/>
                      <a:pt x="90" y="39"/>
                      <a:pt x="89" y="41"/>
                    </a:cubicBezTo>
                    <a:cubicBezTo>
                      <a:pt x="88" y="44"/>
                      <a:pt x="88" y="47"/>
                      <a:pt x="87" y="50"/>
                    </a:cubicBezTo>
                    <a:cubicBezTo>
                      <a:pt x="86" y="52"/>
                      <a:pt x="83" y="52"/>
                      <a:pt x="83" y="55"/>
                    </a:cubicBezTo>
                    <a:cubicBezTo>
                      <a:pt x="84" y="58"/>
                      <a:pt x="84" y="60"/>
                      <a:pt x="81" y="62"/>
                    </a:cubicBezTo>
                    <a:cubicBezTo>
                      <a:pt x="79" y="63"/>
                      <a:pt x="77" y="65"/>
                      <a:pt x="76" y="67"/>
                    </a:cubicBezTo>
                    <a:cubicBezTo>
                      <a:pt x="76" y="70"/>
                      <a:pt x="77" y="73"/>
                      <a:pt x="75" y="75"/>
                    </a:cubicBezTo>
                    <a:cubicBezTo>
                      <a:pt x="74" y="77"/>
                      <a:pt x="71" y="78"/>
                      <a:pt x="69" y="79"/>
                    </a:cubicBezTo>
                    <a:cubicBezTo>
                      <a:pt x="68" y="80"/>
                      <a:pt x="67" y="81"/>
                      <a:pt x="66" y="81"/>
                    </a:cubicBezTo>
                    <a:cubicBezTo>
                      <a:pt x="65" y="83"/>
                      <a:pt x="66" y="84"/>
                      <a:pt x="66" y="85"/>
                    </a:cubicBezTo>
                    <a:cubicBezTo>
                      <a:pt x="66" y="88"/>
                      <a:pt x="64" y="90"/>
                      <a:pt x="63" y="93"/>
                    </a:cubicBezTo>
                    <a:cubicBezTo>
                      <a:pt x="61" y="95"/>
                      <a:pt x="59" y="98"/>
                      <a:pt x="59" y="100"/>
                    </a:cubicBezTo>
                    <a:cubicBezTo>
                      <a:pt x="59" y="103"/>
                      <a:pt x="59" y="105"/>
                      <a:pt x="57" y="107"/>
                    </a:cubicBezTo>
                    <a:cubicBezTo>
                      <a:pt x="55" y="110"/>
                      <a:pt x="53" y="112"/>
                      <a:pt x="51" y="113"/>
                    </a:cubicBezTo>
                    <a:cubicBezTo>
                      <a:pt x="48" y="114"/>
                      <a:pt x="46" y="114"/>
                      <a:pt x="44" y="112"/>
                    </a:cubicBezTo>
                    <a:cubicBezTo>
                      <a:pt x="42" y="110"/>
                      <a:pt x="40" y="106"/>
                      <a:pt x="38" y="106"/>
                    </a:cubicBezTo>
                    <a:cubicBezTo>
                      <a:pt x="37" y="106"/>
                      <a:pt x="36" y="107"/>
                      <a:pt x="36" y="107"/>
                    </a:cubicBezTo>
                    <a:cubicBezTo>
                      <a:pt x="35" y="109"/>
                      <a:pt x="34" y="109"/>
                      <a:pt x="32" y="108"/>
                    </a:cubicBezTo>
                    <a:cubicBezTo>
                      <a:pt x="31" y="107"/>
                      <a:pt x="30" y="106"/>
                      <a:pt x="29" y="106"/>
                    </a:cubicBezTo>
                    <a:cubicBezTo>
                      <a:pt x="28" y="106"/>
                      <a:pt x="26" y="108"/>
                      <a:pt x="25" y="109"/>
                    </a:cubicBezTo>
                    <a:cubicBezTo>
                      <a:pt x="23" y="112"/>
                      <a:pt x="20" y="114"/>
                      <a:pt x="17" y="117"/>
                    </a:cubicBezTo>
                    <a:cubicBezTo>
                      <a:pt x="15" y="120"/>
                      <a:pt x="12" y="122"/>
                      <a:pt x="10" y="125"/>
                    </a:cubicBezTo>
                    <a:cubicBezTo>
                      <a:pt x="7" y="128"/>
                      <a:pt x="8" y="131"/>
                      <a:pt x="8" y="134"/>
                    </a:cubicBezTo>
                    <a:cubicBezTo>
                      <a:pt x="8" y="138"/>
                      <a:pt x="6" y="141"/>
                      <a:pt x="5" y="143"/>
                    </a:cubicBezTo>
                    <a:cubicBezTo>
                      <a:pt x="5" y="144"/>
                      <a:pt x="6" y="144"/>
                      <a:pt x="7" y="144"/>
                    </a:cubicBezTo>
                    <a:cubicBezTo>
                      <a:pt x="8" y="144"/>
                      <a:pt x="8" y="145"/>
                      <a:pt x="8" y="146"/>
                    </a:cubicBezTo>
                    <a:cubicBezTo>
                      <a:pt x="9" y="149"/>
                      <a:pt x="9" y="152"/>
                      <a:pt x="11" y="153"/>
                    </a:cubicBezTo>
                    <a:cubicBezTo>
                      <a:pt x="13" y="155"/>
                      <a:pt x="15" y="156"/>
                      <a:pt x="17" y="154"/>
                    </a:cubicBezTo>
                    <a:cubicBezTo>
                      <a:pt x="18" y="154"/>
                      <a:pt x="18" y="153"/>
                      <a:pt x="19" y="153"/>
                    </a:cubicBezTo>
                    <a:cubicBezTo>
                      <a:pt x="20" y="153"/>
                      <a:pt x="21" y="154"/>
                      <a:pt x="22" y="155"/>
                    </a:cubicBezTo>
                    <a:cubicBezTo>
                      <a:pt x="22" y="157"/>
                      <a:pt x="19" y="157"/>
                      <a:pt x="19" y="158"/>
                    </a:cubicBezTo>
                    <a:cubicBezTo>
                      <a:pt x="19" y="159"/>
                      <a:pt x="20" y="160"/>
                      <a:pt x="20" y="161"/>
                    </a:cubicBezTo>
                    <a:cubicBezTo>
                      <a:pt x="21" y="161"/>
                      <a:pt x="22" y="162"/>
                      <a:pt x="23" y="163"/>
                    </a:cubicBezTo>
                    <a:cubicBezTo>
                      <a:pt x="24" y="165"/>
                      <a:pt x="26" y="167"/>
                      <a:pt x="26" y="170"/>
                    </a:cubicBezTo>
                    <a:cubicBezTo>
                      <a:pt x="26" y="173"/>
                      <a:pt x="25" y="176"/>
                      <a:pt x="25" y="179"/>
                    </a:cubicBezTo>
                    <a:cubicBezTo>
                      <a:pt x="25" y="180"/>
                      <a:pt x="24" y="182"/>
                      <a:pt x="25" y="183"/>
                    </a:cubicBezTo>
                    <a:cubicBezTo>
                      <a:pt x="26" y="184"/>
                      <a:pt x="28" y="184"/>
                      <a:pt x="29" y="185"/>
                    </a:cubicBezTo>
                    <a:cubicBezTo>
                      <a:pt x="32" y="185"/>
                      <a:pt x="36" y="185"/>
                      <a:pt x="39" y="185"/>
                    </a:cubicBezTo>
                    <a:cubicBezTo>
                      <a:pt x="42" y="185"/>
                      <a:pt x="45" y="185"/>
                      <a:pt x="48" y="185"/>
                    </a:cubicBezTo>
                    <a:cubicBezTo>
                      <a:pt x="49" y="185"/>
                      <a:pt x="50" y="184"/>
                      <a:pt x="52" y="184"/>
                    </a:cubicBezTo>
                    <a:cubicBezTo>
                      <a:pt x="53" y="184"/>
                      <a:pt x="55" y="183"/>
                      <a:pt x="56" y="183"/>
                    </a:cubicBezTo>
                    <a:cubicBezTo>
                      <a:pt x="63" y="183"/>
                      <a:pt x="69" y="183"/>
                      <a:pt x="76" y="183"/>
                    </a:cubicBezTo>
                    <a:cubicBezTo>
                      <a:pt x="78" y="183"/>
                      <a:pt x="81" y="184"/>
                      <a:pt x="83" y="185"/>
                    </a:cubicBezTo>
                    <a:cubicBezTo>
                      <a:pt x="86" y="186"/>
                      <a:pt x="89" y="186"/>
                      <a:pt x="92" y="186"/>
                    </a:cubicBezTo>
                    <a:cubicBezTo>
                      <a:pt x="95" y="186"/>
                      <a:pt x="97" y="186"/>
                      <a:pt x="100" y="186"/>
                    </a:cubicBezTo>
                    <a:cubicBezTo>
                      <a:pt x="102" y="186"/>
                      <a:pt x="104" y="185"/>
                      <a:pt x="106" y="186"/>
                    </a:cubicBezTo>
                    <a:cubicBezTo>
                      <a:pt x="108" y="187"/>
                      <a:pt x="109" y="188"/>
                      <a:pt x="112" y="188"/>
                    </a:cubicBezTo>
                    <a:cubicBezTo>
                      <a:pt x="114" y="189"/>
                      <a:pt x="117" y="188"/>
                      <a:pt x="119" y="189"/>
                    </a:cubicBezTo>
                    <a:cubicBezTo>
                      <a:pt x="121" y="189"/>
                      <a:pt x="123" y="190"/>
                      <a:pt x="125" y="191"/>
                    </a:cubicBezTo>
                    <a:cubicBezTo>
                      <a:pt x="126" y="192"/>
                      <a:pt x="130" y="194"/>
                      <a:pt x="130" y="191"/>
                    </a:cubicBezTo>
                    <a:cubicBezTo>
                      <a:pt x="130" y="190"/>
                      <a:pt x="129" y="188"/>
                      <a:pt x="130" y="187"/>
                    </a:cubicBezTo>
                    <a:cubicBezTo>
                      <a:pt x="130" y="186"/>
                      <a:pt x="131" y="185"/>
                      <a:pt x="131" y="184"/>
                    </a:cubicBezTo>
                    <a:cubicBezTo>
                      <a:pt x="132" y="183"/>
                      <a:pt x="132" y="183"/>
                      <a:pt x="131" y="182"/>
                    </a:cubicBezTo>
                    <a:cubicBezTo>
                      <a:pt x="131" y="182"/>
                      <a:pt x="131" y="182"/>
                      <a:pt x="132" y="182"/>
                    </a:cubicBezTo>
                    <a:cubicBezTo>
                      <a:pt x="131" y="181"/>
                      <a:pt x="132" y="182"/>
                      <a:pt x="132" y="182"/>
                    </a:cubicBezTo>
                    <a:close/>
                    <a:moveTo>
                      <a:pt x="8" y="160"/>
                    </a:moveTo>
                    <a:cubicBezTo>
                      <a:pt x="6" y="160"/>
                      <a:pt x="4" y="160"/>
                      <a:pt x="4" y="161"/>
                    </a:cubicBezTo>
                    <a:cubicBezTo>
                      <a:pt x="4" y="162"/>
                      <a:pt x="4" y="162"/>
                      <a:pt x="4" y="163"/>
                    </a:cubicBezTo>
                    <a:cubicBezTo>
                      <a:pt x="4" y="164"/>
                      <a:pt x="3" y="164"/>
                      <a:pt x="2" y="165"/>
                    </a:cubicBezTo>
                    <a:cubicBezTo>
                      <a:pt x="1" y="165"/>
                      <a:pt x="0" y="167"/>
                      <a:pt x="1" y="168"/>
                    </a:cubicBezTo>
                    <a:cubicBezTo>
                      <a:pt x="2" y="168"/>
                      <a:pt x="3" y="169"/>
                      <a:pt x="4" y="169"/>
                    </a:cubicBezTo>
                    <a:cubicBezTo>
                      <a:pt x="6" y="169"/>
                      <a:pt x="6" y="165"/>
                      <a:pt x="6" y="164"/>
                    </a:cubicBezTo>
                    <a:cubicBezTo>
                      <a:pt x="7" y="163"/>
                      <a:pt x="9" y="163"/>
                      <a:pt x="9" y="161"/>
                    </a:cubicBezTo>
                    <a:cubicBezTo>
                      <a:pt x="9" y="160"/>
                      <a:pt x="8" y="160"/>
                      <a:pt x="7" y="160"/>
                    </a:cubicBezTo>
                    <a:cubicBezTo>
                      <a:pt x="7" y="160"/>
                      <a:pt x="7" y="160"/>
                      <a:pt x="8" y="160"/>
                    </a:cubicBezTo>
                    <a:cubicBezTo>
                      <a:pt x="6" y="160"/>
                      <a:pt x="8" y="160"/>
                      <a:pt x="8" y="160"/>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43" name="Freeform 191">
                <a:extLst>
                  <a:ext uri="{FF2B5EF4-FFF2-40B4-BE49-F238E27FC236}">
                    <a16:creationId xmlns:a16="http://schemas.microsoft.com/office/drawing/2014/main" id="{9D0D5A49-289E-12A7-07AA-D24ACAB34A76}"/>
                  </a:ext>
                </a:extLst>
              </p:cNvPr>
              <p:cNvSpPr/>
              <p:nvPr>
                <p:custDataLst>
                  <p:tags r:id="rId181"/>
                </p:custDataLst>
              </p:nvPr>
            </p:nvSpPr>
            <p:spPr bwMode="auto">
              <a:xfrm>
                <a:off x="5330210" y="4020310"/>
                <a:ext cx="196434" cy="142861"/>
              </a:xfrm>
              <a:custGeom>
                <a:avLst/>
                <a:gdLst>
                  <a:gd name="T0" fmla="*/ 45 w 132"/>
                  <a:gd name="T1" fmla="*/ 73 h 96"/>
                  <a:gd name="T2" fmla="*/ 54 w 132"/>
                  <a:gd name="T3" fmla="*/ 73 h 96"/>
                  <a:gd name="T4" fmla="*/ 64 w 132"/>
                  <a:gd name="T5" fmla="*/ 73 h 96"/>
                  <a:gd name="T6" fmla="*/ 73 w 132"/>
                  <a:gd name="T7" fmla="*/ 73 h 96"/>
                  <a:gd name="T8" fmla="*/ 82 w 132"/>
                  <a:gd name="T9" fmla="*/ 72 h 96"/>
                  <a:gd name="T10" fmla="*/ 85 w 132"/>
                  <a:gd name="T11" fmla="*/ 70 h 96"/>
                  <a:gd name="T12" fmla="*/ 89 w 132"/>
                  <a:gd name="T13" fmla="*/ 70 h 96"/>
                  <a:gd name="T14" fmla="*/ 98 w 132"/>
                  <a:gd name="T15" fmla="*/ 70 h 96"/>
                  <a:gd name="T16" fmla="*/ 106 w 132"/>
                  <a:gd name="T17" fmla="*/ 72 h 96"/>
                  <a:gd name="T18" fmla="*/ 108 w 132"/>
                  <a:gd name="T19" fmla="*/ 71 h 96"/>
                  <a:gd name="T20" fmla="*/ 111 w 132"/>
                  <a:gd name="T21" fmla="*/ 68 h 96"/>
                  <a:gd name="T22" fmla="*/ 118 w 132"/>
                  <a:gd name="T23" fmla="*/ 64 h 96"/>
                  <a:gd name="T24" fmla="*/ 125 w 132"/>
                  <a:gd name="T25" fmla="*/ 64 h 96"/>
                  <a:gd name="T26" fmla="*/ 130 w 132"/>
                  <a:gd name="T27" fmla="*/ 60 h 96"/>
                  <a:gd name="T28" fmla="*/ 129 w 132"/>
                  <a:gd name="T29" fmla="*/ 54 h 96"/>
                  <a:gd name="T30" fmla="*/ 127 w 132"/>
                  <a:gd name="T31" fmla="*/ 51 h 96"/>
                  <a:gd name="T32" fmla="*/ 129 w 132"/>
                  <a:gd name="T33" fmla="*/ 48 h 96"/>
                  <a:gd name="T34" fmla="*/ 129 w 132"/>
                  <a:gd name="T35" fmla="*/ 45 h 96"/>
                  <a:gd name="T36" fmla="*/ 126 w 132"/>
                  <a:gd name="T37" fmla="*/ 45 h 96"/>
                  <a:gd name="T38" fmla="*/ 119 w 132"/>
                  <a:gd name="T39" fmla="*/ 44 h 96"/>
                  <a:gd name="T40" fmla="*/ 112 w 132"/>
                  <a:gd name="T41" fmla="*/ 40 h 96"/>
                  <a:gd name="T42" fmla="*/ 108 w 132"/>
                  <a:gd name="T43" fmla="*/ 36 h 96"/>
                  <a:gd name="T44" fmla="*/ 109 w 132"/>
                  <a:gd name="T45" fmla="*/ 32 h 96"/>
                  <a:gd name="T46" fmla="*/ 109 w 132"/>
                  <a:gd name="T47" fmla="*/ 29 h 96"/>
                  <a:gd name="T48" fmla="*/ 102 w 132"/>
                  <a:gd name="T49" fmla="*/ 27 h 96"/>
                  <a:gd name="T50" fmla="*/ 99 w 132"/>
                  <a:gd name="T51" fmla="*/ 20 h 96"/>
                  <a:gd name="T52" fmla="*/ 96 w 132"/>
                  <a:gd name="T53" fmla="*/ 13 h 96"/>
                  <a:gd name="T54" fmla="*/ 95 w 132"/>
                  <a:gd name="T55" fmla="*/ 9 h 96"/>
                  <a:gd name="T56" fmla="*/ 94 w 132"/>
                  <a:gd name="T57" fmla="*/ 6 h 96"/>
                  <a:gd name="T58" fmla="*/ 78 w 132"/>
                  <a:gd name="T59" fmla="*/ 4 h 96"/>
                  <a:gd name="T60" fmla="*/ 65 w 132"/>
                  <a:gd name="T61" fmla="*/ 12 h 96"/>
                  <a:gd name="T62" fmla="*/ 58 w 132"/>
                  <a:gd name="T63" fmla="*/ 16 h 96"/>
                  <a:gd name="T64" fmla="*/ 51 w 132"/>
                  <a:gd name="T65" fmla="*/ 18 h 96"/>
                  <a:gd name="T66" fmla="*/ 41 w 132"/>
                  <a:gd name="T67" fmla="*/ 27 h 96"/>
                  <a:gd name="T68" fmla="*/ 38 w 132"/>
                  <a:gd name="T69" fmla="*/ 30 h 96"/>
                  <a:gd name="T70" fmla="*/ 35 w 132"/>
                  <a:gd name="T71" fmla="*/ 35 h 96"/>
                  <a:gd name="T72" fmla="*/ 29 w 132"/>
                  <a:gd name="T73" fmla="*/ 35 h 96"/>
                  <a:gd name="T74" fmla="*/ 23 w 132"/>
                  <a:gd name="T75" fmla="*/ 33 h 96"/>
                  <a:gd name="T76" fmla="*/ 21 w 132"/>
                  <a:gd name="T77" fmla="*/ 40 h 96"/>
                  <a:gd name="T78" fmla="*/ 20 w 132"/>
                  <a:gd name="T79" fmla="*/ 43 h 96"/>
                  <a:gd name="T80" fmla="*/ 17 w 132"/>
                  <a:gd name="T81" fmla="*/ 44 h 96"/>
                  <a:gd name="T82" fmla="*/ 17 w 132"/>
                  <a:gd name="T83" fmla="*/ 49 h 96"/>
                  <a:gd name="T84" fmla="*/ 13 w 132"/>
                  <a:gd name="T85" fmla="*/ 55 h 96"/>
                  <a:gd name="T86" fmla="*/ 6 w 132"/>
                  <a:gd name="T87" fmla="*/ 57 h 96"/>
                  <a:gd name="T88" fmla="*/ 3 w 132"/>
                  <a:gd name="T89" fmla="*/ 63 h 96"/>
                  <a:gd name="T90" fmla="*/ 3 w 132"/>
                  <a:gd name="T91" fmla="*/ 71 h 96"/>
                  <a:gd name="T92" fmla="*/ 0 w 132"/>
                  <a:gd name="T93" fmla="*/ 73 h 96"/>
                  <a:gd name="T94" fmla="*/ 0 w 132"/>
                  <a:gd name="T95" fmla="*/ 77 h 96"/>
                  <a:gd name="T96" fmla="*/ 0 w 132"/>
                  <a:gd name="T97" fmla="*/ 81 h 96"/>
                  <a:gd name="T98" fmla="*/ 2 w 132"/>
                  <a:gd name="T99" fmla="*/ 82 h 96"/>
                  <a:gd name="T100" fmla="*/ 7 w 132"/>
                  <a:gd name="T101" fmla="*/ 87 h 96"/>
                  <a:gd name="T102" fmla="*/ 12 w 132"/>
                  <a:gd name="T103" fmla="*/ 93 h 96"/>
                  <a:gd name="T104" fmla="*/ 19 w 132"/>
                  <a:gd name="T105" fmla="*/ 94 h 96"/>
                  <a:gd name="T106" fmla="*/ 25 w 132"/>
                  <a:gd name="T107" fmla="*/ 90 h 96"/>
                  <a:gd name="T108" fmla="*/ 33 w 132"/>
                  <a:gd name="T109" fmla="*/ 90 h 96"/>
                  <a:gd name="T110" fmla="*/ 43 w 132"/>
                  <a:gd name="T111" fmla="*/ 96 h 96"/>
                  <a:gd name="T112" fmla="*/ 43 w 132"/>
                  <a:gd name="T113" fmla="*/ 87 h 96"/>
                  <a:gd name="T114" fmla="*/ 42 w 132"/>
                  <a:gd name="T115" fmla="*/ 80 h 96"/>
                  <a:gd name="T116" fmla="*/ 46 w 132"/>
                  <a:gd name="T117" fmla="*/ 72 h 96"/>
                  <a:gd name="T118" fmla="*/ 45 w 132"/>
                  <a:gd name="T119" fmla="*/ 73 h 96"/>
                  <a:gd name="T120" fmla="*/ 45 w 132"/>
                  <a:gd name="T121" fmla="*/ 7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96">
                    <a:moveTo>
                      <a:pt x="45" y="73"/>
                    </a:moveTo>
                    <a:cubicBezTo>
                      <a:pt x="48" y="72"/>
                      <a:pt x="51" y="73"/>
                      <a:pt x="54" y="73"/>
                    </a:cubicBezTo>
                    <a:cubicBezTo>
                      <a:pt x="57" y="73"/>
                      <a:pt x="60" y="73"/>
                      <a:pt x="64" y="73"/>
                    </a:cubicBezTo>
                    <a:cubicBezTo>
                      <a:pt x="67" y="73"/>
                      <a:pt x="70" y="73"/>
                      <a:pt x="73" y="73"/>
                    </a:cubicBezTo>
                    <a:cubicBezTo>
                      <a:pt x="76" y="73"/>
                      <a:pt x="79" y="73"/>
                      <a:pt x="82" y="72"/>
                    </a:cubicBezTo>
                    <a:cubicBezTo>
                      <a:pt x="83" y="71"/>
                      <a:pt x="84" y="70"/>
                      <a:pt x="85" y="70"/>
                    </a:cubicBezTo>
                    <a:cubicBezTo>
                      <a:pt x="87" y="70"/>
                      <a:pt x="88" y="70"/>
                      <a:pt x="89" y="70"/>
                    </a:cubicBezTo>
                    <a:cubicBezTo>
                      <a:pt x="92" y="70"/>
                      <a:pt x="95" y="70"/>
                      <a:pt x="98" y="70"/>
                    </a:cubicBezTo>
                    <a:cubicBezTo>
                      <a:pt x="101" y="71"/>
                      <a:pt x="104" y="72"/>
                      <a:pt x="106" y="72"/>
                    </a:cubicBezTo>
                    <a:cubicBezTo>
                      <a:pt x="107" y="73"/>
                      <a:pt x="108" y="72"/>
                      <a:pt x="108" y="71"/>
                    </a:cubicBezTo>
                    <a:cubicBezTo>
                      <a:pt x="109" y="70"/>
                      <a:pt x="110" y="69"/>
                      <a:pt x="111" y="68"/>
                    </a:cubicBezTo>
                    <a:cubicBezTo>
                      <a:pt x="113" y="66"/>
                      <a:pt x="115" y="64"/>
                      <a:pt x="118" y="64"/>
                    </a:cubicBezTo>
                    <a:cubicBezTo>
                      <a:pt x="120" y="64"/>
                      <a:pt x="122" y="64"/>
                      <a:pt x="125" y="64"/>
                    </a:cubicBezTo>
                    <a:cubicBezTo>
                      <a:pt x="127" y="64"/>
                      <a:pt x="129" y="61"/>
                      <a:pt x="130" y="60"/>
                    </a:cubicBezTo>
                    <a:cubicBezTo>
                      <a:pt x="132" y="58"/>
                      <a:pt x="130" y="56"/>
                      <a:pt x="129" y="54"/>
                    </a:cubicBezTo>
                    <a:cubicBezTo>
                      <a:pt x="128" y="53"/>
                      <a:pt x="127" y="52"/>
                      <a:pt x="127" y="51"/>
                    </a:cubicBezTo>
                    <a:cubicBezTo>
                      <a:pt x="127" y="50"/>
                      <a:pt x="128" y="49"/>
                      <a:pt x="129" y="48"/>
                    </a:cubicBezTo>
                    <a:cubicBezTo>
                      <a:pt x="129" y="47"/>
                      <a:pt x="129" y="46"/>
                      <a:pt x="129" y="45"/>
                    </a:cubicBezTo>
                    <a:cubicBezTo>
                      <a:pt x="128" y="44"/>
                      <a:pt x="127" y="44"/>
                      <a:pt x="126" y="45"/>
                    </a:cubicBezTo>
                    <a:cubicBezTo>
                      <a:pt x="124" y="45"/>
                      <a:pt x="121" y="45"/>
                      <a:pt x="119" y="44"/>
                    </a:cubicBezTo>
                    <a:cubicBezTo>
                      <a:pt x="117" y="44"/>
                      <a:pt x="114" y="42"/>
                      <a:pt x="112" y="40"/>
                    </a:cubicBezTo>
                    <a:cubicBezTo>
                      <a:pt x="111" y="39"/>
                      <a:pt x="109" y="38"/>
                      <a:pt x="108" y="36"/>
                    </a:cubicBezTo>
                    <a:cubicBezTo>
                      <a:pt x="108" y="34"/>
                      <a:pt x="108" y="33"/>
                      <a:pt x="109" y="32"/>
                    </a:cubicBezTo>
                    <a:cubicBezTo>
                      <a:pt x="110" y="31"/>
                      <a:pt x="110" y="31"/>
                      <a:pt x="109" y="29"/>
                    </a:cubicBezTo>
                    <a:cubicBezTo>
                      <a:pt x="107" y="28"/>
                      <a:pt x="104" y="28"/>
                      <a:pt x="102" y="27"/>
                    </a:cubicBezTo>
                    <a:cubicBezTo>
                      <a:pt x="100" y="25"/>
                      <a:pt x="100" y="22"/>
                      <a:pt x="99" y="20"/>
                    </a:cubicBezTo>
                    <a:cubicBezTo>
                      <a:pt x="98" y="17"/>
                      <a:pt x="97" y="15"/>
                      <a:pt x="96" y="13"/>
                    </a:cubicBezTo>
                    <a:cubicBezTo>
                      <a:pt x="95" y="12"/>
                      <a:pt x="95" y="10"/>
                      <a:pt x="95" y="9"/>
                    </a:cubicBezTo>
                    <a:cubicBezTo>
                      <a:pt x="95" y="8"/>
                      <a:pt x="95" y="7"/>
                      <a:pt x="94" y="6"/>
                    </a:cubicBezTo>
                    <a:cubicBezTo>
                      <a:pt x="90" y="4"/>
                      <a:pt x="82" y="0"/>
                      <a:pt x="78" y="4"/>
                    </a:cubicBezTo>
                    <a:cubicBezTo>
                      <a:pt x="75" y="9"/>
                      <a:pt x="70" y="11"/>
                      <a:pt x="65" y="12"/>
                    </a:cubicBezTo>
                    <a:cubicBezTo>
                      <a:pt x="62" y="13"/>
                      <a:pt x="60" y="14"/>
                      <a:pt x="58" y="16"/>
                    </a:cubicBezTo>
                    <a:cubicBezTo>
                      <a:pt x="56" y="19"/>
                      <a:pt x="54" y="18"/>
                      <a:pt x="51" y="18"/>
                    </a:cubicBezTo>
                    <a:cubicBezTo>
                      <a:pt x="45" y="17"/>
                      <a:pt x="45" y="25"/>
                      <a:pt x="41" y="27"/>
                    </a:cubicBezTo>
                    <a:cubicBezTo>
                      <a:pt x="39" y="28"/>
                      <a:pt x="38" y="28"/>
                      <a:pt x="38" y="30"/>
                    </a:cubicBezTo>
                    <a:cubicBezTo>
                      <a:pt x="38" y="32"/>
                      <a:pt x="37" y="34"/>
                      <a:pt x="35" y="35"/>
                    </a:cubicBezTo>
                    <a:cubicBezTo>
                      <a:pt x="34" y="36"/>
                      <a:pt x="31" y="36"/>
                      <a:pt x="29" y="35"/>
                    </a:cubicBezTo>
                    <a:cubicBezTo>
                      <a:pt x="27" y="35"/>
                      <a:pt x="25" y="31"/>
                      <a:pt x="23" y="33"/>
                    </a:cubicBezTo>
                    <a:cubicBezTo>
                      <a:pt x="21" y="35"/>
                      <a:pt x="21" y="37"/>
                      <a:pt x="21" y="40"/>
                    </a:cubicBezTo>
                    <a:cubicBezTo>
                      <a:pt x="22" y="41"/>
                      <a:pt x="21" y="42"/>
                      <a:pt x="20" y="43"/>
                    </a:cubicBezTo>
                    <a:cubicBezTo>
                      <a:pt x="19" y="44"/>
                      <a:pt x="18" y="43"/>
                      <a:pt x="17" y="44"/>
                    </a:cubicBezTo>
                    <a:cubicBezTo>
                      <a:pt x="16" y="45"/>
                      <a:pt x="17" y="47"/>
                      <a:pt x="17" y="49"/>
                    </a:cubicBezTo>
                    <a:cubicBezTo>
                      <a:pt x="17" y="51"/>
                      <a:pt x="15" y="53"/>
                      <a:pt x="13" y="55"/>
                    </a:cubicBezTo>
                    <a:cubicBezTo>
                      <a:pt x="11" y="56"/>
                      <a:pt x="8" y="57"/>
                      <a:pt x="6" y="57"/>
                    </a:cubicBezTo>
                    <a:cubicBezTo>
                      <a:pt x="3" y="58"/>
                      <a:pt x="3" y="61"/>
                      <a:pt x="3" y="63"/>
                    </a:cubicBezTo>
                    <a:cubicBezTo>
                      <a:pt x="4" y="66"/>
                      <a:pt x="4" y="69"/>
                      <a:pt x="3" y="71"/>
                    </a:cubicBezTo>
                    <a:cubicBezTo>
                      <a:pt x="2" y="72"/>
                      <a:pt x="1" y="72"/>
                      <a:pt x="0" y="73"/>
                    </a:cubicBezTo>
                    <a:cubicBezTo>
                      <a:pt x="0" y="74"/>
                      <a:pt x="0" y="76"/>
                      <a:pt x="0" y="77"/>
                    </a:cubicBezTo>
                    <a:cubicBezTo>
                      <a:pt x="0" y="78"/>
                      <a:pt x="0" y="79"/>
                      <a:pt x="0" y="81"/>
                    </a:cubicBezTo>
                    <a:cubicBezTo>
                      <a:pt x="0" y="82"/>
                      <a:pt x="1" y="82"/>
                      <a:pt x="2" y="82"/>
                    </a:cubicBezTo>
                    <a:cubicBezTo>
                      <a:pt x="4" y="83"/>
                      <a:pt x="6" y="85"/>
                      <a:pt x="7" y="87"/>
                    </a:cubicBezTo>
                    <a:cubicBezTo>
                      <a:pt x="8" y="90"/>
                      <a:pt x="9" y="91"/>
                      <a:pt x="12" y="93"/>
                    </a:cubicBezTo>
                    <a:cubicBezTo>
                      <a:pt x="14" y="94"/>
                      <a:pt x="17" y="96"/>
                      <a:pt x="19" y="94"/>
                    </a:cubicBezTo>
                    <a:cubicBezTo>
                      <a:pt x="21" y="92"/>
                      <a:pt x="22" y="91"/>
                      <a:pt x="25" y="90"/>
                    </a:cubicBezTo>
                    <a:cubicBezTo>
                      <a:pt x="28" y="90"/>
                      <a:pt x="31" y="90"/>
                      <a:pt x="33" y="90"/>
                    </a:cubicBezTo>
                    <a:cubicBezTo>
                      <a:pt x="37" y="91"/>
                      <a:pt x="41" y="93"/>
                      <a:pt x="43" y="96"/>
                    </a:cubicBezTo>
                    <a:cubicBezTo>
                      <a:pt x="44" y="93"/>
                      <a:pt x="44" y="90"/>
                      <a:pt x="43" y="87"/>
                    </a:cubicBezTo>
                    <a:cubicBezTo>
                      <a:pt x="43" y="85"/>
                      <a:pt x="42" y="83"/>
                      <a:pt x="42" y="80"/>
                    </a:cubicBezTo>
                    <a:cubicBezTo>
                      <a:pt x="41" y="77"/>
                      <a:pt x="42" y="74"/>
                      <a:pt x="46" y="72"/>
                    </a:cubicBezTo>
                    <a:cubicBezTo>
                      <a:pt x="45" y="73"/>
                      <a:pt x="45" y="73"/>
                      <a:pt x="45" y="73"/>
                    </a:cubicBezTo>
                    <a:cubicBezTo>
                      <a:pt x="47" y="72"/>
                      <a:pt x="45" y="73"/>
                      <a:pt x="45" y="73"/>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44" name="Freeform 192">
                <a:extLst>
                  <a:ext uri="{FF2B5EF4-FFF2-40B4-BE49-F238E27FC236}">
                    <a16:creationId xmlns:a16="http://schemas.microsoft.com/office/drawing/2014/main" id="{F70EF69B-16F6-0417-D2D7-CAC829823DED}"/>
                  </a:ext>
                </a:extLst>
              </p:cNvPr>
              <p:cNvSpPr/>
              <p:nvPr>
                <p:custDataLst>
                  <p:tags r:id="rId182"/>
                </p:custDataLst>
              </p:nvPr>
            </p:nvSpPr>
            <p:spPr bwMode="auto">
              <a:xfrm>
                <a:off x="5159286" y="3762650"/>
                <a:ext cx="413277" cy="386491"/>
              </a:xfrm>
              <a:custGeom>
                <a:avLst/>
                <a:gdLst>
                  <a:gd name="T0" fmla="*/ 116 w 278"/>
                  <a:gd name="T1" fmla="*/ 232 h 260"/>
                  <a:gd name="T2" fmla="*/ 130 w 278"/>
                  <a:gd name="T3" fmla="*/ 220 h 260"/>
                  <a:gd name="T4" fmla="*/ 134 w 278"/>
                  <a:gd name="T5" fmla="*/ 214 h 260"/>
                  <a:gd name="T6" fmla="*/ 138 w 278"/>
                  <a:gd name="T7" fmla="*/ 204 h 260"/>
                  <a:gd name="T8" fmla="*/ 148 w 278"/>
                  <a:gd name="T9" fmla="*/ 207 h 260"/>
                  <a:gd name="T10" fmla="*/ 155 w 278"/>
                  <a:gd name="T11" fmla="*/ 198 h 260"/>
                  <a:gd name="T12" fmla="*/ 170 w 278"/>
                  <a:gd name="T13" fmla="*/ 189 h 260"/>
                  <a:gd name="T14" fmla="*/ 176 w 278"/>
                  <a:gd name="T15" fmla="*/ 184 h 260"/>
                  <a:gd name="T16" fmla="*/ 191 w 278"/>
                  <a:gd name="T17" fmla="*/ 177 h 260"/>
                  <a:gd name="T18" fmla="*/ 206 w 278"/>
                  <a:gd name="T19" fmla="*/ 176 h 260"/>
                  <a:gd name="T20" fmla="*/ 213 w 278"/>
                  <a:gd name="T21" fmla="*/ 176 h 260"/>
                  <a:gd name="T22" fmla="*/ 239 w 278"/>
                  <a:gd name="T23" fmla="*/ 170 h 260"/>
                  <a:gd name="T24" fmla="*/ 266 w 278"/>
                  <a:gd name="T25" fmla="*/ 169 h 260"/>
                  <a:gd name="T26" fmla="*/ 276 w 278"/>
                  <a:gd name="T27" fmla="*/ 156 h 260"/>
                  <a:gd name="T28" fmla="*/ 278 w 278"/>
                  <a:gd name="T29" fmla="*/ 127 h 260"/>
                  <a:gd name="T30" fmla="*/ 269 w 278"/>
                  <a:gd name="T31" fmla="*/ 107 h 260"/>
                  <a:gd name="T32" fmla="*/ 262 w 278"/>
                  <a:gd name="T33" fmla="*/ 98 h 260"/>
                  <a:gd name="T34" fmla="*/ 252 w 278"/>
                  <a:gd name="T35" fmla="*/ 88 h 260"/>
                  <a:gd name="T36" fmla="*/ 237 w 278"/>
                  <a:gd name="T37" fmla="*/ 84 h 260"/>
                  <a:gd name="T38" fmla="*/ 232 w 278"/>
                  <a:gd name="T39" fmla="*/ 79 h 260"/>
                  <a:gd name="T40" fmla="*/ 224 w 278"/>
                  <a:gd name="T41" fmla="*/ 68 h 260"/>
                  <a:gd name="T42" fmla="*/ 175 w 278"/>
                  <a:gd name="T43" fmla="*/ 35 h 260"/>
                  <a:gd name="T44" fmla="*/ 125 w 278"/>
                  <a:gd name="T45" fmla="*/ 2 h 260"/>
                  <a:gd name="T46" fmla="*/ 119 w 278"/>
                  <a:gd name="T47" fmla="*/ 0 h 260"/>
                  <a:gd name="T48" fmla="*/ 100 w 278"/>
                  <a:gd name="T49" fmla="*/ 0 h 260"/>
                  <a:gd name="T50" fmla="*/ 96 w 278"/>
                  <a:gd name="T51" fmla="*/ 3 h 260"/>
                  <a:gd name="T52" fmla="*/ 103 w 278"/>
                  <a:gd name="T53" fmla="*/ 62 h 260"/>
                  <a:gd name="T54" fmla="*/ 114 w 278"/>
                  <a:gd name="T55" fmla="*/ 149 h 260"/>
                  <a:gd name="T56" fmla="*/ 114 w 278"/>
                  <a:gd name="T57" fmla="*/ 166 h 260"/>
                  <a:gd name="T58" fmla="*/ 71 w 278"/>
                  <a:gd name="T59" fmla="*/ 169 h 260"/>
                  <a:gd name="T60" fmla="*/ 52 w 278"/>
                  <a:gd name="T61" fmla="*/ 169 h 260"/>
                  <a:gd name="T62" fmla="*/ 46 w 278"/>
                  <a:gd name="T63" fmla="*/ 169 h 260"/>
                  <a:gd name="T64" fmla="*/ 32 w 278"/>
                  <a:gd name="T65" fmla="*/ 170 h 260"/>
                  <a:gd name="T66" fmla="*/ 22 w 278"/>
                  <a:gd name="T67" fmla="*/ 175 h 260"/>
                  <a:gd name="T68" fmla="*/ 10 w 278"/>
                  <a:gd name="T69" fmla="*/ 167 h 260"/>
                  <a:gd name="T70" fmla="*/ 6 w 278"/>
                  <a:gd name="T71" fmla="*/ 179 h 260"/>
                  <a:gd name="T72" fmla="*/ 0 w 278"/>
                  <a:gd name="T73" fmla="*/ 184 h 260"/>
                  <a:gd name="T74" fmla="*/ 3 w 278"/>
                  <a:gd name="T75" fmla="*/ 196 h 260"/>
                  <a:gd name="T76" fmla="*/ 10 w 278"/>
                  <a:gd name="T77" fmla="*/ 205 h 260"/>
                  <a:gd name="T78" fmla="*/ 14 w 278"/>
                  <a:gd name="T79" fmla="*/ 219 h 260"/>
                  <a:gd name="T80" fmla="*/ 20 w 278"/>
                  <a:gd name="T81" fmla="*/ 225 h 260"/>
                  <a:gd name="T82" fmla="*/ 31 w 278"/>
                  <a:gd name="T83" fmla="*/ 226 h 260"/>
                  <a:gd name="T84" fmla="*/ 42 w 278"/>
                  <a:gd name="T85" fmla="*/ 227 h 260"/>
                  <a:gd name="T86" fmla="*/ 48 w 278"/>
                  <a:gd name="T87" fmla="*/ 223 h 260"/>
                  <a:gd name="T88" fmla="*/ 53 w 278"/>
                  <a:gd name="T89" fmla="*/ 220 h 260"/>
                  <a:gd name="T90" fmla="*/ 60 w 278"/>
                  <a:gd name="T91" fmla="*/ 234 h 260"/>
                  <a:gd name="T92" fmla="*/ 63 w 278"/>
                  <a:gd name="T93" fmla="*/ 242 h 260"/>
                  <a:gd name="T94" fmla="*/ 64 w 278"/>
                  <a:gd name="T95" fmla="*/ 245 h 260"/>
                  <a:gd name="T96" fmla="*/ 68 w 278"/>
                  <a:gd name="T97" fmla="*/ 251 h 260"/>
                  <a:gd name="T98" fmla="*/ 74 w 278"/>
                  <a:gd name="T99" fmla="*/ 256 h 260"/>
                  <a:gd name="T100" fmla="*/ 86 w 278"/>
                  <a:gd name="T101" fmla="*/ 258 h 260"/>
                  <a:gd name="T102" fmla="*/ 93 w 278"/>
                  <a:gd name="T103" fmla="*/ 254 h 260"/>
                  <a:gd name="T104" fmla="*/ 100 w 278"/>
                  <a:gd name="T105" fmla="*/ 251 h 260"/>
                  <a:gd name="T106" fmla="*/ 109 w 278"/>
                  <a:gd name="T107" fmla="*/ 255 h 260"/>
                  <a:gd name="T108" fmla="*/ 113 w 278"/>
                  <a:gd name="T109" fmla="*/ 254 h 260"/>
                  <a:gd name="T110" fmla="*/ 113 w 278"/>
                  <a:gd name="T111" fmla="*/ 246 h 260"/>
                  <a:gd name="T112" fmla="*/ 115 w 278"/>
                  <a:gd name="T113" fmla="*/ 24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8" h="260">
                    <a:moveTo>
                      <a:pt x="115" y="244"/>
                    </a:moveTo>
                    <a:cubicBezTo>
                      <a:pt x="118" y="242"/>
                      <a:pt x="115" y="236"/>
                      <a:pt x="116" y="232"/>
                    </a:cubicBezTo>
                    <a:cubicBezTo>
                      <a:pt x="117" y="228"/>
                      <a:pt x="123" y="228"/>
                      <a:pt x="127" y="226"/>
                    </a:cubicBezTo>
                    <a:cubicBezTo>
                      <a:pt x="129" y="225"/>
                      <a:pt x="130" y="223"/>
                      <a:pt x="130" y="220"/>
                    </a:cubicBezTo>
                    <a:cubicBezTo>
                      <a:pt x="130" y="218"/>
                      <a:pt x="129" y="216"/>
                      <a:pt x="132" y="215"/>
                    </a:cubicBezTo>
                    <a:cubicBezTo>
                      <a:pt x="132" y="215"/>
                      <a:pt x="134" y="215"/>
                      <a:pt x="134" y="214"/>
                    </a:cubicBezTo>
                    <a:cubicBezTo>
                      <a:pt x="135" y="213"/>
                      <a:pt x="134" y="212"/>
                      <a:pt x="134" y="211"/>
                    </a:cubicBezTo>
                    <a:cubicBezTo>
                      <a:pt x="134" y="208"/>
                      <a:pt x="135" y="205"/>
                      <a:pt x="138" y="204"/>
                    </a:cubicBezTo>
                    <a:cubicBezTo>
                      <a:pt x="140" y="202"/>
                      <a:pt x="141" y="204"/>
                      <a:pt x="143" y="205"/>
                    </a:cubicBezTo>
                    <a:cubicBezTo>
                      <a:pt x="144" y="206"/>
                      <a:pt x="146" y="207"/>
                      <a:pt x="148" y="207"/>
                    </a:cubicBezTo>
                    <a:cubicBezTo>
                      <a:pt x="150" y="207"/>
                      <a:pt x="150" y="205"/>
                      <a:pt x="150" y="203"/>
                    </a:cubicBezTo>
                    <a:cubicBezTo>
                      <a:pt x="150" y="200"/>
                      <a:pt x="152" y="199"/>
                      <a:pt x="155" y="198"/>
                    </a:cubicBezTo>
                    <a:cubicBezTo>
                      <a:pt x="159" y="197"/>
                      <a:pt x="158" y="189"/>
                      <a:pt x="164" y="189"/>
                    </a:cubicBezTo>
                    <a:cubicBezTo>
                      <a:pt x="166" y="189"/>
                      <a:pt x="168" y="190"/>
                      <a:pt x="170" y="189"/>
                    </a:cubicBezTo>
                    <a:cubicBezTo>
                      <a:pt x="171" y="189"/>
                      <a:pt x="172" y="188"/>
                      <a:pt x="173" y="187"/>
                    </a:cubicBezTo>
                    <a:cubicBezTo>
                      <a:pt x="174" y="186"/>
                      <a:pt x="175" y="185"/>
                      <a:pt x="176" y="184"/>
                    </a:cubicBezTo>
                    <a:cubicBezTo>
                      <a:pt x="178" y="183"/>
                      <a:pt x="181" y="183"/>
                      <a:pt x="183" y="182"/>
                    </a:cubicBezTo>
                    <a:cubicBezTo>
                      <a:pt x="186" y="180"/>
                      <a:pt x="189" y="179"/>
                      <a:pt x="191" y="177"/>
                    </a:cubicBezTo>
                    <a:cubicBezTo>
                      <a:pt x="193" y="175"/>
                      <a:pt x="194" y="173"/>
                      <a:pt x="197" y="173"/>
                    </a:cubicBezTo>
                    <a:cubicBezTo>
                      <a:pt x="200" y="173"/>
                      <a:pt x="203" y="175"/>
                      <a:pt x="206" y="176"/>
                    </a:cubicBezTo>
                    <a:cubicBezTo>
                      <a:pt x="208" y="176"/>
                      <a:pt x="209" y="177"/>
                      <a:pt x="210" y="177"/>
                    </a:cubicBezTo>
                    <a:cubicBezTo>
                      <a:pt x="211" y="178"/>
                      <a:pt x="212" y="176"/>
                      <a:pt x="213" y="176"/>
                    </a:cubicBezTo>
                    <a:cubicBezTo>
                      <a:pt x="215" y="174"/>
                      <a:pt x="218" y="173"/>
                      <a:pt x="220" y="172"/>
                    </a:cubicBezTo>
                    <a:cubicBezTo>
                      <a:pt x="226" y="170"/>
                      <a:pt x="233" y="170"/>
                      <a:pt x="239" y="170"/>
                    </a:cubicBezTo>
                    <a:cubicBezTo>
                      <a:pt x="245" y="169"/>
                      <a:pt x="252" y="170"/>
                      <a:pt x="258" y="169"/>
                    </a:cubicBezTo>
                    <a:cubicBezTo>
                      <a:pt x="261" y="169"/>
                      <a:pt x="264" y="170"/>
                      <a:pt x="266" y="169"/>
                    </a:cubicBezTo>
                    <a:cubicBezTo>
                      <a:pt x="269" y="167"/>
                      <a:pt x="270" y="165"/>
                      <a:pt x="272" y="163"/>
                    </a:cubicBezTo>
                    <a:cubicBezTo>
                      <a:pt x="273" y="161"/>
                      <a:pt x="275" y="158"/>
                      <a:pt x="276" y="156"/>
                    </a:cubicBezTo>
                    <a:cubicBezTo>
                      <a:pt x="277" y="153"/>
                      <a:pt x="277" y="149"/>
                      <a:pt x="277" y="146"/>
                    </a:cubicBezTo>
                    <a:cubicBezTo>
                      <a:pt x="278" y="140"/>
                      <a:pt x="278" y="133"/>
                      <a:pt x="278" y="127"/>
                    </a:cubicBezTo>
                    <a:cubicBezTo>
                      <a:pt x="278" y="120"/>
                      <a:pt x="278" y="113"/>
                      <a:pt x="278" y="106"/>
                    </a:cubicBezTo>
                    <a:cubicBezTo>
                      <a:pt x="275" y="106"/>
                      <a:pt x="272" y="107"/>
                      <a:pt x="269" y="107"/>
                    </a:cubicBezTo>
                    <a:cubicBezTo>
                      <a:pt x="267" y="107"/>
                      <a:pt x="263" y="107"/>
                      <a:pt x="262" y="105"/>
                    </a:cubicBezTo>
                    <a:cubicBezTo>
                      <a:pt x="260" y="103"/>
                      <a:pt x="261" y="100"/>
                      <a:pt x="262" y="98"/>
                    </a:cubicBezTo>
                    <a:cubicBezTo>
                      <a:pt x="262" y="95"/>
                      <a:pt x="261" y="93"/>
                      <a:pt x="259" y="91"/>
                    </a:cubicBezTo>
                    <a:cubicBezTo>
                      <a:pt x="257" y="90"/>
                      <a:pt x="254" y="89"/>
                      <a:pt x="252" y="88"/>
                    </a:cubicBezTo>
                    <a:cubicBezTo>
                      <a:pt x="249" y="86"/>
                      <a:pt x="247" y="85"/>
                      <a:pt x="244" y="85"/>
                    </a:cubicBezTo>
                    <a:cubicBezTo>
                      <a:pt x="241" y="85"/>
                      <a:pt x="238" y="85"/>
                      <a:pt x="237" y="84"/>
                    </a:cubicBezTo>
                    <a:cubicBezTo>
                      <a:pt x="236" y="83"/>
                      <a:pt x="235" y="82"/>
                      <a:pt x="235" y="81"/>
                    </a:cubicBezTo>
                    <a:cubicBezTo>
                      <a:pt x="234" y="79"/>
                      <a:pt x="233" y="79"/>
                      <a:pt x="232" y="79"/>
                    </a:cubicBezTo>
                    <a:cubicBezTo>
                      <a:pt x="229" y="79"/>
                      <a:pt x="227" y="78"/>
                      <a:pt x="226" y="75"/>
                    </a:cubicBezTo>
                    <a:cubicBezTo>
                      <a:pt x="226" y="72"/>
                      <a:pt x="227" y="70"/>
                      <a:pt x="224" y="68"/>
                    </a:cubicBezTo>
                    <a:cubicBezTo>
                      <a:pt x="219" y="65"/>
                      <a:pt x="213" y="61"/>
                      <a:pt x="208" y="57"/>
                    </a:cubicBezTo>
                    <a:cubicBezTo>
                      <a:pt x="197" y="50"/>
                      <a:pt x="186" y="43"/>
                      <a:pt x="175" y="35"/>
                    </a:cubicBezTo>
                    <a:cubicBezTo>
                      <a:pt x="164" y="28"/>
                      <a:pt x="153" y="21"/>
                      <a:pt x="141" y="13"/>
                    </a:cubicBezTo>
                    <a:cubicBezTo>
                      <a:pt x="136" y="10"/>
                      <a:pt x="131" y="6"/>
                      <a:pt x="125" y="2"/>
                    </a:cubicBezTo>
                    <a:cubicBezTo>
                      <a:pt x="124" y="2"/>
                      <a:pt x="123" y="1"/>
                      <a:pt x="122" y="0"/>
                    </a:cubicBezTo>
                    <a:cubicBezTo>
                      <a:pt x="121" y="0"/>
                      <a:pt x="120" y="0"/>
                      <a:pt x="119" y="0"/>
                    </a:cubicBezTo>
                    <a:cubicBezTo>
                      <a:pt x="115" y="0"/>
                      <a:pt x="112" y="0"/>
                      <a:pt x="109" y="0"/>
                    </a:cubicBezTo>
                    <a:cubicBezTo>
                      <a:pt x="106" y="0"/>
                      <a:pt x="103" y="0"/>
                      <a:pt x="100" y="0"/>
                    </a:cubicBezTo>
                    <a:cubicBezTo>
                      <a:pt x="99" y="0"/>
                      <a:pt x="97" y="0"/>
                      <a:pt x="96" y="1"/>
                    </a:cubicBezTo>
                    <a:cubicBezTo>
                      <a:pt x="96" y="1"/>
                      <a:pt x="96" y="2"/>
                      <a:pt x="96" y="3"/>
                    </a:cubicBezTo>
                    <a:cubicBezTo>
                      <a:pt x="97" y="9"/>
                      <a:pt x="98" y="16"/>
                      <a:pt x="99" y="22"/>
                    </a:cubicBezTo>
                    <a:cubicBezTo>
                      <a:pt x="100" y="35"/>
                      <a:pt x="102" y="48"/>
                      <a:pt x="103" y="62"/>
                    </a:cubicBezTo>
                    <a:cubicBezTo>
                      <a:pt x="106" y="88"/>
                      <a:pt x="109" y="114"/>
                      <a:pt x="113" y="141"/>
                    </a:cubicBezTo>
                    <a:cubicBezTo>
                      <a:pt x="113" y="143"/>
                      <a:pt x="113" y="146"/>
                      <a:pt x="114" y="149"/>
                    </a:cubicBezTo>
                    <a:cubicBezTo>
                      <a:pt x="115" y="152"/>
                      <a:pt x="116" y="153"/>
                      <a:pt x="116" y="156"/>
                    </a:cubicBezTo>
                    <a:cubicBezTo>
                      <a:pt x="116" y="159"/>
                      <a:pt x="115" y="163"/>
                      <a:pt x="114" y="166"/>
                    </a:cubicBezTo>
                    <a:cubicBezTo>
                      <a:pt x="114" y="168"/>
                      <a:pt x="112" y="168"/>
                      <a:pt x="110" y="168"/>
                    </a:cubicBezTo>
                    <a:cubicBezTo>
                      <a:pt x="97" y="169"/>
                      <a:pt x="84" y="169"/>
                      <a:pt x="71" y="169"/>
                    </a:cubicBezTo>
                    <a:cubicBezTo>
                      <a:pt x="68" y="169"/>
                      <a:pt x="65" y="169"/>
                      <a:pt x="61" y="169"/>
                    </a:cubicBezTo>
                    <a:cubicBezTo>
                      <a:pt x="59" y="169"/>
                      <a:pt x="55" y="170"/>
                      <a:pt x="52" y="169"/>
                    </a:cubicBezTo>
                    <a:cubicBezTo>
                      <a:pt x="51" y="168"/>
                      <a:pt x="49" y="165"/>
                      <a:pt x="47" y="167"/>
                    </a:cubicBezTo>
                    <a:cubicBezTo>
                      <a:pt x="47" y="168"/>
                      <a:pt x="47" y="169"/>
                      <a:pt x="46" y="169"/>
                    </a:cubicBezTo>
                    <a:cubicBezTo>
                      <a:pt x="44" y="170"/>
                      <a:pt x="43" y="170"/>
                      <a:pt x="41" y="170"/>
                    </a:cubicBezTo>
                    <a:cubicBezTo>
                      <a:pt x="38" y="170"/>
                      <a:pt x="35" y="170"/>
                      <a:pt x="32" y="170"/>
                    </a:cubicBezTo>
                    <a:cubicBezTo>
                      <a:pt x="29" y="170"/>
                      <a:pt x="26" y="169"/>
                      <a:pt x="25" y="171"/>
                    </a:cubicBezTo>
                    <a:cubicBezTo>
                      <a:pt x="24" y="173"/>
                      <a:pt x="24" y="175"/>
                      <a:pt x="22" y="175"/>
                    </a:cubicBezTo>
                    <a:cubicBezTo>
                      <a:pt x="19" y="174"/>
                      <a:pt x="17" y="171"/>
                      <a:pt x="16" y="170"/>
                    </a:cubicBezTo>
                    <a:cubicBezTo>
                      <a:pt x="14" y="168"/>
                      <a:pt x="13" y="166"/>
                      <a:pt x="10" y="167"/>
                    </a:cubicBezTo>
                    <a:cubicBezTo>
                      <a:pt x="8" y="167"/>
                      <a:pt x="8" y="171"/>
                      <a:pt x="8" y="172"/>
                    </a:cubicBezTo>
                    <a:cubicBezTo>
                      <a:pt x="8" y="175"/>
                      <a:pt x="7" y="177"/>
                      <a:pt x="6" y="179"/>
                    </a:cubicBezTo>
                    <a:cubicBezTo>
                      <a:pt x="5" y="180"/>
                      <a:pt x="4" y="181"/>
                      <a:pt x="3" y="182"/>
                    </a:cubicBezTo>
                    <a:cubicBezTo>
                      <a:pt x="3" y="182"/>
                      <a:pt x="0" y="183"/>
                      <a:pt x="0" y="184"/>
                    </a:cubicBezTo>
                    <a:cubicBezTo>
                      <a:pt x="1" y="186"/>
                      <a:pt x="2" y="189"/>
                      <a:pt x="3" y="192"/>
                    </a:cubicBezTo>
                    <a:cubicBezTo>
                      <a:pt x="3" y="193"/>
                      <a:pt x="3" y="195"/>
                      <a:pt x="3" y="196"/>
                    </a:cubicBezTo>
                    <a:cubicBezTo>
                      <a:pt x="3" y="198"/>
                      <a:pt x="4" y="199"/>
                      <a:pt x="4" y="200"/>
                    </a:cubicBezTo>
                    <a:cubicBezTo>
                      <a:pt x="6" y="203"/>
                      <a:pt x="8" y="203"/>
                      <a:pt x="10" y="205"/>
                    </a:cubicBezTo>
                    <a:cubicBezTo>
                      <a:pt x="12" y="206"/>
                      <a:pt x="13" y="209"/>
                      <a:pt x="13" y="211"/>
                    </a:cubicBezTo>
                    <a:cubicBezTo>
                      <a:pt x="14" y="214"/>
                      <a:pt x="15" y="217"/>
                      <a:pt x="14" y="219"/>
                    </a:cubicBezTo>
                    <a:cubicBezTo>
                      <a:pt x="14" y="222"/>
                      <a:pt x="12" y="224"/>
                      <a:pt x="14" y="226"/>
                    </a:cubicBezTo>
                    <a:cubicBezTo>
                      <a:pt x="17" y="229"/>
                      <a:pt x="18" y="226"/>
                      <a:pt x="20" y="225"/>
                    </a:cubicBezTo>
                    <a:cubicBezTo>
                      <a:pt x="23" y="224"/>
                      <a:pt x="23" y="227"/>
                      <a:pt x="25" y="228"/>
                    </a:cubicBezTo>
                    <a:cubicBezTo>
                      <a:pt x="27" y="229"/>
                      <a:pt x="29" y="227"/>
                      <a:pt x="31" y="226"/>
                    </a:cubicBezTo>
                    <a:cubicBezTo>
                      <a:pt x="34" y="224"/>
                      <a:pt x="36" y="225"/>
                      <a:pt x="39" y="226"/>
                    </a:cubicBezTo>
                    <a:cubicBezTo>
                      <a:pt x="40" y="227"/>
                      <a:pt x="41" y="227"/>
                      <a:pt x="42" y="227"/>
                    </a:cubicBezTo>
                    <a:cubicBezTo>
                      <a:pt x="43" y="226"/>
                      <a:pt x="44" y="226"/>
                      <a:pt x="45" y="225"/>
                    </a:cubicBezTo>
                    <a:cubicBezTo>
                      <a:pt x="46" y="225"/>
                      <a:pt x="48" y="224"/>
                      <a:pt x="48" y="223"/>
                    </a:cubicBezTo>
                    <a:cubicBezTo>
                      <a:pt x="48" y="222"/>
                      <a:pt x="48" y="221"/>
                      <a:pt x="48" y="220"/>
                    </a:cubicBezTo>
                    <a:cubicBezTo>
                      <a:pt x="49" y="218"/>
                      <a:pt x="52" y="219"/>
                      <a:pt x="53" y="220"/>
                    </a:cubicBezTo>
                    <a:cubicBezTo>
                      <a:pt x="55" y="222"/>
                      <a:pt x="57" y="224"/>
                      <a:pt x="58" y="227"/>
                    </a:cubicBezTo>
                    <a:cubicBezTo>
                      <a:pt x="58" y="229"/>
                      <a:pt x="58" y="232"/>
                      <a:pt x="60" y="234"/>
                    </a:cubicBezTo>
                    <a:cubicBezTo>
                      <a:pt x="61" y="235"/>
                      <a:pt x="64" y="237"/>
                      <a:pt x="64" y="239"/>
                    </a:cubicBezTo>
                    <a:cubicBezTo>
                      <a:pt x="64" y="240"/>
                      <a:pt x="64" y="241"/>
                      <a:pt x="63" y="242"/>
                    </a:cubicBezTo>
                    <a:cubicBezTo>
                      <a:pt x="63" y="242"/>
                      <a:pt x="61" y="244"/>
                      <a:pt x="61" y="244"/>
                    </a:cubicBezTo>
                    <a:cubicBezTo>
                      <a:pt x="62" y="245"/>
                      <a:pt x="64" y="245"/>
                      <a:pt x="64" y="245"/>
                    </a:cubicBezTo>
                    <a:cubicBezTo>
                      <a:pt x="65" y="245"/>
                      <a:pt x="66" y="245"/>
                      <a:pt x="67" y="246"/>
                    </a:cubicBezTo>
                    <a:cubicBezTo>
                      <a:pt x="68" y="247"/>
                      <a:pt x="68" y="249"/>
                      <a:pt x="68" y="251"/>
                    </a:cubicBezTo>
                    <a:cubicBezTo>
                      <a:pt x="68" y="253"/>
                      <a:pt x="69" y="255"/>
                      <a:pt x="71" y="257"/>
                    </a:cubicBezTo>
                    <a:cubicBezTo>
                      <a:pt x="72" y="258"/>
                      <a:pt x="73" y="257"/>
                      <a:pt x="74" y="256"/>
                    </a:cubicBezTo>
                    <a:cubicBezTo>
                      <a:pt x="75" y="255"/>
                      <a:pt x="77" y="255"/>
                      <a:pt x="78" y="255"/>
                    </a:cubicBezTo>
                    <a:cubicBezTo>
                      <a:pt x="81" y="256"/>
                      <a:pt x="83" y="259"/>
                      <a:pt x="86" y="258"/>
                    </a:cubicBezTo>
                    <a:cubicBezTo>
                      <a:pt x="88" y="258"/>
                      <a:pt x="89" y="257"/>
                      <a:pt x="90" y="256"/>
                    </a:cubicBezTo>
                    <a:cubicBezTo>
                      <a:pt x="91" y="256"/>
                      <a:pt x="93" y="256"/>
                      <a:pt x="93" y="254"/>
                    </a:cubicBezTo>
                    <a:cubicBezTo>
                      <a:pt x="94" y="253"/>
                      <a:pt x="94" y="251"/>
                      <a:pt x="95" y="251"/>
                    </a:cubicBezTo>
                    <a:cubicBezTo>
                      <a:pt x="97" y="250"/>
                      <a:pt x="98" y="250"/>
                      <a:pt x="100" y="251"/>
                    </a:cubicBezTo>
                    <a:cubicBezTo>
                      <a:pt x="103" y="252"/>
                      <a:pt x="102" y="254"/>
                      <a:pt x="102" y="256"/>
                    </a:cubicBezTo>
                    <a:cubicBezTo>
                      <a:pt x="102" y="260"/>
                      <a:pt x="108" y="256"/>
                      <a:pt x="109" y="255"/>
                    </a:cubicBezTo>
                    <a:cubicBezTo>
                      <a:pt x="110" y="255"/>
                      <a:pt x="110" y="255"/>
                      <a:pt x="111" y="255"/>
                    </a:cubicBezTo>
                    <a:cubicBezTo>
                      <a:pt x="111" y="255"/>
                      <a:pt x="113" y="255"/>
                      <a:pt x="113" y="254"/>
                    </a:cubicBezTo>
                    <a:cubicBezTo>
                      <a:pt x="113" y="254"/>
                      <a:pt x="113" y="251"/>
                      <a:pt x="113" y="250"/>
                    </a:cubicBezTo>
                    <a:cubicBezTo>
                      <a:pt x="113" y="249"/>
                      <a:pt x="113" y="247"/>
                      <a:pt x="113" y="246"/>
                    </a:cubicBezTo>
                    <a:cubicBezTo>
                      <a:pt x="114" y="245"/>
                      <a:pt x="114" y="244"/>
                      <a:pt x="115" y="244"/>
                    </a:cubicBezTo>
                    <a:cubicBezTo>
                      <a:pt x="114" y="244"/>
                      <a:pt x="116" y="243"/>
                      <a:pt x="115" y="244"/>
                    </a:cubicBezTo>
                    <a:cubicBezTo>
                      <a:pt x="118" y="242"/>
                      <a:pt x="115" y="244"/>
                      <a:pt x="115" y="244"/>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45" name="Freeform 193">
                <a:extLst>
                  <a:ext uri="{FF2B5EF4-FFF2-40B4-BE49-F238E27FC236}">
                    <a16:creationId xmlns:a16="http://schemas.microsoft.com/office/drawing/2014/main" id="{B089E4EE-7AA5-532A-F97D-E780D1AF7070}"/>
                  </a:ext>
                </a:extLst>
              </p:cNvPr>
              <p:cNvSpPr/>
              <p:nvPr>
                <p:custDataLst>
                  <p:tags r:id="rId183"/>
                </p:custDataLst>
              </p:nvPr>
            </p:nvSpPr>
            <p:spPr bwMode="auto">
              <a:xfrm>
                <a:off x="5473071" y="3800916"/>
                <a:ext cx="397971" cy="304856"/>
              </a:xfrm>
              <a:custGeom>
                <a:avLst/>
                <a:gdLst>
                  <a:gd name="T0" fmla="*/ 236 w 267"/>
                  <a:gd name="T1" fmla="*/ 143 h 205"/>
                  <a:gd name="T2" fmla="*/ 254 w 267"/>
                  <a:gd name="T3" fmla="*/ 122 h 205"/>
                  <a:gd name="T4" fmla="*/ 259 w 267"/>
                  <a:gd name="T5" fmla="*/ 107 h 205"/>
                  <a:gd name="T6" fmla="*/ 262 w 267"/>
                  <a:gd name="T7" fmla="*/ 77 h 205"/>
                  <a:gd name="T8" fmla="*/ 265 w 267"/>
                  <a:gd name="T9" fmla="*/ 60 h 205"/>
                  <a:gd name="T10" fmla="*/ 260 w 267"/>
                  <a:gd name="T11" fmla="*/ 48 h 205"/>
                  <a:gd name="T12" fmla="*/ 257 w 267"/>
                  <a:gd name="T13" fmla="*/ 42 h 205"/>
                  <a:gd name="T14" fmla="*/ 251 w 267"/>
                  <a:gd name="T15" fmla="*/ 11 h 205"/>
                  <a:gd name="T16" fmla="*/ 236 w 267"/>
                  <a:gd name="T17" fmla="*/ 14 h 205"/>
                  <a:gd name="T18" fmla="*/ 205 w 267"/>
                  <a:gd name="T19" fmla="*/ 2 h 205"/>
                  <a:gd name="T20" fmla="*/ 199 w 267"/>
                  <a:gd name="T21" fmla="*/ 1 h 205"/>
                  <a:gd name="T22" fmla="*/ 157 w 267"/>
                  <a:gd name="T23" fmla="*/ 27 h 205"/>
                  <a:gd name="T24" fmla="*/ 124 w 267"/>
                  <a:gd name="T25" fmla="*/ 48 h 205"/>
                  <a:gd name="T26" fmla="*/ 103 w 267"/>
                  <a:gd name="T27" fmla="*/ 66 h 205"/>
                  <a:gd name="T28" fmla="*/ 78 w 267"/>
                  <a:gd name="T29" fmla="*/ 77 h 205"/>
                  <a:gd name="T30" fmla="*/ 69 w 267"/>
                  <a:gd name="T31" fmla="*/ 86 h 205"/>
                  <a:gd name="T32" fmla="*/ 69 w 267"/>
                  <a:gd name="T33" fmla="*/ 117 h 205"/>
                  <a:gd name="T34" fmla="*/ 61 w 267"/>
                  <a:gd name="T35" fmla="*/ 140 h 205"/>
                  <a:gd name="T36" fmla="*/ 46 w 267"/>
                  <a:gd name="T37" fmla="*/ 145 h 205"/>
                  <a:gd name="T38" fmla="*/ 18 w 267"/>
                  <a:gd name="T39" fmla="*/ 146 h 205"/>
                  <a:gd name="T40" fmla="*/ 1 w 267"/>
                  <a:gd name="T41" fmla="*/ 158 h 205"/>
                  <a:gd name="T42" fmla="*/ 8 w 267"/>
                  <a:gd name="T43" fmla="*/ 172 h 205"/>
                  <a:gd name="T44" fmla="*/ 15 w 267"/>
                  <a:gd name="T45" fmla="*/ 175 h 205"/>
                  <a:gd name="T46" fmla="*/ 15 w 267"/>
                  <a:gd name="T47" fmla="*/ 181 h 205"/>
                  <a:gd name="T48" fmla="*/ 24 w 267"/>
                  <a:gd name="T49" fmla="*/ 189 h 205"/>
                  <a:gd name="T50" fmla="*/ 35 w 267"/>
                  <a:gd name="T51" fmla="*/ 192 h 205"/>
                  <a:gd name="T52" fmla="*/ 34 w 267"/>
                  <a:gd name="T53" fmla="*/ 199 h 205"/>
                  <a:gd name="T54" fmla="*/ 45 w 267"/>
                  <a:gd name="T55" fmla="*/ 195 h 205"/>
                  <a:gd name="T56" fmla="*/ 61 w 267"/>
                  <a:gd name="T57" fmla="*/ 187 h 205"/>
                  <a:gd name="T58" fmla="*/ 65 w 267"/>
                  <a:gd name="T59" fmla="*/ 177 h 205"/>
                  <a:gd name="T60" fmla="*/ 86 w 267"/>
                  <a:gd name="T61" fmla="*/ 169 h 205"/>
                  <a:gd name="T62" fmla="*/ 109 w 267"/>
                  <a:gd name="T63" fmla="*/ 178 h 205"/>
                  <a:gd name="T64" fmla="*/ 122 w 267"/>
                  <a:gd name="T65" fmla="*/ 181 h 205"/>
                  <a:gd name="T66" fmla="*/ 138 w 267"/>
                  <a:gd name="T67" fmla="*/ 181 h 205"/>
                  <a:gd name="T68" fmla="*/ 155 w 267"/>
                  <a:gd name="T69" fmla="*/ 187 h 205"/>
                  <a:gd name="T70" fmla="*/ 170 w 267"/>
                  <a:gd name="T71" fmla="*/ 180 h 205"/>
                  <a:gd name="T72" fmla="*/ 197 w 267"/>
                  <a:gd name="T73" fmla="*/ 179 h 205"/>
                  <a:gd name="T74" fmla="*/ 210 w 267"/>
                  <a:gd name="T75" fmla="*/ 179 h 205"/>
                  <a:gd name="T76" fmla="*/ 225 w 267"/>
                  <a:gd name="T77" fmla="*/ 164 h 205"/>
                  <a:gd name="T78" fmla="*/ 226 w 267"/>
                  <a:gd name="T79" fmla="*/ 15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7" h="205">
                    <a:moveTo>
                      <a:pt x="226" y="158"/>
                    </a:moveTo>
                    <a:cubicBezTo>
                      <a:pt x="229" y="153"/>
                      <a:pt x="233" y="148"/>
                      <a:pt x="236" y="143"/>
                    </a:cubicBezTo>
                    <a:cubicBezTo>
                      <a:pt x="239" y="138"/>
                      <a:pt x="243" y="133"/>
                      <a:pt x="247" y="129"/>
                    </a:cubicBezTo>
                    <a:cubicBezTo>
                      <a:pt x="249" y="127"/>
                      <a:pt x="252" y="124"/>
                      <a:pt x="254" y="122"/>
                    </a:cubicBezTo>
                    <a:cubicBezTo>
                      <a:pt x="256" y="120"/>
                      <a:pt x="258" y="118"/>
                      <a:pt x="259" y="116"/>
                    </a:cubicBezTo>
                    <a:cubicBezTo>
                      <a:pt x="259" y="113"/>
                      <a:pt x="259" y="110"/>
                      <a:pt x="259" y="107"/>
                    </a:cubicBezTo>
                    <a:cubicBezTo>
                      <a:pt x="259" y="104"/>
                      <a:pt x="259" y="100"/>
                      <a:pt x="260" y="97"/>
                    </a:cubicBezTo>
                    <a:cubicBezTo>
                      <a:pt x="260" y="90"/>
                      <a:pt x="261" y="84"/>
                      <a:pt x="262" y="77"/>
                    </a:cubicBezTo>
                    <a:cubicBezTo>
                      <a:pt x="262" y="74"/>
                      <a:pt x="262" y="72"/>
                      <a:pt x="262" y="69"/>
                    </a:cubicBezTo>
                    <a:cubicBezTo>
                      <a:pt x="263" y="65"/>
                      <a:pt x="264" y="63"/>
                      <a:pt x="265" y="60"/>
                    </a:cubicBezTo>
                    <a:cubicBezTo>
                      <a:pt x="267" y="58"/>
                      <a:pt x="265" y="56"/>
                      <a:pt x="263" y="55"/>
                    </a:cubicBezTo>
                    <a:cubicBezTo>
                      <a:pt x="262" y="53"/>
                      <a:pt x="260" y="51"/>
                      <a:pt x="260" y="48"/>
                    </a:cubicBezTo>
                    <a:cubicBezTo>
                      <a:pt x="260" y="47"/>
                      <a:pt x="260" y="46"/>
                      <a:pt x="260" y="45"/>
                    </a:cubicBezTo>
                    <a:cubicBezTo>
                      <a:pt x="259" y="44"/>
                      <a:pt x="258" y="43"/>
                      <a:pt x="257" y="42"/>
                    </a:cubicBezTo>
                    <a:cubicBezTo>
                      <a:pt x="255" y="39"/>
                      <a:pt x="254" y="37"/>
                      <a:pt x="254" y="34"/>
                    </a:cubicBezTo>
                    <a:cubicBezTo>
                      <a:pt x="253" y="26"/>
                      <a:pt x="254" y="18"/>
                      <a:pt x="251" y="11"/>
                    </a:cubicBezTo>
                    <a:cubicBezTo>
                      <a:pt x="249" y="12"/>
                      <a:pt x="246" y="14"/>
                      <a:pt x="243" y="15"/>
                    </a:cubicBezTo>
                    <a:cubicBezTo>
                      <a:pt x="241" y="16"/>
                      <a:pt x="238" y="17"/>
                      <a:pt x="236" y="14"/>
                    </a:cubicBezTo>
                    <a:cubicBezTo>
                      <a:pt x="232" y="10"/>
                      <a:pt x="228" y="7"/>
                      <a:pt x="223" y="6"/>
                    </a:cubicBezTo>
                    <a:cubicBezTo>
                      <a:pt x="217" y="4"/>
                      <a:pt x="211" y="3"/>
                      <a:pt x="205" y="2"/>
                    </a:cubicBezTo>
                    <a:cubicBezTo>
                      <a:pt x="204" y="2"/>
                      <a:pt x="203" y="1"/>
                      <a:pt x="202" y="1"/>
                    </a:cubicBezTo>
                    <a:cubicBezTo>
                      <a:pt x="201" y="0"/>
                      <a:pt x="200" y="0"/>
                      <a:pt x="199" y="1"/>
                    </a:cubicBezTo>
                    <a:cubicBezTo>
                      <a:pt x="196" y="2"/>
                      <a:pt x="193" y="4"/>
                      <a:pt x="190" y="6"/>
                    </a:cubicBezTo>
                    <a:cubicBezTo>
                      <a:pt x="179" y="13"/>
                      <a:pt x="168" y="20"/>
                      <a:pt x="157" y="27"/>
                    </a:cubicBezTo>
                    <a:cubicBezTo>
                      <a:pt x="151" y="30"/>
                      <a:pt x="145" y="34"/>
                      <a:pt x="140" y="37"/>
                    </a:cubicBezTo>
                    <a:cubicBezTo>
                      <a:pt x="134" y="41"/>
                      <a:pt x="129" y="44"/>
                      <a:pt x="124" y="48"/>
                    </a:cubicBezTo>
                    <a:cubicBezTo>
                      <a:pt x="119" y="51"/>
                      <a:pt x="114" y="56"/>
                      <a:pt x="110" y="60"/>
                    </a:cubicBezTo>
                    <a:cubicBezTo>
                      <a:pt x="107" y="62"/>
                      <a:pt x="105" y="64"/>
                      <a:pt x="103" y="66"/>
                    </a:cubicBezTo>
                    <a:cubicBezTo>
                      <a:pt x="101" y="68"/>
                      <a:pt x="99" y="70"/>
                      <a:pt x="96" y="71"/>
                    </a:cubicBezTo>
                    <a:cubicBezTo>
                      <a:pt x="90" y="74"/>
                      <a:pt x="84" y="75"/>
                      <a:pt x="78" y="77"/>
                    </a:cubicBezTo>
                    <a:cubicBezTo>
                      <a:pt x="75" y="78"/>
                      <a:pt x="72" y="78"/>
                      <a:pt x="69" y="79"/>
                    </a:cubicBezTo>
                    <a:cubicBezTo>
                      <a:pt x="69" y="80"/>
                      <a:pt x="69" y="85"/>
                      <a:pt x="69" y="86"/>
                    </a:cubicBezTo>
                    <a:cubicBezTo>
                      <a:pt x="69" y="90"/>
                      <a:pt x="69" y="93"/>
                      <a:pt x="69" y="97"/>
                    </a:cubicBezTo>
                    <a:cubicBezTo>
                      <a:pt x="69" y="103"/>
                      <a:pt x="69" y="110"/>
                      <a:pt x="69" y="117"/>
                    </a:cubicBezTo>
                    <a:cubicBezTo>
                      <a:pt x="68" y="122"/>
                      <a:pt x="68" y="128"/>
                      <a:pt x="66" y="134"/>
                    </a:cubicBezTo>
                    <a:cubicBezTo>
                      <a:pt x="64" y="136"/>
                      <a:pt x="62" y="138"/>
                      <a:pt x="61" y="140"/>
                    </a:cubicBezTo>
                    <a:cubicBezTo>
                      <a:pt x="59" y="142"/>
                      <a:pt x="57" y="145"/>
                      <a:pt x="54" y="145"/>
                    </a:cubicBezTo>
                    <a:cubicBezTo>
                      <a:pt x="52" y="146"/>
                      <a:pt x="49" y="145"/>
                      <a:pt x="46" y="145"/>
                    </a:cubicBezTo>
                    <a:cubicBezTo>
                      <a:pt x="43" y="146"/>
                      <a:pt x="40" y="146"/>
                      <a:pt x="37" y="146"/>
                    </a:cubicBezTo>
                    <a:cubicBezTo>
                      <a:pt x="31" y="146"/>
                      <a:pt x="24" y="145"/>
                      <a:pt x="18" y="146"/>
                    </a:cubicBezTo>
                    <a:cubicBezTo>
                      <a:pt x="13" y="147"/>
                      <a:pt x="7" y="149"/>
                      <a:pt x="2" y="152"/>
                    </a:cubicBezTo>
                    <a:cubicBezTo>
                      <a:pt x="0" y="153"/>
                      <a:pt x="1" y="156"/>
                      <a:pt x="1" y="158"/>
                    </a:cubicBezTo>
                    <a:cubicBezTo>
                      <a:pt x="2" y="161"/>
                      <a:pt x="4" y="163"/>
                      <a:pt x="5" y="166"/>
                    </a:cubicBezTo>
                    <a:cubicBezTo>
                      <a:pt x="6" y="168"/>
                      <a:pt x="6" y="172"/>
                      <a:pt x="8" y="172"/>
                    </a:cubicBezTo>
                    <a:cubicBezTo>
                      <a:pt x="9" y="173"/>
                      <a:pt x="10" y="173"/>
                      <a:pt x="12" y="173"/>
                    </a:cubicBezTo>
                    <a:cubicBezTo>
                      <a:pt x="13" y="173"/>
                      <a:pt x="14" y="174"/>
                      <a:pt x="15" y="175"/>
                    </a:cubicBezTo>
                    <a:cubicBezTo>
                      <a:pt x="16" y="176"/>
                      <a:pt x="17" y="177"/>
                      <a:pt x="16" y="178"/>
                    </a:cubicBezTo>
                    <a:cubicBezTo>
                      <a:pt x="16" y="179"/>
                      <a:pt x="15" y="180"/>
                      <a:pt x="15" y="181"/>
                    </a:cubicBezTo>
                    <a:cubicBezTo>
                      <a:pt x="13" y="182"/>
                      <a:pt x="16" y="185"/>
                      <a:pt x="17" y="185"/>
                    </a:cubicBezTo>
                    <a:cubicBezTo>
                      <a:pt x="19" y="187"/>
                      <a:pt x="22" y="189"/>
                      <a:pt x="24" y="189"/>
                    </a:cubicBezTo>
                    <a:cubicBezTo>
                      <a:pt x="26" y="190"/>
                      <a:pt x="28" y="190"/>
                      <a:pt x="30" y="189"/>
                    </a:cubicBezTo>
                    <a:cubicBezTo>
                      <a:pt x="33" y="189"/>
                      <a:pt x="34" y="190"/>
                      <a:pt x="35" y="192"/>
                    </a:cubicBezTo>
                    <a:cubicBezTo>
                      <a:pt x="35" y="193"/>
                      <a:pt x="36" y="195"/>
                      <a:pt x="35" y="196"/>
                    </a:cubicBezTo>
                    <a:cubicBezTo>
                      <a:pt x="34" y="197"/>
                      <a:pt x="33" y="197"/>
                      <a:pt x="34" y="199"/>
                    </a:cubicBezTo>
                    <a:cubicBezTo>
                      <a:pt x="36" y="198"/>
                      <a:pt x="38" y="197"/>
                      <a:pt x="40" y="196"/>
                    </a:cubicBezTo>
                    <a:cubicBezTo>
                      <a:pt x="42" y="195"/>
                      <a:pt x="44" y="194"/>
                      <a:pt x="45" y="195"/>
                    </a:cubicBezTo>
                    <a:cubicBezTo>
                      <a:pt x="49" y="198"/>
                      <a:pt x="53" y="202"/>
                      <a:pt x="56" y="205"/>
                    </a:cubicBezTo>
                    <a:cubicBezTo>
                      <a:pt x="57" y="199"/>
                      <a:pt x="57" y="192"/>
                      <a:pt x="61" y="187"/>
                    </a:cubicBezTo>
                    <a:cubicBezTo>
                      <a:pt x="63" y="185"/>
                      <a:pt x="65" y="184"/>
                      <a:pt x="65" y="181"/>
                    </a:cubicBezTo>
                    <a:cubicBezTo>
                      <a:pt x="65" y="180"/>
                      <a:pt x="65" y="178"/>
                      <a:pt x="65" y="177"/>
                    </a:cubicBezTo>
                    <a:cubicBezTo>
                      <a:pt x="66" y="176"/>
                      <a:pt x="67" y="175"/>
                      <a:pt x="69" y="174"/>
                    </a:cubicBezTo>
                    <a:cubicBezTo>
                      <a:pt x="74" y="171"/>
                      <a:pt x="80" y="169"/>
                      <a:pt x="86" y="169"/>
                    </a:cubicBezTo>
                    <a:cubicBezTo>
                      <a:pt x="92" y="169"/>
                      <a:pt x="98" y="168"/>
                      <a:pt x="103" y="172"/>
                    </a:cubicBezTo>
                    <a:cubicBezTo>
                      <a:pt x="105" y="174"/>
                      <a:pt x="107" y="176"/>
                      <a:pt x="109" y="178"/>
                    </a:cubicBezTo>
                    <a:cubicBezTo>
                      <a:pt x="110" y="179"/>
                      <a:pt x="113" y="182"/>
                      <a:pt x="115" y="182"/>
                    </a:cubicBezTo>
                    <a:cubicBezTo>
                      <a:pt x="118" y="183"/>
                      <a:pt x="120" y="182"/>
                      <a:pt x="122" y="181"/>
                    </a:cubicBezTo>
                    <a:cubicBezTo>
                      <a:pt x="125" y="180"/>
                      <a:pt x="127" y="179"/>
                      <a:pt x="130" y="179"/>
                    </a:cubicBezTo>
                    <a:cubicBezTo>
                      <a:pt x="133" y="179"/>
                      <a:pt x="136" y="180"/>
                      <a:pt x="138" y="181"/>
                    </a:cubicBezTo>
                    <a:cubicBezTo>
                      <a:pt x="141" y="182"/>
                      <a:pt x="143" y="184"/>
                      <a:pt x="146" y="185"/>
                    </a:cubicBezTo>
                    <a:cubicBezTo>
                      <a:pt x="149" y="186"/>
                      <a:pt x="152" y="186"/>
                      <a:pt x="155" y="187"/>
                    </a:cubicBezTo>
                    <a:cubicBezTo>
                      <a:pt x="158" y="187"/>
                      <a:pt x="161" y="186"/>
                      <a:pt x="163" y="184"/>
                    </a:cubicBezTo>
                    <a:cubicBezTo>
                      <a:pt x="166" y="183"/>
                      <a:pt x="168" y="181"/>
                      <a:pt x="170" y="180"/>
                    </a:cubicBezTo>
                    <a:cubicBezTo>
                      <a:pt x="173" y="179"/>
                      <a:pt x="176" y="178"/>
                      <a:pt x="179" y="177"/>
                    </a:cubicBezTo>
                    <a:cubicBezTo>
                      <a:pt x="185" y="177"/>
                      <a:pt x="191" y="176"/>
                      <a:pt x="197" y="179"/>
                    </a:cubicBezTo>
                    <a:cubicBezTo>
                      <a:pt x="199" y="180"/>
                      <a:pt x="201" y="181"/>
                      <a:pt x="203" y="182"/>
                    </a:cubicBezTo>
                    <a:cubicBezTo>
                      <a:pt x="207" y="183"/>
                      <a:pt x="208" y="181"/>
                      <a:pt x="210" y="179"/>
                    </a:cubicBezTo>
                    <a:cubicBezTo>
                      <a:pt x="215" y="175"/>
                      <a:pt x="221" y="173"/>
                      <a:pt x="227" y="172"/>
                    </a:cubicBezTo>
                    <a:cubicBezTo>
                      <a:pt x="226" y="170"/>
                      <a:pt x="225" y="167"/>
                      <a:pt x="225" y="164"/>
                    </a:cubicBezTo>
                    <a:cubicBezTo>
                      <a:pt x="225" y="162"/>
                      <a:pt x="226" y="160"/>
                      <a:pt x="227" y="157"/>
                    </a:cubicBezTo>
                    <a:cubicBezTo>
                      <a:pt x="227" y="158"/>
                      <a:pt x="227" y="158"/>
                      <a:pt x="226" y="158"/>
                    </a:cubicBezTo>
                    <a:cubicBezTo>
                      <a:pt x="228" y="155"/>
                      <a:pt x="226" y="158"/>
                      <a:pt x="226" y="158"/>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46" name="Freeform 207">
                <a:extLst>
                  <a:ext uri="{FF2B5EF4-FFF2-40B4-BE49-F238E27FC236}">
                    <a16:creationId xmlns:a16="http://schemas.microsoft.com/office/drawing/2014/main" id="{BDD0B78D-B2C2-3795-6A1C-853F947C14C1}"/>
                  </a:ext>
                </a:extLst>
              </p:cNvPr>
              <p:cNvSpPr/>
              <p:nvPr>
                <p:custDataLst>
                  <p:tags r:id="rId184"/>
                </p:custDataLst>
              </p:nvPr>
            </p:nvSpPr>
            <p:spPr bwMode="auto">
              <a:xfrm>
                <a:off x="6110844" y="4809875"/>
                <a:ext cx="191332" cy="174750"/>
              </a:xfrm>
              <a:custGeom>
                <a:avLst/>
                <a:gdLst>
                  <a:gd name="T0" fmla="*/ 116 w 129"/>
                  <a:gd name="T1" fmla="*/ 15 h 118"/>
                  <a:gd name="T2" fmla="*/ 100 w 129"/>
                  <a:gd name="T3" fmla="*/ 8 h 118"/>
                  <a:gd name="T4" fmla="*/ 92 w 129"/>
                  <a:gd name="T5" fmla="*/ 7 h 118"/>
                  <a:gd name="T6" fmla="*/ 86 w 129"/>
                  <a:gd name="T7" fmla="*/ 5 h 118"/>
                  <a:gd name="T8" fmla="*/ 85 w 129"/>
                  <a:gd name="T9" fmla="*/ 3 h 118"/>
                  <a:gd name="T10" fmla="*/ 83 w 129"/>
                  <a:gd name="T11" fmla="*/ 1 h 118"/>
                  <a:gd name="T12" fmla="*/ 74 w 129"/>
                  <a:gd name="T13" fmla="*/ 1 h 118"/>
                  <a:gd name="T14" fmla="*/ 66 w 129"/>
                  <a:gd name="T15" fmla="*/ 3 h 118"/>
                  <a:gd name="T16" fmla="*/ 60 w 129"/>
                  <a:gd name="T17" fmla="*/ 8 h 118"/>
                  <a:gd name="T18" fmla="*/ 59 w 129"/>
                  <a:gd name="T19" fmla="*/ 14 h 118"/>
                  <a:gd name="T20" fmla="*/ 54 w 129"/>
                  <a:gd name="T21" fmla="*/ 18 h 118"/>
                  <a:gd name="T22" fmla="*/ 47 w 129"/>
                  <a:gd name="T23" fmla="*/ 21 h 118"/>
                  <a:gd name="T24" fmla="*/ 40 w 129"/>
                  <a:gd name="T25" fmla="*/ 26 h 118"/>
                  <a:gd name="T26" fmla="*/ 28 w 129"/>
                  <a:gd name="T27" fmla="*/ 39 h 118"/>
                  <a:gd name="T28" fmla="*/ 21 w 129"/>
                  <a:gd name="T29" fmla="*/ 42 h 118"/>
                  <a:gd name="T30" fmla="*/ 12 w 129"/>
                  <a:gd name="T31" fmla="*/ 40 h 118"/>
                  <a:gd name="T32" fmla="*/ 0 w 129"/>
                  <a:gd name="T33" fmla="*/ 38 h 118"/>
                  <a:gd name="T34" fmla="*/ 10 w 129"/>
                  <a:gd name="T35" fmla="*/ 54 h 118"/>
                  <a:gd name="T36" fmla="*/ 13 w 129"/>
                  <a:gd name="T37" fmla="*/ 61 h 118"/>
                  <a:gd name="T38" fmla="*/ 16 w 129"/>
                  <a:gd name="T39" fmla="*/ 67 h 118"/>
                  <a:gd name="T40" fmla="*/ 24 w 129"/>
                  <a:gd name="T41" fmla="*/ 72 h 118"/>
                  <a:gd name="T42" fmla="*/ 27 w 129"/>
                  <a:gd name="T43" fmla="*/ 74 h 118"/>
                  <a:gd name="T44" fmla="*/ 31 w 129"/>
                  <a:gd name="T45" fmla="*/ 76 h 118"/>
                  <a:gd name="T46" fmla="*/ 32 w 129"/>
                  <a:gd name="T47" fmla="*/ 82 h 118"/>
                  <a:gd name="T48" fmla="*/ 37 w 129"/>
                  <a:gd name="T49" fmla="*/ 83 h 118"/>
                  <a:gd name="T50" fmla="*/ 40 w 129"/>
                  <a:gd name="T51" fmla="*/ 89 h 118"/>
                  <a:gd name="T52" fmla="*/ 42 w 129"/>
                  <a:gd name="T53" fmla="*/ 97 h 118"/>
                  <a:gd name="T54" fmla="*/ 47 w 129"/>
                  <a:gd name="T55" fmla="*/ 102 h 118"/>
                  <a:gd name="T56" fmla="*/ 56 w 129"/>
                  <a:gd name="T57" fmla="*/ 104 h 118"/>
                  <a:gd name="T58" fmla="*/ 62 w 129"/>
                  <a:gd name="T59" fmla="*/ 106 h 118"/>
                  <a:gd name="T60" fmla="*/ 64 w 129"/>
                  <a:gd name="T61" fmla="*/ 109 h 118"/>
                  <a:gd name="T62" fmla="*/ 67 w 129"/>
                  <a:gd name="T63" fmla="*/ 112 h 118"/>
                  <a:gd name="T64" fmla="*/ 74 w 129"/>
                  <a:gd name="T65" fmla="*/ 114 h 118"/>
                  <a:gd name="T66" fmla="*/ 84 w 129"/>
                  <a:gd name="T67" fmla="*/ 114 h 118"/>
                  <a:gd name="T68" fmla="*/ 93 w 129"/>
                  <a:gd name="T69" fmla="*/ 115 h 118"/>
                  <a:gd name="T70" fmla="*/ 97 w 129"/>
                  <a:gd name="T71" fmla="*/ 116 h 118"/>
                  <a:gd name="T72" fmla="*/ 100 w 129"/>
                  <a:gd name="T73" fmla="*/ 117 h 118"/>
                  <a:gd name="T74" fmla="*/ 114 w 129"/>
                  <a:gd name="T75" fmla="*/ 103 h 118"/>
                  <a:gd name="T76" fmla="*/ 118 w 129"/>
                  <a:gd name="T77" fmla="*/ 97 h 118"/>
                  <a:gd name="T78" fmla="*/ 119 w 129"/>
                  <a:gd name="T79" fmla="*/ 88 h 118"/>
                  <a:gd name="T80" fmla="*/ 123 w 129"/>
                  <a:gd name="T81" fmla="*/ 81 h 118"/>
                  <a:gd name="T82" fmla="*/ 127 w 129"/>
                  <a:gd name="T83" fmla="*/ 73 h 118"/>
                  <a:gd name="T84" fmla="*/ 127 w 129"/>
                  <a:gd name="T85" fmla="*/ 70 h 118"/>
                  <a:gd name="T86" fmla="*/ 126 w 129"/>
                  <a:gd name="T87" fmla="*/ 66 h 118"/>
                  <a:gd name="T88" fmla="*/ 126 w 129"/>
                  <a:gd name="T89" fmla="*/ 62 h 118"/>
                  <a:gd name="T90" fmla="*/ 125 w 129"/>
                  <a:gd name="T91" fmla="*/ 58 h 118"/>
                  <a:gd name="T92" fmla="*/ 129 w 129"/>
                  <a:gd name="T93" fmla="*/ 44 h 118"/>
                  <a:gd name="T94" fmla="*/ 129 w 129"/>
                  <a:gd name="T95" fmla="*/ 35 h 118"/>
                  <a:gd name="T96" fmla="*/ 128 w 129"/>
                  <a:gd name="T97" fmla="*/ 25 h 118"/>
                  <a:gd name="T98" fmla="*/ 126 w 129"/>
                  <a:gd name="T99" fmla="*/ 19 h 118"/>
                  <a:gd name="T100" fmla="*/ 119 w 129"/>
                  <a:gd name="T101" fmla="*/ 16 h 118"/>
                  <a:gd name="T102" fmla="*/ 115 w 129"/>
                  <a:gd name="T103" fmla="*/ 14 h 118"/>
                  <a:gd name="T104" fmla="*/ 116 w 129"/>
                  <a:gd name="T105" fmla="*/ 15 h 118"/>
                  <a:gd name="T106" fmla="*/ 116 w 129"/>
                  <a:gd name="T107" fmla="*/ 1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9" h="118">
                    <a:moveTo>
                      <a:pt x="116" y="15"/>
                    </a:moveTo>
                    <a:cubicBezTo>
                      <a:pt x="111" y="12"/>
                      <a:pt x="105" y="10"/>
                      <a:pt x="100" y="8"/>
                    </a:cubicBezTo>
                    <a:cubicBezTo>
                      <a:pt x="97" y="7"/>
                      <a:pt x="95" y="6"/>
                      <a:pt x="92" y="7"/>
                    </a:cubicBezTo>
                    <a:cubicBezTo>
                      <a:pt x="90" y="7"/>
                      <a:pt x="87" y="7"/>
                      <a:pt x="86" y="5"/>
                    </a:cubicBezTo>
                    <a:cubicBezTo>
                      <a:pt x="85" y="4"/>
                      <a:pt x="85" y="4"/>
                      <a:pt x="85" y="3"/>
                    </a:cubicBezTo>
                    <a:cubicBezTo>
                      <a:pt x="85" y="2"/>
                      <a:pt x="85" y="0"/>
                      <a:pt x="83" y="1"/>
                    </a:cubicBezTo>
                    <a:cubicBezTo>
                      <a:pt x="80" y="1"/>
                      <a:pt x="77" y="1"/>
                      <a:pt x="74" y="1"/>
                    </a:cubicBezTo>
                    <a:cubicBezTo>
                      <a:pt x="71" y="1"/>
                      <a:pt x="69" y="2"/>
                      <a:pt x="66" y="3"/>
                    </a:cubicBezTo>
                    <a:cubicBezTo>
                      <a:pt x="64" y="4"/>
                      <a:pt x="62" y="5"/>
                      <a:pt x="60" y="8"/>
                    </a:cubicBezTo>
                    <a:cubicBezTo>
                      <a:pt x="59" y="10"/>
                      <a:pt x="59" y="12"/>
                      <a:pt x="59" y="14"/>
                    </a:cubicBezTo>
                    <a:cubicBezTo>
                      <a:pt x="58" y="16"/>
                      <a:pt x="57" y="17"/>
                      <a:pt x="54" y="18"/>
                    </a:cubicBezTo>
                    <a:cubicBezTo>
                      <a:pt x="52" y="19"/>
                      <a:pt x="49" y="19"/>
                      <a:pt x="47" y="21"/>
                    </a:cubicBezTo>
                    <a:cubicBezTo>
                      <a:pt x="44" y="22"/>
                      <a:pt x="42" y="24"/>
                      <a:pt x="40" y="26"/>
                    </a:cubicBezTo>
                    <a:cubicBezTo>
                      <a:pt x="36" y="30"/>
                      <a:pt x="33" y="35"/>
                      <a:pt x="28" y="39"/>
                    </a:cubicBezTo>
                    <a:cubicBezTo>
                      <a:pt x="26" y="41"/>
                      <a:pt x="24" y="43"/>
                      <a:pt x="21" y="42"/>
                    </a:cubicBezTo>
                    <a:cubicBezTo>
                      <a:pt x="18" y="42"/>
                      <a:pt x="15" y="41"/>
                      <a:pt x="12" y="40"/>
                    </a:cubicBezTo>
                    <a:cubicBezTo>
                      <a:pt x="8" y="39"/>
                      <a:pt x="4" y="38"/>
                      <a:pt x="0" y="38"/>
                    </a:cubicBezTo>
                    <a:cubicBezTo>
                      <a:pt x="4" y="43"/>
                      <a:pt x="7" y="49"/>
                      <a:pt x="10" y="54"/>
                    </a:cubicBezTo>
                    <a:cubicBezTo>
                      <a:pt x="11" y="56"/>
                      <a:pt x="12" y="59"/>
                      <a:pt x="13" y="61"/>
                    </a:cubicBezTo>
                    <a:cubicBezTo>
                      <a:pt x="13" y="64"/>
                      <a:pt x="14" y="66"/>
                      <a:pt x="16" y="67"/>
                    </a:cubicBezTo>
                    <a:cubicBezTo>
                      <a:pt x="19" y="69"/>
                      <a:pt x="21" y="70"/>
                      <a:pt x="24" y="72"/>
                    </a:cubicBezTo>
                    <a:cubicBezTo>
                      <a:pt x="25" y="73"/>
                      <a:pt x="26" y="73"/>
                      <a:pt x="27" y="74"/>
                    </a:cubicBezTo>
                    <a:cubicBezTo>
                      <a:pt x="29" y="75"/>
                      <a:pt x="30" y="75"/>
                      <a:pt x="31" y="76"/>
                    </a:cubicBezTo>
                    <a:cubicBezTo>
                      <a:pt x="33" y="77"/>
                      <a:pt x="32" y="80"/>
                      <a:pt x="32" y="82"/>
                    </a:cubicBezTo>
                    <a:cubicBezTo>
                      <a:pt x="33" y="84"/>
                      <a:pt x="36" y="83"/>
                      <a:pt x="37" y="83"/>
                    </a:cubicBezTo>
                    <a:cubicBezTo>
                      <a:pt x="40" y="84"/>
                      <a:pt x="40" y="86"/>
                      <a:pt x="40" y="89"/>
                    </a:cubicBezTo>
                    <a:cubicBezTo>
                      <a:pt x="40" y="92"/>
                      <a:pt x="41" y="94"/>
                      <a:pt x="42" y="97"/>
                    </a:cubicBezTo>
                    <a:cubicBezTo>
                      <a:pt x="43" y="100"/>
                      <a:pt x="44" y="101"/>
                      <a:pt x="47" y="102"/>
                    </a:cubicBezTo>
                    <a:cubicBezTo>
                      <a:pt x="50" y="103"/>
                      <a:pt x="53" y="103"/>
                      <a:pt x="56" y="104"/>
                    </a:cubicBezTo>
                    <a:cubicBezTo>
                      <a:pt x="58" y="104"/>
                      <a:pt x="60" y="105"/>
                      <a:pt x="62" y="106"/>
                    </a:cubicBezTo>
                    <a:cubicBezTo>
                      <a:pt x="63" y="107"/>
                      <a:pt x="63" y="108"/>
                      <a:pt x="64" y="109"/>
                    </a:cubicBezTo>
                    <a:cubicBezTo>
                      <a:pt x="65" y="110"/>
                      <a:pt x="66" y="111"/>
                      <a:pt x="67" y="112"/>
                    </a:cubicBezTo>
                    <a:cubicBezTo>
                      <a:pt x="69" y="113"/>
                      <a:pt x="72" y="113"/>
                      <a:pt x="74" y="114"/>
                    </a:cubicBezTo>
                    <a:cubicBezTo>
                      <a:pt x="77" y="114"/>
                      <a:pt x="80" y="114"/>
                      <a:pt x="84" y="114"/>
                    </a:cubicBezTo>
                    <a:cubicBezTo>
                      <a:pt x="87" y="114"/>
                      <a:pt x="90" y="114"/>
                      <a:pt x="93" y="115"/>
                    </a:cubicBezTo>
                    <a:cubicBezTo>
                      <a:pt x="94" y="115"/>
                      <a:pt x="96" y="116"/>
                      <a:pt x="97" y="116"/>
                    </a:cubicBezTo>
                    <a:cubicBezTo>
                      <a:pt x="98" y="116"/>
                      <a:pt x="99" y="118"/>
                      <a:pt x="100" y="117"/>
                    </a:cubicBezTo>
                    <a:cubicBezTo>
                      <a:pt x="104" y="112"/>
                      <a:pt x="109" y="108"/>
                      <a:pt x="114" y="103"/>
                    </a:cubicBezTo>
                    <a:cubicBezTo>
                      <a:pt x="115" y="101"/>
                      <a:pt x="118" y="100"/>
                      <a:pt x="118" y="97"/>
                    </a:cubicBezTo>
                    <a:cubicBezTo>
                      <a:pt x="118" y="94"/>
                      <a:pt x="118" y="91"/>
                      <a:pt x="119" y="88"/>
                    </a:cubicBezTo>
                    <a:cubicBezTo>
                      <a:pt x="120" y="86"/>
                      <a:pt x="122" y="83"/>
                      <a:pt x="123" y="81"/>
                    </a:cubicBezTo>
                    <a:cubicBezTo>
                      <a:pt x="125" y="79"/>
                      <a:pt x="127" y="76"/>
                      <a:pt x="127" y="73"/>
                    </a:cubicBezTo>
                    <a:cubicBezTo>
                      <a:pt x="128" y="72"/>
                      <a:pt x="127" y="71"/>
                      <a:pt x="127" y="70"/>
                    </a:cubicBezTo>
                    <a:cubicBezTo>
                      <a:pt x="126" y="68"/>
                      <a:pt x="126" y="67"/>
                      <a:pt x="126" y="66"/>
                    </a:cubicBezTo>
                    <a:cubicBezTo>
                      <a:pt x="126" y="64"/>
                      <a:pt x="126" y="63"/>
                      <a:pt x="126" y="62"/>
                    </a:cubicBezTo>
                    <a:cubicBezTo>
                      <a:pt x="126" y="60"/>
                      <a:pt x="126" y="59"/>
                      <a:pt x="125" y="58"/>
                    </a:cubicBezTo>
                    <a:cubicBezTo>
                      <a:pt x="121" y="53"/>
                      <a:pt x="128" y="49"/>
                      <a:pt x="129" y="44"/>
                    </a:cubicBezTo>
                    <a:cubicBezTo>
                      <a:pt x="129" y="41"/>
                      <a:pt x="129" y="38"/>
                      <a:pt x="129" y="35"/>
                    </a:cubicBezTo>
                    <a:cubicBezTo>
                      <a:pt x="129" y="32"/>
                      <a:pt x="129" y="29"/>
                      <a:pt x="128" y="25"/>
                    </a:cubicBezTo>
                    <a:cubicBezTo>
                      <a:pt x="128" y="23"/>
                      <a:pt x="129" y="20"/>
                      <a:pt x="126" y="19"/>
                    </a:cubicBezTo>
                    <a:cubicBezTo>
                      <a:pt x="124" y="18"/>
                      <a:pt x="121" y="17"/>
                      <a:pt x="119" y="16"/>
                    </a:cubicBezTo>
                    <a:cubicBezTo>
                      <a:pt x="117" y="16"/>
                      <a:pt x="116" y="15"/>
                      <a:pt x="115" y="14"/>
                    </a:cubicBezTo>
                    <a:cubicBezTo>
                      <a:pt x="115" y="15"/>
                      <a:pt x="116" y="15"/>
                      <a:pt x="116" y="15"/>
                    </a:cubicBezTo>
                    <a:cubicBezTo>
                      <a:pt x="114" y="13"/>
                      <a:pt x="116" y="15"/>
                      <a:pt x="116" y="15"/>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47" name="Freeform 216">
                <a:extLst>
                  <a:ext uri="{FF2B5EF4-FFF2-40B4-BE49-F238E27FC236}">
                    <a16:creationId xmlns:a16="http://schemas.microsoft.com/office/drawing/2014/main" id="{E7BBF60A-DF02-C6F2-3677-7DBAE6C0E636}"/>
                  </a:ext>
                </a:extLst>
              </p:cNvPr>
              <p:cNvSpPr/>
              <p:nvPr>
                <p:custDataLst>
                  <p:tags r:id="rId185"/>
                </p:custDataLst>
              </p:nvPr>
            </p:nvSpPr>
            <p:spPr bwMode="auto">
              <a:xfrm>
                <a:off x="6147836" y="3076405"/>
                <a:ext cx="73982" cy="93116"/>
              </a:xfrm>
              <a:custGeom>
                <a:avLst/>
                <a:gdLst>
                  <a:gd name="T0" fmla="*/ 40 w 50"/>
                  <a:gd name="T1" fmla="*/ 13 h 62"/>
                  <a:gd name="T2" fmla="*/ 38 w 50"/>
                  <a:gd name="T3" fmla="*/ 10 h 62"/>
                  <a:gd name="T4" fmla="*/ 33 w 50"/>
                  <a:gd name="T5" fmla="*/ 8 h 62"/>
                  <a:gd name="T6" fmla="*/ 28 w 50"/>
                  <a:gd name="T7" fmla="*/ 6 h 62"/>
                  <a:gd name="T8" fmla="*/ 23 w 50"/>
                  <a:gd name="T9" fmla="*/ 3 h 62"/>
                  <a:gd name="T10" fmla="*/ 12 w 50"/>
                  <a:gd name="T11" fmla="*/ 0 h 62"/>
                  <a:gd name="T12" fmla="*/ 6 w 50"/>
                  <a:gd name="T13" fmla="*/ 1 h 62"/>
                  <a:gd name="T14" fmla="*/ 0 w 50"/>
                  <a:gd name="T15" fmla="*/ 2 h 62"/>
                  <a:gd name="T16" fmla="*/ 6 w 50"/>
                  <a:gd name="T17" fmla="*/ 8 h 62"/>
                  <a:gd name="T18" fmla="*/ 10 w 50"/>
                  <a:gd name="T19" fmla="*/ 16 h 62"/>
                  <a:gd name="T20" fmla="*/ 15 w 50"/>
                  <a:gd name="T21" fmla="*/ 23 h 62"/>
                  <a:gd name="T22" fmla="*/ 21 w 50"/>
                  <a:gd name="T23" fmla="*/ 29 h 62"/>
                  <a:gd name="T24" fmla="*/ 23 w 50"/>
                  <a:gd name="T25" fmla="*/ 43 h 62"/>
                  <a:gd name="T26" fmla="*/ 21 w 50"/>
                  <a:gd name="T27" fmla="*/ 52 h 62"/>
                  <a:gd name="T28" fmla="*/ 21 w 50"/>
                  <a:gd name="T29" fmla="*/ 60 h 62"/>
                  <a:gd name="T30" fmla="*/ 23 w 50"/>
                  <a:gd name="T31" fmla="*/ 61 h 62"/>
                  <a:gd name="T32" fmla="*/ 24 w 50"/>
                  <a:gd name="T33" fmla="*/ 61 h 62"/>
                  <a:gd name="T34" fmla="*/ 27 w 50"/>
                  <a:gd name="T35" fmla="*/ 57 h 62"/>
                  <a:gd name="T36" fmla="*/ 33 w 50"/>
                  <a:gd name="T37" fmla="*/ 50 h 62"/>
                  <a:gd name="T38" fmla="*/ 35 w 50"/>
                  <a:gd name="T39" fmla="*/ 43 h 62"/>
                  <a:gd name="T40" fmla="*/ 36 w 50"/>
                  <a:gd name="T41" fmla="*/ 40 h 62"/>
                  <a:gd name="T42" fmla="*/ 39 w 50"/>
                  <a:gd name="T43" fmla="*/ 41 h 62"/>
                  <a:gd name="T44" fmla="*/ 45 w 50"/>
                  <a:gd name="T45" fmla="*/ 40 h 62"/>
                  <a:gd name="T46" fmla="*/ 50 w 50"/>
                  <a:gd name="T47" fmla="*/ 39 h 62"/>
                  <a:gd name="T48" fmla="*/ 50 w 50"/>
                  <a:gd name="T49" fmla="*/ 34 h 62"/>
                  <a:gd name="T50" fmla="*/ 47 w 50"/>
                  <a:gd name="T51" fmla="*/ 29 h 62"/>
                  <a:gd name="T52" fmla="*/ 41 w 50"/>
                  <a:gd name="T53" fmla="*/ 21 h 62"/>
                  <a:gd name="T54" fmla="*/ 40 w 50"/>
                  <a:gd name="T55" fmla="*/ 12 h 62"/>
                  <a:gd name="T56" fmla="*/ 40 w 50"/>
                  <a:gd name="T57" fmla="*/ 13 h 62"/>
                  <a:gd name="T58" fmla="*/ 40 w 50"/>
                  <a:gd name="T59"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62">
                    <a:moveTo>
                      <a:pt x="40" y="13"/>
                    </a:moveTo>
                    <a:cubicBezTo>
                      <a:pt x="40" y="11"/>
                      <a:pt x="39" y="11"/>
                      <a:pt x="38" y="10"/>
                    </a:cubicBezTo>
                    <a:cubicBezTo>
                      <a:pt x="36" y="9"/>
                      <a:pt x="35" y="8"/>
                      <a:pt x="33" y="8"/>
                    </a:cubicBezTo>
                    <a:cubicBezTo>
                      <a:pt x="31" y="7"/>
                      <a:pt x="29" y="7"/>
                      <a:pt x="28" y="6"/>
                    </a:cubicBezTo>
                    <a:cubicBezTo>
                      <a:pt x="26" y="5"/>
                      <a:pt x="24" y="4"/>
                      <a:pt x="23" y="3"/>
                    </a:cubicBezTo>
                    <a:cubicBezTo>
                      <a:pt x="19" y="2"/>
                      <a:pt x="15" y="0"/>
                      <a:pt x="12" y="0"/>
                    </a:cubicBezTo>
                    <a:cubicBezTo>
                      <a:pt x="10" y="0"/>
                      <a:pt x="8" y="1"/>
                      <a:pt x="6" y="1"/>
                    </a:cubicBezTo>
                    <a:cubicBezTo>
                      <a:pt x="4" y="1"/>
                      <a:pt x="2" y="1"/>
                      <a:pt x="0" y="2"/>
                    </a:cubicBezTo>
                    <a:cubicBezTo>
                      <a:pt x="2" y="4"/>
                      <a:pt x="4" y="6"/>
                      <a:pt x="6" y="8"/>
                    </a:cubicBezTo>
                    <a:cubicBezTo>
                      <a:pt x="7" y="11"/>
                      <a:pt x="9" y="14"/>
                      <a:pt x="10" y="16"/>
                    </a:cubicBezTo>
                    <a:cubicBezTo>
                      <a:pt x="11" y="19"/>
                      <a:pt x="13" y="21"/>
                      <a:pt x="15" y="23"/>
                    </a:cubicBezTo>
                    <a:cubicBezTo>
                      <a:pt x="17" y="25"/>
                      <a:pt x="19" y="27"/>
                      <a:pt x="21" y="29"/>
                    </a:cubicBezTo>
                    <a:cubicBezTo>
                      <a:pt x="24" y="33"/>
                      <a:pt x="24" y="39"/>
                      <a:pt x="23" y="43"/>
                    </a:cubicBezTo>
                    <a:cubicBezTo>
                      <a:pt x="22" y="46"/>
                      <a:pt x="21" y="49"/>
                      <a:pt x="21" y="52"/>
                    </a:cubicBezTo>
                    <a:cubicBezTo>
                      <a:pt x="21" y="54"/>
                      <a:pt x="20" y="58"/>
                      <a:pt x="21" y="60"/>
                    </a:cubicBezTo>
                    <a:cubicBezTo>
                      <a:pt x="22" y="60"/>
                      <a:pt x="22" y="61"/>
                      <a:pt x="23" y="61"/>
                    </a:cubicBezTo>
                    <a:cubicBezTo>
                      <a:pt x="24" y="62"/>
                      <a:pt x="24" y="61"/>
                      <a:pt x="24" y="61"/>
                    </a:cubicBezTo>
                    <a:cubicBezTo>
                      <a:pt x="25" y="60"/>
                      <a:pt x="26" y="59"/>
                      <a:pt x="27" y="57"/>
                    </a:cubicBezTo>
                    <a:cubicBezTo>
                      <a:pt x="29" y="55"/>
                      <a:pt x="31" y="53"/>
                      <a:pt x="33" y="50"/>
                    </a:cubicBezTo>
                    <a:cubicBezTo>
                      <a:pt x="35" y="48"/>
                      <a:pt x="35" y="46"/>
                      <a:pt x="35" y="43"/>
                    </a:cubicBezTo>
                    <a:cubicBezTo>
                      <a:pt x="35" y="42"/>
                      <a:pt x="35" y="41"/>
                      <a:pt x="36" y="40"/>
                    </a:cubicBezTo>
                    <a:cubicBezTo>
                      <a:pt x="38" y="39"/>
                      <a:pt x="39" y="41"/>
                      <a:pt x="39" y="41"/>
                    </a:cubicBezTo>
                    <a:cubicBezTo>
                      <a:pt x="41" y="43"/>
                      <a:pt x="43" y="41"/>
                      <a:pt x="45" y="40"/>
                    </a:cubicBezTo>
                    <a:cubicBezTo>
                      <a:pt x="47" y="40"/>
                      <a:pt x="49" y="42"/>
                      <a:pt x="50" y="39"/>
                    </a:cubicBezTo>
                    <a:cubicBezTo>
                      <a:pt x="50" y="38"/>
                      <a:pt x="50" y="36"/>
                      <a:pt x="50" y="34"/>
                    </a:cubicBezTo>
                    <a:cubicBezTo>
                      <a:pt x="49" y="32"/>
                      <a:pt x="48" y="31"/>
                      <a:pt x="47" y="29"/>
                    </a:cubicBezTo>
                    <a:cubicBezTo>
                      <a:pt x="45" y="27"/>
                      <a:pt x="42" y="24"/>
                      <a:pt x="41" y="21"/>
                    </a:cubicBezTo>
                    <a:cubicBezTo>
                      <a:pt x="39" y="18"/>
                      <a:pt x="40" y="15"/>
                      <a:pt x="40" y="12"/>
                    </a:cubicBezTo>
                    <a:cubicBezTo>
                      <a:pt x="40" y="12"/>
                      <a:pt x="40" y="13"/>
                      <a:pt x="40" y="13"/>
                    </a:cubicBezTo>
                    <a:cubicBezTo>
                      <a:pt x="40" y="12"/>
                      <a:pt x="40" y="13"/>
                      <a:pt x="40" y="13"/>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48" name="Freeform 237">
                <a:extLst>
                  <a:ext uri="{FF2B5EF4-FFF2-40B4-BE49-F238E27FC236}">
                    <a16:creationId xmlns:a16="http://schemas.microsoft.com/office/drawing/2014/main" id="{5488A391-9CA9-D80B-DC6A-7A37BB7CEB20}"/>
                  </a:ext>
                </a:extLst>
              </p:cNvPr>
              <p:cNvSpPr/>
              <p:nvPr>
                <p:custDataLst>
                  <p:tags r:id="rId186"/>
                </p:custDataLst>
              </p:nvPr>
            </p:nvSpPr>
            <p:spPr bwMode="auto">
              <a:xfrm>
                <a:off x="6025383" y="4618543"/>
                <a:ext cx="294651" cy="251284"/>
              </a:xfrm>
              <a:custGeom>
                <a:avLst/>
                <a:gdLst>
                  <a:gd name="T0" fmla="*/ 163 w 198"/>
                  <a:gd name="T1" fmla="*/ 106 h 169"/>
                  <a:gd name="T2" fmla="*/ 181 w 198"/>
                  <a:gd name="T3" fmla="*/ 92 h 169"/>
                  <a:gd name="T4" fmla="*/ 188 w 198"/>
                  <a:gd name="T5" fmla="*/ 73 h 169"/>
                  <a:gd name="T6" fmla="*/ 190 w 198"/>
                  <a:gd name="T7" fmla="*/ 64 h 169"/>
                  <a:gd name="T8" fmla="*/ 190 w 198"/>
                  <a:gd name="T9" fmla="*/ 46 h 169"/>
                  <a:gd name="T10" fmla="*/ 196 w 198"/>
                  <a:gd name="T11" fmla="*/ 36 h 169"/>
                  <a:gd name="T12" fmla="*/ 189 w 198"/>
                  <a:gd name="T13" fmla="*/ 24 h 169"/>
                  <a:gd name="T14" fmla="*/ 184 w 198"/>
                  <a:gd name="T15" fmla="*/ 19 h 169"/>
                  <a:gd name="T16" fmla="*/ 168 w 198"/>
                  <a:gd name="T17" fmla="*/ 11 h 169"/>
                  <a:gd name="T18" fmla="*/ 154 w 198"/>
                  <a:gd name="T19" fmla="*/ 6 h 169"/>
                  <a:gd name="T20" fmla="*/ 143 w 198"/>
                  <a:gd name="T21" fmla="*/ 4 h 169"/>
                  <a:gd name="T22" fmla="*/ 122 w 198"/>
                  <a:gd name="T23" fmla="*/ 3 h 169"/>
                  <a:gd name="T24" fmla="*/ 118 w 198"/>
                  <a:gd name="T25" fmla="*/ 8 h 169"/>
                  <a:gd name="T26" fmla="*/ 111 w 198"/>
                  <a:gd name="T27" fmla="*/ 17 h 169"/>
                  <a:gd name="T28" fmla="*/ 113 w 198"/>
                  <a:gd name="T29" fmla="*/ 28 h 169"/>
                  <a:gd name="T30" fmla="*/ 113 w 198"/>
                  <a:gd name="T31" fmla="*/ 35 h 169"/>
                  <a:gd name="T32" fmla="*/ 110 w 198"/>
                  <a:gd name="T33" fmla="*/ 59 h 169"/>
                  <a:gd name="T34" fmla="*/ 120 w 198"/>
                  <a:gd name="T35" fmla="*/ 69 h 169"/>
                  <a:gd name="T36" fmla="*/ 130 w 198"/>
                  <a:gd name="T37" fmla="*/ 65 h 169"/>
                  <a:gd name="T38" fmla="*/ 133 w 198"/>
                  <a:gd name="T39" fmla="*/ 85 h 169"/>
                  <a:gd name="T40" fmla="*/ 121 w 198"/>
                  <a:gd name="T41" fmla="*/ 89 h 169"/>
                  <a:gd name="T42" fmla="*/ 110 w 198"/>
                  <a:gd name="T43" fmla="*/ 76 h 169"/>
                  <a:gd name="T44" fmla="*/ 93 w 198"/>
                  <a:gd name="T45" fmla="*/ 66 h 169"/>
                  <a:gd name="T46" fmla="*/ 85 w 198"/>
                  <a:gd name="T47" fmla="*/ 60 h 169"/>
                  <a:gd name="T48" fmla="*/ 71 w 198"/>
                  <a:gd name="T49" fmla="*/ 63 h 169"/>
                  <a:gd name="T50" fmla="*/ 56 w 198"/>
                  <a:gd name="T51" fmla="*/ 56 h 169"/>
                  <a:gd name="T52" fmla="*/ 52 w 198"/>
                  <a:gd name="T53" fmla="*/ 52 h 169"/>
                  <a:gd name="T54" fmla="*/ 41 w 198"/>
                  <a:gd name="T55" fmla="*/ 54 h 169"/>
                  <a:gd name="T56" fmla="*/ 40 w 198"/>
                  <a:gd name="T57" fmla="*/ 50 h 169"/>
                  <a:gd name="T58" fmla="*/ 35 w 198"/>
                  <a:gd name="T59" fmla="*/ 65 h 169"/>
                  <a:gd name="T60" fmla="*/ 33 w 198"/>
                  <a:gd name="T61" fmla="*/ 77 h 169"/>
                  <a:gd name="T62" fmla="*/ 28 w 198"/>
                  <a:gd name="T63" fmla="*/ 83 h 169"/>
                  <a:gd name="T64" fmla="*/ 9 w 198"/>
                  <a:gd name="T65" fmla="*/ 82 h 169"/>
                  <a:gd name="T66" fmla="*/ 1 w 198"/>
                  <a:gd name="T67" fmla="*/ 83 h 169"/>
                  <a:gd name="T68" fmla="*/ 1 w 198"/>
                  <a:gd name="T69" fmla="*/ 90 h 169"/>
                  <a:gd name="T70" fmla="*/ 1 w 198"/>
                  <a:gd name="T71" fmla="*/ 120 h 169"/>
                  <a:gd name="T72" fmla="*/ 2 w 198"/>
                  <a:gd name="T73" fmla="*/ 138 h 169"/>
                  <a:gd name="T74" fmla="*/ 14 w 198"/>
                  <a:gd name="T75" fmla="*/ 151 h 169"/>
                  <a:gd name="T76" fmla="*/ 28 w 198"/>
                  <a:gd name="T77" fmla="*/ 159 h 169"/>
                  <a:gd name="T78" fmla="*/ 53 w 198"/>
                  <a:gd name="T79" fmla="*/ 161 h 169"/>
                  <a:gd name="T80" fmla="*/ 59 w 198"/>
                  <a:gd name="T81" fmla="*/ 164 h 169"/>
                  <a:gd name="T82" fmla="*/ 77 w 198"/>
                  <a:gd name="T83" fmla="*/ 168 h 169"/>
                  <a:gd name="T84" fmla="*/ 103 w 198"/>
                  <a:gd name="T85" fmla="*/ 146 h 169"/>
                  <a:gd name="T86" fmla="*/ 114 w 198"/>
                  <a:gd name="T87" fmla="*/ 139 h 169"/>
                  <a:gd name="T88" fmla="*/ 125 w 198"/>
                  <a:gd name="T89" fmla="*/ 128 h 169"/>
                  <a:gd name="T90" fmla="*/ 141 w 198"/>
                  <a:gd name="T91" fmla="*/ 126 h 169"/>
                  <a:gd name="T92" fmla="*/ 139 w 198"/>
                  <a:gd name="T93" fmla="*/ 117 h 169"/>
                  <a:gd name="T94" fmla="*/ 142 w 198"/>
                  <a:gd name="T95" fmla="*/ 11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8" h="169">
                    <a:moveTo>
                      <a:pt x="142" y="113"/>
                    </a:moveTo>
                    <a:cubicBezTo>
                      <a:pt x="149" y="111"/>
                      <a:pt x="156" y="108"/>
                      <a:pt x="163" y="106"/>
                    </a:cubicBezTo>
                    <a:cubicBezTo>
                      <a:pt x="170" y="104"/>
                      <a:pt x="177" y="101"/>
                      <a:pt x="184" y="98"/>
                    </a:cubicBezTo>
                    <a:cubicBezTo>
                      <a:pt x="183" y="97"/>
                      <a:pt x="181" y="94"/>
                      <a:pt x="181" y="92"/>
                    </a:cubicBezTo>
                    <a:cubicBezTo>
                      <a:pt x="179" y="89"/>
                      <a:pt x="183" y="87"/>
                      <a:pt x="184" y="86"/>
                    </a:cubicBezTo>
                    <a:cubicBezTo>
                      <a:pt x="187" y="82"/>
                      <a:pt x="183" y="76"/>
                      <a:pt x="188" y="73"/>
                    </a:cubicBezTo>
                    <a:cubicBezTo>
                      <a:pt x="189" y="72"/>
                      <a:pt x="192" y="72"/>
                      <a:pt x="193" y="70"/>
                    </a:cubicBezTo>
                    <a:cubicBezTo>
                      <a:pt x="194" y="70"/>
                      <a:pt x="191" y="65"/>
                      <a:pt x="190" y="64"/>
                    </a:cubicBezTo>
                    <a:cubicBezTo>
                      <a:pt x="190" y="61"/>
                      <a:pt x="190" y="58"/>
                      <a:pt x="190" y="55"/>
                    </a:cubicBezTo>
                    <a:cubicBezTo>
                      <a:pt x="190" y="52"/>
                      <a:pt x="189" y="49"/>
                      <a:pt x="190" y="46"/>
                    </a:cubicBezTo>
                    <a:cubicBezTo>
                      <a:pt x="191" y="44"/>
                      <a:pt x="192" y="42"/>
                      <a:pt x="194" y="40"/>
                    </a:cubicBezTo>
                    <a:cubicBezTo>
                      <a:pt x="196" y="39"/>
                      <a:pt x="198" y="38"/>
                      <a:pt x="196" y="36"/>
                    </a:cubicBezTo>
                    <a:cubicBezTo>
                      <a:pt x="195" y="35"/>
                      <a:pt x="193" y="33"/>
                      <a:pt x="192" y="32"/>
                    </a:cubicBezTo>
                    <a:cubicBezTo>
                      <a:pt x="190" y="29"/>
                      <a:pt x="190" y="27"/>
                      <a:pt x="189" y="24"/>
                    </a:cubicBezTo>
                    <a:cubicBezTo>
                      <a:pt x="189" y="23"/>
                      <a:pt x="190" y="21"/>
                      <a:pt x="189" y="21"/>
                    </a:cubicBezTo>
                    <a:cubicBezTo>
                      <a:pt x="187" y="20"/>
                      <a:pt x="186" y="20"/>
                      <a:pt x="184" y="19"/>
                    </a:cubicBezTo>
                    <a:cubicBezTo>
                      <a:pt x="181" y="18"/>
                      <a:pt x="179" y="17"/>
                      <a:pt x="176" y="15"/>
                    </a:cubicBezTo>
                    <a:cubicBezTo>
                      <a:pt x="173" y="14"/>
                      <a:pt x="170" y="13"/>
                      <a:pt x="168" y="11"/>
                    </a:cubicBezTo>
                    <a:cubicBezTo>
                      <a:pt x="165" y="10"/>
                      <a:pt x="162" y="8"/>
                      <a:pt x="160" y="7"/>
                    </a:cubicBezTo>
                    <a:cubicBezTo>
                      <a:pt x="158" y="7"/>
                      <a:pt x="156" y="6"/>
                      <a:pt x="154" y="6"/>
                    </a:cubicBezTo>
                    <a:cubicBezTo>
                      <a:pt x="152" y="7"/>
                      <a:pt x="151" y="7"/>
                      <a:pt x="149" y="6"/>
                    </a:cubicBezTo>
                    <a:cubicBezTo>
                      <a:pt x="147" y="5"/>
                      <a:pt x="145" y="4"/>
                      <a:pt x="143" y="4"/>
                    </a:cubicBezTo>
                    <a:cubicBezTo>
                      <a:pt x="141" y="3"/>
                      <a:pt x="141" y="2"/>
                      <a:pt x="141" y="0"/>
                    </a:cubicBezTo>
                    <a:cubicBezTo>
                      <a:pt x="135" y="1"/>
                      <a:pt x="128" y="2"/>
                      <a:pt x="122" y="3"/>
                    </a:cubicBezTo>
                    <a:cubicBezTo>
                      <a:pt x="121" y="3"/>
                      <a:pt x="119" y="3"/>
                      <a:pt x="119" y="4"/>
                    </a:cubicBezTo>
                    <a:cubicBezTo>
                      <a:pt x="119" y="5"/>
                      <a:pt x="119" y="7"/>
                      <a:pt x="118" y="8"/>
                    </a:cubicBezTo>
                    <a:cubicBezTo>
                      <a:pt x="117" y="10"/>
                      <a:pt x="115" y="12"/>
                      <a:pt x="113" y="14"/>
                    </a:cubicBezTo>
                    <a:cubicBezTo>
                      <a:pt x="112" y="14"/>
                      <a:pt x="111" y="15"/>
                      <a:pt x="111" y="17"/>
                    </a:cubicBezTo>
                    <a:cubicBezTo>
                      <a:pt x="111" y="18"/>
                      <a:pt x="112" y="19"/>
                      <a:pt x="113" y="20"/>
                    </a:cubicBezTo>
                    <a:cubicBezTo>
                      <a:pt x="114" y="23"/>
                      <a:pt x="114" y="25"/>
                      <a:pt x="113" y="28"/>
                    </a:cubicBezTo>
                    <a:cubicBezTo>
                      <a:pt x="112" y="29"/>
                      <a:pt x="112" y="31"/>
                      <a:pt x="112" y="32"/>
                    </a:cubicBezTo>
                    <a:cubicBezTo>
                      <a:pt x="112" y="33"/>
                      <a:pt x="113" y="34"/>
                      <a:pt x="113" y="35"/>
                    </a:cubicBezTo>
                    <a:cubicBezTo>
                      <a:pt x="114" y="38"/>
                      <a:pt x="113" y="42"/>
                      <a:pt x="112" y="44"/>
                    </a:cubicBezTo>
                    <a:cubicBezTo>
                      <a:pt x="110" y="49"/>
                      <a:pt x="107" y="54"/>
                      <a:pt x="110" y="59"/>
                    </a:cubicBezTo>
                    <a:cubicBezTo>
                      <a:pt x="111" y="61"/>
                      <a:pt x="114" y="61"/>
                      <a:pt x="115" y="63"/>
                    </a:cubicBezTo>
                    <a:cubicBezTo>
                      <a:pt x="117" y="65"/>
                      <a:pt x="118" y="68"/>
                      <a:pt x="120" y="69"/>
                    </a:cubicBezTo>
                    <a:cubicBezTo>
                      <a:pt x="121" y="70"/>
                      <a:pt x="124" y="71"/>
                      <a:pt x="125" y="69"/>
                    </a:cubicBezTo>
                    <a:cubicBezTo>
                      <a:pt x="126" y="67"/>
                      <a:pt x="128" y="64"/>
                      <a:pt x="130" y="65"/>
                    </a:cubicBezTo>
                    <a:cubicBezTo>
                      <a:pt x="135" y="66"/>
                      <a:pt x="134" y="75"/>
                      <a:pt x="134" y="78"/>
                    </a:cubicBezTo>
                    <a:cubicBezTo>
                      <a:pt x="134" y="80"/>
                      <a:pt x="134" y="84"/>
                      <a:pt x="133" y="85"/>
                    </a:cubicBezTo>
                    <a:cubicBezTo>
                      <a:pt x="132" y="88"/>
                      <a:pt x="129" y="89"/>
                      <a:pt x="126" y="89"/>
                    </a:cubicBezTo>
                    <a:cubicBezTo>
                      <a:pt x="124" y="90"/>
                      <a:pt x="122" y="91"/>
                      <a:pt x="121" y="89"/>
                    </a:cubicBezTo>
                    <a:cubicBezTo>
                      <a:pt x="119" y="87"/>
                      <a:pt x="118" y="85"/>
                      <a:pt x="116" y="83"/>
                    </a:cubicBezTo>
                    <a:cubicBezTo>
                      <a:pt x="114" y="81"/>
                      <a:pt x="112" y="79"/>
                      <a:pt x="110" y="76"/>
                    </a:cubicBezTo>
                    <a:cubicBezTo>
                      <a:pt x="109" y="74"/>
                      <a:pt x="107" y="72"/>
                      <a:pt x="104" y="72"/>
                    </a:cubicBezTo>
                    <a:cubicBezTo>
                      <a:pt x="100" y="71"/>
                      <a:pt x="95" y="70"/>
                      <a:pt x="93" y="66"/>
                    </a:cubicBezTo>
                    <a:cubicBezTo>
                      <a:pt x="91" y="63"/>
                      <a:pt x="90" y="60"/>
                      <a:pt x="88" y="58"/>
                    </a:cubicBezTo>
                    <a:cubicBezTo>
                      <a:pt x="87" y="57"/>
                      <a:pt x="86" y="58"/>
                      <a:pt x="85" y="60"/>
                    </a:cubicBezTo>
                    <a:cubicBezTo>
                      <a:pt x="84" y="62"/>
                      <a:pt x="83" y="64"/>
                      <a:pt x="80" y="64"/>
                    </a:cubicBezTo>
                    <a:cubicBezTo>
                      <a:pt x="77" y="64"/>
                      <a:pt x="74" y="63"/>
                      <a:pt x="71" y="63"/>
                    </a:cubicBezTo>
                    <a:cubicBezTo>
                      <a:pt x="68" y="62"/>
                      <a:pt x="64" y="62"/>
                      <a:pt x="61" y="61"/>
                    </a:cubicBezTo>
                    <a:cubicBezTo>
                      <a:pt x="59" y="60"/>
                      <a:pt x="57" y="59"/>
                      <a:pt x="56" y="56"/>
                    </a:cubicBezTo>
                    <a:cubicBezTo>
                      <a:pt x="55" y="55"/>
                      <a:pt x="56" y="52"/>
                      <a:pt x="54" y="51"/>
                    </a:cubicBezTo>
                    <a:cubicBezTo>
                      <a:pt x="54" y="51"/>
                      <a:pt x="53" y="52"/>
                      <a:pt x="52" y="52"/>
                    </a:cubicBezTo>
                    <a:cubicBezTo>
                      <a:pt x="51" y="53"/>
                      <a:pt x="49" y="53"/>
                      <a:pt x="48" y="53"/>
                    </a:cubicBezTo>
                    <a:cubicBezTo>
                      <a:pt x="46" y="54"/>
                      <a:pt x="43" y="55"/>
                      <a:pt x="41" y="54"/>
                    </a:cubicBezTo>
                    <a:cubicBezTo>
                      <a:pt x="40" y="54"/>
                      <a:pt x="40" y="54"/>
                      <a:pt x="40" y="53"/>
                    </a:cubicBezTo>
                    <a:cubicBezTo>
                      <a:pt x="39" y="52"/>
                      <a:pt x="40" y="51"/>
                      <a:pt x="40" y="50"/>
                    </a:cubicBezTo>
                    <a:cubicBezTo>
                      <a:pt x="39" y="48"/>
                      <a:pt x="36" y="47"/>
                      <a:pt x="34" y="47"/>
                    </a:cubicBezTo>
                    <a:cubicBezTo>
                      <a:pt x="34" y="53"/>
                      <a:pt x="34" y="59"/>
                      <a:pt x="35" y="65"/>
                    </a:cubicBezTo>
                    <a:cubicBezTo>
                      <a:pt x="35" y="68"/>
                      <a:pt x="35" y="70"/>
                      <a:pt x="33" y="73"/>
                    </a:cubicBezTo>
                    <a:cubicBezTo>
                      <a:pt x="33" y="74"/>
                      <a:pt x="32" y="75"/>
                      <a:pt x="33" y="77"/>
                    </a:cubicBezTo>
                    <a:cubicBezTo>
                      <a:pt x="33" y="78"/>
                      <a:pt x="34" y="79"/>
                      <a:pt x="34" y="80"/>
                    </a:cubicBezTo>
                    <a:cubicBezTo>
                      <a:pt x="33" y="83"/>
                      <a:pt x="30" y="83"/>
                      <a:pt x="28" y="83"/>
                    </a:cubicBezTo>
                    <a:cubicBezTo>
                      <a:pt x="25" y="83"/>
                      <a:pt x="22" y="83"/>
                      <a:pt x="18" y="82"/>
                    </a:cubicBezTo>
                    <a:cubicBezTo>
                      <a:pt x="15" y="82"/>
                      <a:pt x="12" y="82"/>
                      <a:pt x="9" y="82"/>
                    </a:cubicBezTo>
                    <a:cubicBezTo>
                      <a:pt x="7" y="82"/>
                      <a:pt x="6" y="82"/>
                      <a:pt x="4" y="82"/>
                    </a:cubicBezTo>
                    <a:cubicBezTo>
                      <a:pt x="3" y="82"/>
                      <a:pt x="2" y="82"/>
                      <a:pt x="1" y="83"/>
                    </a:cubicBezTo>
                    <a:cubicBezTo>
                      <a:pt x="0" y="83"/>
                      <a:pt x="1" y="85"/>
                      <a:pt x="1" y="85"/>
                    </a:cubicBezTo>
                    <a:cubicBezTo>
                      <a:pt x="1" y="87"/>
                      <a:pt x="1" y="88"/>
                      <a:pt x="1" y="90"/>
                    </a:cubicBezTo>
                    <a:cubicBezTo>
                      <a:pt x="1" y="93"/>
                      <a:pt x="1" y="97"/>
                      <a:pt x="1" y="100"/>
                    </a:cubicBezTo>
                    <a:cubicBezTo>
                      <a:pt x="1" y="107"/>
                      <a:pt x="1" y="113"/>
                      <a:pt x="1" y="120"/>
                    </a:cubicBezTo>
                    <a:cubicBezTo>
                      <a:pt x="1" y="123"/>
                      <a:pt x="1" y="126"/>
                      <a:pt x="1" y="129"/>
                    </a:cubicBezTo>
                    <a:cubicBezTo>
                      <a:pt x="0" y="132"/>
                      <a:pt x="0" y="135"/>
                      <a:pt x="2" y="138"/>
                    </a:cubicBezTo>
                    <a:cubicBezTo>
                      <a:pt x="3" y="140"/>
                      <a:pt x="4" y="142"/>
                      <a:pt x="6" y="144"/>
                    </a:cubicBezTo>
                    <a:cubicBezTo>
                      <a:pt x="9" y="146"/>
                      <a:pt x="11" y="148"/>
                      <a:pt x="14" y="151"/>
                    </a:cubicBezTo>
                    <a:cubicBezTo>
                      <a:pt x="16" y="153"/>
                      <a:pt x="18" y="155"/>
                      <a:pt x="21" y="156"/>
                    </a:cubicBezTo>
                    <a:cubicBezTo>
                      <a:pt x="23" y="159"/>
                      <a:pt x="25" y="160"/>
                      <a:pt x="28" y="159"/>
                    </a:cubicBezTo>
                    <a:cubicBezTo>
                      <a:pt x="34" y="158"/>
                      <a:pt x="40" y="157"/>
                      <a:pt x="46" y="158"/>
                    </a:cubicBezTo>
                    <a:cubicBezTo>
                      <a:pt x="49" y="159"/>
                      <a:pt x="51" y="159"/>
                      <a:pt x="53" y="161"/>
                    </a:cubicBezTo>
                    <a:cubicBezTo>
                      <a:pt x="54" y="162"/>
                      <a:pt x="55" y="163"/>
                      <a:pt x="56" y="164"/>
                    </a:cubicBezTo>
                    <a:cubicBezTo>
                      <a:pt x="56" y="164"/>
                      <a:pt x="58" y="164"/>
                      <a:pt x="59" y="164"/>
                    </a:cubicBezTo>
                    <a:cubicBezTo>
                      <a:pt x="62" y="164"/>
                      <a:pt x="65" y="165"/>
                      <a:pt x="68" y="166"/>
                    </a:cubicBezTo>
                    <a:cubicBezTo>
                      <a:pt x="71" y="167"/>
                      <a:pt x="74" y="167"/>
                      <a:pt x="77" y="168"/>
                    </a:cubicBezTo>
                    <a:cubicBezTo>
                      <a:pt x="83" y="169"/>
                      <a:pt x="87" y="162"/>
                      <a:pt x="90" y="158"/>
                    </a:cubicBezTo>
                    <a:cubicBezTo>
                      <a:pt x="94" y="154"/>
                      <a:pt x="98" y="149"/>
                      <a:pt x="103" y="146"/>
                    </a:cubicBezTo>
                    <a:cubicBezTo>
                      <a:pt x="105" y="145"/>
                      <a:pt x="108" y="144"/>
                      <a:pt x="110" y="144"/>
                    </a:cubicBezTo>
                    <a:cubicBezTo>
                      <a:pt x="113" y="143"/>
                      <a:pt x="114" y="142"/>
                      <a:pt x="114" y="139"/>
                    </a:cubicBezTo>
                    <a:cubicBezTo>
                      <a:pt x="115" y="136"/>
                      <a:pt x="116" y="134"/>
                      <a:pt x="117" y="132"/>
                    </a:cubicBezTo>
                    <a:cubicBezTo>
                      <a:pt x="119" y="130"/>
                      <a:pt x="122" y="129"/>
                      <a:pt x="125" y="128"/>
                    </a:cubicBezTo>
                    <a:cubicBezTo>
                      <a:pt x="127" y="127"/>
                      <a:pt x="129" y="127"/>
                      <a:pt x="132" y="127"/>
                    </a:cubicBezTo>
                    <a:cubicBezTo>
                      <a:pt x="135" y="127"/>
                      <a:pt x="138" y="127"/>
                      <a:pt x="141" y="126"/>
                    </a:cubicBezTo>
                    <a:cubicBezTo>
                      <a:pt x="140" y="125"/>
                      <a:pt x="140" y="123"/>
                      <a:pt x="139" y="121"/>
                    </a:cubicBezTo>
                    <a:cubicBezTo>
                      <a:pt x="139" y="120"/>
                      <a:pt x="138" y="118"/>
                      <a:pt x="139" y="117"/>
                    </a:cubicBezTo>
                    <a:cubicBezTo>
                      <a:pt x="139" y="115"/>
                      <a:pt x="142" y="114"/>
                      <a:pt x="144" y="113"/>
                    </a:cubicBezTo>
                    <a:cubicBezTo>
                      <a:pt x="143" y="113"/>
                      <a:pt x="143" y="113"/>
                      <a:pt x="142" y="113"/>
                    </a:cubicBezTo>
                    <a:cubicBezTo>
                      <a:pt x="148" y="111"/>
                      <a:pt x="142" y="113"/>
                      <a:pt x="142" y="113"/>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grpSp>
            <p:nvGrpSpPr>
              <p:cNvPr id="249" name="Group 248">
                <a:extLst>
                  <a:ext uri="{FF2B5EF4-FFF2-40B4-BE49-F238E27FC236}">
                    <a16:creationId xmlns:a16="http://schemas.microsoft.com/office/drawing/2014/main" id="{A9B05C28-C215-1592-6231-44CD56BF64C3}"/>
                  </a:ext>
                </a:extLst>
              </p:cNvPr>
              <p:cNvGrpSpPr/>
              <p:nvPr>
                <p:custDataLst>
                  <p:tags r:id="rId187"/>
                </p:custDataLst>
              </p:nvPr>
            </p:nvGrpSpPr>
            <p:grpSpPr>
              <a:xfrm>
                <a:off x="6129977" y="3275391"/>
                <a:ext cx="471953" cy="181128"/>
                <a:chOff x="6548438" y="3171826"/>
                <a:chExt cx="587375" cy="225426"/>
              </a:xfrm>
            </p:grpSpPr>
            <p:sp>
              <p:nvSpPr>
                <p:cNvPr id="317" name="Freeform 206">
                  <a:extLst>
                    <a:ext uri="{FF2B5EF4-FFF2-40B4-BE49-F238E27FC236}">
                      <a16:creationId xmlns:a16="http://schemas.microsoft.com/office/drawing/2014/main" id="{8AEFC42B-8367-F240-7B29-0745A9202C95}"/>
                    </a:ext>
                  </a:extLst>
                </p:cNvPr>
                <p:cNvSpPr/>
                <p:nvPr>
                  <p:custDataLst>
                    <p:tags r:id="rId255"/>
                  </p:custDataLst>
                </p:nvPr>
              </p:nvSpPr>
              <p:spPr bwMode="auto">
                <a:xfrm>
                  <a:off x="6596063" y="3379789"/>
                  <a:ext cx="17463" cy="17463"/>
                </a:xfrm>
                <a:custGeom>
                  <a:avLst/>
                  <a:gdLst>
                    <a:gd name="T0" fmla="*/ 6 w 9"/>
                    <a:gd name="T1" fmla="*/ 2 h 10"/>
                    <a:gd name="T2" fmla="*/ 2 w 9"/>
                    <a:gd name="T3" fmla="*/ 4 h 10"/>
                    <a:gd name="T4" fmla="*/ 1 w 9"/>
                    <a:gd name="T5" fmla="*/ 7 h 10"/>
                    <a:gd name="T6" fmla="*/ 2 w 9"/>
                    <a:gd name="T7" fmla="*/ 9 h 10"/>
                    <a:gd name="T8" fmla="*/ 5 w 9"/>
                    <a:gd name="T9" fmla="*/ 8 h 10"/>
                    <a:gd name="T10" fmla="*/ 8 w 9"/>
                    <a:gd name="T11" fmla="*/ 6 h 10"/>
                    <a:gd name="T12" fmla="*/ 8 w 9"/>
                    <a:gd name="T13" fmla="*/ 5 h 10"/>
                    <a:gd name="T14" fmla="*/ 9 w 9"/>
                    <a:gd name="T15" fmla="*/ 2 h 10"/>
                    <a:gd name="T16" fmla="*/ 5 w 9"/>
                    <a:gd name="T17" fmla="*/ 2 h 10"/>
                    <a:gd name="T18" fmla="*/ 6 w 9"/>
                    <a:gd name="T19" fmla="*/ 2 h 10"/>
                    <a:gd name="T20" fmla="*/ 6 w 9"/>
                    <a:gd name="T2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0">
                      <a:moveTo>
                        <a:pt x="6" y="2"/>
                      </a:moveTo>
                      <a:cubicBezTo>
                        <a:pt x="4" y="3"/>
                        <a:pt x="3" y="4"/>
                        <a:pt x="2" y="4"/>
                      </a:cubicBezTo>
                      <a:cubicBezTo>
                        <a:pt x="0" y="5"/>
                        <a:pt x="1" y="6"/>
                        <a:pt x="1" y="7"/>
                      </a:cubicBezTo>
                      <a:cubicBezTo>
                        <a:pt x="0" y="8"/>
                        <a:pt x="1" y="9"/>
                        <a:pt x="2" y="9"/>
                      </a:cubicBezTo>
                      <a:cubicBezTo>
                        <a:pt x="4" y="10"/>
                        <a:pt x="4" y="9"/>
                        <a:pt x="5" y="8"/>
                      </a:cubicBezTo>
                      <a:cubicBezTo>
                        <a:pt x="6" y="7"/>
                        <a:pt x="8" y="7"/>
                        <a:pt x="8" y="6"/>
                      </a:cubicBezTo>
                      <a:cubicBezTo>
                        <a:pt x="8" y="5"/>
                        <a:pt x="8" y="5"/>
                        <a:pt x="8" y="5"/>
                      </a:cubicBezTo>
                      <a:cubicBezTo>
                        <a:pt x="8" y="4"/>
                        <a:pt x="9" y="3"/>
                        <a:pt x="9" y="2"/>
                      </a:cubicBezTo>
                      <a:cubicBezTo>
                        <a:pt x="9" y="0"/>
                        <a:pt x="6" y="2"/>
                        <a:pt x="5" y="2"/>
                      </a:cubicBezTo>
                      <a:cubicBezTo>
                        <a:pt x="5" y="2"/>
                        <a:pt x="5" y="2"/>
                        <a:pt x="6" y="2"/>
                      </a:cubicBezTo>
                      <a:cubicBezTo>
                        <a:pt x="4" y="3"/>
                        <a:pt x="6" y="2"/>
                        <a:pt x="6" y="2"/>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18" name="Freeform 240">
                  <a:extLst>
                    <a:ext uri="{FF2B5EF4-FFF2-40B4-BE49-F238E27FC236}">
                      <a16:creationId xmlns:a16="http://schemas.microsoft.com/office/drawing/2014/main" id="{AF541EB1-6AA5-CB12-AD45-CC375400B5F9}"/>
                    </a:ext>
                  </a:extLst>
                </p:cNvPr>
                <p:cNvSpPr/>
                <p:nvPr>
                  <p:custDataLst>
                    <p:tags r:id="rId256"/>
                  </p:custDataLst>
                </p:nvPr>
              </p:nvSpPr>
              <p:spPr bwMode="auto">
                <a:xfrm>
                  <a:off x="6548438" y="3171826"/>
                  <a:ext cx="587375" cy="225425"/>
                </a:xfrm>
                <a:custGeom>
                  <a:avLst/>
                  <a:gdLst>
                    <a:gd name="T0" fmla="*/ 200 w 317"/>
                    <a:gd name="T1" fmla="*/ 20 h 122"/>
                    <a:gd name="T2" fmla="*/ 181 w 317"/>
                    <a:gd name="T3" fmla="*/ 14 h 122"/>
                    <a:gd name="T4" fmla="*/ 170 w 317"/>
                    <a:gd name="T5" fmla="*/ 11 h 122"/>
                    <a:gd name="T6" fmla="*/ 159 w 317"/>
                    <a:gd name="T7" fmla="*/ 8 h 122"/>
                    <a:gd name="T8" fmla="*/ 153 w 317"/>
                    <a:gd name="T9" fmla="*/ 1 h 122"/>
                    <a:gd name="T10" fmla="*/ 124 w 317"/>
                    <a:gd name="T11" fmla="*/ 1 h 122"/>
                    <a:gd name="T12" fmla="*/ 100 w 317"/>
                    <a:gd name="T13" fmla="*/ 9 h 122"/>
                    <a:gd name="T14" fmla="*/ 81 w 317"/>
                    <a:gd name="T15" fmla="*/ 20 h 122"/>
                    <a:gd name="T16" fmla="*/ 61 w 317"/>
                    <a:gd name="T17" fmla="*/ 17 h 122"/>
                    <a:gd name="T18" fmla="*/ 56 w 317"/>
                    <a:gd name="T19" fmla="*/ 25 h 122"/>
                    <a:gd name="T20" fmla="*/ 48 w 317"/>
                    <a:gd name="T21" fmla="*/ 29 h 122"/>
                    <a:gd name="T22" fmla="*/ 41 w 317"/>
                    <a:gd name="T23" fmla="*/ 34 h 122"/>
                    <a:gd name="T24" fmla="*/ 28 w 317"/>
                    <a:gd name="T25" fmla="*/ 31 h 122"/>
                    <a:gd name="T26" fmla="*/ 23 w 317"/>
                    <a:gd name="T27" fmla="*/ 35 h 122"/>
                    <a:gd name="T28" fmla="*/ 5 w 317"/>
                    <a:gd name="T29" fmla="*/ 39 h 122"/>
                    <a:gd name="T30" fmla="*/ 0 w 317"/>
                    <a:gd name="T31" fmla="*/ 51 h 122"/>
                    <a:gd name="T32" fmla="*/ 9 w 317"/>
                    <a:gd name="T33" fmla="*/ 56 h 122"/>
                    <a:gd name="T34" fmla="*/ 15 w 317"/>
                    <a:gd name="T35" fmla="*/ 65 h 122"/>
                    <a:gd name="T36" fmla="*/ 10 w 317"/>
                    <a:gd name="T37" fmla="*/ 73 h 122"/>
                    <a:gd name="T38" fmla="*/ 4 w 317"/>
                    <a:gd name="T39" fmla="*/ 75 h 122"/>
                    <a:gd name="T40" fmla="*/ 13 w 317"/>
                    <a:gd name="T41" fmla="*/ 80 h 122"/>
                    <a:gd name="T42" fmla="*/ 17 w 317"/>
                    <a:gd name="T43" fmla="*/ 87 h 122"/>
                    <a:gd name="T44" fmla="*/ 24 w 317"/>
                    <a:gd name="T45" fmla="*/ 95 h 122"/>
                    <a:gd name="T46" fmla="*/ 19 w 317"/>
                    <a:gd name="T47" fmla="*/ 101 h 122"/>
                    <a:gd name="T48" fmla="*/ 35 w 317"/>
                    <a:gd name="T49" fmla="*/ 101 h 122"/>
                    <a:gd name="T50" fmla="*/ 38 w 317"/>
                    <a:gd name="T51" fmla="*/ 104 h 122"/>
                    <a:gd name="T52" fmla="*/ 49 w 317"/>
                    <a:gd name="T53" fmla="*/ 108 h 122"/>
                    <a:gd name="T54" fmla="*/ 64 w 317"/>
                    <a:gd name="T55" fmla="*/ 116 h 122"/>
                    <a:gd name="T56" fmla="*/ 75 w 317"/>
                    <a:gd name="T57" fmla="*/ 106 h 122"/>
                    <a:gd name="T58" fmla="*/ 102 w 317"/>
                    <a:gd name="T59" fmla="*/ 114 h 122"/>
                    <a:gd name="T60" fmla="*/ 128 w 317"/>
                    <a:gd name="T61" fmla="*/ 118 h 122"/>
                    <a:gd name="T62" fmla="*/ 154 w 317"/>
                    <a:gd name="T63" fmla="*/ 109 h 122"/>
                    <a:gd name="T64" fmla="*/ 169 w 317"/>
                    <a:gd name="T65" fmla="*/ 108 h 122"/>
                    <a:gd name="T66" fmla="*/ 166 w 317"/>
                    <a:gd name="T67" fmla="*/ 117 h 122"/>
                    <a:gd name="T68" fmla="*/ 174 w 317"/>
                    <a:gd name="T69" fmla="*/ 117 h 122"/>
                    <a:gd name="T70" fmla="*/ 186 w 317"/>
                    <a:gd name="T71" fmla="*/ 107 h 122"/>
                    <a:gd name="T72" fmla="*/ 212 w 317"/>
                    <a:gd name="T73" fmla="*/ 103 h 122"/>
                    <a:gd name="T74" fmla="*/ 246 w 317"/>
                    <a:gd name="T75" fmla="*/ 98 h 122"/>
                    <a:gd name="T76" fmla="*/ 273 w 317"/>
                    <a:gd name="T77" fmla="*/ 95 h 122"/>
                    <a:gd name="T78" fmla="*/ 285 w 317"/>
                    <a:gd name="T79" fmla="*/ 92 h 122"/>
                    <a:gd name="T80" fmla="*/ 308 w 317"/>
                    <a:gd name="T81" fmla="*/ 96 h 122"/>
                    <a:gd name="T82" fmla="*/ 316 w 317"/>
                    <a:gd name="T83" fmla="*/ 96 h 122"/>
                    <a:gd name="T84" fmla="*/ 309 w 317"/>
                    <a:gd name="T85" fmla="*/ 85 h 122"/>
                    <a:gd name="T86" fmla="*/ 310 w 317"/>
                    <a:gd name="T87" fmla="*/ 75 h 122"/>
                    <a:gd name="T88" fmla="*/ 304 w 317"/>
                    <a:gd name="T89" fmla="*/ 58 h 122"/>
                    <a:gd name="T90" fmla="*/ 310 w 317"/>
                    <a:gd name="T91" fmla="*/ 43 h 122"/>
                    <a:gd name="T92" fmla="*/ 297 w 317"/>
                    <a:gd name="T93" fmla="*/ 28 h 122"/>
                    <a:gd name="T94" fmla="*/ 278 w 317"/>
                    <a:gd name="T95" fmla="*/ 12 h 122"/>
                    <a:gd name="T96" fmla="*/ 259 w 317"/>
                    <a:gd name="T97" fmla="*/ 12 h 122"/>
                    <a:gd name="T98" fmla="*/ 244 w 317"/>
                    <a:gd name="T99" fmla="*/ 21 h 122"/>
                    <a:gd name="T100" fmla="*/ 222 w 317"/>
                    <a:gd name="T101" fmla="*/ 1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7" h="122">
                      <a:moveTo>
                        <a:pt x="222" y="19"/>
                      </a:moveTo>
                      <a:cubicBezTo>
                        <a:pt x="217" y="19"/>
                        <a:pt x="213" y="22"/>
                        <a:pt x="208" y="22"/>
                      </a:cubicBezTo>
                      <a:cubicBezTo>
                        <a:pt x="205" y="22"/>
                        <a:pt x="203" y="21"/>
                        <a:pt x="200" y="20"/>
                      </a:cubicBezTo>
                      <a:cubicBezTo>
                        <a:pt x="198" y="19"/>
                        <a:pt x="195" y="19"/>
                        <a:pt x="192" y="19"/>
                      </a:cubicBezTo>
                      <a:cubicBezTo>
                        <a:pt x="190" y="19"/>
                        <a:pt x="187" y="19"/>
                        <a:pt x="186" y="17"/>
                      </a:cubicBezTo>
                      <a:cubicBezTo>
                        <a:pt x="184" y="16"/>
                        <a:pt x="183" y="14"/>
                        <a:pt x="181" y="14"/>
                      </a:cubicBezTo>
                      <a:cubicBezTo>
                        <a:pt x="180" y="14"/>
                        <a:pt x="179" y="15"/>
                        <a:pt x="178" y="15"/>
                      </a:cubicBezTo>
                      <a:cubicBezTo>
                        <a:pt x="177" y="16"/>
                        <a:pt x="175" y="16"/>
                        <a:pt x="174" y="16"/>
                      </a:cubicBezTo>
                      <a:cubicBezTo>
                        <a:pt x="173" y="16"/>
                        <a:pt x="171" y="12"/>
                        <a:pt x="170" y="11"/>
                      </a:cubicBezTo>
                      <a:cubicBezTo>
                        <a:pt x="169" y="9"/>
                        <a:pt x="168" y="7"/>
                        <a:pt x="166" y="7"/>
                      </a:cubicBezTo>
                      <a:cubicBezTo>
                        <a:pt x="165" y="7"/>
                        <a:pt x="164" y="7"/>
                        <a:pt x="163" y="8"/>
                      </a:cubicBezTo>
                      <a:cubicBezTo>
                        <a:pt x="161" y="8"/>
                        <a:pt x="160" y="8"/>
                        <a:pt x="159" y="8"/>
                      </a:cubicBezTo>
                      <a:cubicBezTo>
                        <a:pt x="157" y="8"/>
                        <a:pt x="157" y="7"/>
                        <a:pt x="156" y="6"/>
                      </a:cubicBezTo>
                      <a:cubicBezTo>
                        <a:pt x="155" y="5"/>
                        <a:pt x="154" y="5"/>
                        <a:pt x="153" y="4"/>
                      </a:cubicBezTo>
                      <a:cubicBezTo>
                        <a:pt x="153" y="3"/>
                        <a:pt x="153" y="2"/>
                        <a:pt x="153" y="1"/>
                      </a:cubicBezTo>
                      <a:cubicBezTo>
                        <a:pt x="153" y="0"/>
                        <a:pt x="151" y="0"/>
                        <a:pt x="150" y="1"/>
                      </a:cubicBezTo>
                      <a:cubicBezTo>
                        <a:pt x="145" y="3"/>
                        <a:pt x="138" y="2"/>
                        <a:pt x="133" y="2"/>
                      </a:cubicBezTo>
                      <a:cubicBezTo>
                        <a:pt x="130" y="2"/>
                        <a:pt x="127" y="1"/>
                        <a:pt x="124" y="1"/>
                      </a:cubicBezTo>
                      <a:cubicBezTo>
                        <a:pt x="121" y="1"/>
                        <a:pt x="118" y="2"/>
                        <a:pt x="115" y="3"/>
                      </a:cubicBezTo>
                      <a:cubicBezTo>
                        <a:pt x="113" y="4"/>
                        <a:pt x="110" y="4"/>
                        <a:pt x="108" y="5"/>
                      </a:cubicBezTo>
                      <a:cubicBezTo>
                        <a:pt x="105" y="7"/>
                        <a:pt x="102" y="8"/>
                        <a:pt x="100" y="9"/>
                      </a:cubicBezTo>
                      <a:cubicBezTo>
                        <a:pt x="97" y="11"/>
                        <a:pt x="94" y="12"/>
                        <a:pt x="92" y="14"/>
                      </a:cubicBezTo>
                      <a:cubicBezTo>
                        <a:pt x="89" y="16"/>
                        <a:pt x="87" y="18"/>
                        <a:pt x="84" y="19"/>
                      </a:cubicBezTo>
                      <a:cubicBezTo>
                        <a:pt x="83" y="20"/>
                        <a:pt x="82" y="20"/>
                        <a:pt x="81" y="20"/>
                      </a:cubicBezTo>
                      <a:cubicBezTo>
                        <a:pt x="80" y="20"/>
                        <a:pt x="79" y="19"/>
                        <a:pt x="78" y="19"/>
                      </a:cubicBezTo>
                      <a:cubicBezTo>
                        <a:pt x="75" y="18"/>
                        <a:pt x="72" y="17"/>
                        <a:pt x="70" y="17"/>
                      </a:cubicBezTo>
                      <a:cubicBezTo>
                        <a:pt x="67" y="18"/>
                        <a:pt x="64" y="18"/>
                        <a:pt x="61" y="17"/>
                      </a:cubicBezTo>
                      <a:cubicBezTo>
                        <a:pt x="58" y="17"/>
                        <a:pt x="55" y="16"/>
                        <a:pt x="52" y="16"/>
                      </a:cubicBezTo>
                      <a:cubicBezTo>
                        <a:pt x="50" y="17"/>
                        <a:pt x="52" y="20"/>
                        <a:pt x="52" y="21"/>
                      </a:cubicBezTo>
                      <a:cubicBezTo>
                        <a:pt x="52" y="24"/>
                        <a:pt x="53" y="25"/>
                        <a:pt x="56" y="25"/>
                      </a:cubicBezTo>
                      <a:cubicBezTo>
                        <a:pt x="57" y="26"/>
                        <a:pt x="61" y="26"/>
                        <a:pt x="61" y="27"/>
                      </a:cubicBezTo>
                      <a:cubicBezTo>
                        <a:pt x="62" y="28"/>
                        <a:pt x="57" y="28"/>
                        <a:pt x="57" y="28"/>
                      </a:cubicBezTo>
                      <a:cubicBezTo>
                        <a:pt x="54" y="28"/>
                        <a:pt x="51" y="28"/>
                        <a:pt x="48" y="29"/>
                      </a:cubicBezTo>
                      <a:cubicBezTo>
                        <a:pt x="46" y="29"/>
                        <a:pt x="47" y="31"/>
                        <a:pt x="49" y="32"/>
                      </a:cubicBezTo>
                      <a:cubicBezTo>
                        <a:pt x="50" y="32"/>
                        <a:pt x="52" y="33"/>
                        <a:pt x="49" y="34"/>
                      </a:cubicBezTo>
                      <a:cubicBezTo>
                        <a:pt x="46" y="35"/>
                        <a:pt x="44" y="34"/>
                        <a:pt x="41" y="34"/>
                      </a:cubicBezTo>
                      <a:cubicBezTo>
                        <a:pt x="38" y="33"/>
                        <a:pt x="36" y="34"/>
                        <a:pt x="33" y="34"/>
                      </a:cubicBezTo>
                      <a:cubicBezTo>
                        <a:pt x="32" y="34"/>
                        <a:pt x="31" y="34"/>
                        <a:pt x="30" y="33"/>
                      </a:cubicBezTo>
                      <a:cubicBezTo>
                        <a:pt x="30" y="32"/>
                        <a:pt x="29" y="30"/>
                        <a:pt x="28" y="31"/>
                      </a:cubicBezTo>
                      <a:cubicBezTo>
                        <a:pt x="28" y="32"/>
                        <a:pt x="29" y="33"/>
                        <a:pt x="28" y="34"/>
                      </a:cubicBezTo>
                      <a:cubicBezTo>
                        <a:pt x="28" y="34"/>
                        <a:pt x="27" y="35"/>
                        <a:pt x="26" y="35"/>
                      </a:cubicBezTo>
                      <a:cubicBezTo>
                        <a:pt x="25" y="35"/>
                        <a:pt x="24" y="36"/>
                        <a:pt x="23" y="35"/>
                      </a:cubicBezTo>
                      <a:cubicBezTo>
                        <a:pt x="22" y="35"/>
                        <a:pt x="21" y="34"/>
                        <a:pt x="20" y="34"/>
                      </a:cubicBezTo>
                      <a:cubicBezTo>
                        <a:pt x="17" y="32"/>
                        <a:pt x="15" y="34"/>
                        <a:pt x="13" y="35"/>
                      </a:cubicBezTo>
                      <a:cubicBezTo>
                        <a:pt x="10" y="36"/>
                        <a:pt x="7" y="37"/>
                        <a:pt x="5" y="39"/>
                      </a:cubicBezTo>
                      <a:cubicBezTo>
                        <a:pt x="3" y="40"/>
                        <a:pt x="1" y="42"/>
                        <a:pt x="1" y="45"/>
                      </a:cubicBezTo>
                      <a:cubicBezTo>
                        <a:pt x="0" y="46"/>
                        <a:pt x="0" y="47"/>
                        <a:pt x="0" y="48"/>
                      </a:cubicBezTo>
                      <a:cubicBezTo>
                        <a:pt x="0" y="49"/>
                        <a:pt x="0" y="51"/>
                        <a:pt x="0" y="51"/>
                      </a:cubicBezTo>
                      <a:cubicBezTo>
                        <a:pt x="1" y="52"/>
                        <a:pt x="7" y="50"/>
                        <a:pt x="8" y="50"/>
                      </a:cubicBezTo>
                      <a:cubicBezTo>
                        <a:pt x="9" y="50"/>
                        <a:pt x="15" y="50"/>
                        <a:pt x="13" y="52"/>
                      </a:cubicBezTo>
                      <a:cubicBezTo>
                        <a:pt x="11" y="53"/>
                        <a:pt x="9" y="54"/>
                        <a:pt x="9" y="56"/>
                      </a:cubicBezTo>
                      <a:cubicBezTo>
                        <a:pt x="10" y="57"/>
                        <a:pt x="11" y="58"/>
                        <a:pt x="11" y="59"/>
                      </a:cubicBezTo>
                      <a:cubicBezTo>
                        <a:pt x="11" y="60"/>
                        <a:pt x="12" y="61"/>
                        <a:pt x="13" y="62"/>
                      </a:cubicBezTo>
                      <a:cubicBezTo>
                        <a:pt x="13" y="62"/>
                        <a:pt x="17" y="64"/>
                        <a:pt x="15" y="65"/>
                      </a:cubicBezTo>
                      <a:cubicBezTo>
                        <a:pt x="13" y="65"/>
                        <a:pt x="10" y="67"/>
                        <a:pt x="11" y="69"/>
                      </a:cubicBezTo>
                      <a:cubicBezTo>
                        <a:pt x="12" y="70"/>
                        <a:pt x="16" y="72"/>
                        <a:pt x="15" y="74"/>
                      </a:cubicBezTo>
                      <a:cubicBezTo>
                        <a:pt x="14" y="75"/>
                        <a:pt x="11" y="74"/>
                        <a:pt x="10" y="73"/>
                      </a:cubicBezTo>
                      <a:cubicBezTo>
                        <a:pt x="9" y="73"/>
                        <a:pt x="8" y="71"/>
                        <a:pt x="6" y="71"/>
                      </a:cubicBezTo>
                      <a:cubicBezTo>
                        <a:pt x="5" y="70"/>
                        <a:pt x="5" y="72"/>
                        <a:pt x="5" y="72"/>
                      </a:cubicBezTo>
                      <a:cubicBezTo>
                        <a:pt x="5" y="73"/>
                        <a:pt x="5" y="74"/>
                        <a:pt x="4" y="75"/>
                      </a:cubicBezTo>
                      <a:cubicBezTo>
                        <a:pt x="1" y="77"/>
                        <a:pt x="6" y="77"/>
                        <a:pt x="7" y="77"/>
                      </a:cubicBezTo>
                      <a:cubicBezTo>
                        <a:pt x="8" y="77"/>
                        <a:pt x="10" y="77"/>
                        <a:pt x="11" y="77"/>
                      </a:cubicBezTo>
                      <a:cubicBezTo>
                        <a:pt x="12" y="78"/>
                        <a:pt x="12" y="79"/>
                        <a:pt x="13" y="80"/>
                      </a:cubicBezTo>
                      <a:cubicBezTo>
                        <a:pt x="14" y="82"/>
                        <a:pt x="16" y="81"/>
                        <a:pt x="19" y="82"/>
                      </a:cubicBezTo>
                      <a:cubicBezTo>
                        <a:pt x="19" y="83"/>
                        <a:pt x="19" y="84"/>
                        <a:pt x="19" y="85"/>
                      </a:cubicBezTo>
                      <a:cubicBezTo>
                        <a:pt x="19" y="86"/>
                        <a:pt x="18" y="87"/>
                        <a:pt x="17" y="87"/>
                      </a:cubicBezTo>
                      <a:cubicBezTo>
                        <a:pt x="14" y="88"/>
                        <a:pt x="17" y="89"/>
                        <a:pt x="18" y="90"/>
                      </a:cubicBezTo>
                      <a:cubicBezTo>
                        <a:pt x="18" y="92"/>
                        <a:pt x="18" y="95"/>
                        <a:pt x="21" y="95"/>
                      </a:cubicBezTo>
                      <a:cubicBezTo>
                        <a:pt x="21" y="95"/>
                        <a:pt x="25" y="94"/>
                        <a:pt x="24" y="95"/>
                      </a:cubicBezTo>
                      <a:cubicBezTo>
                        <a:pt x="24" y="96"/>
                        <a:pt x="25" y="97"/>
                        <a:pt x="23" y="98"/>
                      </a:cubicBezTo>
                      <a:cubicBezTo>
                        <a:pt x="22" y="98"/>
                        <a:pt x="20" y="98"/>
                        <a:pt x="19" y="99"/>
                      </a:cubicBezTo>
                      <a:cubicBezTo>
                        <a:pt x="18" y="99"/>
                        <a:pt x="18" y="100"/>
                        <a:pt x="19" y="101"/>
                      </a:cubicBezTo>
                      <a:cubicBezTo>
                        <a:pt x="19" y="102"/>
                        <a:pt x="20" y="102"/>
                        <a:pt x="21" y="101"/>
                      </a:cubicBezTo>
                      <a:cubicBezTo>
                        <a:pt x="24" y="101"/>
                        <a:pt x="27" y="101"/>
                        <a:pt x="30" y="100"/>
                      </a:cubicBezTo>
                      <a:cubicBezTo>
                        <a:pt x="31" y="100"/>
                        <a:pt x="34" y="99"/>
                        <a:pt x="35" y="101"/>
                      </a:cubicBezTo>
                      <a:cubicBezTo>
                        <a:pt x="35" y="102"/>
                        <a:pt x="33" y="103"/>
                        <a:pt x="33" y="104"/>
                      </a:cubicBezTo>
                      <a:cubicBezTo>
                        <a:pt x="32" y="105"/>
                        <a:pt x="32" y="106"/>
                        <a:pt x="33" y="107"/>
                      </a:cubicBezTo>
                      <a:cubicBezTo>
                        <a:pt x="35" y="107"/>
                        <a:pt x="36" y="104"/>
                        <a:pt x="38" y="104"/>
                      </a:cubicBezTo>
                      <a:cubicBezTo>
                        <a:pt x="41" y="103"/>
                        <a:pt x="42" y="106"/>
                        <a:pt x="44" y="107"/>
                      </a:cubicBezTo>
                      <a:cubicBezTo>
                        <a:pt x="45" y="108"/>
                        <a:pt x="46" y="108"/>
                        <a:pt x="47" y="108"/>
                      </a:cubicBezTo>
                      <a:cubicBezTo>
                        <a:pt x="48" y="107"/>
                        <a:pt x="48" y="107"/>
                        <a:pt x="49" y="108"/>
                      </a:cubicBezTo>
                      <a:cubicBezTo>
                        <a:pt x="50" y="109"/>
                        <a:pt x="50" y="110"/>
                        <a:pt x="51" y="112"/>
                      </a:cubicBezTo>
                      <a:cubicBezTo>
                        <a:pt x="52" y="114"/>
                        <a:pt x="54" y="115"/>
                        <a:pt x="56" y="116"/>
                      </a:cubicBezTo>
                      <a:cubicBezTo>
                        <a:pt x="58" y="117"/>
                        <a:pt x="61" y="117"/>
                        <a:pt x="64" y="116"/>
                      </a:cubicBezTo>
                      <a:cubicBezTo>
                        <a:pt x="66" y="116"/>
                        <a:pt x="68" y="114"/>
                        <a:pt x="71" y="115"/>
                      </a:cubicBezTo>
                      <a:cubicBezTo>
                        <a:pt x="73" y="116"/>
                        <a:pt x="74" y="115"/>
                        <a:pt x="74" y="113"/>
                      </a:cubicBezTo>
                      <a:cubicBezTo>
                        <a:pt x="75" y="111"/>
                        <a:pt x="75" y="108"/>
                        <a:pt x="75" y="106"/>
                      </a:cubicBezTo>
                      <a:cubicBezTo>
                        <a:pt x="76" y="103"/>
                        <a:pt x="78" y="103"/>
                        <a:pt x="80" y="103"/>
                      </a:cubicBezTo>
                      <a:cubicBezTo>
                        <a:pt x="83" y="104"/>
                        <a:pt x="86" y="104"/>
                        <a:pt x="89" y="105"/>
                      </a:cubicBezTo>
                      <a:cubicBezTo>
                        <a:pt x="94" y="107"/>
                        <a:pt x="98" y="111"/>
                        <a:pt x="102" y="114"/>
                      </a:cubicBezTo>
                      <a:cubicBezTo>
                        <a:pt x="104" y="115"/>
                        <a:pt x="107" y="117"/>
                        <a:pt x="109" y="118"/>
                      </a:cubicBezTo>
                      <a:cubicBezTo>
                        <a:pt x="112" y="119"/>
                        <a:pt x="116" y="119"/>
                        <a:pt x="119" y="118"/>
                      </a:cubicBezTo>
                      <a:cubicBezTo>
                        <a:pt x="122" y="118"/>
                        <a:pt x="125" y="118"/>
                        <a:pt x="128" y="118"/>
                      </a:cubicBezTo>
                      <a:cubicBezTo>
                        <a:pt x="130" y="117"/>
                        <a:pt x="133" y="116"/>
                        <a:pt x="135" y="114"/>
                      </a:cubicBezTo>
                      <a:cubicBezTo>
                        <a:pt x="137" y="109"/>
                        <a:pt x="142" y="105"/>
                        <a:pt x="148" y="106"/>
                      </a:cubicBezTo>
                      <a:cubicBezTo>
                        <a:pt x="150" y="106"/>
                        <a:pt x="152" y="108"/>
                        <a:pt x="154" y="109"/>
                      </a:cubicBezTo>
                      <a:cubicBezTo>
                        <a:pt x="157" y="110"/>
                        <a:pt x="160" y="108"/>
                        <a:pt x="162" y="106"/>
                      </a:cubicBezTo>
                      <a:cubicBezTo>
                        <a:pt x="164" y="105"/>
                        <a:pt x="165" y="103"/>
                        <a:pt x="168" y="104"/>
                      </a:cubicBezTo>
                      <a:cubicBezTo>
                        <a:pt x="170" y="105"/>
                        <a:pt x="170" y="106"/>
                        <a:pt x="169" y="108"/>
                      </a:cubicBezTo>
                      <a:cubicBezTo>
                        <a:pt x="169" y="109"/>
                        <a:pt x="168" y="111"/>
                        <a:pt x="167" y="112"/>
                      </a:cubicBezTo>
                      <a:cubicBezTo>
                        <a:pt x="166" y="112"/>
                        <a:pt x="166" y="113"/>
                        <a:pt x="165" y="114"/>
                      </a:cubicBezTo>
                      <a:cubicBezTo>
                        <a:pt x="165" y="115"/>
                        <a:pt x="165" y="116"/>
                        <a:pt x="166" y="117"/>
                      </a:cubicBezTo>
                      <a:cubicBezTo>
                        <a:pt x="166" y="118"/>
                        <a:pt x="166" y="119"/>
                        <a:pt x="166" y="121"/>
                      </a:cubicBezTo>
                      <a:cubicBezTo>
                        <a:pt x="166" y="122"/>
                        <a:pt x="166" y="122"/>
                        <a:pt x="168" y="122"/>
                      </a:cubicBezTo>
                      <a:cubicBezTo>
                        <a:pt x="170" y="122"/>
                        <a:pt x="172" y="119"/>
                        <a:pt x="174" y="117"/>
                      </a:cubicBezTo>
                      <a:cubicBezTo>
                        <a:pt x="176" y="115"/>
                        <a:pt x="176" y="113"/>
                        <a:pt x="176" y="110"/>
                      </a:cubicBezTo>
                      <a:cubicBezTo>
                        <a:pt x="176" y="108"/>
                        <a:pt x="177" y="104"/>
                        <a:pt x="180" y="104"/>
                      </a:cubicBezTo>
                      <a:cubicBezTo>
                        <a:pt x="182" y="104"/>
                        <a:pt x="184" y="107"/>
                        <a:pt x="186" y="107"/>
                      </a:cubicBezTo>
                      <a:cubicBezTo>
                        <a:pt x="190" y="107"/>
                        <a:pt x="193" y="106"/>
                        <a:pt x="195" y="105"/>
                      </a:cubicBezTo>
                      <a:cubicBezTo>
                        <a:pt x="198" y="103"/>
                        <a:pt x="200" y="102"/>
                        <a:pt x="203" y="102"/>
                      </a:cubicBezTo>
                      <a:cubicBezTo>
                        <a:pt x="206" y="101"/>
                        <a:pt x="209" y="102"/>
                        <a:pt x="212" y="103"/>
                      </a:cubicBezTo>
                      <a:cubicBezTo>
                        <a:pt x="214" y="104"/>
                        <a:pt x="217" y="105"/>
                        <a:pt x="220" y="105"/>
                      </a:cubicBezTo>
                      <a:cubicBezTo>
                        <a:pt x="223" y="106"/>
                        <a:pt x="226" y="105"/>
                        <a:pt x="229" y="105"/>
                      </a:cubicBezTo>
                      <a:cubicBezTo>
                        <a:pt x="235" y="103"/>
                        <a:pt x="240" y="100"/>
                        <a:pt x="246" y="98"/>
                      </a:cubicBezTo>
                      <a:cubicBezTo>
                        <a:pt x="249" y="97"/>
                        <a:pt x="252" y="97"/>
                        <a:pt x="255" y="97"/>
                      </a:cubicBezTo>
                      <a:cubicBezTo>
                        <a:pt x="258" y="97"/>
                        <a:pt x="261" y="97"/>
                        <a:pt x="265" y="97"/>
                      </a:cubicBezTo>
                      <a:cubicBezTo>
                        <a:pt x="267" y="96"/>
                        <a:pt x="270" y="94"/>
                        <a:pt x="273" y="95"/>
                      </a:cubicBezTo>
                      <a:cubicBezTo>
                        <a:pt x="274" y="95"/>
                        <a:pt x="275" y="95"/>
                        <a:pt x="277" y="96"/>
                      </a:cubicBezTo>
                      <a:cubicBezTo>
                        <a:pt x="278" y="96"/>
                        <a:pt x="278" y="96"/>
                        <a:pt x="279" y="95"/>
                      </a:cubicBezTo>
                      <a:cubicBezTo>
                        <a:pt x="281" y="93"/>
                        <a:pt x="283" y="92"/>
                        <a:pt x="285" y="92"/>
                      </a:cubicBezTo>
                      <a:cubicBezTo>
                        <a:pt x="288" y="92"/>
                        <a:pt x="290" y="93"/>
                        <a:pt x="293" y="94"/>
                      </a:cubicBezTo>
                      <a:cubicBezTo>
                        <a:pt x="296" y="94"/>
                        <a:pt x="299" y="94"/>
                        <a:pt x="301" y="94"/>
                      </a:cubicBezTo>
                      <a:cubicBezTo>
                        <a:pt x="304" y="94"/>
                        <a:pt x="307" y="93"/>
                        <a:pt x="308" y="96"/>
                      </a:cubicBezTo>
                      <a:cubicBezTo>
                        <a:pt x="309" y="98"/>
                        <a:pt x="309" y="99"/>
                        <a:pt x="312" y="99"/>
                      </a:cubicBezTo>
                      <a:cubicBezTo>
                        <a:pt x="313" y="99"/>
                        <a:pt x="314" y="98"/>
                        <a:pt x="316" y="98"/>
                      </a:cubicBezTo>
                      <a:cubicBezTo>
                        <a:pt x="317" y="97"/>
                        <a:pt x="316" y="96"/>
                        <a:pt x="316" y="96"/>
                      </a:cubicBezTo>
                      <a:cubicBezTo>
                        <a:pt x="314" y="94"/>
                        <a:pt x="312" y="94"/>
                        <a:pt x="312" y="92"/>
                      </a:cubicBezTo>
                      <a:cubicBezTo>
                        <a:pt x="312" y="90"/>
                        <a:pt x="312" y="89"/>
                        <a:pt x="312" y="88"/>
                      </a:cubicBezTo>
                      <a:cubicBezTo>
                        <a:pt x="311" y="86"/>
                        <a:pt x="310" y="86"/>
                        <a:pt x="309" y="85"/>
                      </a:cubicBezTo>
                      <a:cubicBezTo>
                        <a:pt x="307" y="84"/>
                        <a:pt x="307" y="82"/>
                        <a:pt x="308" y="80"/>
                      </a:cubicBezTo>
                      <a:cubicBezTo>
                        <a:pt x="309" y="78"/>
                        <a:pt x="310" y="77"/>
                        <a:pt x="310" y="77"/>
                      </a:cubicBezTo>
                      <a:cubicBezTo>
                        <a:pt x="311" y="75"/>
                        <a:pt x="312" y="75"/>
                        <a:pt x="310" y="75"/>
                      </a:cubicBezTo>
                      <a:cubicBezTo>
                        <a:pt x="308" y="74"/>
                        <a:pt x="308" y="72"/>
                        <a:pt x="308" y="70"/>
                      </a:cubicBezTo>
                      <a:cubicBezTo>
                        <a:pt x="309" y="67"/>
                        <a:pt x="309" y="66"/>
                        <a:pt x="307" y="64"/>
                      </a:cubicBezTo>
                      <a:cubicBezTo>
                        <a:pt x="305" y="62"/>
                        <a:pt x="304" y="60"/>
                        <a:pt x="304" y="58"/>
                      </a:cubicBezTo>
                      <a:cubicBezTo>
                        <a:pt x="303" y="56"/>
                        <a:pt x="303" y="52"/>
                        <a:pt x="306" y="53"/>
                      </a:cubicBezTo>
                      <a:cubicBezTo>
                        <a:pt x="312" y="54"/>
                        <a:pt x="309" y="46"/>
                        <a:pt x="313" y="46"/>
                      </a:cubicBezTo>
                      <a:cubicBezTo>
                        <a:pt x="313" y="44"/>
                        <a:pt x="312" y="43"/>
                        <a:pt x="310" y="43"/>
                      </a:cubicBezTo>
                      <a:cubicBezTo>
                        <a:pt x="307" y="42"/>
                        <a:pt x="304" y="42"/>
                        <a:pt x="301" y="41"/>
                      </a:cubicBezTo>
                      <a:cubicBezTo>
                        <a:pt x="300" y="40"/>
                        <a:pt x="297" y="39"/>
                        <a:pt x="297" y="36"/>
                      </a:cubicBezTo>
                      <a:cubicBezTo>
                        <a:pt x="297" y="34"/>
                        <a:pt x="297" y="31"/>
                        <a:pt x="297" y="28"/>
                      </a:cubicBezTo>
                      <a:cubicBezTo>
                        <a:pt x="297" y="26"/>
                        <a:pt x="297" y="23"/>
                        <a:pt x="296" y="21"/>
                      </a:cubicBezTo>
                      <a:cubicBezTo>
                        <a:pt x="294" y="19"/>
                        <a:pt x="292" y="18"/>
                        <a:pt x="290" y="16"/>
                      </a:cubicBezTo>
                      <a:cubicBezTo>
                        <a:pt x="287" y="13"/>
                        <a:pt x="283" y="8"/>
                        <a:pt x="278" y="12"/>
                      </a:cubicBezTo>
                      <a:cubicBezTo>
                        <a:pt x="276" y="14"/>
                        <a:pt x="274" y="13"/>
                        <a:pt x="272" y="12"/>
                      </a:cubicBezTo>
                      <a:cubicBezTo>
                        <a:pt x="269" y="12"/>
                        <a:pt x="266" y="13"/>
                        <a:pt x="264" y="13"/>
                      </a:cubicBezTo>
                      <a:cubicBezTo>
                        <a:pt x="262" y="13"/>
                        <a:pt x="261" y="13"/>
                        <a:pt x="259" y="12"/>
                      </a:cubicBezTo>
                      <a:cubicBezTo>
                        <a:pt x="259" y="13"/>
                        <a:pt x="258" y="13"/>
                        <a:pt x="257" y="14"/>
                      </a:cubicBezTo>
                      <a:cubicBezTo>
                        <a:pt x="255" y="16"/>
                        <a:pt x="252" y="17"/>
                        <a:pt x="250" y="18"/>
                      </a:cubicBezTo>
                      <a:cubicBezTo>
                        <a:pt x="247" y="18"/>
                        <a:pt x="246" y="20"/>
                        <a:pt x="244" y="21"/>
                      </a:cubicBezTo>
                      <a:cubicBezTo>
                        <a:pt x="241" y="22"/>
                        <a:pt x="239" y="23"/>
                        <a:pt x="237" y="22"/>
                      </a:cubicBezTo>
                      <a:cubicBezTo>
                        <a:pt x="234" y="22"/>
                        <a:pt x="231" y="21"/>
                        <a:pt x="228" y="20"/>
                      </a:cubicBezTo>
                      <a:cubicBezTo>
                        <a:pt x="226" y="20"/>
                        <a:pt x="224" y="19"/>
                        <a:pt x="222" y="19"/>
                      </a:cubicBezTo>
                      <a:cubicBezTo>
                        <a:pt x="222" y="19"/>
                        <a:pt x="222" y="19"/>
                        <a:pt x="222" y="19"/>
                      </a:cubicBezTo>
                      <a:cubicBezTo>
                        <a:pt x="216" y="19"/>
                        <a:pt x="222" y="19"/>
                        <a:pt x="222" y="19"/>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grpSp>
          <p:sp>
            <p:nvSpPr>
              <p:cNvPr id="250" name="Freeform 243">
                <a:extLst>
                  <a:ext uri="{FF2B5EF4-FFF2-40B4-BE49-F238E27FC236}">
                    <a16:creationId xmlns:a16="http://schemas.microsoft.com/office/drawing/2014/main" id="{C398FA60-6245-7E9F-4BA3-800A7EF3B2BF}"/>
                  </a:ext>
                </a:extLst>
              </p:cNvPr>
              <p:cNvSpPr/>
              <p:nvPr>
                <p:custDataLst>
                  <p:tags r:id="rId188"/>
                </p:custDataLst>
              </p:nvPr>
            </p:nvSpPr>
            <p:spPr bwMode="auto">
              <a:xfrm>
                <a:off x="6572592" y="3302178"/>
                <a:ext cx="76533" cy="70155"/>
              </a:xfrm>
              <a:custGeom>
                <a:avLst/>
                <a:gdLst>
                  <a:gd name="T0" fmla="*/ 43 w 52"/>
                  <a:gd name="T1" fmla="*/ 41 h 47"/>
                  <a:gd name="T2" fmla="*/ 44 w 52"/>
                  <a:gd name="T3" fmla="*/ 44 h 47"/>
                  <a:gd name="T4" fmla="*/ 44 w 52"/>
                  <a:gd name="T5" fmla="*/ 47 h 47"/>
                  <a:gd name="T6" fmla="*/ 48 w 52"/>
                  <a:gd name="T7" fmla="*/ 46 h 47"/>
                  <a:gd name="T8" fmla="*/ 52 w 52"/>
                  <a:gd name="T9" fmla="*/ 44 h 47"/>
                  <a:gd name="T10" fmla="*/ 49 w 52"/>
                  <a:gd name="T11" fmla="*/ 38 h 47"/>
                  <a:gd name="T12" fmla="*/ 47 w 52"/>
                  <a:gd name="T13" fmla="*/ 33 h 47"/>
                  <a:gd name="T14" fmla="*/ 41 w 52"/>
                  <a:gd name="T15" fmla="*/ 30 h 47"/>
                  <a:gd name="T16" fmla="*/ 37 w 52"/>
                  <a:gd name="T17" fmla="*/ 23 h 47"/>
                  <a:gd name="T18" fmla="*/ 37 w 52"/>
                  <a:gd name="T19" fmla="*/ 18 h 47"/>
                  <a:gd name="T20" fmla="*/ 33 w 52"/>
                  <a:gd name="T21" fmla="*/ 14 h 47"/>
                  <a:gd name="T22" fmla="*/ 32 w 52"/>
                  <a:gd name="T23" fmla="*/ 11 h 47"/>
                  <a:gd name="T24" fmla="*/ 32 w 52"/>
                  <a:gd name="T25" fmla="*/ 8 h 47"/>
                  <a:gd name="T26" fmla="*/ 28 w 52"/>
                  <a:gd name="T27" fmla="*/ 3 h 47"/>
                  <a:gd name="T28" fmla="*/ 23 w 52"/>
                  <a:gd name="T29" fmla="*/ 0 h 47"/>
                  <a:gd name="T30" fmla="*/ 15 w 52"/>
                  <a:gd name="T31" fmla="*/ 0 h 47"/>
                  <a:gd name="T32" fmla="*/ 7 w 52"/>
                  <a:gd name="T33" fmla="*/ 1 h 47"/>
                  <a:gd name="T34" fmla="*/ 0 w 52"/>
                  <a:gd name="T35" fmla="*/ 2 h 47"/>
                  <a:gd name="T36" fmla="*/ 2 w 52"/>
                  <a:gd name="T37" fmla="*/ 10 h 47"/>
                  <a:gd name="T38" fmla="*/ 2 w 52"/>
                  <a:gd name="T39" fmla="*/ 15 h 47"/>
                  <a:gd name="T40" fmla="*/ 2 w 52"/>
                  <a:gd name="T41" fmla="*/ 19 h 47"/>
                  <a:gd name="T42" fmla="*/ 10 w 52"/>
                  <a:gd name="T43" fmla="*/ 22 h 47"/>
                  <a:gd name="T44" fmla="*/ 17 w 52"/>
                  <a:gd name="T45" fmla="*/ 24 h 47"/>
                  <a:gd name="T46" fmla="*/ 18 w 52"/>
                  <a:gd name="T47" fmla="*/ 26 h 47"/>
                  <a:gd name="T48" fmla="*/ 20 w 52"/>
                  <a:gd name="T49" fmla="*/ 26 h 47"/>
                  <a:gd name="T50" fmla="*/ 24 w 52"/>
                  <a:gd name="T51" fmla="*/ 27 h 47"/>
                  <a:gd name="T52" fmla="*/ 28 w 52"/>
                  <a:gd name="T53" fmla="*/ 29 h 47"/>
                  <a:gd name="T54" fmla="*/ 32 w 52"/>
                  <a:gd name="T55" fmla="*/ 32 h 47"/>
                  <a:gd name="T56" fmla="*/ 36 w 52"/>
                  <a:gd name="T57" fmla="*/ 33 h 47"/>
                  <a:gd name="T58" fmla="*/ 39 w 52"/>
                  <a:gd name="T59" fmla="*/ 35 h 47"/>
                  <a:gd name="T60" fmla="*/ 43 w 52"/>
                  <a:gd name="T61" fmla="*/ 42 h 47"/>
                  <a:gd name="T62" fmla="*/ 43 w 52"/>
                  <a:gd name="T63" fmla="*/ 41 h 47"/>
                  <a:gd name="T64" fmla="*/ 43 w 52"/>
                  <a:gd name="T65" fmla="*/ 4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 h="47">
                    <a:moveTo>
                      <a:pt x="43" y="41"/>
                    </a:moveTo>
                    <a:cubicBezTo>
                      <a:pt x="43" y="42"/>
                      <a:pt x="43" y="43"/>
                      <a:pt x="44" y="44"/>
                    </a:cubicBezTo>
                    <a:cubicBezTo>
                      <a:pt x="44" y="45"/>
                      <a:pt x="44" y="46"/>
                      <a:pt x="44" y="47"/>
                    </a:cubicBezTo>
                    <a:cubicBezTo>
                      <a:pt x="45" y="47"/>
                      <a:pt x="47" y="47"/>
                      <a:pt x="48" y="46"/>
                    </a:cubicBezTo>
                    <a:cubicBezTo>
                      <a:pt x="49" y="46"/>
                      <a:pt x="50" y="45"/>
                      <a:pt x="52" y="44"/>
                    </a:cubicBezTo>
                    <a:cubicBezTo>
                      <a:pt x="50" y="42"/>
                      <a:pt x="49" y="41"/>
                      <a:pt x="49" y="38"/>
                    </a:cubicBezTo>
                    <a:cubicBezTo>
                      <a:pt x="49" y="36"/>
                      <a:pt x="49" y="35"/>
                      <a:pt x="47" y="33"/>
                    </a:cubicBezTo>
                    <a:cubicBezTo>
                      <a:pt x="45" y="32"/>
                      <a:pt x="43" y="31"/>
                      <a:pt x="41" y="30"/>
                    </a:cubicBezTo>
                    <a:cubicBezTo>
                      <a:pt x="39" y="29"/>
                      <a:pt x="35" y="27"/>
                      <a:pt x="37" y="23"/>
                    </a:cubicBezTo>
                    <a:cubicBezTo>
                      <a:pt x="37" y="22"/>
                      <a:pt x="38" y="20"/>
                      <a:pt x="37" y="18"/>
                    </a:cubicBezTo>
                    <a:cubicBezTo>
                      <a:pt x="36" y="17"/>
                      <a:pt x="34" y="16"/>
                      <a:pt x="33" y="14"/>
                    </a:cubicBezTo>
                    <a:cubicBezTo>
                      <a:pt x="33" y="13"/>
                      <a:pt x="32" y="12"/>
                      <a:pt x="32" y="11"/>
                    </a:cubicBezTo>
                    <a:cubicBezTo>
                      <a:pt x="32" y="10"/>
                      <a:pt x="32" y="9"/>
                      <a:pt x="32" y="8"/>
                    </a:cubicBezTo>
                    <a:cubicBezTo>
                      <a:pt x="32" y="6"/>
                      <a:pt x="30" y="4"/>
                      <a:pt x="28" y="3"/>
                    </a:cubicBezTo>
                    <a:cubicBezTo>
                      <a:pt x="27" y="2"/>
                      <a:pt x="25" y="0"/>
                      <a:pt x="23" y="0"/>
                    </a:cubicBezTo>
                    <a:cubicBezTo>
                      <a:pt x="21" y="1"/>
                      <a:pt x="18" y="0"/>
                      <a:pt x="15" y="0"/>
                    </a:cubicBezTo>
                    <a:cubicBezTo>
                      <a:pt x="12" y="0"/>
                      <a:pt x="10" y="1"/>
                      <a:pt x="7" y="1"/>
                    </a:cubicBezTo>
                    <a:cubicBezTo>
                      <a:pt x="5" y="1"/>
                      <a:pt x="2" y="1"/>
                      <a:pt x="0" y="2"/>
                    </a:cubicBezTo>
                    <a:cubicBezTo>
                      <a:pt x="2" y="4"/>
                      <a:pt x="2" y="7"/>
                      <a:pt x="2" y="10"/>
                    </a:cubicBezTo>
                    <a:cubicBezTo>
                      <a:pt x="2" y="12"/>
                      <a:pt x="2" y="13"/>
                      <a:pt x="2" y="15"/>
                    </a:cubicBezTo>
                    <a:cubicBezTo>
                      <a:pt x="2" y="16"/>
                      <a:pt x="2" y="18"/>
                      <a:pt x="2" y="19"/>
                    </a:cubicBezTo>
                    <a:cubicBezTo>
                      <a:pt x="4" y="21"/>
                      <a:pt x="8" y="22"/>
                      <a:pt x="10" y="22"/>
                    </a:cubicBezTo>
                    <a:cubicBezTo>
                      <a:pt x="12" y="22"/>
                      <a:pt x="15" y="22"/>
                      <a:pt x="17" y="24"/>
                    </a:cubicBezTo>
                    <a:cubicBezTo>
                      <a:pt x="18" y="25"/>
                      <a:pt x="18" y="25"/>
                      <a:pt x="18" y="26"/>
                    </a:cubicBezTo>
                    <a:cubicBezTo>
                      <a:pt x="18" y="27"/>
                      <a:pt x="18" y="27"/>
                      <a:pt x="20" y="26"/>
                    </a:cubicBezTo>
                    <a:cubicBezTo>
                      <a:pt x="21" y="26"/>
                      <a:pt x="23" y="26"/>
                      <a:pt x="24" y="27"/>
                    </a:cubicBezTo>
                    <a:cubicBezTo>
                      <a:pt x="26" y="28"/>
                      <a:pt x="27" y="28"/>
                      <a:pt x="28" y="29"/>
                    </a:cubicBezTo>
                    <a:cubicBezTo>
                      <a:pt x="29" y="30"/>
                      <a:pt x="30" y="32"/>
                      <a:pt x="32" y="32"/>
                    </a:cubicBezTo>
                    <a:cubicBezTo>
                      <a:pt x="33" y="33"/>
                      <a:pt x="34" y="33"/>
                      <a:pt x="36" y="33"/>
                    </a:cubicBezTo>
                    <a:cubicBezTo>
                      <a:pt x="37" y="34"/>
                      <a:pt x="38" y="34"/>
                      <a:pt x="39" y="35"/>
                    </a:cubicBezTo>
                    <a:cubicBezTo>
                      <a:pt x="41" y="37"/>
                      <a:pt x="42" y="40"/>
                      <a:pt x="43" y="42"/>
                    </a:cubicBezTo>
                    <a:cubicBezTo>
                      <a:pt x="43" y="42"/>
                      <a:pt x="43" y="41"/>
                      <a:pt x="43" y="41"/>
                    </a:cubicBezTo>
                    <a:cubicBezTo>
                      <a:pt x="43" y="43"/>
                      <a:pt x="43" y="41"/>
                      <a:pt x="43" y="41"/>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51" name="Freeform 244">
                <a:extLst>
                  <a:ext uri="{FF2B5EF4-FFF2-40B4-BE49-F238E27FC236}">
                    <a16:creationId xmlns:a16="http://schemas.microsoft.com/office/drawing/2014/main" id="{0AB0CB0A-DD29-ADC1-3130-ED996D67DD5C}"/>
                  </a:ext>
                </a:extLst>
              </p:cNvPr>
              <p:cNvSpPr/>
              <p:nvPr>
                <p:custDataLst>
                  <p:tags r:id="rId189"/>
                </p:custDataLst>
              </p:nvPr>
            </p:nvSpPr>
            <p:spPr bwMode="auto">
              <a:xfrm>
                <a:off x="6219266" y="4433588"/>
                <a:ext cx="272967" cy="271692"/>
              </a:xfrm>
              <a:custGeom>
                <a:avLst/>
                <a:gdLst>
                  <a:gd name="T0" fmla="*/ 160 w 183"/>
                  <a:gd name="T1" fmla="*/ 68 h 182"/>
                  <a:gd name="T2" fmla="*/ 160 w 183"/>
                  <a:gd name="T3" fmla="*/ 62 h 182"/>
                  <a:gd name="T4" fmla="*/ 141 w 183"/>
                  <a:gd name="T5" fmla="*/ 48 h 182"/>
                  <a:gd name="T6" fmla="*/ 134 w 183"/>
                  <a:gd name="T7" fmla="*/ 37 h 182"/>
                  <a:gd name="T8" fmla="*/ 119 w 183"/>
                  <a:gd name="T9" fmla="*/ 27 h 182"/>
                  <a:gd name="T10" fmla="*/ 78 w 183"/>
                  <a:gd name="T11" fmla="*/ 4 h 182"/>
                  <a:gd name="T12" fmla="*/ 73 w 183"/>
                  <a:gd name="T13" fmla="*/ 6 h 182"/>
                  <a:gd name="T14" fmla="*/ 66 w 183"/>
                  <a:gd name="T15" fmla="*/ 13 h 182"/>
                  <a:gd name="T16" fmla="*/ 60 w 183"/>
                  <a:gd name="T17" fmla="*/ 19 h 182"/>
                  <a:gd name="T18" fmla="*/ 66 w 183"/>
                  <a:gd name="T19" fmla="*/ 26 h 182"/>
                  <a:gd name="T20" fmla="*/ 55 w 183"/>
                  <a:gd name="T21" fmla="*/ 31 h 182"/>
                  <a:gd name="T22" fmla="*/ 52 w 183"/>
                  <a:gd name="T23" fmla="*/ 30 h 182"/>
                  <a:gd name="T24" fmla="*/ 51 w 183"/>
                  <a:gd name="T25" fmla="*/ 25 h 182"/>
                  <a:gd name="T26" fmla="*/ 47 w 183"/>
                  <a:gd name="T27" fmla="*/ 23 h 182"/>
                  <a:gd name="T28" fmla="*/ 40 w 183"/>
                  <a:gd name="T29" fmla="*/ 23 h 182"/>
                  <a:gd name="T30" fmla="*/ 34 w 183"/>
                  <a:gd name="T31" fmla="*/ 27 h 182"/>
                  <a:gd name="T32" fmla="*/ 33 w 183"/>
                  <a:gd name="T33" fmla="*/ 18 h 182"/>
                  <a:gd name="T34" fmla="*/ 35 w 183"/>
                  <a:gd name="T35" fmla="*/ 6 h 182"/>
                  <a:gd name="T36" fmla="*/ 30 w 183"/>
                  <a:gd name="T37" fmla="*/ 1 h 182"/>
                  <a:gd name="T38" fmla="*/ 15 w 183"/>
                  <a:gd name="T39" fmla="*/ 1 h 182"/>
                  <a:gd name="T40" fmla="*/ 19 w 183"/>
                  <a:gd name="T41" fmla="*/ 22 h 182"/>
                  <a:gd name="T42" fmla="*/ 21 w 183"/>
                  <a:gd name="T43" fmla="*/ 34 h 182"/>
                  <a:gd name="T44" fmla="*/ 13 w 183"/>
                  <a:gd name="T45" fmla="*/ 47 h 182"/>
                  <a:gd name="T46" fmla="*/ 1 w 183"/>
                  <a:gd name="T47" fmla="*/ 58 h 182"/>
                  <a:gd name="T48" fmla="*/ 3 w 183"/>
                  <a:gd name="T49" fmla="*/ 69 h 182"/>
                  <a:gd name="T50" fmla="*/ 5 w 183"/>
                  <a:gd name="T51" fmla="*/ 82 h 182"/>
                  <a:gd name="T52" fmla="*/ 9 w 183"/>
                  <a:gd name="T53" fmla="*/ 94 h 182"/>
                  <a:gd name="T54" fmla="*/ 22 w 183"/>
                  <a:gd name="T55" fmla="*/ 113 h 182"/>
                  <a:gd name="T56" fmla="*/ 27 w 183"/>
                  <a:gd name="T57" fmla="*/ 128 h 182"/>
                  <a:gd name="T58" fmla="*/ 60 w 183"/>
                  <a:gd name="T59" fmla="*/ 143 h 182"/>
                  <a:gd name="T60" fmla="*/ 72 w 183"/>
                  <a:gd name="T61" fmla="*/ 146 h 182"/>
                  <a:gd name="T62" fmla="*/ 84 w 183"/>
                  <a:gd name="T63" fmla="*/ 154 h 182"/>
                  <a:gd name="T64" fmla="*/ 85 w 183"/>
                  <a:gd name="T65" fmla="*/ 169 h 182"/>
                  <a:gd name="T66" fmla="*/ 90 w 183"/>
                  <a:gd name="T67" fmla="*/ 179 h 182"/>
                  <a:gd name="T68" fmla="*/ 101 w 183"/>
                  <a:gd name="T69" fmla="*/ 179 h 182"/>
                  <a:gd name="T70" fmla="*/ 115 w 183"/>
                  <a:gd name="T71" fmla="*/ 182 h 182"/>
                  <a:gd name="T72" fmla="*/ 130 w 183"/>
                  <a:gd name="T73" fmla="*/ 181 h 182"/>
                  <a:gd name="T74" fmla="*/ 141 w 183"/>
                  <a:gd name="T75" fmla="*/ 174 h 182"/>
                  <a:gd name="T76" fmla="*/ 156 w 183"/>
                  <a:gd name="T77" fmla="*/ 173 h 182"/>
                  <a:gd name="T78" fmla="*/ 165 w 183"/>
                  <a:gd name="T79" fmla="*/ 171 h 182"/>
                  <a:gd name="T80" fmla="*/ 176 w 183"/>
                  <a:gd name="T81" fmla="*/ 158 h 182"/>
                  <a:gd name="T82" fmla="*/ 169 w 183"/>
                  <a:gd name="T83" fmla="*/ 150 h 182"/>
                  <a:gd name="T84" fmla="*/ 167 w 183"/>
                  <a:gd name="T85" fmla="*/ 144 h 182"/>
                  <a:gd name="T86" fmla="*/ 167 w 183"/>
                  <a:gd name="T87" fmla="*/ 137 h 182"/>
                  <a:gd name="T88" fmla="*/ 163 w 183"/>
                  <a:gd name="T89" fmla="*/ 125 h 182"/>
                  <a:gd name="T90" fmla="*/ 165 w 183"/>
                  <a:gd name="T91" fmla="*/ 113 h 182"/>
                  <a:gd name="T92" fmla="*/ 165 w 183"/>
                  <a:gd name="T93" fmla="*/ 101 h 182"/>
                  <a:gd name="T94" fmla="*/ 156 w 183"/>
                  <a:gd name="T95" fmla="*/ 92 h 182"/>
                  <a:gd name="T96" fmla="*/ 159 w 183"/>
                  <a:gd name="T97" fmla="*/ 70 h 182"/>
                  <a:gd name="T98" fmla="*/ 158 w 183"/>
                  <a:gd name="T99" fmla="*/ 7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 h="182">
                    <a:moveTo>
                      <a:pt x="158" y="72"/>
                    </a:moveTo>
                    <a:cubicBezTo>
                      <a:pt x="159" y="71"/>
                      <a:pt x="160" y="69"/>
                      <a:pt x="160" y="68"/>
                    </a:cubicBezTo>
                    <a:cubicBezTo>
                      <a:pt x="160" y="67"/>
                      <a:pt x="160" y="65"/>
                      <a:pt x="160" y="64"/>
                    </a:cubicBezTo>
                    <a:cubicBezTo>
                      <a:pt x="161" y="63"/>
                      <a:pt x="161" y="63"/>
                      <a:pt x="160" y="62"/>
                    </a:cubicBezTo>
                    <a:cubicBezTo>
                      <a:pt x="159" y="61"/>
                      <a:pt x="157" y="60"/>
                      <a:pt x="156" y="59"/>
                    </a:cubicBezTo>
                    <a:cubicBezTo>
                      <a:pt x="151" y="56"/>
                      <a:pt x="146" y="52"/>
                      <a:pt x="141" y="48"/>
                    </a:cubicBezTo>
                    <a:cubicBezTo>
                      <a:pt x="139" y="47"/>
                      <a:pt x="136" y="45"/>
                      <a:pt x="136" y="43"/>
                    </a:cubicBezTo>
                    <a:cubicBezTo>
                      <a:pt x="135" y="41"/>
                      <a:pt x="136" y="38"/>
                      <a:pt x="134" y="37"/>
                    </a:cubicBezTo>
                    <a:cubicBezTo>
                      <a:pt x="133" y="35"/>
                      <a:pt x="130" y="34"/>
                      <a:pt x="128" y="32"/>
                    </a:cubicBezTo>
                    <a:cubicBezTo>
                      <a:pt x="125" y="31"/>
                      <a:pt x="122" y="29"/>
                      <a:pt x="119" y="27"/>
                    </a:cubicBezTo>
                    <a:cubicBezTo>
                      <a:pt x="108" y="21"/>
                      <a:pt x="97" y="14"/>
                      <a:pt x="86" y="8"/>
                    </a:cubicBezTo>
                    <a:cubicBezTo>
                      <a:pt x="83" y="7"/>
                      <a:pt x="80" y="5"/>
                      <a:pt x="78" y="4"/>
                    </a:cubicBezTo>
                    <a:cubicBezTo>
                      <a:pt x="77" y="3"/>
                      <a:pt x="73" y="0"/>
                      <a:pt x="73" y="2"/>
                    </a:cubicBezTo>
                    <a:cubicBezTo>
                      <a:pt x="72" y="3"/>
                      <a:pt x="73" y="5"/>
                      <a:pt x="73" y="6"/>
                    </a:cubicBezTo>
                    <a:cubicBezTo>
                      <a:pt x="72" y="8"/>
                      <a:pt x="68" y="8"/>
                      <a:pt x="67" y="9"/>
                    </a:cubicBezTo>
                    <a:cubicBezTo>
                      <a:pt x="65" y="10"/>
                      <a:pt x="66" y="11"/>
                      <a:pt x="66" y="13"/>
                    </a:cubicBezTo>
                    <a:cubicBezTo>
                      <a:pt x="66" y="16"/>
                      <a:pt x="63" y="15"/>
                      <a:pt x="61" y="15"/>
                    </a:cubicBezTo>
                    <a:cubicBezTo>
                      <a:pt x="60" y="16"/>
                      <a:pt x="58" y="19"/>
                      <a:pt x="60" y="19"/>
                    </a:cubicBezTo>
                    <a:cubicBezTo>
                      <a:pt x="63" y="20"/>
                      <a:pt x="65" y="19"/>
                      <a:pt x="67" y="19"/>
                    </a:cubicBezTo>
                    <a:cubicBezTo>
                      <a:pt x="71" y="19"/>
                      <a:pt x="67" y="25"/>
                      <a:pt x="66" y="26"/>
                    </a:cubicBezTo>
                    <a:cubicBezTo>
                      <a:pt x="63" y="27"/>
                      <a:pt x="61" y="26"/>
                      <a:pt x="59" y="25"/>
                    </a:cubicBezTo>
                    <a:cubicBezTo>
                      <a:pt x="56" y="25"/>
                      <a:pt x="55" y="29"/>
                      <a:pt x="55" y="31"/>
                    </a:cubicBezTo>
                    <a:cubicBezTo>
                      <a:pt x="55" y="33"/>
                      <a:pt x="54" y="34"/>
                      <a:pt x="52" y="33"/>
                    </a:cubicBezTo>
                    <a:cubicBezTo>
                      <a:pt x="50" y="33"/>
                      <a:pt x="52" y="31"/>
                      <a:pt x="52" y="30"/>
                    </a:cubicBezTo>
                    <a:cubicBezTo>
                      <a:pt x="53" y="29"/>
                      <a:pt x="53" y="27"/>
                      <a:pt x="52" y="26"/>
                    </a:cubicBezTo>
                    <a:cubicBezTo>
                      <a:pt x="52" y="25"/>
                      <a:pt x="52" y="25"/>
                      <a:pt x="51" y="25"/>
                    </a:cubicBezTo>
                    <a:cubicBezTo>
                      <a:pt x="50" y="24"/>
                      <a:pt x="49" y="25"/>
                      <a:pt x="49" y="25"/>
                    </a:cubicBezTo>
                    <a:cubicBezTo>
                      <a:pt x="48" y="24"/>
                      <a:pt x="48" y="23"/>
                      <a:pt x="47" y="23"/>
                    </a:cubicBezTo>
                    <a:cubicBezTo>
                      <a:pt x="47" y="22"/>
                      <a:pt x="46" y="21"/>
                      <a:pt x="45" y="21"/>
                    </a:cubicBezTo>
                    <a:cubicBezTo>
                      <a:pt x="42" y="20"/>
                      <a:pt x="41" y="21"/>
                      <a:pt x="40" y="23"/>
                    </a:cubicBezTo>
                    <a:cubicBezTo>
                      <a:pt x="39" y="24"/>
                      <a:pt x="40" y="27"/>
                      <a:pt x="39" y="28"/>
                    </a:cubicBezTo>
                    <a:cubicBezTo>
                      <a:pt x="38" y="29"/>
                      <a:pt x="35" y="29"/>
                      <a:pt x="34" y="27"/>
                    </a:cubicBezTo>
                    <a:cubicBezTo>
                      <a:pt x="34" y="26"/>
                      <a:pt x="34" y="24"/>
                      <a:pt x="34" y="23"/>
                    </a:cubicBezTo>
                    <a:cubicBezTo>
                      <a:pt x="34" y="21"/>
                      <a:pt x="34" y="19"/>
                      <a:pt x="33" y="18"/>
                    </a:cubicBezTo>
                    <a:cubicBezTo>
                      <a:pt x="32" y="16"/>
                      <a:pt x="32" y="14"/>
                      <a:pt x="32" y="11"/>
                    </a:cubicBezTo>
                    <a:cubicBezTo>
                      <a:pt x="32" y="9"/>
                      <a:pt x="33" y="8"/>
                      <a:pt x="35" y="6"/>
                    </a:cubicBezTo>
                    <a:cubicBezTo>
                      <a:pt x="36" y="5"/>
                      <a:pt x="37" y="3"/>
                      <a:pt x="37" y="1"/>
                    </a:cubicBezTo>
                    <a:cubicBezTo>
                      <a:pt x="34" y="1"/>
                      <a:pt x="32" y="1"/>
                      <a:pt x="30" y="1"/>
                    </a:cubicBezTo>
                    <a:cubicBezTo>
                      <a:pt x="27" y="1"/>
                      <a:pt x="24" y="1"/>
                      <a:pt x="22" y="1"/>
                    </a:cubicBezTo>
                    <a:cubicBezTo>
                      <a:pt x="19" y="1"/>
                      <a:pt x="17" y="0"/>
                      <a:pt x="15" y="1"/>
                    </a:cubicBezTo>
                    <a:cubicBezTo>
                      <a:pt x="18" y="6"/>
                      <a:pt x="21" y="10"/>
                      <a:pt x="21" y="16"/>
                    </a:cubicBezTo>
                    <a:cubicBezTo>
                      <a:pt x="21" y="18"/>
                      <a:pt x="21" y="21"/>
                      <a:pt x="19" y="22"/>
                    </a:cubicBezTo>
                    <a:cubicBezTo>
                      <a:pt x="18" y="24"/>
                      <a:pt x="16" y="26"/>
                      <a:pt x="15" y="29"/>
                    </a:cubicBezTo>
                    <a:cubicBezTo>
                      <a:pt x="14" y="32"/>
                      <a:pt x="19" y="32"/>
                      <a:pt x="21" y="34"/>
                    </a:cubicBezTo>
                    <a:cubicBezTo>
                      <a:pt x="22" y="37"/>
                      <a:pt x="20" y="39"/>
                      <a:pt x="18" y="40"/>
                    </a:cubicBezTo>
                    <a:cubicBezTo>
                      <a:pt x="16" y="42"/>
                      <a:pt x="14" y="44"/>
                      <a:pt x="13" y="47"/>
                    </a:cubicBezTo>
                    <a:cubicBezTo>
                      <a:pt x="11" y="49"/>
                      <a:pt x="10" y="52"/>
                      <a:pt x="8" y="53"/>
                    </a:cubicBezTo>
                    <a:cubicBezTo>
                      <a:pt x="6" y="55"/>
                      <a:pt x="3" y="57"/>
                      <a:pt x="1" y="58"/>
                    </a:cubicBezTo>
                    <a:cubicBezTo>
                      <a:pt x="0" y="59"/>
                      <a:pt x="1" y="64"/>
                      <a:pt x="1" y="65"/>
                    </a:cubicBezTo>
                    <a:cubicBezTo>
                      <a:pt x="2" y="66"/>
                      <a:pt x="2" y="68"/>
                      <a:pt x="3" y="69"/>
                    </a:cubicBezTo>
                    <a:cubicBezTo>
                      <a:pt x="3" y="70"/>
                      <a:pt x="3" y="72"/>
                      <a:pt x="3" y="73"/>
                    </a:cubicBezTo>
                    <a:cubicBezTo>
                      <a:pt x="3" y="76"/>
                      <a:pt x="5" y="79"/>
                      <a:pt x="5" y="82"/>
                    </a:cubicBezTo>
                    <a:cubicBezTo>
                      <a:pt x="5" y="84"/>
                      <a:pt x="4" y="87"/>
                      <a:pt x="5" y="89"/>
                    </a:cubicBezTo>
                    <a:cubicBezTo>
                      <a:pt x="6" y="92"/>
                      <a:pt x="7" y="93"/>
                      <a:pt x="9" y="94"/>
                    </a:cubicBezTo>
                    <a:cubicBezTo>
                      <a:pt x="12" y="95"/>
                      <a:pt x="14" y="97"/>
                      <a:pt x="16" y="99"/>
                    </a:cubicBezTo>
                    <a:cubicBezTo>
                      <a:pt x="19" y="103"/>
                      <a:pt x="20" y="109"/>
                      <a:pt x="22" y="113"/>
                    </a:cubicBezTo>
                    <a:cubicBezTo>
                      <a:pt x="23" y="116"/>
                      <a:pt x="24" y="118"/>
                      <a:pt x="25" y="121"/>
                    </a:cubicBezTo>
                    <a:cubicBezTo>
                      <a:pt x="26" y="123"/>
                      <a:pt x="29" y="126"/>
                      <a:pt x="27" y="128"/>
                    </a:cubicBezTo>
                    <a:cubicBezTo>
                      <a:pt x="33" y="130"/>
                      <a:pt x="38" y="133"/>
                      <a:pt x="43" y="136"/>
                    </a:cubicBezTo>
                    <a:cubicBezTo>
                      <a:pt x="48" y="138"/>
                      <a:pt x="54" y="141"/>
                      <a:pt x="60" y="143"/>
                    </a:cubicBezTo>
                    <a:cubicBezTo>
                      <a:pt x="62" y="143"/>
                      <a:pt x="65" y="144"/>
                      <a:pt x="68" y="145"/>
                    </a:cubicBezTo>
                    <a:cubicBezTo>
                      <a:pt x="69" y="145"/>
                      <a:pt x="71" y="145"/>
                      <a:pt x="72" y="146"/>
                    </a:cubicBezTo>
                    <a:cubicBezTo>
                      <a:pt x="73" y="146"/>
                      <a:pt x="73" y="144"/>
                      <a:pt x="73" y="144"/>
                    </a:cubicBezTo>
                    <a:cubicBezTo>
                      <a:pt x="74" y="142"/>
                      <a:pt x="83" y="153"/>
                      <a:pt x="84" y="154"/>
                    </a:cubicBezTo>
                    <a:cubicBezTo>
                      <a:pt x="85" y="156"/>
                      <a:pt x="85" y="159"/>
                      <a:pt x="85" y="161"/>
                    </a:cubicBezTo>
                    <a:cubicBezTo>
                      <a:pt x="84" y="164"/>
                      <a:pt x="84" y="167"/>
                      <a:pt x="85" y="169"/>
                    </a:cubicBezTo>
                    <a:cubicBezTo>
                      <a:pt x="86" y="172"/>
                      <a:pt x="88" y="173"/>
                      <a:pt x="89" y="176"/>
                    </a:cubicBezTo>
                    <a:cubicBezTo>
                      <a:pt x="90" y="177"/>
                      <a:pt x="90" y="177"/>
                      <a:pt x="90" y="179"/>
                    </a:cubicBezTo>
                    <a:cubicBezTo>
                      <a:pt x="90" y="179"/>
                      <a:pt x="93" y="179"/>
                      <a:pt x="94" y="179"/>
                    </a:cubicBezTo>
                    <a:cubicBezTo>
                      <a:pt x="96" y="180"/>
                      <a:pt x="99" y="180"/>
                      <a:pt x="101" y="179"/>
                    </a:cubicBezTo>
                    <a:cubicBezTo>
                      <a:pt x="104" y="177"/>
                      <a:pt x="106" y="177"/>
                      <a:pt x="108" y="178"/>
                    </a:cubicBezTo>
                    <a:cubicBezTo>
                      <a:pt x="111" y="179"/>
                      <a:pt x="113" y="181"/>
                      <a:pt x="115" y="182"/>
                    </a:cubicBezTo>
                    <a:cubicBezTo>
                      <a:pt x="118" y="182"/>
                      <a:pt x="120" y="180"/>
                      <a:pt x="123" y="179"/>
                    </a:cubicBezTo>
                    <a:cubicBezTo>
                      <a:pt x="126" y="178"/>
                      <a:pt x="127" y="181"/>
                      <a:pt x="130" y="181"/>
                    </a:cubicBezTo>
                    <a:cubicBezTo>
                      <a:pt x="132" y="181"/>
                      <a:pt x="134" y="180"/>
                      <a:pt x="135" y="178"/>
                    </a:cubicBezTo>
                    <a:cubicBezTo>
                      <a:pt x="137" y="176"/>
                      <a:pt x="139" y="175"/>
                      <a:pt x="141" y="174"/>
                    </a:cubicBezTo>
                    <a:cubicBezTo>
                      <a:pt x="144" y="173"/>
                      <a:pt x="146" y="175"/>
                      <a:pt x="149" y="176"/>
                    </a:cubicBezTo>
                    <a:cubicBezTo>
                      <a:pt x="152" y="176"/>
                      <a:pt x="154" y="174"/>
                      <a:pt x="156" y="173"/>
                    </a:cubicBezTo>
                    <a:cubicBezTo>
                      <a:pt x="158" y="172"/>
                      <a:pt x="159" y="172"/>
                      <a:pt x="161" y="172"/>
                    </a:cubicBezTo>
                    <a:cubicBezTo>
                      <a:pt x="162" y="172"/>
                      <a:pt x="164" y="172"/>
                      <a:pt x="165" y="171"/>
                    </a:cubicBezTo>
                    <a:cubicBezTo>
                      <a:pt x="171" y="167"/>
                      <a:pt x="177" y="163"/>
                      <a:pt x="183" y="160"/>
                    </a:cubicBezTo>
                    <a:cubicBezTo>
                      <a:pt x="181" y="158"/>
                      <a:pt x="178" y="159"/>
                      <a:pt x="176" y="158"/>
                    </a:cubicBezTo>
                    <a:cubicBezTo>
                      <a:pt x="175" y="157"/>
                      <a:pt x="175" y="155"/>
                      <a:pt x="173" y="154"/>
                    </a:cubicBezTo>
                    <a:cubicBezTo>
                      <a:pt x="171" y="153"/>
                      <a:pt x="170" y="152"/>
                      <a:pt x="169" y="150"/>
                    </a:cubicBezTo>
                    <a:cubicBezTo>
                      <a:pt x="169" y="149"/>
                      <a:pt x="169" y="148"/>
                      <a:pt x="169" y="147"/>
                    </a:cubicBezTo>
                    <a:cubicBezTo>
                      <a:pt x="168" y="146"/>
                      <a:pt x="167" y="145"/>
                      <a:pt x="167" y="144"/>
                    </a:cubicBezTo>
                    <a:cubicBezTo>
                      <a:pt x="167" y="143"/>
                      <a:pt x="168" y="142"/>
                      <a:pt x="168" y="141"/>
                    </a:cubicBezTo>
                    <a:cubicBezTo>
                      <a:pt x="169" y="140"/>
                      <a:pt x="168" y="138"/>
                      <a:pt x="167" y="137"/>
                    </a:cubicBezTo>
                    <a:cubicBezTo>
                      <a:pt x="166" y="135"/>
                      <a:pt x="165" y="134"/>
                      <a:pt x="165" y="131"/>
                    </a:cubicBezTo>
                    <a:cubicBezTo>
                      <a:pt x="164" y="129"/>
                      <a:pt x="165" y="127"/>
                      <a:pt x="163" y="125"/>
                    </a:cubicBezTo>
                    <a:cubicBezTo>
                      <a:pt x="162" y="124"/>
                      <a:pt x="163" y="122"/>
                      <a:pt x="164" y="121"/>
                    </a:cubicBezTo>
                    <a:cubicBezTo>
                      <a:pt x="165" y="118"/>
                      <a:pt x="165" y="116"/>
                      <a:pt x="165" y="113"/>
                    </a:cubicBezTo>
                    <a:cubicBezTo>
                      <a:pt x="165" y="111"/>
                      <a:pt x="163" y="109"/>
                      <a:pt x="164" y="107"/>
                    </a:cubicBezTo>
                    <a:cubicBezTo>
                      <a:pt x="166" y="105"/>
                      <a:pt x="167" y="103"/>
                      <a:pt x="165" y="101"/>
                    </a:cubicBezTo>
                    <a:cubicBezTo>
                      <a:pt x="164" y="99"/>
                      <a:pt x="163" y="97"/>
                      <a:pt x="161" y="96"/>
                    </a:cubicBezTo>
                    <a:cubicBezTo>
                      <a:pt x="159" y="95"/>
                      <a:pt x="157" y="94"/>
                      <a:pt x="156" y="92"/>
                    </a:cubicBezTo>
                    <a:cubicBezTo>
                      <a:pt x="155" y="90"/>
                      <a:pt x="156" y="87"/>
                      <a:pt x="156" y="85"/>
                    </a:cubicBezTo>
                    <a:cubicBezTo>
                      <a:pt x="156" y="80"/>
                      <a:pt x="156" y="75"/>
                      <a:pt x="159" y="70"/>
                    </a:cubicBezTo>
                    <a:cubicBezTo>
                      <a:pt x="159" y="71"/>
                      <a:pt x="158" y="71"/>
                      <a:pt x="158" y="72"/>
                    </a:cubicBezTo>
                    <a:cubicBezTo>
                      <a:pt x="159" y="71"/>
                      <a:pt x="158" y="72"/>
                      <a:pt x="158" y="72"/>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52" name="Freeform 247">
                <a:extLst>
                  <a:ext uri="{FF2B5EF4-FFF2-40B4-BE49-F238E27FC236}">
                    <a16:creationId xmlns:a16="http://schemas.microsoft.com/office/drawing/2014/main" id="{F4FCBF42-B4EF-6DC1-C64F-D3BA8A2CCC66}"/>
                  </a:ext>
                </a:extLst>
              </p:cNvPr>
              <p:cNvSpPr/>
              <p:nvPr>
                <p:custDataLst>
                  <p:tags r:id="rId190"/>
                </p:custDataLst>
              </p:nvPr>
            </p:nvSpPr>
            <p:spPr bwMode="auto">
              <a:xfrm>
                <a:off x="6217990" y="4303482"/>
                <a:ext cx="133933" cy="139035"/>
              </a:xfrm>
              <a:custGeom>
                <a:avLst/>
                <a:gdLst>
                  <a:gd name="T0" fmla="*/ 75 w 90"/>
                  <a:gd name="T1" fmla="*/ 3 h 94"/>
                  <a:gd name="T2" fmla="*/ 74 w 90"/>
                  <a:gd name="T3" fmla="*/ 0 h 94"/>
                  <a:gd name="T4" fmla="*/ 69 w 90"/>
                  <a:gd name="T5" fmla="*/ 6 h 94"/>
                  <a:gd name="T6" fmla="*/ 61 w 90"/>
                  <a:gd name="T7" fmla="*/ 7 h 94"/>
                  <a:gd name="T8" fmla="*/ 46 w 90"/>
                  <a:gd name="T9" fmla="*/ 9 h 94"/>
                  <a:gd name="T10" fmla="*/ 40 w 90"/>
                  <a:gd name="T11" fmla="*/ 10 h 94"/>
                  <a:gd name="T12" fmla="*/ 38 w 90"/>
                  <a:gd name="T13" fmla="*/ 8 h 94"/>
                  <a:gd name="T14" fmla="*/ 35 w 90"/>
                  <a:gd name="T15" fmla="*/ 8 h 94"/>
                  <a:gd name="T16" fmla="*/ 28 w 90"/>
                  <a:gd name="T17" fmla="*/ 9 h 94"/>
                  <a:gd name="T18" fmla="*/ 26 w 90"/>
                  <a:gd name="T19" fmla="*/ 7 h 94"/>
                  <a:gd name="T20" fmla="*/ 23 w 90"/>
                  <a:gd name="T21" fmla="*/ 10 h 94"/>
                  <a:gd name="T22" fmla="*/ 22 w 90"/>
                  <a:gd name="T23" fmla="*/ 11 h 94"/>
                  <a:gd name="T24" fmla="*/ 22 w 90"/>
                  <a:gd name="T25" fmla="*/ 13 h 94"/>
                  <a:gd name="T26" fmla="*/ 21 w 90"/>
                  <a:gd name="T27" fmla="*/ 16 h 94"/>
                  <a:gd name="T28" fmla="*/ 20 w 90"/>
                  <a:gd name="T29" fmla="*/ 25 h 94"/>
                  <a:gd name="T30" fmla="*/ 24 w 90"/>
                  <a:gd name="T31" fmla="*/ 28 h 94"/>
                  <a:gd name="T32" fmla="*/ 28 w 90"/>
                  <a:gd name="T33" fmla="*/ 31 h 94"/>
                  <a:gd name="T34" fmla="*/ 27 w 90"/>
                  <a:gd name="T35" fmla="*/ 37 h 94"/>
                  <a:gd name="T36" fmla="*/ 21 w 90"/>
                  <a:gd name="T37" fmla="*/ 43 h 94"/>
                  <a:gd name="T38" fmla="*/ 8 w 90"/>
                  <a:gd name="T39" fmla="*/ 56 h 94"/>
                  <a:gd name="T40" fmla="*/ 2 w 90"/>
                  <a:gd name="T41" fmla="*/ 74 h 94"/>
                  <a:gd name="T42" fmla="*/ 0 w 90"/>
                  <a:gd name="T43" fmla="*/ 85 h 94"/>
                  <a:gd name="T44" fmla="*/ 0 w 90"/>
                  <a:gd name="T45" fmla="*/ 90 h 94"/>
                  <a:gd name="T46" fmla="*/ 0 w 90"/>
                  <a:gd name="T47" fmla="*/ 92 h 94"/>
                  <a:gd name="T48" fmla="*/ 3 w 90"/>
                  <a:gd name="T49" fmla="*/ 92 h 94"/>
                  <a:gd name="T50" fmla="*/ 6 w 90"/>
                  <a:gd name="T51" fmla="*/ 94 h 94"/>
                  <a:gd name="T52" fmla="*/ 10 w 90"/>
                  <a:gd name="T53" fmla="*/ 91 h 94"/>
                  <a:gd name="T54" fmla="*/ 16 w 90"/>
                  <a:gd name="T55" fmla="*/ 87 h 94"/>
                  <a:gd name="T56" fmla="*/ 26 w 90"/>
                  <a:gd name="T57" fmla="*/ 86 h 94"/>
                  <a:gd name="T58" fmla="*/ 37 w 90"/>
                  <a:gd name="T59" fmla="*/ 87 h 94"/>
                  <a:gd name="T60" fmla="*/ 38 w 90"/>
                  <a:gd name="T61" fmla="*/ 80 h 94"/>
                  <a:gd name="T62" fmla="*/ 40 w 90"/>
                  <a:gd name="T63" fmla="*/ 77 h 94"/>
                  <a:gd name="T64" fmla="*/ 40 w 90"/>
                  <a:gd name="T65" fmla="*/ 73 h 94"/>
                  <a:gd name="T66" fmla="*/ 42 w 90"/>
                  <a:gd name="T67" fmla="*/ 70 h 94"/>
                  <a:gd name="T68" fmla="*/ 45 w 90"/>
                  <a:gd name="T69" fmla="*/ 70 h 94"/>
                  <a:gd name="T70" fmla="*/ 51 w 90"/>
                  <a:gd name="T71" fmla="*/ 67 h 94"/>
                  <a:gd name="T72" fmla="*/ 56 w 90"/>
                  <a:gd name="T73" fmla="*/ 68 h 94"/>
                  <a:gd name="T74" fmla="*/ 61 w 90"/>
                  <a:gd name="T75" fmla="*/ 63 h 94"/>
                  <a:gd name="T76" fmla="*/ 67 w 90"/>
                  <a:gd name="T77" fmla="*/ 66 h 94"/>
                  <a:gd name="T78" fmla="*/ 69 w 90"/>
                  <a:gd name="T79" fmla="*/ 68 h 94"/>
                  <a:gd name="T80" fmla="*/ 73 w 90"/>
                  <a:gd name="T81" fmla="*/ 67 h 94"/>
                  <a:gd name="T82" fmla="*/ 76 w 90"/>
                  <a:gd name="T83" fmla="*/ 61 h 94"/>
                  <a:gd name="T84" fmla="*/ 81 w 90"/>
                  <a:gd name="T85" fmla="*/ 53 h 94"/>
                  <a:gd name="T86" fmla="*/ 89 w 90"/>
                  <a:gd name="T87" fmla="*/ 38 h 94"/>
                  <a:gd name="T88" fmla="*/ 89 w 90"/>
                  <a:gd name="T89" fmla="*/ 30 h 94"/>
                  <a:gd name="T90" fmla="*/ 86 w 90"/>
                  <a:gd name="T91" fmla="*/ 23 h 94"/>
                  <a:gd name="T92" fmla="*/ 82 w 90"/>
                  <a:gd name="T93" fmla="*/ 16 h 94"/>
                  <a:gd name="T94" fmla="*/ 81 w 90"/>
                  <a:gd name="T95" fmla="*/ 9 h 94"/>
                  <a:gd name="T96" fmla="*/ 75 w 90"/>
                  <a:gd name="T97" fmla="*/ 3 h 94"/>
                  <a:gd name="T98" fmla="*/ 75 w 90"/>
                  <a:gd name="T99" fmla="*/ 3 h 94"/>
                  <a:gd name="T100" fmla="*/ 75 w 90"/>
                  <a:gd name="T101" fmla="*/ 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 h="94">
                    <a:moveTo>
                      <a:pt x="75" y="3"/>
                    </a:moveTo>
                    <a:cubicBezTo>
                      <a:pt x="75" y="2"/>
                      <a:pt x="74" y="1"/>
                      <a:pt x="74" y="0"/>
                    </a:cubicBezTo>
                    <a:cubicBezTo>
                      <a:pt x="72" y="2"/>
                      <a:pt x="71" y="4"/>
                      <a:pt x="69" y="6"/>
                    </a:cubicBezTo>
                    <a:cubicBezTo>
                      <a:pt x="66" y="8"/>
                      <a:pt x="63" y="7"/>
                      <a:pt x="61" y="7"/>
                    </a:cubicBezTo>
                    <a:cubicBezTo>
                      <a:pt x="55" y="5"/>
                      <a:pt x="50" y="6"/>
                      <a:pt x="46" y="9"/>
                    </a:cubicBezTo>
                    <a:cubicBezTo>
                      <a:pt x="44" y="11"/>
                      <a:pt x="42" y="12"/>
                      <a:pt x="40" y="10"/>
                    </a:cubicBezTo>
                    <a:cubicBezTo>
                      <a:pt x="39" y="9"/>
                      <a:pt x="38" y="8"/>
                      <a:pt x="38" y="8"/>
                    </a:cubicBezTo>
                    <a:cubicBezTo>
                      <a:pt x="37" y="6"/>
                      <a:pt x="36" y="8"/>
                      <a:pt x="35" y="8"/>
                    </a:cubicBezTo>
                    <a:cubicBezTo>
                      <a:pt x="33" y="10"/>
                      <a:pt x="31" y="10"/>
                      <a:pt x="28" y="9"/>
                    </a:cubicBezTo>
                    <a:cubicBezTo>
                      <a:pt x="28" y="8"/>
                      <a:pt x="26" y="7"/>
                      <a:pt x="26" y="7"/>
                    </a:cubicBezTo>
                    <a:cubicBezTo>
                      <a:pt x="24" y="8"/>
                      <a:pt x="24" y="9"/>
                      <a:pt x="23" y="10"/>
                    </a:cubicBezTo>
                    <a:cubicBezTo>
                      <a:pt x="22" y="10"/>
                      <a:pt x="22" y="10"/>
                      <a:pt x="22" y="11"/>
                    </a:cubicBezTo>
                    <a:cubicBezTo>
                      <a:pt x="22" y="12"/>
                      <a:pt x="22" y="12"/>
                      <a:pt x="22" y="13"/>
                    </a:cubicBezTo>
                    <a:cubicBezTo>
                      <a:pt x="22" y="14"/>
                      <a:pt x="21" y="15"/>
                      <a:pt x="21" y="16"/>
                    </a:cubicBezTo>
                    <a:cubicBezTo>
                      <a:pt x="20" y="19"/>
                      <a:pt x="20" y="22"/>
                      <a:pt x="20" y="25"/>
                    </a:cubicBezTo>
                    <a:cubicBezTo>
                      <a:pt x="20" y="27"/>
                      <a:pt x="22" y="28"/>
                      <a:pt x="24" y="28"/>
                    </a:cubicBezTo>
                    <a:cubicBezTo>
                      <a:pt x="25" y="29"/>
                      <a:pt x="27" y="30"/>
                      <a:pt x="28" y="31"/>
                    </a:cubicBezTo>
                    <a:cubicBezTo>
                      <a:pt x="30" y="33"/>
                      <a:pt x="29" y="35"/>
                      <a:pt x="27" y="37"/>
                    </a:cubicBezTo>
                    <a:cubicBezTo>
                      <a:pt x="26" y="39"/>
                      <a:pt x="23" y="41"/>
                      <a:pt x="21" y="43"/>
                    </a:cubicBezTo>
                    <a:cubicBezTo>
                      <a:pt x="17" y="48"/>
                      <a:pt x="12" y="51"/>
                      <a:pt x="8" y="56"/>
                    </a:cubicBezTo>
                    <a:cubicBezTo>
                      <a:pt x="4" y="61"/>
                      <a:pt x="3" y="68"/>
                      <a:pt x="2" y="74"/>
                    </a:cubicBezTo>
                    <a:cubicBezTo>
                      <a:pt x="2" y="78"/>
                      <a:pt x="1" y="81"/>
                      <a:pt x="0" y="85"/>
                    </a:cubicBezTo>
                    <a:cubicBezTo>
                      <a:pt x="0" y="86"/>
                      <a:pt x="0" y="88"/>
                      <a:pt x="0" y="90"/>
                    </a:cubicBezTo>
                    <a:cubicBezTo>
                      <a:pt x="0" y="90"/>
                      <a:pt x="0" y="91"/>
                      <a:pt x="0" y="92"/>
                    </a:cubicBezTo>
                    <a:cubicBezTo>
                      <a:pt x="1" y="92"/>
                      <a:pt x="2" y="92"/>
                      <a:pt x="3" y="92"/>
                    </a:cubicBezTo>
                    <a:cubicBezTo>
                      <a:pt x="4" y="93"/>
                      <a:pt x="5" y="94"/>
                      <a:pt x="6" y="94"/>
                    </a:cubicBezTo>
                    <a:cubicBezTo>
                      <a:pt x="8" y="94"/>
                      <a:pt x="9" y="92"/>
                      <a:pt x="10" y="91"/>
                    </a:cubicBezTo>
                    <a:cubicBezTo>
                      <a:pt x="12" y="90"/>
                      <a:pt x="14" y="88"/>
                      <a:pt x="16" y="87"/>
                    </a:cubicBezTo>
                    <a:cubicBezTo>
                      <a:pt x="19" y="86"/>
                      <a:pt x="23" y="86"/>
                      <a:pt x="26" y="86"/>
                    </a:cubicBezTo>
                    <a:cubicBezTo>
                      <a:pt x="30" y="87"/>
                      <a:pt x="33" y="87"/>
                      <a:pt x="37" y="87"/>
                    </a:cubicBezTo>
                    <a:cubicBezTo>
                      <a:pt x="36" y="84"/>
                      <a:pt x="36" y="82"/>
                      <a:pt x="38" y="80"/>
                    </a:cubicBezTo>
                    <a:cubicBezTo>
                      <a:pt x="39" y="79"/>
                      <a:pt x="39" y="78"/>
                      <a:pt x="40" y="77"/>
                    </a:cubicBezTo>
                    <a:cubicBezTo>
                      <a:pt x="41" y="76"/>
                      <a:pt x="40" y="74"/>
                      <a:pt x="40" y="73"/>
                    </a:cubicBezTo>
                    <a:cubicBezTo>
                      <a:pt x="40" y="72"/>
                      <a:pt x="41" y="70"/>
                      <a:pt x="42" y="70"/>
                    </a:cubicBezTo>
                    <a:cubicBezTo>
                      <a:pt x="43" y="69"/>
                      <a:pt x="44" y="70"/>
                      <a:pt x="45" y="70"/>
                    </a:cubicBezTo>
                    <a:cubicBezTo>
                      <a:pt x="47" y="70"/>
                      <a:pt x="49" y="67"/>
                      <a:pt x="51" y="67"/>
                    </a:cubicBezTo>
                    <a:cubicBezTo>
                      <a:pt x="54" y="66"/>
                      <a:pt x="54" y="68"/>
                      <a:pt x="56" y="68"/>
                    </a:cubicBezTo>
                    <a:cubicBezTo>
                      <a:pt x="59" y="69"/>
                      <a:pt x="59" y="64"/>
                      <a:pt x="61" y="63"/>
                    </a:cubicBezTo>
                    <a:cubicBezTo>
                      <a:pt x="63" y="62"/>
                      <a:pt x="65" y="65"/>
                      <a:pt x="67" y="66"/>
                    </a:cubicBezTo>
                    <a:cubicBezTo>
                      <a:pt x="68" y="67"/>
                      <a:pt x="68" y="68"/>
                      <a:pt x="69" y="68"/>
                    </a:cubicBezTo>
                    <a:cubicBezTo>
                      <a:pt x="70" y="68"/>
                      <a:pt x="72" y="68"/>
                      <a:pt x="73" y="67"/>
                    </a:cubicBezTo>
                    <a:cubicBezTo>
                      <a:pt x="74" y="65"/>
                      <a:pt x="75" y="63"/>
                      <a:pt x="76" y="61"/>
                    </a:cubicBezTo>
                    <a:cubicBezTo>
                      <a:pt x="78" y="58"/>
                      <a:pt x="79" y="56"/>
                      <a:pt x="81" y="53"/>
                    </a:cubicBezTo>
                    <a:cubicBezTo>
                      <a:pt x="84" y="48"/>
                      <a:pt x="88" y="44"/>
                      <a:pt x="89" y="38"/>
                    </a:cubicBezTo>
                    <a:cubicBezTo>
                      <a:pt x="90" y="36"/>
                      <a:pt x="89" y="33"/>
                      <a:pt x="89" y="30"/>
                    </a:cubicBezTo>
                    <a:cubicBezTo>
                      <a:pt x="89" y="27"/>
                      <a:pt x="88" y="25"/>
                      <a:pt x="86" y="23"/>
                    </a:cubicBezTo>
                    <a:cubicBezTo>
                      <a:pt x="84" y="21"/>
                      <a:pt x="83" y="19"/>
                      <a:pt x="82" y="16"/>
                    </a:cubicBezTo>
                    <a:cubicBezTo>
                      <a:pt x="82" y="14"/>
                      <a:pt x="83" y="11"/>
                      <a:pt x="81" y="9"/>
                    </a:cubicBezTo>
                    <a:cubicBezTo>
                      <a:pt x="78" y="7"/>
                      <a:pt x="76" y="6"/>
                      <a:pt x="75" y="3"/>
                    </a:cubicBezTo>
                    <a:cubicBezTo>
                      <a:pt x="75" y="3"/>
                      <a:pt x="75" y="3"/>
                      <a:pt x="75" y="3"/>
                    </a:cubicBezTo>
                    <a:cubicBezTo>
                      <a:pt x="75" y="2"/>
                      <a:pt x="75" y="3"/>
                      <a:pt x="75" y="3"/>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53" name="Freeform 249">
                <a:extLst>
                  <a:ext uri="{FF2B5EF4-FFF2-40B4-BE49-F238E27FC236}">
                    <a16:creationId xmlns:a16="http://schemas.microsoft.com/office/drawing/2014/main" id="{272366D4-F066-3982-E6D2-49708886F519}"/>
                  </a:ext>
                </a:extLst>
              </p:cNvPr>
              <p:cNvSpPr/>
              <p:nvPr>
                <p:custDataLst>
                  <p:tags r:id="rId191"/>
                </p:custDataLst>
              </p:nvPr>
            </p:nvSpPr>
            <p:spPr bwMode="auto">
              <a:xfrm>
                <a:off x="6297074" y="4650431"/>
                <a:ext cx="79084" cy="190057"/>
              </a:xfrm>
              <a:custGeom>
                <a:avLst/>
                <a:gdLst>
                  <a:gd name="T0" fmla="*/ 53 w 53"/>
                  <a:gd name="T1" fmla="*/ 93 h 128"/>
                  <a:gd name="T2" fmla="*/ 46 w 53"/>
                  <a:gd name="T3" fmla="*/ 82 h 128"/>
                  <a:gd name="T4" fmla="*/ 41 w 53"/>
                  <a:gd name="T5" fmla="*/ 81 h 128"/>
                  <a:gd name="T6" fmla="*/ 34 w 53"/>
                  <a:gd name="T7" fmla="*/ 80 h 128"/>
                  <a:gd name="T8" fmla="*/ 31 w 53"/>
                  <a:gd name="T9" fmla="*/ 78 h 128"/>
                  <a:gd name="T10" fmla="*/ 30 w 53"/>
                  <a:gd name="T11" fmla="*/ 71 h 128"/>
                  <a:gd name="T12" fmla="*/ 28 w 53"/>
                  <a:gd name="T13" fmla="*/ 68 h 128"/>
                  <a:gd name="T14" fmla="*/ 26 w 53"/>
                  <a:gd name="T15" fmla="*/ 67 h 128"/>
                  <a:gd name="T16" fmla="*/ 26 w 53"/>
                  <a:gd name="T17" fmla="*/ 60 h 128"/>
                  <a:gd name="T18" fmla="*/ 24 w 53"/>
                  <a:gd name="T19" fmla="*/ 53 h 128"/>
                  <a:gd name="T20" fmla="*/ 22 w 53"/>
                  <a:gd name="T21" fmla="*/ 46 h 128"/>
                  <a:gd name="T22" fmla="*/ 24 w 53"/>
                  <a:gd name="T23" fmla="*/ 45 h 128"/>
                  <a:gd name="T24" fmla="*/ 25 w 53"/>
                  <a:gd name="T25" fmla="*/ 42 h 128"/>
                  <a:gd name="T26" fmla="*/ 27 w 53"/>
                  <a:gd name="T27" fmla="*/ 34 h 128"/>
                  <a:gd name="T28" fmla="*/ 24 w 53"/>
                  <a:gd name="T29" fmla="*/ 20 h 128"/>
                  <a:gd name="T30" fmla="*/ 25 w 53"/>
                  <a:gd name="T31" fmla="*/ 14 h 128"/>
                  <a:gd name="T32" fmla="*/ 22 w 53"/>
                  <a:gd name="T33" fmla="*/ 7 h 128"/>
                  <a:gd name="T34" fmla="*/ 20 w 53"/>
                  <a:gd name="T35" fmla="*/ 4 h 128"/>
                  <a:gd name="T36" fmla="*/ 19 w 53"/>
                  <a:gd name="T37" fmla="*/ 3 h 128"/>
                  <a:gd name="T38" fmla="*/ 17 w 53"/>
                  <a:gd name="T39" fmla="*/ 2 h 128"/>
                  <a:gd name="T40" fmla="*/ 9 w 53"/>
                  <a:gd name="T41" fmla="*/ 0 h 128"/>
                  <a:gd name="T42" fmla="*/ 11 w 53"/>
                  <a:gd name="T43" fmla="*/ 9 h 128"/>
                  <a:gd name="T44" fmla="*/ 16 w 53"/>
                  <a:gd name="T45" fmla="*/ 14 h 128"/>
                  <a:gd name="T46" fmla="*/ 15 w 53"/>
                  <a:gd name="T47" fmla="*/ 20 h 128"/>
                  <a:gd name="T48" fmla="*/ 10 w 53"/>
                  <a:gd name="T49" fmla="*/ 25 h 128"/>
                  <a:gd name="T50" fmla="*/ 10 w 53"/>
                  <a:gd name="T51" fmla="*/ 33 h 128"/>
                  <a:gd name="T52" fmla="*/ 11 w 53"/>
                  <a:gd name="T53" fmla="*/ 42 h 128"/>
                  <a:gd name="T54" fmla="*/ 14 w 53"/>
                  <a:gd name="T55" fmla="*/ 48 h 128"/>
                  <a:gd name="T56" fmla="*/ 10 w 53"/>
                  <a:gd name="T57" fmla="*/ 52 h 128"/>
                  <a:gd name="T58" fmla="*/ 6 w 53"/>
                  <a:gd name="T59" fmla="*/ 57 h 128"/>
                  <a:gd name="T60" fmla="*/ 5 w 53"/>
                  <a:gd name="T61" fmla="*/ 65 h 128"/>
                  <a:gd name="T62" fmla="*/ 2 w 53"/>
                  <a:gd name="T63" fmla="*/ 67 h 128"/>
                  <a:gd name="T64" fmla="*/ 0 w 53"/>
                  <a:gd name="T65" fmla="*/ 70 h 128"/>
                  <a:gd name="T66" fmla="*/ 2 w 53"/>
                  <a:gd name="T67" fmla="*/ 72 h 128"/>
                  <a:gd name="T68" fmla="*/ 4 w 53"/>
                  <a:gd name="T69" fmla="*/ 76 h 128"/>
                  <a:gd name="T70" fmla="*/ 10 w 53"/>
                  <a:gd name="T71" fmla="*/ 78 h 128"/>
                  <a:gd name="T72" fmla="*/ 15 w 53"/>
                  <a:gd name="T73" fmla="*/ 84 h 128"/>
                  <a:gd name="T74" fmla="*/ 21 w 53"/>
                  <a:gd name="T75" fmla="*/ 85 h 128"/>
                  <a:gd name="T76" fmla="*/ 29 w 53"/>
                  <a:gd name="T77" fmla="*/ 85 h 128"/>
                  <a:gd name="T78" fmla="*/ 31 w 53"/>
                  <a:gd name="T79" fmla="*/ 90 h 128"/>
                  <a:gd name="T80" fmla="*/ 32 w 53"/>
                  <a:gd name="T81" fmla="*/ 98 h 128"/>
                  <a:gd name="T82" fmla="*/ 28 w 53"/>
                  <a:gd name="T83" fmla="*/ 110 h 128"/>
                  <a:gd name="T84" fmla="*/ 30 w 53"/>
                  <a:gd name="T85" fmla="*/ 115 h 128"/>
                  <a:gd name="T86" fmla="*/ 35 w 53"/>
                  <a:gd name="T87" fmla="*/ 120 h 128"/>
                  <a:gd name="T88" fmla="*/ 38 w 53"/>
                  <a:gd name="T89" fmla="*/ 125 h 128"/>
                  <a:gd name="T90" fmla="*/ 41 w 53"/>
                  <a:gd name="T91" fmla="*/ 127 h 128"/>
                  <a:gd name="T92" fmla="*/ 41 w 53"/>
                  <a:gd name="T93" fmla="*/ 124 h 128"/>
                  <a:gd name="T94" fmla="*/ 41 w 53"/>
                  <a:gd name="T95" fmla="*/ 119 h 128"/>
                  <a:gd name="T96" fmla="*/ 50 w 53"/>
                  <a:gd name="T97" fmla="*/ 114 h 128"/>
                  <a:gd name="T98" fmla="*/ 52 w 53"/>
                  <a:gd name="T99" fmla="*/ 105 h 128"/>
                  <a:gd name="T100" fmla="*/ 51 w 53"/>
                  <a:gd name="T101" fmla="*/ 99 h 128"/>
                  <a:gd name="T102" fmla="*/ 53 w 53"/>
                  <a:gd name="T103" fmla="*/ 92 h 128"/>
                  <a:gd name="T104" fmla="*/ 53 w 53"/>
                  <a:gd name="T105" fmla="*/ 93 h 128"/>
                  <a:gd name="T106" fmla="*/ 53 w 53"/>
                  <a:gd name="T107" fmla="*/ 9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 h="128">
                    <a:moveTo>
                      <a:pt x="53" y="93"/>
                    </a:moveTo>
                    <a:cubicBezTo>
                      <a:pt x="53" y="88"/>
                      <a:pt x="49" y="85"/>
                      <a:pt x="46" y="82"/>
                    </a:cubicBezTo>
                    <a:cubicBezTo>
                      <a:pt x="45" y="83"/>
                      <a:pt x="42" y="81"/>
                      <a:pt x="41" y="81"/>
                    </a:cubicBezTo>
                    <a:cubicBezTo>
                      <a:pt x="39" y="80"/>
                      <a:pt x="37" y="80"/>
                      <a:pt x="34" y="80"/>
                    </a:cubicBezTo>
                    <a:cubicBezTo>
                      <a:pt x="33" y="80"/>
                      <a:pt x="30" y="80"/>
                      <a:pt x="31" y="78"/>
                    </a:cubicBezTo>
                    <a:cubicBezTo>
                      <a:pt x="32" y="75"/>
                      <a:pt x="31" y="73"/>
                      <a:pt x="30" y="71"/>
                    </a:cubicBezTo>
                    <a:cubicBezTo>
                      <a:pt x="30" y="70"/>
                      <a:pt x="29" y="68"/>
                      <a:pt x="28" y="68"/>
                    </a:cubicBezTo>
                    <a:cubicBezTo>
                      <a:pt x="28" y="68"/>
                      <a:pt x="27" y="68"/>
                      <a:pt x="26" y="67"/>
                    </a:cubicBezTo>
                    <a:cubicBezTo>
                      <a:pt x="25" y="65"/>
                      <a:pt x="26" y="62"/>
                      <a:pt x="26" y="60"/>
                    </a:cubicBezTo>
                    <a:cubicBezTo>
                      <a:pt x="25" y="58"/>
                      <a:pt x="24" y="55"/>
                      <a:pt x="24" y="53"/>
                    </a:cubicBezTo>
                    <a:cubicBezTo>
                      <a:pt x="23" y="51"/>
                      <a:pt x="22" y="48"/>
                      <a:pt x="22" y="46"/>
                    </a:cubicBezTo>
                    <a:cubicBezTo>
                      <a:pt x="23" y="46"/>
                      <a:pt x="24" y="45"/>
                      <a:pt x="24" y="45"/>
                    </a:cubicBezTo>
                    <a:cubicBezTo>
                      <a:pt x="25" y="44"/>
                      <a:pt x="25" y="43"/>
                      <a:pt x="25" y="42"/>
                    </a:cubicBezTo>
                    <a:cubicBezTo>
                      <a:pt x="26" y="39"/>
                      <a:pt x="27" y="37"/>
                      <a:pt x="27" y="34"/>
                    </a:cubicBezTo>
                    <a:cubicBezTo>
                      <a:pt x="27" y="29"/>
                      <a:pt x="24" y="25"/>
                      <a:pt x="24" y="20"/>
                    </a:cubicBezTo>
                    <a:cubicBezTo>
                      <a:pt x="24" y="18"/>
                      <a:pt x="26" y="16"/>
                      <a:pt x="25" y="14"/>
                    </a:cubicBezTo>
                    <a:cubicBezTo>
                      <a:pt x="25" y="11"/>
                      <a:pt x="23" y="9"/>
                      <a:pt x="22" y="7"/>
                    </a:cubicBezTo>
                    <a:cubicBezTo>
                      <a:pt x="21" y="6"/>
                      <a:pt x="21" y="5"/>
                      <a:pt x="20" y="4"/>
                    </a:cubicBezTo>
                    <a:cubicBezTo>
                      <a:pt x="20" y="3"/>
                      <a:pt x="20" y="3"/>
                      <a:pt x="19" y="3"/>
                    </a:cubicBezTo>
                    <a:cubicBezTo>
                      <a:pt x="18" y="3"/>
                      <a:pt x="18" y="2"/>
                      <a:pt x="17" y="2"/>
                    </a:cubicBezTo>
                    <a:cubicBezTo>
                      <a:pt x="15" y="2"/>
                      <a:pt x="12" y="1"/>
                      <a:pt x="9" y="0"/>
                    </a:cubicBezTo>
                    <a:cubicBezTo>
                      <a:pt x="10" y="3"/>
                      <a:pt x="10" y="6"/>
                      <a:pt x="11" y="9"/>
                    </a:cubicBezTo>
                    <a:cubicBezTo>
                      <a:pt x="13" y="11"/>
                      <a:pt x="15" y="12"/>
                      <a:pt x="16" y="14"/>
                    </a:cubicBezTo>
                    <a:cubicBezTo>
                      <a:pt x="18" y="16"/>
                      <a:pt x="17" y="18"/>
                      <a:pt x="15" y="20"/>
                    </a:cubicBezTo>
                    <a:cubicBezTo>
                      <a:pt x="13" y="22"/>
                      <a:pt x="11" y="23"/>
                      <a:pt x="10" y="25"/>
                    </a:cubicBezTo>
                    <a:cubicBezTo>
                      <a:pt x="10" y="28"/>
                      <a:pt x="10" y="31"/>
                      <a:pt x="10" y="33"/>
                    </a:cubicBezTo>
                    <a:cubicBezTo>
                      <a:pt x="10" y="36"/>
                      <a:pt x="10" y="39"/>
                      <a:pt x="11" y="42"/>
                    </a:cubicBezTo>
                    <a:cubicBezTo>
                      <a:pt x="11" y="44"/>
                      <a:pt x="13" y="46"/>
                      <a:pt x="14" y="48"/>
                    </a:cubicBezTo>
                    <a:cubicBezTo>
                      <a:pt x="15" y="50"/>
                      <a:pt x="12" y="51"/>
                      <a:pt x="10" y="52"/>
                    </a:cubicBezTo>
                    <a:cubicBezTo>
                      <a:pt x="8" y="53"/>
                      <a:pt x="6" y="54"/>
                      <a:pt x="6" y="57"/>
                    </a:cubicBezTo>
                    <a:cubicBezTo>
                      <a:pt x="6" y="59"/>
                      <a:pt x="6" y="62"/>
                      <a:pt x="5" y="65"/>
                    </a:cubicBezTo>
                    <a:cubicBezTo>
                      <a:pt x="4" y="66"/>
                      <a:pt x="3" y="67"/>
                      <a:pt x="2" y="67"/>
                    </a:cubicBezTo>
                    <a:cubicBezTo>
                      <a:pt x="2" y="68"/>
                      <a:pt x="0" y="69"/>
                      <a:pt x="0" y="70"/>
                    </a:cubicBezTo>
                    <a:cubicBezTo>
                      <a:pt x="0" y="71"/>
                      <a:pt x="1" y="72"/>
                      <a:pt x="2" y="72"/>
                    </a:cubicBezTo>
                    <a:cubicBezTo>
                      <a:pt x="2" y="74"/>
                      <a:pt x="3" y="75"/>
                      <a:pt x="4" y="76"/>
                    </a:cubicBezTo>
                    <a:cubicBezTo>
                      <a:pt x="6" y="78"/>
                      <a:pt x="8" y="77"/>
                      <a:pt x="10" y="78"/>
                    </a:cubicBezTo>
                    <a:cubicBezTo>
                      <a:pt x="12" y="80"/>
                      <a:pt x="13" y="82"/>
                      <a:pt x="15" y="84"/>
                    </a:cubicBezTo>
                    <a:cubicBezTo>
                      <a:pt x="16" y="86"/>
                      <a:pt x="19" y="85"/>
                      <a:pt x="21" y="85"/>
                    </a:cubicBezTo>
                    <a:cubicBezTo>
                      <a:pt x="23" y="84"/>
                      <a:pt x="27" y="83"/>
                      <a:pt x="29" y="85"/>
                    </a:cubicBezTo>
                    <a:cubicBezTo>
                      <a:pt x="30" y="86"/>
                      <a:pt x="31" y="89"/>
                      <a:pt x="31" y="90"/>
                    </a:cubicBezTo>
                    <a:cubicBezTo>
                      <a:pt x="32" y="93"/>
                      <a:pt x="33" y="95"/>
                      <a:pt x="32" y="98"/>
                    </a:cubicBezTo>
                    <a:cubicBezTo>
                      <a:pt x="32" y="102"/>
                      <a:pt x="28" y="106"/>
                      <a:pt x="28" y="110"/>
                    </a:cubicBezTo>
                    <a:cubicBezTo>
                      <a:pt x="27" y="112"/>
                      <a:pt x="29" y="114"/>
                      <a:pt x="30" y="115"/>
                    </a:cubicBezTo>
                    <a:cubicBezTo>
                      <a:pt x="32" y="117"/>
                      <a:pt x="34" y="118"/>
                      <a:pt x="35" y="120"/>
                    </a:cubicBezTo>
                    <a:cubicBezTo>
                      <a:pt x="37" y="121"/>
                      <a:pt x="38" y="123"/>
                      <a:pt x="38" y="125"/>
                    </a:cubicBezTo>
                    <a:cubicBezTo>
                      <a:pt x="39" y="125"/>
                      <a:pt x="40" y="128"/>
                      <a:pt x="41" y="127"/>
                    </a:cubicBezTo>
                    <a:cubicBezTo>
                      <a:pt x="42" y="127"/>
                      <a:pt x="41" y="125"/>
                      <a:pt x="41" y="124"/>
                    </a:cubicBezTo>
                    <a:cubicBezTo>
                      <a:pt x="41" y="122"/>
                      <a:pt x="41" y="121"/>
                      <a:pt x="41" y="119"/>
                    </a:cubicBezTo>
                    <a:cubicBezTo>
                      <a:pt x="43" y="115"/>
                      <a:pt x="46" y="115"/>
                      <a:pt x="50" y="114"/>
                    </a:cubicBezTo>
                    <a:cubicBezTo>
                      <a:pt x="53" y="112"/>
                      <a:pt x="53" y="108"/>
                      <a:pt x="52" y="105"/>
                    </a:cubicBezTo>
                    <a:cubicBezTo>
                      <a:pt x="52" y="103"/>
                      <a:pt x="50" y="101"/>
                      <a:pt x="51" y="99"/>
                    </a:cubicBezTo>
                    <a:cubicBezTo>
                      <a:pt x="51" y="97"/>
                      <a:pt x="53" y="95"/>
                      <a:pt x="53" y="92"/>
                    </a:cubicBezTo>
                    <a:cubicBezTo>
                      <a:pt x="53" y="92"/>
                      <a:pt x="53" y="93"/>
                      <a:pt x="53" y="93"/>
                    </a:cubicBezTo>
                    <a:cubicBezTo>
                      <a:pt x="53" y="91"/>
                      <a:pt x="53" y="93"/>
                      <a:pt x="53" y="93"/>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54" name="Freeform 250">
                <a:extLst>
                  <a:ext uri="{FF2B5EF4-FFF2-40B4-BE49-F238E27FC236}">
                    <a16:creationId xmlns:a16="http://schemas.microsoft.com/office/drawing/2014/main" id="{B678E4AB-1164-DD01-AC58-D76B5F84AD2A}"/>
                  </a:ext>
                </a:extLst>
              </p:cNvPr>
              <p:cNvSpPr/>
              <p:nvPr>
                <p:custDataLst>
                  <p:tags r:id="rId192"/>
                </p:custDataLst>
              </p:nvPr>
            </p:nvSpPr>
            <p:spPr bwMode="auto">
              <a:xfrm>
                <a:off x="6795813" y="3253707"/>
                <a:ext cx="358429" cy="224496"/>
              </a:xfrm>
              <a:custGeom>
                <a:avLst/>
                <a:gdLst>
                  <a:gd name="T0" fmla="*/ 59 w 241"/>
                  <a:gd name="T1" fmla="*/ 93 h 150"/>
                  <a:gd name="T2" fmla="*/ 73 w 241"/>
                  <a:gd name="T3" fmla="*/ 89 h 150"/>
                  <a:gd name="T4" fmla="*/ 89 w 241"/>
                  <a:gd name="T5" fmla="*/ 95 h 150"/>
                  <a:gd name="T6" fmla="*/ 106 w 241"/>
                  <a:gd name="T7" fmla="*/ 101 h 150"/>
                  <a:gd name="T8" fmla="*/ 126 w 241"/>
                  <a:gd name="T9" fmla="*/ 112 h 150"/>
                  <a:gd name="T10" fmla="*/ 145 w 241"/>
                  <a:gd name="T11" fmla="*/ 120 h 150"/>
                  <a:gd name="T12" fmla="*/ 151 w 241"/>
                  <a:gd name="T13" fmla="*/ 140 h 150"/>
                  <a:gd name="T14" fmla="*/ 165 w 241"/>
                  <a:gd name="T15" fmla="*/ 146 h 150"/>
                  <a:gd name="T16" fmla="*/ 182 w 241"/>
                  <a:gd name="T17" fmla="*/ 142 h 150"/>
                  <a:gd name="T18" fmla="*/ 196 w 241"/>
                  <a:gd name="T19" fmla="*/ 132 h 150"/>
                  <a:gd name="T20" fmla="*/ 209 w 241"/>
                  <a:gd name="T21" fmla="*/ 115 h 150"/>
                  <a:gd name="T22" fmla="*/ 224 w 241"/>
                  <a:gd name="T23" fmla="*/ 107 h 150"/>
                  <a:gd name="T24" fmla="*/ 240 w 241"/>
                  <a:gd name="T25" fmla="*/ 105 h 150"/>
                  <a:gd name="T26" fmla="*/ 232 w 241"/>
                  <a:gd name="T27" fmla="*/ 91 h 150"/>
                  <a:gd name="T28" fmla="*/ 203 w 241"/>
                  <a:gd name="T29" fmla="*/ 78 h 150"/>
                  <a:gd name="T30" fmla="*/ 173 w 241"/>
                  <a:gd name="T31" fmla="*/ 58 h 150"/>
                  <a:gd name="T32" fmla="*/ 162 w 241"/>
                  <a:gd name="T33" fmla="*/ 40 h 150"/>
                  <a:gd name="T34" fmla="*/ 148 w 241"/>
                  <a:gd name="T35" fmla="*/ 33 h 150"/>
                  <a:gd name="T36" fmla="*/ 132 w 241"/>
                  <a:gd name="T37" fmla="*/ 28 h 150"/>
                  <a:gd name="T38" fmla="*/ 131 w 241"/>
                  <a:gd name="T39" fmla="*/ 19 h 150"/>
                  <a:gd name="T40" fmla="*/ 127 w 241"/>
                  <a:gd name="T41" fmla="*/ 11 h 150"/>
                  <a:gd name="T42" fmla="*/ 113 w 241"/>
                  <a:gd name="T43" fmla="*/ 6 h 150"/>
                  <a:gd name="T44" fmla="*/ 104 w 241"/>
                  <a:gd name="T45" fmla="*/ 6 h 150"/>
                  <a:gd name="T46" fmla="*/ 93 w 241"/>
                  <a:gd name="T47" fmla="*/ 12 h 150"/>
                  <a:gd name="T48" fmla="*/ 80 w 241"/>
                  <a:gd name="T49" fmla="*/ 25 h 150"/>
                  <a:gd name="T50" fmla="*/ 52 w 241"/>
                  <a:gd name="T51" fmla="*/ 30 h 150"/>
                  <a:gd name="T52" fmla="*/ 31 w 241"/>
                  <a:gd name="T53" fmla="*/ 11 h 150"/>
                  <a:gd name="T54" fmla="*/ 3 w 241"/>
                  <a:gd name="T55" fmla="*/ 18 h 150"/>
                  <a:gd name="T56" fmla="*/ 5 w 241"/>
                  <a:gd name="T57" fmla="*/ 28 h 150"/>
                  <a:gd name="T58" fmla="*/ 10 w 241"/>
                  <a:gd name="T59" fmla="*/ 25 h 150"/>
                  <a:gd name="T60" fmla="*/ 22 w 241"/>
                  <a:gd name="T61" fmla="*/ 12 h 150"/>
                  <a:gd name="T62" fmla="*/ 30 w 241"/>
                  <a:gd name="T63" fmla="*/ 28 h 150"/>
                  <a:gd name="T64" fmla="*/ 34 w 241"/>
                  <a:gd name="T65" fmla="*/ 37 h 150"/>
                  <a:gd name="T66" fmla="*/ 21 w 241"/>
                  <a:gd name="T67" fmla="*/ 39 h 150"/>
                  <a:gd name="T68" fmla="*/ 6 w 241"/>
                  <a:gd name="T69" fmla="*/ 37 h 150"/>
                  <a:gd name="T70" fmla="*/ 11 w 241"/>
                  <a:gd name="T71" fmla="*/ 55 h 150"/>
                  <a:gd name="T72" fmla="*/ 20 w 241"/>
                  <a:gd name="T73" fmla="*/ 62 h 150"/>
                  <a:gd name="T74" fmla="*/ 15 w 241"/>
                  <a:gd name="T75" fmla="*/ 61 h 150"/>
                  <a:gd name="T76" fmla="*/ 15 w 241"/>
                  <a:gd name="T77" fmla="*/ 71 h 150"/>
                  <a:gd name="T78" fmla="*/ 26 w 241"/>
                  <a:gd name="T79" fmla="*/ 77 h 150"/>
                  <a:gd name="T80" fmla="*/ 25 w 241"/>
                  <a:gd name="T81" fmla="*/ 103 h 150"/>
                  <a:gd name="T82" fmla="*/ 39 w 241"/>
                  <a:gd name="T83" fmla="*/ 10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1" h="150">
                    <a:moveTo>
                      <a:pt x="38" y="103"/>
                    </a:moveTo>
                    <a:cubicBezTo>
                      <a:pt x="42" y="99"/>
                      <a:pt x="45" y="95"/>
                      <a:pt x="51" y="93"/>
                    </a:cubicBezTo>
                    <a:cubicBezTo>
                      <a:pt x="54" y="93"/>
                      <a:pt x="56" y="92"/>
                      <a:pt x="59" y="93"/>
                    </a:cubicBezTo>
                    <a:cubicBezTo>
                      <a:pt x="60" y="93"/>
                      <a:pt x="61" y="93"/>
                      <a:pt x="63" y="93"/>
                    </a:cubicBezTo>
                    <a:cubicBezTo>
                      <a:pt x="64" y="93"/>
                      <a:pt x="65" y="92"/>
                      <a:pt x="66" y="91"/>
                    </a:cubicBezTo>
                    <a:cubicBezTo>
                      <a:pt x="68" y="89"/>
                      <a:pt x="70" y="89"/>
                      <a:pt x="73" y="89"/>
                    </a:cubicBezTo>
                    <a:cubicBezTo>
                      <a:pt x="76" y="89"/>
                      <a:pt x="79" y="89"/>
                      <a:pt x="82" y="90"/>
                    </a:cubicBezTo>
                    <a:cubicBezTo>
                      <a:pt x="83" y="92"/>
                      <a:pt x="84" y="94"/>
                      <a:pt x="85" y="95"/>
                    </a:cubicBezTo>
                    <a:cubicBezTo>
                      <a:pt x="87" y="95"/>
                      <a:pt x="88" y="95"/>
                      <a:pt x="89" y="95"/>
                    </a:cubicBezTo>
                    <a:cubicBezTo>
                      <a:pt x="91" y="96"/>
                      <a:pt x="92" y="96"/>
                      <a:pt x="93" y="97"/>
                    </a:cubicBezTo>
                    <a:cubicBezTo>
                      <a:pt x="95" y="98"/>
                      <a:pt x="96" y="100"/>
                      <a:pt x="98" y="101"/>
                    </a:cubicBezTo>
                    <a:cubicBezTo>
                      <a:pt x="101" y="102"/>
                      <a:pt x="103" y="101"/>
                      <a:pt x="106" y="101"/>
                    </a:cubicBezTo>
                    <a:cubicBezTo>
                      <a:pt x="109" y="101"/>
                      <a:pt x="111" y="101"/>
                      <a:pt x="114" y="102"/>
                    </a:cubicBezTo>
                    <a:cubicBezTo>
                      <a:pt x="117" y="103"/>
                      <a:pt x="119" y="105"/>
                      <a:pt x="120" y="108"/>
                    </a:cubicBezTo>
                    <a:cubicBezTo>
                      <a:pt x="122" y="109"/>
                      <a:pt x="123" y="111"/>
                      <a:pt x="126" y="112"/>
                    </a:cubicBezTo>
                    <a:cubicBezTo>
                      <a:pt x="127" y="112"/>
                      <a:pt x="128" y="113"/>
                      <a:pt x="129" y="113"/>
                    </a:cubicBezTo>
                    <a:cubicBezTo>
                      <a:pt x="130" y="114"/>
                      <a:pt x="131" y="115"/>
                      <a:pt x="131" y="116"/>
                    </a:cubicBezTo>
                    <a:cubicBezTo>
                      <a:pt x="134" y="121"/>
                      <a:pt x="140" y="120"/>
                      <a:pt x="145" y="120"/>
                    </a:cubicBezTo>
                    <a:cubicBezTo>
                      <a:pt x="148" y="120"/>
                      <a:pt x="149" y="121"/>
                      <a:pt x="149" y="123"/>
                    </a:cubicBezTo>
                    <a:cubicBezTo>
                      <a:pt x="149" y="127"/>
                      <a:pt x="150" y="130"/>
                      <a:pt x="150" y="133"/>
                    </a:cubicBezTo>
                    <a:cubicBezTo>
                      <a:pt x="150" y="135"/>
                      <a:pt x="151" y="138"/>
                      <a:pt x="151" y="140"/>
                    </a:cubicBezTo>
                    <a:cubicBezTo>
                      <a:pt x="151" y="142"/>
                      <a:pt x="152" y="141"/>
                      <a:pt x="153" y="141"/>
                    </a:cubicBezTo>
                    <a:cubicBezTo>
                      <a:pt x="155" y="142"/>
                      <a:pt x="156" y="142"/>
                      <a:pt x="158" y="142"/>
                    </a:cubicBezTo>
                    <a:cubicBezTo>
                      <a:pt x="160" y="143"/>
                      <a:pt x="163" y="144"/>
                      <a:pt x="165" y="146"/>
                    </a:cubicBezTo>
                    <a:cubicBezTo>
                      <a:pt x="166" y="147"/>
                      <a:pt x="167" y="150"/>
                      <a:pt x="169" y="149"/>
                    </a:cubicBezTo>
                    <a:cubicBezTo>
                      <a:pt x="171" y="147"/>
                      <a:pt x="173" y="146"/>
                      <a:pt x="175" y="146"/>
                    </a:cubicBezTo>
                    <a:cubicBezTo>
                      <a:pt x="178" y="146"/>
                      <a:pt x="180" y="145"/>
                      <a:pt x="182" y="142"/>
                    </a:cubicBezTo>
                    <a:cubicBezTo>
                      <a:pt x="183" y="140"/>
                      <a:pt x="180" y="138"/>
                      <a:pt x="182" y="137"/>
                    </a:cubicBezTo>
                    <a:cubicBezTo>
                      <a:pt x="184" y="135"/>
                      <a:pt x="187" y="135"/>
                      <a:pt x="189" y="135"/>
                    </a:cubicBezTo>
                    <a:cubicBezTo>
                      <a:pt x="191" y="134"/>
                      <a:pt x="194" y="133"/>
                      <a:pt x="196" y="132"/>
                    </a:cubicBezTo>
                    <a:cubicBezTo>
                      <a:pt x="199" y="131"/>
                      <a:pt x="202" y="130"/>
                      <a:pt x="204" y="128"/>
                    </a:cubicBezTo>
                    <a:cubicBezTo>
                      <a:pt x="206" y="127"/>
                      <a:pt x="206" y="125"/>
                      <a:pt x="206" y="123"/>
                    </a:cubicBezTo>
                    <a:cubicBezTo>
                      <a:pt x="207" y="120"/>
                      <a:pt x="208" y="118"/>
                      <a:pt x="209" y="115"/>
                    </a:cubicBezTo>
                    <a:cubicBezTo>
                      <a:pt x="209" y="113"/>
                      <a:pt x="210" y="111"/>
                      <a:pt x="212" y="110"/>
                    </a:cubicBezTo>
                    <a:cubicBezTo>
                      <a:pt x="214" y="109"/>
                      <a:pt x="217" y="109"/>
                      <a:pt x="219" y="109"/>
                    </a:cubicBezTo>
                    <a:cubicBezTo>
                      <a:pt x="221" y="109"/>
                      <a:pt x="222" y="108"/>
                      <a:pt x="224" y="107"/>
                    </a:cubicBezTo>
                    <a:cubicBezTo>
                      <a:pt x="226" y="105"/>
                      <a:pt x="227" y="104"/>
                      <a:pt x="230" y="105"/>
                    </a:cubicBezTo>
                    <a:cubicBezTo>
                      <a:pt x="232" y="106"/>
                      <a:pt x="235" y="107"/>
                      <a:pt x="238" y="107"/>
                    </a:cubicBezTo>
                    <a:cubicBezTo>
                      <a:pt x="239" y="107"/>
                      <a:pt x="240" y="107"/>
                      <a:pt x="240" y="105"/>
                    </a:cubicBezTo>
                    <a:cubicBezTo>
                      <a:pt x="240" y="104"/>
                      <a:pt x="240" y="102"/>
                      <a:pt x="240" y="101"/>
                    </a:cubicBezTo>
                    <a:cubicBezTo>
                      <a:pt x="240" y="98"/>
                      <a:pt x="241" y="96"/>
                      <a:pt x="239" y="95"/>
                    </a:cubicBezTo>
                    <a:cubicBezTo>
                      <a:pt x="237" y="93"/>
                      <a:pt x="234" y="92"/>
                      <a:pt x="232" y="91"/>
                    </a:cubicBezTo>
                    <a:cubicBezTo>
                      <a:pt x="229" y="91"/>
                      <a:pt x="227" y="92"/>
                      <a:pt x="224" y="91"/>
                    </a:cubicBezTo>
                    <a:cubicBezTo>
                      <a:pt x="221" y="91"/>
                      <a:pt x="219" y="90"/>
                      <a:pt x="217" y="88"/>
                    </a:cubicBezTo>
                    <a:cubicBezTo>
                      <a:pt x="213" y="84"/>
                      <a:pt x="209" y="81"/>
                      <a:pt x="203" y="78"/>
                    </a:cubicBezTo>
                    <a:cubicBezTo>
                      <a:pt x="198" y="75"/>
                      <a:pt x="192" y="72"/>
                      <a:pt x="187" y="68"/>
                    </a:cubicBezTo>
                    <a:cubicBezTo>
                      <a:pt x="185" y="66"/>
                      <a:pt x="182" y="65"/>
                      <a:pt x="180" y="63"/>
                    </a:cubicBezTo>
                    <a:cubicBezTo>
                      <a:pt x="178" y="61"/>
                      <a:pt x="175" y="60"/>
                      <a:pt x="173" y="58"/>
                    </a:cubicBezTo>
                    <a:cubicBezTo>
                      <a:pt x="171" y="57"/>
                      <a:pt x="170" y="55"/>
                      <a:pt x="170" y="52"/>
                    </a:cubicBezTo>
                    <a:cubicBezTo>
                      <a:pt x="169" y="50"/>
                      <a:pt x="167" y="48"/>
                      <a:pt x="165" y="46"/>
                    </a:cubicBezTo>
                    <a:cubicBezTo>
                      <a:pt x="163" y="44"/>
                      <a:pt x="163" y="42"/>
                      <a:pt x="162" y="40"/>
                    </a:cubicBezTo>
                    <a:cubicBezTo>
                      <a:pt x="161" y="37"/>
                      <a:pt x="160" y="35"/>
                      <a:pt x="158" y="33"/>
                    </a:cubicBezTo>
                    <a:cubicBezTo>
                      <a:pt x="156" y="31"/>
                      <a:pt x="154" y="31"/>
                      <a:pt x="152" y="32"/>
                    </a:cubicBezTo>
                    <a:cubicBezTo>
                      <a:pt x="150" y="33"/>
                      <a:pt x="149" y="33"/>
                      <a:pt x="148" y="33"/>
                    </a:cubicBezTo>
                    <a:cubicBezTo>
                      <a:pt x="146" y="33"/>
                      <a:pt x="145" y="32"/>
                      <a:pt x="143" y="32"/>
                    </a:cubicBezTo>
                    <a:cubicBezTo>
                      <a:pt x="141" y="31"/>
                      <a:pt x="139" y="31"/>
                      <a:pt x="136" y="31"/>
                    </a:cubicBezTo>
                    <a:cubicBezTo>
                      <a:pt x="134" y="31"/>
                      <a:pt x="132" y="31"/>
                      <a:pt x="132" y="28"/>
                    </a:cubicBezTo>
                    <a:cubicBezTo>
                      <a:pt x="131" y="27"/>
                      <a:pt x="130" y="26"/>
                      <a:pt x="130" y="25"/>
                    </a:cubicBezTo>
                    <a:cubicBezTo>
                      <a:pt x="129" y="24"/>
                      <a:pt x="130" y="23"/>
                      <a:pt x="131" y="22"/>
                    </a:cubicBezTo>
                    <a:cubicBezTo>
                      <a:pt x="131" y="21"/>
                      <a:pt x="132" y="20"/>
                      <a:pt x="131" y="19"/>
                    </a:cubicBezTo>
                    <a:cubicBezTo>
                      <a:pt x="130" y="18"/>
                      <a:pt x="128" y="17"/>
                      <a:pt x="128" y="16"/>
                    </a:cubicBezTo>
                    <a:cubicBezTo>
                      <a:pt x="127" y="14"/>
                      <a:pt x="128" y="13"/>
                      <a:pt x="128" y="12"/>
                    </a:cubicBezTo>
                    <a:cubicBezTo>
                      <a:pt x="129" y="11"/>
                      <a:pt x="128" y="11"/>
                      <a:pt x="127" y="11"/>
                    </a:cubicBezTo>
                    <a:cubicBezTo>
                      <a:pt x="124" y="11"/>
                      <a:pt x="122" y="10"/>
                      <a:pt x="119" y="9"/>
                    </a:cubicBezTo>
                    <a:cubicBezTo>
                      <a:pt x="118" y="8"/>
                      <a:pt x="117" y="8"/>
                      <a:pt x="116" y="7"/>
                    </a:cubicBezTo>
                    <a:cubicBezTo>
                      <a:pt x="115" y="6"/>
                      <a:pt x="114" y="6"/>
                      <a:pt x="113" y="6"/>
                    </a:cubicBezTo>
                    <a:cubicBezTo>
                      <a:pt x="111" y="6"/>
                      <a:pt x="110" y="5"/>
                      <a:pt x="109" y="4"/>
                    </a:cubicBezTo>
                    <a:cubicBezTo>
                      <a:pt x="108" y="3"/>
                      <a:pt x="108" y="2"/>
                      <a:pt x="107" y="2"/>
                    </a:cubicBezTo>
                    <a:cubicBezTo>
                      <a:pt x="105" y="0"/>
                      <a:pt x="104" y="5"/>
                      <a:pt x="104" y="6"/>
                    </a:cubicBezTo>
                    <a:cubicBezTo>
                      <a:pt x="104" y="7"/>
                      <a:pt x="104" y="9"/>
                      <a:pt x="102" y="9"/>
                    </a:cubicBezTo>
                    <a:cubicBezTo>
                      <a:pt x="100" y="9"/>
                      <a:pt x="96" y="5"/>
                      <a:pt x="95" y="7"/>
                    </a:cubicBezTo>
                    <a:cubicBezTo>
                      <a:pt x="94" y="8"/>
                      <a:pt x="94" y="10"/>
                      <a:pt x="93" y="12"/>
                    </a:cubicBezTo>
                    <a:cubicBezTo>
                      <a:pt x="92" y="14"/>
                      <a:pt x="88" y="15"/>
                      <a:pt x="86" y="15"/>
                    </a:cubicBezTo>
                    <a:cubicBezTo>
                      <a:pt x="84" y="15"/>
                      <a:pt x="82" y="16"/>
                      <a:pt x="80" y="18"/>
                    </a:cubicBezTo>
                    <a:cubicBezTo>
                      <a:pt x="79" y="20"/>
                      <a:pt x="78" y="23"/>
                      <a:pt x="80" y="25"/>
                    </a:cubicBezTo>
                    <a:cubicBezTo>
                      <a:pt x="81" y="26"/>
                      <a:pt x="83" y="29"/>
                      <a:pt x="80" y="30"/>
                    </a:cubicBezTo>
                    <a:cubicBezTo>
                      <a:pt x="77" y="30"/>
                      <a:pt x="73" y="30"/>
                      <a:pt x="70" y="30"/>
                    </a:cubicBezTo>
                    <a:cubicBezTo>
                      <a:pt x="64" y="30"/>
                      <a:pt x="58" y="31"/>
                      <a:pt x="52" y="30"/>
                    </a:cubicBezTo>
                    <a:cubicBezTo>
                      <a:pt x="46" y="29"/>
                      <a:pt x="43" y="23"/>
                      <a:pt x="40" y="19"/>
                    </a:cubicBezTo>
                    <a:cubicBezTo>
                      <a:pt x="38" y="17"/>
                      <a:pt x="36" y="15"/>
                      <a:pt x="34" y="13"/>
                    </a:cubicBezTo>
                    <a:cubicBezTo>
                      <a:pt x="33" y="12"/>
                      <a:pt x="32" y="11"/>
                      <a:pt x="31" y="11"/>
                    </a:cubicBezTo>
                    <a:cubicBezTo>
                      <a:pt x="29" y="10"/>
                      <a:pt x="28" y="9"/>
                      <a:pt x="26" y="10"/>
                    </a:cubicBezTo>
                    <a:cubicBezTo>
                      <a:pt x="21" y="11"/>
                      <a:pt x="15" y="11"/>
                      <a:pt x="9" y="13"/>
                    </a:cubicBezTo>
                    <a:cubicBezTo>
                      <a:pt x="7" y="15"/>
                      <a:pt x="5" y="16"/>
                      <a:pt x="3" y="18"/>
                    </a:cubicBezTo>
                    <a:cubicBezTo>
                      <a:pt x="3" y="19"/>
                      <a:pt x="0" y="20"/>
                      <a:pt x="1" y="21"/>
                    </a:cubicBezTo>
                    <a:cubicBezTo>
                      <a:pt x="2" y="22"/>
                      <a:pt x="3" y="23"/>
                      <a:pt x="3" y="24"/>
                    </a:cubicBezTo>
                    <a:cubicBezTo>
                      <a:pt x="4" y="25"/>
                      <a:pt x="4" y="27"/>
                      <a:pt x="5" y="28"/>
                    </a:cubicBezTo>
                    <a:cubicBezTo>
                      <a:pt x="5" y="29"/>
                      <a:pt x="5" y="30"/>
                      <a:pt x="6" y="31"/>
                    </a:cubicBezTo>
                    <a:cubicBezTo>
                      <a:pt x="7" y="33"/>
                      <a:pt x="8" y="29"/>
                      <a:pt x="8" y="28"/>
                    </a:cubicBezTo>
                    <a:cubicBezTo>
                      <a:pt x="8" y="27"/>
                      <a:pt x="9" y="26"/>
                      <a:pt x="10" y="25"/>
                    </a:cubicBezTo>
                    <a:cubicBezTo>
                      <a:pt x="10" y="23"/>
                      <a:pt x="9" y="23"/>
                      <a:pt x="9" y="22"/>
                    </a:cubicBezTo>
                    <a:cubicBezTo>
                      <a:pt x="7" y="20"/>
                      <a:pt x="8" y="17"/>
                      <a:pt x="9" y="16"/>
                    </a:cubicBezTo>
                    <a:cubicBezTo>
                      <a:pt x="12" y="13"/>
                      <a:pt x="17" y="11"/>
                      <a:pt x="22" y="12"/>
                    </a:cubicBezTo>
                    <a:cubicBezTo>
                      <a:pt x="23" y="12"/>
                      <a:pt x="25" y="13"/>
                      <a:pt x="26" y="15"/>
                    </a:cubicBezTo>
                    <a:cubicBezTo>
                      <a:pt x="27" y="17"/>
                      <a:pt x="27" y="20"/>
                      <a:pt x="27" y="22"/>
                    </a:cubicBezTo>
                    <a:cubicBezTo>
                      <a:pt x="27" y="25"/>
                      <a:pt x="28" y="27"/>
                      <a:pt x="30" y="28"/>
                    </a:cubicBezTo>
                    <a:cubicBezTo>
                      <a:pt x="32" y="29"/>
                      <a:pt x="34" y="30"/>
                      <a:pt x="37" y="31"/>
                    </a:cubicBezTo>
                    <a:cubicBezTo>
                      <a:pt x="38" y="32"/>
                      <a:pt x="41" y="34"/>
                      <a:pt x="39" y="36"/>
                    </a:cubicBezTo>
                    <a:cubicBezTo>
                      <a:pt x="38" y="37"/>
                      <a:pt x="36" y="36"/>
                      <a:pt x="34" y="37"/>
                    </a:cubicBezTo>
                    <a:cubicBezTo>
                      <a:pt x="32" y="38"/>
                      <a:pt x="33" y="40"/>
                      <a:pt x="32" y="41"/>
                    </a:cubicBezTo>
                    <a:cubicBezTo>
                      <a:pt x="30" y="42"/>
                      <a:pt x="26" y="43"/>
                      <a:pt x="25" y="42"/>
                    </a:cubicBezTo>
                    <a:cubicBezTo>
                      <a:pt x="24" y="40"/>
                      <a:pt x="24" y="38"/>
                      <a:pt x="21" y="39"/>
                    </a:cubicBezTo>
                    <a:cubicBezTo>
                      <a:pt x="19" y="40"/>
                      <a:pt x="15" y="42"/>
                      <a:pt x="14" y="39"/>
                    </a:cubicBezTo>
                    <a:cubicBezTo>
                      <a:pt x="12" y="38"/>
                      <a:pt x="12" y="36"/>
                      <a:pt x="10" y="35"/>
                    </a:cubicBezTo>
                    <a:cubicBezTo>
                      <a:pt x="9" y="35"/>
                      <a:pt x="6" y="35"/>
                      <a:pt x="6" y="37"/>
                    </a:cubicBezTo>
                    <a:cubicBezTo>
                      <a:pt x="7" y="40"/>
                      <a:pt x="7" y="43"/>
                      <a:pt x="6" y="45"/>
                    </a:cubicBezTo>
                    <a:cubicBezTo>
                      <a:pt x="5" y="47"/>
                      <a:pt x="4" y="50"/>
                      <a:pt x="5" y="52"/>
                    </a:cubicBezTo>
                    <a:cubicBezTo>
                      <a:pt x="5" y="54"/>
                      <a:pt x="9" y="55"/>
                      <a:pt x="11" y="55"/>
                    </a:cubicBezTo>
                    <a:cubicBezTo>
                      <a:pt x="13" y="56"/>
                      <a:pt x="18" y="55"/>
                      <a:pt x="18" y="57"/>
                    </a:cubicBezTo>
                    <a:cubicBezTo>
                      <a:pt x="18" y="58"/>
                      <a:pt x="18" y="59"/>
                      <a:pt x="18" y="60"/>
                    </a:cubicBezTo>
                    <a:cubicBezTo>
                      <a:pt x="19" y="61"/>
                      <a:pt x="20" y="61"/>
                      <a:pt x="20" y="62"/>
                    </a:cubicBezTo>
                    <a:cubicBezTo>
                      <a:pt x="21" y="63"/>
                      <a:pt x="21" y="64"/>
                      <a:pt x="20" y="64"/>
                    </a:cubicBezTo>
                    <a:cubicBezTo>
                      <a:pt x="19" y="65"/>
                      <a:pt x="18" y="63"/>
                      <a:pt x="17" y="63"/>
                    </a:cubicBezTo>
                    <a:cubicBezTo>
                      <a:pt x="17" y="62"/>
                      <a:pt x="16" y="61"/>
                      <a:pt x="15" y="61"/>
                    </a:cubicBezTo>
                    <a:cubicBezTo>
                      <a:pt x="14" y="62"/>
                      <a:pt x="13" y="62"/>
                      <a:pt x="12" y="63"/>
                    </a:cubicBezTo>
                    <a:cubicBezTo>
                      <a:pt x="11" y="65"/>
                      <a:pt x="10" y="68"/>
                      <a:pt x="12" y="70"/>
                    </a:cubicBezTo>
                    <a:cubicBezTo>
                      <a:pt x="13" y="70"/>
                      <a:pt x="14" y="71"/>
                      <a:pt x="15" y="71"/>
                    </a:cubicBezTo>
                    <a:cubicBezTo>
                      <a:pt x="16" y="71"/>
                      <a:pt x="16" y="70"/>
                      <a:pt x="17" y="69"/>
                    </a:cubicBezTo>
                    <a:cubicBezTo>
                      <a:pt x="19" y="68"/>
                      <a:pt x="22" y="71"/>
                      <a:pt x="23" y="73"/>
                    </a:cubicBezTo>
                    <a:cubicBezTo>
                      <a:pt x="24" y="74"/>
                      <a:pt x="27" y="76"/>
                      <a:pt x="26" y="77"/>
                    </a:cubicBezTo>
                    <a:cubicBezTo>
                      <a:pt x="24" y="80"/>
                      <a:pt x="24" y="82"/>
                      <a:pt x="24" y="85"/>
                    </a:cubicBezTo>
                    <a:cubicBezTo>
                      <a:pt x="23" y="88"/>
                      <a:pt x="23" y="91"/>
                      <a:pt x="23" y="94"/>
                    </a:cubicBezTo>
                    <a:cubicBezTo>
                      <a:pt x="23" y="97"/>
                      <a:pt x="24" y="100"/>
                      <a:pt x="25" y="103"/>
                    </a:cubicBezTo>
                    <a:cubicBezTo>
                      <a:pt x="25" y="104"/>
                      <a:pt x="26" y="108"/>
                      <a:pt x="27" y="108"/>
                    </a:cubicBezTo>
                    <a:cubicBezTo>
                      <a:pt x="28" y="108"/>
                      <a:pt x="30" y="108"/>
                      <a:pt x="32" y="108"/>
                    </a:cubicBezTo>
                    <a:cubicBezTo>
                      <a:pt x="35" y="107"/>
                      <a:pt x="37" y="104"/>
                      <a:pt x="39" y="102"/>
                    </a:cubicBezTo>
                    <a:cubicBezTo>
                      <a:pt x="39" y="102"/>
                      <a:pt x="38" y="103"/>
                      <a:pt x="38" y="103"/>
                    </a:cubicBezTo>
                    <a:cubicBezTo>
                      <a:pt x="40" y="100"/>
                      <a:pt x="38" y="103"/>
                      <a:pt x="38" y="103"/>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55" name="Freeform 252">
                <a:extLst>
                  <a:ext uri="{FF2B5EF4-FFF2-40B4-BE49-F238E27FC236}">
                    <a16:creationId xmlns:a16="http://schemas.microsoft.com/office/drawing/2014/main" id="{D67AAB90-4C69-DC85-882D-7E640AF57B18}"/>
                  </a:ext>
                </a:extLst>
              </p:cNvPr>
              <p:cNvSpPr/>
              <p:nvPr>
                <p:custDataLst>
                  <p:tags r:id="rId193"/>
                </p:custDataLst>
              </p:nvPr>
            </p:nvSpPr>
            <p:spPr bwMode="auto">
              <a:xfrm>
                <a:off x="7001176" y="3381261"/>
                <a:ext cx="355878" cy="258936"/>
              </a:xfrm>
              <a:custGeom>
                <a:avLst/>
                <a:gdLst>
                  <a:gd name="T0" fmla="*/ 224 w 239"/>
                  <a:gd name="T1" fmla="*/ 24 h 174"/>
                  <a:gd name="T2" fmla="*/ 210 w 239"/>
                  <a:gd name="T3" fmla="*/ 27 h 174"/>
                  <a:gd name="T4" fmla="*/ 196 w 239"/>
                  <a:gd name="T5" fmla="*/ 35 h 174"/>
                  <a:gd name="T6" fmla="*/ 185 w 239"/>
                  <a:gd name="T7" fmla="*/ 29 h 174"/>
                  <a:gd name="T8" fmla="*/ 182 w 239"/>
                  <a:gd name="T9" fmla="*/ 9 h 174"/>
                  <a:gd name="T10" fmla="*/ 168 w 239"/>
                  <a:gd name="T11" fmla="*/ 10 h 174"/>
                  <a:gd name="T12" fmla="*/ 166 w 239"/>
                  <a:gd name="T13" fmla="*/ 17 h 174"/>
                  <a:gd name="T14" fmla="*/ 157 w 239"/>
                  <a:gd name="T15" fmla="*/ 19 h 174"/>
                  <a:gd name="T16" fmla="*/ 151 w 239"/>
                  <a:gd name="T17" fmla="*/ 27 h 174"/>
                  <a:gd name="T18" fmla="*/ 138 w 239"/>
                  <a:gd name="T19" fmla="*/ 26 h 174"/>
                  <a:gd name="T20" fmla="*/ 124 w 239"/>
                  <a:gd name="T21" fmla="*/ 31 h 174"/>
                  <a:gd name="T22" fmla="*/ 117 w 239"/>
                  <a:gd name="T23" fmla="*/ 28 h 174"/>
                  <a:gd name="T24" fmla="*/ 109 w 239"/>
                  <a:gd name="T25" fmla="*/ 24 h 174"/>
                  <a:gd name="T26" fmla="*/ 96 w 239"/>
                  <a:gd name="T27" fmla="*/ 23 h 174"/>
                  <a:gd name="T28" fmla="*/ 82 w 239"/>
                  <a:gd name="T29" fmla="*/ 26 h 174"/>
                  <a:gd name="T30" fmla="*/ 72 w 239"/>
                  <a:gd name="T31" fmla="*/ 34 h 174"/>
                  <a:gd name="T32" fmla="*/ 70 w 239"/>
                  <a:gd name="T33" fmla="*/ 42 h 174"/>
                  <a:gd name="T34" fmla="*/ 57 w 239"/>
                  <a:gd name="T35" fmla="*/ 50 h 174"/>
                  <a:gd name="T36" fmla="*/ 49 w 239"/>
                  <a:gd name="T37" fmla="*/ 52 h 174"/>
                  <a:gd name="T38" fmla="*/ 46 w 239"/>
                  <a:gd name="T39" fmla="*/ 56 h 174"/>
                  <a:gd name="T40" fmla="*/ 34 w 239"/>
                  <a:gd name="T41" fmla="*/ 64 h 174"/>
                  <a:gd name="T42" fmla="*/ 24 w 239"/>
                  <a:gd name="T43" fmla="*/ 61 h 174"/>
                  <a:gd name="T44" fmla="*/ 13 w 239"/>
                  <a:gd name="T45" fmla="*/ 59 h 174"/>
                  <a:gd name="T46" fmla="*/ 12 w 239"/>
                  <a:gd name="T47" fmla="*/ 63 h 174"/>
                  <a:gd name="T48" fmla="*/ 6 w 239"/>
                  <a:gd name="T49" fmla="*/ 76 h 174"/>
                  <a:gd name="T50" fmla="*/ 3 w 239"/>
                  <a:gd name="T51" fmla="*/ 85 h 174"/>
                  <a:gd name="T52" fmla="*/ 1 w 239"/>
                  <a:gd name="T53" fmla="*/ 95 h 174"/>
                  <a:gd name="T54" fmla="*/ 6 w 239"/>
                  <a:gd name="T55" fmla="*/ 100 h 174"/>
                  <a:gd name="T56" fmla="*/ 4 w 239"/>
                  <a:gd name="T57" fmla="*/ 109 h 174"/>
                  <a:gd name="T58" fmla="*/ 6 w 239"/>
                  <a:gd name="T59" fmla="*/ 123 h 174"/>
                  <a:gd name="T60" fmla="*/ 6 w 239"/>
                  <a:gd name="T61" fmla="*/ 134 h 174"/>
                  <a:gd name="T62" fmla="*/ 17 w 239"/>
                  <a:gd name="T63" fmla="*/ 137 h 174"/>
                  <a:gd name="T64" fmla="*/ 8 w 239"/>
                  <a:gd name="T65" fmla="*/ 165 h 174"/>
                  <a:gd name="T66" fmla="*/ 54 w 239"/>
                  <a:gd name="T67" fmla="*/ 172 h 174"/>
                  <a:gd name="T68" fmla="*/ 68 w 239"/>
                  <a:gd name="T69" fmla="*/ 170 h 174"/>
                  <a:gd name="T70" fmla="*/ 86 w 239"/>
                  <a:gd name="T71" fmla="*/ 169 h 174"/>
                  <a:gd name="T72" fmla="*/ 95 w 239"/>
                  <a:gd name="T73" fmla="*/ 166 h 174"/>
                  <a:gd name="T74" fmla="*/ 99 w 239"/>
                  <a:gd name="T75" fmla="*/ 146 h 174"/>
                  <a:gd name="T76" fmla="*/ 113 w 239"/>
                  <a:gd name="T77" fmla="*/ 139 h 174"/>
                  <a:gd name="T78" fmla="*/ 121 w 239"/>
                  <a:gd name="T79" fmla="*/ 136 h 174"/>
                  <a:gd name="T80" fmla="*/ 129 w 239"/>
                  <a:gd name="T81" fmla="*/ 130 h 174"/>
                  <a:gd name="T82" fmla="*/ 141 w 239"/>
                  <a:gd name="T83" fmla="*/ 132 h 174"/>
                  <a:gd name="T84" fmla="*/ 147 w 239"/>
                  <a:gd name="T85" fmla="*/ 121 h 174"/>
                  <a:gd name="T86" fmla="*/ 151 w 239"/>
                  <a:gd name="T87" fmla="*/ 108 h 174"/>
                  <a:gd name="T88" fmla="*/ 164 w 239"/>
                  <a:gd name="T89" fmla="*/ 101 h 174"/>
                  <a:gd name="T90" fmla="*/ 159 w 239"/>
                  <a:gd name="T91" fmla="*/ 89 h 174"/>
                  <a:gd name="T92" fmla="*/ 177 w 239"/>
                  <a:gd name="T93" fmla="*/ 86 h 174"/>
                  <a:gd name="T94" fmla="*/ 178 w 239"/>
                  <a:gd name="T95" fmla="*/ 80 h 174"/>
                  <a:gd name="T96" fmla="*/ 188 w 239"/>
                  <a:gd name="T97" fmla="*/ 60 h 174"/>
                  <a:gd name="T98" fmla="*/ 184 w 239"/>
                  <a:gd name="T99" fmla="*/ 45 h 174"/>
                  <a:gd name="T100" fmla="*/ 195 w 239"/>
                  <a:gd name="T101" fmla="*/ 40 h 174"/>
                  <a:gd name="T102" fmla="*/ 212 w 239"/>
                  <a:gd name="T103" fmla="*/ 33 h 174"/>
                  <a:gd name="T104" fmla="*/ 226 w 239"/>
                  <a:gd name="T105" fmla="*/ 33 h 174"/>
                  <a:gd name="T106" fmla="*/ 236 w 239"/>
                  <a:gd name="T107" fmla="*/ 27 h 174"/>
                  <a:gd name="T108" fmla="*/ 239 w 239"/>
                  <a:gd name="T109" fmla="*/ 2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9" h="174">
                    <a:moveTo>
                      <a:pt x="239" y="25"/>
                    </a:moveTo>
                    <a:cubicBezTo>
                      <a:pt x="235" y="20"/>
                      <a:pt x="229" y="25"/>
                      <a:pt x="224" y="24"/>
                    </a:cubicBezTo>
                    <a:cubicBezTo>
                      <a:pt x="221" y="24"/>
                      <a:pt x="220" y="22"/>
                      <a:pt x="217" y="22"/>
                    </a:cubicBezTo>
                    <a:cubicBezTo>
                      <a:pt x="215" y="23"/>
                      <a:pt x="212" y="25"/>
                      <a:pt x="210" y="27"/>
                    </a:cubicBezTo>
                    <a:cubicBezTo>
                      <a:pt x="208" y="28"/>
                      <a:pt x="206" y="30"/>
                      <a:pt x="204" y="31"/>
                    </a:cubicBezTo>
                    <a:cubicBezTo>
                      <a:pt x="201" y="33"/>
                      <a:pt x="199" y="34"/>
                      <a:pt x="196" y="35"/>
                    </a:cubicBezTo>
                    <a:cubicBezTo>
                      <a:pt x="194" y="36"/>
                      <a:pt x="191" y="37"/>
                      <a:pt x="189" y="36"/>
                    </a:cubicBezTo>
                    <a:cubicBezTo>
                      <a:pt x="187" y="34"/>
                      <a:pt x="185" y="31"/>
                      <a:pt x="185" y="29"/>
                    </a:cubicBezTo>
                    <a:cubicBezTo>
                      <a:pt x="184" y="24"/>
                      <a:pt x="188" y="18"/>
                      <a:pt x="186" y="13"/>
                    </a:cubicBezTo>
                    <a:cubicBezTo>
                      <a:pt x="185" y="11"/>
                      <a:pt x="183" y="11"/>
                      <a:pt x="182" y="9"/>
                    </a:cubicBezTo>
                    <a:cubicBezTo>
                      <a:pt x="181" y="7"/>
                      <a:pt x="182" y="5"/>
                      <a:pt x="179" y="3"/>
                    </a:cubicBezTo>
                    <a:cubicBezTo>
                      <a:pt x="174" y="0"/>
                      <a:pt x="171" y="8"/>
                      <a:pt x="168" y="10"/>
                    </a:cubicBezTo>
                    <a:cubicBezTo>
                      <a:pt x="167" y="11"/>
                      <a:pt x="166" y="12"/>
                      <a:pt x="166" y="13"/>
                    </a:cubicBezTo>
                    <a:cubicBezTo>
                      <a:pt x="167" y="14"/>
                      <a:pt x="167" y="16"/>
                      <a:pt x="166" y="17"/>
                    </a:cubicBezTo>
                    <a:cubicBezTo>
                      <a:pt x="166" y="19"/>
                      <a:pt x="164" y="20"/>
                      <a:pt x="162" y="20"/>
                    </a:cubicBezTo>
                    <a:cubicBezTo>
                      <a:pt x="160" y="20"/>
                      <a:pt x="158" y="19"/>
                      <a:pt x="157" y="19"/>
                    </a:cubicBezTo>
                    <a:cubicBezTo>
                      <a:pt x="154" y="19"/>
                      <a:pt x="154" y="21"/>
                      <a:pt x="153" y="23"/>
                    </a:cubicBezTo>
                    <a:cubicBezTo>
                      <a:pt x="153" y="24"/>
                      <a:pt x="152" y="26"/>
                      <a:pt x="151" y="27"/>
                    </a:cubicBezTo>
                    <a:cubicBezTo>
                      <a:pt x="149" y="29"/>
                      <a:pt x="146" y="28"/>
                      <a:pt x="144" y="27"/>
                    </a:cubicBezTo>
                    <a:cubicBezTo>
                      <a:pt x="142" y="25"/>
                      <a:pt x="141" y="25"/>
                      <a:pt x="138" y="26"/>
                    </a:cubicBezTo>
                    <a:cubicBezTo>
                      <a:pt x="135" y="27"/>
                      <a:pt x="133" y="29"/>
                      <a:pt x="131" y="30"/>
                    </a:cubicBezTo>
                    <a:cubicBezTo>
                      <a:pt x="129" y="31"/>
                      <a:pt x="126" y="32"/>
                      <a:pt x="124" y="31"/>
                    </a:cubicBezTo>
                    <a:cubicBezTo>
                      <a:pt x="123" y="30"/>
                      <a:pt x="123" y="29"/>
                      <a:pt x="122" y="28"/>
                    </a:cubicBezTo>
                    <a:cubicBezTo>
                      <a:pt x="120" y="27"/>
                      <a:pt x="119" y="28"/>
                      <a:pt x="117" y="28"/>
                    </a:cubicBezTo>
                    <a:cubicBezTo>
                      <a:pt x="115" y="27"/>
                      <a:pt x="112" y="28"/>
                      <a:pt x="111" y="26"/>
                    </a:cubicBezTo>
                    <a:cubicBezTo>
                      <a:pt x="110" y="25"/>
                      <a:pt x="110" y="24"/>
                      <a:pt x="109" y="24"/>
                    </a:cubicBezTo>
                    <a:cubicBezTo>
                      <a:pt x="107" y="24"/>
                      <a:pt x="106" y="24"/>
                      <a:pt x="104" y="24"/>
                    </a:cubicBezTo>
                    <a:cubicBezTo>
                      <a:pt x="101" y="24"/>
                      <a:pt x="98" y="24"/>
                      <a:pt x="96" y="23"/>
                    </a:cubicBezTo>
                    <a:cubicBezTo>
                      <a:pt x="94" y="23"/>
                      <a:pt x="90" y="21"/>
                      <a:pt x="88" y="23"/>
                    </a:cubicBezTo>
                    <a:cubicBezTo>
                      <a:pt x="86" y="25"/>
                      <a:pt x="85" y="26"/>
                      <a:pt x="82" y="26"/>
                    </a:cubicBezTo>
                    <a:cubicBezTo>
                      <a:pt x="80" y="27"/>
                      <a:pt x="76" y="26"/>
                      <a:pt x="74" y="28"/>
                    </a:cubicBezTo>
                    <a:cubicBezTo>
                      <a:pt x="73" y="29"/>
                      <a:pt x="73" y="32"/>
                      <a:pt x="72" y="34"/>
                    </a:cubicBezTo>
                    <a:cubicBezTo>
                      <a:pt x="72" y="35"/>
                      <a:pt x="71" y="36"/>
                      <a:pt x="71" y="37"/>
                    </a:cubicBezTo>
                    <a:cubicBezTo>
                      <a:pt x="70" y="38"/>
                      <a:pt x="70" y="40"/>
                      <a:pt x="70" y="42"/>
                    </a:cubicBezTo>
                    <a:cubicBezTo>
                      <a:pt x="70" y="44"/>
                      <a:pt x="67" y="45"/>
                      <a:pt x="65" y="46"/>
                    </a:cubicBezTo>
                    <a:cubicBezTo>
                      <a:pt x="63" y="48"/>
                      <a:pt x="60" y="49"/>
                      <a:pt x="57" y="50"/>
                    </a:cubicBezTo>
                    <a:cubicBezTo>
                      <a:pt x="56" y="50"/>
                      <a:pt x="55" y="51"/>
                      <a:pt x="53" y="51"/>
                    </a:cubicBezTo>
                    <a:cubicBezTo>
                      <a:pt x="52" y="52"/>
                      <a:pt x="51" y="52"/>
                      <a:pt x="49" y="52"/>
                    </a:cubicBezTo>
                    <a:cubicBezTo>
                      <a:pt x="48" y="52"/>
                      <a:pt x="46" y="52"/>
                      <a:pt x="46" y="53"/>
                    </a:cubicBezTo>
                    <a:cubicBezTo>
                      <a:pt x="45" y="54"/>
                      <a:pt x="46" y="55"/>
                      <a:pt x="46" y="56"/>
                    </a:cubicBezTo>
                    <a:cubicBezTo>
                      <a:pt x="46" y="58"/>
                      <a:pt x="44" y="61"/>
                      <a:pt x="42" y="62"/>
                    </a:cubicBezTo>
                    <a:cubicBezTo>
                      <a:pt x="40" y="64"/>
                      <a:pt x="37" y="63"/>
                      <a:pt x="34" y="64"/>
                    </a:cubicBezTo>
                    <a:cubicBezTo>
                      <a:pt x="33" y="65"/>
                      <a:pt x="31" y="67"/>
                      <a:pt x="29" y="66"/>
                    </a:cubicBezTo>
                    <a:cubicBezTo>
                      <a:pt x="27" y="65"/>
                      <a:pt x="26" y="62"/>
                      <a:pt x="24" y="61"/>
                    </a:cubicBezTo>
                    <a:cubicBezTo>
                      <a:pt x="21" y="60"/>
                      <a:pt x="18" y="59"/>
                      <a:pt x="16" y="59"/>
                    </a:cubicBezTo>
                    <a:cubicBezTo>
                      <a:pt x="15" y="59"/>
                      <a:pt x="13" y="58"/>
                      <a:pt x="13" y="59"/>
                    </a:cubicBezTo>
                    <a:cubicBezTo>
                      <a:pt x="13" y="59"/>
                      <a:pt x="13" y="60"/>
                      <a:pt x="13" y="61"/>
                    </a:cubicBezTo>
                    <a:cubicBezTo>
                      <a:pt x="12" y="61"/>
                      <a:pt x="12" y="62"/>
                      <a:pt x="12" y="63"/>
                    </a:cubicBezTo>
                    <a:cubicBezTo>
                      <a:pt x="11" y="66"/>
                      <a:pt x="10" y="69"/>
                      <a:pt x="10" y="72"/>
                    </a:cubicBezTo>
                    <a:cubicBezTo>
                      <a:pt x="10" y="74"/>
                      <a:pt x="8" y="75"/>
                      <a:pt x="6" y="76"/>
                    </a:cubicBezTo>
                    <a:cubicBezTo>
                      <a:pt x="4" y="77"/>
                      <a:pt x="6" y="79"/>
                      <a:pt x="6" y="81"/>
                    </a:cubicBezTo>
                    <a:cubicBezTo>
                      <a:pt x="7" y="84"/>
                      <a:pt x="4" y="84"/>
                      <a:pt x="3" y="85"/>
                    </a:cubicBezTo>
                    <a:cubicBezTo>
                      <a:pt x="1" y="87"/>
                      <a:pt x="1" y="90"/>
                      <a:pt x="1" y="93"/>
                    </a:cubicBezTo>
                    <a:cubicBezTo>
                      <a:pt x="0" y="93"/>
                      <a:pt x="0" y="94"/>
                      <a:pt x="1" y="95"/>
                    </a:cubicBezTo>
                    <a:cubicBezTo>
                      <a:pt x="2" y="95"/>
                      <a:pt x="3" y="95"/>
                      <a:pt x="4" y="95"/>
                    </a:cubicBezTo>
                    <a:cubicBezTo>
                      <a:pt x="7" y="95"/>
                      <a:pt x="8" y="98"/>
                      <a:pt x="6" y="100"/>
                    </a:cubicBezTo>
                    <a:cubicBezTo>
                      <a:pt x="5" y="101"/>
                      <a:pt x="4" y="102"/>
                      <a:pt x="3" y="104"/>
                    </a:cubicBezTo>
                    <a:cubicBezTo>
                      <a:pt x="3" y="106"/>
                      <a:pt x="3" y="108"/>
                      <a:pt x="4" y="109"/>
                    </a:cubicBezTo>
                    <a:cubicBezTo>
                      <a:pt x="4" y="112"/>
                      <a:pt x="5" y="114"/>
                      <a:pt x="5" y="116"/>
                    </a:cubicBezTo>
                    <a:cubicBezTo>
                      <a:pt x="6" y="118"/>
                      <a:pt x="6" y="121"/>
                      <a:pt x="6" y="123"/>
                    </a:cubicBezTo>
                    <a:cubicBezTo>
                      <a:pt x="6" y="125"/>
                      <a:pt x="6" y="128"/>
                      <a:pt x="6" y="130"/>
                    </a:cubicBezTo>
                    <a:cubicBezTo>
                      <a:pt x="6" y="131"/>
                      <a:pt x="6" y="133"/>
                      <a:pt x="6" y="134"/>
                    </a:cubicBezTo>
                    <a:cubicBezTo>
                      <a:pt x="7" y="135"/>
                      <a:pt x="10" y="135"/>
                      <a:pt x="12" y="135"/>
                    </a:cubicBezTo>
                    <a:cubicBezTo>
                      <a:pt x="14" y="136"/>
                      <a:pt x="16" y="136"/>
                      <a:pt x="17" y="137"/>
                    </a:cubicBezTo>
                    <a:cubicBezTo>
                      <a:pt x="21" y="138"/>
                      <a:pt x="23" y="141"/>
                      <a:pt x="23" y="145"/>
                    </a:cubicBezTo>
                    <a:cubicBezTo>
                      <a:pt x="22" y="153"/>
                      <a:pt x="13" y="158"/>
                      <a:pt x="8" y="165"/>
                    </a:cubicBezTo>
                    <a:cubicBezTo>
                      <a:pt x="20" y="169"/>
                      <a:pt x="33" y="174"/>
                      <a:pt x="45" y="172"/>
                    </a:cubicBezTo>
                    <a:cubicBezTo>
                      <a:pt x="48" y="172"/>
                      <a:pt x="51" y="171"/>
                      <a:pt x="54" y="172"/>
                    </a:cubicBezTo>
                    <a:cubicBezTo>
                      <a:pt x="57" y="173"/>
                      <a:pt x="59" y="174"/>
                      <a:pt x="61" y="173"/>
                    </a:cubicBezTo>
                    <a:cubicBezTo>
                      <a:pt x="64" y="172"/>
                      <a:pt x="66" y="171"/>
                      <a:pt x="68" y="170"/>
                    </a:cubicBezTo>
                    <a:cubicBezTo>
                      <a:pt x="71" y="170"/>
                      <a:pt x="75" y="170"/>
                      <a:pt x="78" y="170"/>
                    </a:cubicBezTo>
                    <a:cubicBezTo>
                      <a:pt x="81" y="170"/>
                      <a:pt x="84" y="169"/>
                      <a:pt x="86" y="169"/>
                    </a:cubicBezTo>
                    <a:cubicBezTo>
                      <a:pt x="88" y="168"/>
                      <a:pt x="89" y="168"/>
                      <a:pt x="91" y="167"/>
                    </a:cubicBezTo>
                    <a:cubicBezTo>
                      <a:pt x="92" y="167"/>
                      <a:pt x="93" y="167"/>
                      <a:pt x="95" y="166"/>
                    </a:cubicBezTo>
                    <a:cubicBezTo>
                      <a:pt x="99" y="164"/>
                      <a:pt x="97" y="158"/>
                      <a:pt x="98" y="154"/>
                    </a:cubicBezTo>
                    <a:cubicBezTo>
                      <a:pt x="98" y="151"/>
                      <a:pt x="97" y="148"/>
                      <a:pt x="99" y="146"/>
                    </a:cubicBezTo>
                    <a:cubicBezTo>
                      <a:pt x="101" y="143"/>
                      <a:pt x="103" y="142"/>
                      <a:pt x="106" y="140"/>
                    </a:cubicBezTo>
                    <a:cubicBezTo>
                      <a:pt x="108" y="138"/>
                      <a:pt x="110" y="138"/>
                      <a:pt x="113" y="139"/>
                    </a:cubicBezTo>
                    <a:cubicBezTo>
                      <a:pt x="116" y="141"/>
                      <a:pt x="118" y="140"/>
                      <a:pt x="120" y="138"/>
                    </a:cubicBezTo>
                    <a:cubicBezTo>
                      <a:pt x="121" y="137"/>
                      <a:pt x="120" y="137"/>
                      <a:pt x="121" y="136"/>
                    </a:cubicBezTo>
                    <a:cubicBezTo>
                      <a:pt x="121" y="135"/>
                      <a:pt x="122" y="134"/>
                      <a:pt x="122" y="133"/>
                    </a:cubicBezTo>
                    <a:cubicBezTo>
                      <a:pt x="124" y="132"/>
                      <a:pt x="127" y="131"/>
                      <a:pt x="129" y="130"/>
                    </a:cubicBezTo>
                    <a:cubicBezTo>
                      <a:pt x="131" y="129"/>
                      <a:pt x="133" y="128"/>
                      <a:pt x="135" y="128"/>
                    </a:cubicBezTo>
                    <a:cubicBezTo>
                      <a:pt x="137" y="129"/>
                      <a:pt x="138" y="132"/>
                      <a:pt x="141" y="132"/>
                    </a:cubicBezTo>
                    <a:cubicBezTo>
                      <a:pt x="143" y="131"/>
                      <a:pt x="146" y="129"/>
                      <a:pt x="147" y="127"/>
                    </a:cubicBezTo>
                    <a:cubicBezTo>
                      <a:pt x="149" y="125"/>
                      <a:pt x="148" y="123"/>
                      <a:pt x="147" y="121"/>
                    </a:cubicBezTo>
                    <a:cubicBezTo>
                      <a:pt x="147" y="119"/>
                      <a:pt x="147" y="116"/>
                      <a:pt x="150" y="114"/>
                    </a:cubicBezTo>
                    <a:cubicBezTo>
                      <a:pt x="152" y="112"/>
                      <a:pt x="150" y="110"/>
                      <a:pt x="151" y="108"/>
                    </a:cubicBezTo>
                    <a:cubicBezTo>
                      <a:pt x="151" y="105"/>
                      <a:pt x="154" y="104"/>
                      <a:pt x="156" y="104"/>
                    </a:cubicBezTo>
                    <a:cubicBezTo>
                      <a:pt x="159" y="105"/>
                      <a:pt x="162" y="104"/>
                      <a:pt x="164" y="101"/>
                    </a:cubicBezTo>
                    <a:cubicBezTo>
                      <a:pt x="165" y="99"/>
                      <a:pt x="162" y="96"/>
                      <a:pt x="161" y="95"/>
                    </a:cubicBezTo>
                    <a:cubicBezTo>
                      <a:pt x="160" y="93"/>
                      <a:pt x="159" y="91"/>
                      <a:pt x="159" y="89"/>
                    </a:cubicBezTo>
                    <a:cubicBezTo>
                      <a:pt x="158" y="84"/>
                      <a:pt x="168" y="87"/>
                      <a:pt x="170" y="88"/>
                    </a:cubicBezTo>
                    <a:cubicBezTo>
                      <a:pt x="173" y="88"/>
                      <a:pt x="175" y="88"/>
                      <a:pt x="177" y="86"/>
                    </a:cubicBezTo>
                    <a:cubicBezTo>
                      <a:pt x="178" y="86"/>
                      <a:pt x="178" y="85"/>
                      <a:pt x="179" y="84"/>
                    </a:cubicBezTo>
                    <a:cubicBezTo>
                      <a:pt x="180" y="82"/>
                      <a:pt x="178" y="81"/>
                      <a:pt x="178" y="80"/>
                    </a:cubicBezTo>
                    <a:cubicBezTo>
                      <a:pt x="177" y="76"/>
                      <a:pt x="181" y="72"/>
                      <a:pt x="183" y="70"/>
                    </a:cubicBezTo>
                    <a:cubicBezTo>
                      <a:pt x="186" y="68"/>
                      <a:pt x="189" y="64"/>
                      <a:pt x="188" y="60"/>
                    </a:cubicBezTo>
                    <a:cubicBezTo>
                      <a:pt x="186" y="56"/>
                      <a:pt x="182" y="53"/>
                      <a:pt x="181" y="50"/>
                    </a:cubicBezTo>
                    <a:cubicBezTo>
                      <a:pt x="181" y="48"/>
                      <a:pt x="183" y="46"/>
                      <a:pt x="184" y="45"/>
                    </a:cubicBezTo>
                    <a:cubicBezTo>
                      <a:pt x="186" y="44"/>
                      <a:pt x="187" y="42"/>
                      <a:pt x="189" y="41"/>
                    </a:cubicBezTo>
                    <a:cubicBezTo>
                      <a:pt x="191" y="40"/>
                      <a:pt x="193" y="41"/>
                      <a:pt x="195" y="40"/>
                    </a:cubicBezTo>
                    <a:cubicBezTo>
                      <a:pt x="197" y="39"/>
                      <a:pt x="198" y="37"/>
                      <a:pt x="200" y="36"/>
                    </a:cubicBezTo>
                    <a:cubicBezTo>
                      <a:pt x="204" y="34"/>
                      <a:pt x="208" y="33"/>
                      <a:pt x="212" y="33"/>
                    </a:cubicBezTo>
                    <a:cubicBezTo>
                      <a:pt x="215" y="33"/>
                      <a:pt x="217" y="33"/>
                      <a:pt x="219" y="33"/>
                    </a:cubicBezTo>
                    <a:cubicBezTo>
                      <a:pt x="221" y="32"/>
                      <a:pt x="224" y="32"/>
                      <a:pt x="226" y="33"/>
                    </a:cubicBezTo>
                    <a:cubicBezTo>
                      <a:pt x="230" y="35"/>
                      <a:pt x="233" y="31"/>
                      <a:pt x="237" y="30"/>
                    </a:cubicBezTo>
                    <a:cubicBezTo>
                      <a:pt x="237" y="29"/>
                      <a:pt x="236" y="28"/>
                      <a:pt x="236" y="27"/>
                    </a:cubicBezTo>
                    <a:cubicBezTo>
                      <a:pt x="237" y="26"/>
                      <a:pt x="238" y="25"/>
                      <a:pt x="239" y="25"/>
                    </a:cubicBezTo>
                    <a:cubicBezTo>
                      <a:pt x="239" y="24"/>
                      <a:pt x="239" y="25"/>
                      <a:pt x="239" y="25"/>
                    </a:cubicBezTo>
                    <a:cubicBezTo>
                      <a:pt x="236" y="22"/>
                      <a:pt x="239" y="25"/>
                      <a:pt x="239" y="25"/>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56" name="Freeform 256">
                <a:extLst>
                  <a:ext uri="{FF2B5EF4-FFF2-40B4-BE49-F238E27FC236}">
                    <a16:creationId xmlns:a16="http://schemas.microsoft.com/office/drawing/2014/main" id="{6012863A-31FE-2371-8028-DC6DAF5B8DEA}"/>
                  </a:ext>
                </a:extLst>
              </p:cNvPr>
              <p:cNvSpPr/>
              <p:nvPr>
                <p:custDataLst>
                  <p:tags r:id="rId194"/>
                </p:custDataLst>
              </p:nvPr>
            </p:nvSpPr>
            <p:spPr bwMode="auto">
              <a:xfrm>
                <a:off x="5943748" y="2040661"/>
                <a:ext cx="11481" cy="10205"/>
              </a:xfrm>
              <a:custGeom>
                <a:avLst/>
                <a:gdLst>
                  <a:gd name="T0" fmla="*/ 4 w 8"/>
                  <a:gd name="T1" fmla="*/ 6 h 7"/>
                  <a:gd name="T2" fmla="*/ 7 w 8"/>
                  <a:gd name="T3" fmla="*/ 1 h 7"/>
                  <a:gd name="T4" fmla="*/ 3 w 8"/>
                  <a:gd name="T5" fmla="*/ 1 h 7"/>
                  <a:gd name="T6" fmla="*/ 1 w 8"/>
                  <a:gd name="T7" fmla="*/ 3 h 7"/>
                  <a:gd name="T8" fmla="*/ 5 w 8"/>
                  <a:gd name="T9" fmla="*/ 6 h 7"/>
                  <a:gd name="T10" fmla="*/ 4 w 8"/>
                  <a:gd name="T11" fmla="*/ 6 h 7"/>
                  <a:gd name="T12" fmla="*/ 4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4" y="6"/>
                    </a:moveTo>
                    <a:cubicBezTo>
                      <a:pt x="5" y="5"/>
                      <a:pt x="8" y="2"/>
                      <a:pt x="7" y="1"/>
                    </a:cubicBezTo>
                    <a:cubicBezTo>
                      <a:pt x="6" y="0"/>
                      <a:pt x="4" y="1"/>
                      <a:pt x="3" y="1"/>
                    </a:cubicBezTo>
                    <a:cubicBezTo>
                      <a:pt x="2" y="1"/>
                      <a:pt x="0" y="2"/>
                      <a:pt x="1" y="3"/>
                    </a:cubicBezTo>
                    <a:cubicBezTo>
                      <a:pt x="2" y="5"/>
                      <a:pt x="3" y="7"/>
                      <a:pt x="5" y="6"/>
                    </a:cubicBezTo>
                    <a:cubicBezTo>
                      <a:pt x="5" y="6"/>
                      <a:pt x="5" y="6"/>
                      <a:pt x="4" y="6"/>
                    </a:cubicBezTo>
                    <a:cubicBezTo>
                      <a:pt x="5" y="5"/>
                      <a:pt x="4" y="6"/>
                      <a:pt x="4" y="6"/>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57" name="Freeform 257">
                <a:extLst>
                  <a:ext uri="{FF2B5EF4-FFF2-40B4-BE49-F238E27FC236}">
                    <a16:creationId xmlns:a16="http://schemas.microsoft.com/office/drawing/2014/main" id="{5B182746-F5D1-318E-00A2-F664153E463A}"/>
                  </a:ext>
                </a:extLst>
              </p:cNvPr>
              <p:cNvSpPr>
                <a:spLocks noEditPoints="1"/>
              </p:cNvSpPr>
              <p:nvPr>
                <p:custDataLst>
                  <p:tags r:id="rId195"/>
                </p:custDataLst>
              </p:nvPr>
            </p:nvSpPr>
            <p:spPr bwMode="auto">
              <a:xfrm>
                <a:off x="5740935" y="1717948"/>
                <a:ext cx="568894" cy="225772"/>
              </a:xfrm>
              <a:custGeom>
                <a:avLst/>
                <a:gdLst>
                  <a:gd name="T0" fmla="*/ 214 w 382"/>
                  <a:gd name="T1" fmla="*/ 91 h 151"/>
                  <a:gd name="T2" fmla="*/ 180 w 382"/>
                  <a:gd name="T3" fmla="*/ 96 h 151"/>
                  <a:gd name="T4" fmla="*/ 184 w 382"/>
                  <a:gd name="T5" fmla="*/ 113 h 151"/>
                  <a:gd name="T6" fmla="*/ 206 w 382"/>
                  <a:gd name="T7" fmla="*/ 119 h 151"/>
                  <a:gd name="T8" fmla="*/ 237 w 382"/>
                  <a:gd name="T9" fmla="*/ 105 h 151"/>
                  <a:gd name="T10" fmla="*/ 269 w 382"/>
                  <a:gd name="T11" fmla="*/ 65 h 151"/>
                  <a:gd name="T12" fmla="*/ 313 w 382"/>
                  <a:gd name="T13" fmla="*/ 60 h 151"/>
                  <a:gd name="T14" fmla="*/ 293 w 382"/>
                  <a:gd name="T15" fmla="*/ 65 h 151"/>
                  <a:gd name="T16" fmla="*/ 370 w 382"/>
                  <a:gd name="T17" fmla="*/ 13 h 151"/>
                  <a:gd name="T18" fmla="*/ 126 w 382"/>
                  <a:gd name="T19" fmla="*/ 15 h 151"/>
                  <a:gd name="T20" fmla="*/ 137 w 382"/>
                  <a:gd name="T21" fmla="*/ 30 h 151"/>
                  <a:gd name="T22" fmla="*/ 186 w 382"/>
                  <a:gd name="T23" fmla="*/ 28 h 151"/>
                  <a:gd name="T24" fmla="*/ 169 w 382"/>
                  <a:gd name="T25" fmla="*/ 35 h 151"/>
                  <a:gd name="T26" fmla="*/ 187 w 382"/>
                  <a:gd name="T27" fmla="*/ 43 h 151"/>
                  <a:gd name="T28" fmla="*/ 236 w 382"/>
                  <a:gd name="T29" fmla="*/ 45 h 151"/>
                  <a:gd name="T30" fmla="*/ 272 w 382"/>
                  <a:gd name="T31" fmla="*/ 26 h 151"/>
                  <a:gd name="T32" fmla="*/ 255 w 382"/>
                  <a:gd name="T33" fmla="*/ 10 h 151"/>
                  <a:gd name="T34" fmla="*/ 208 w 382"/>
                  <a:gd name="T35" fmla="*/ 15 h 151"/>
                  <a:gd name="T36" fmla="*/ 201 w 382"/>
                  <a:gd name="T37" fmla="*/ 3 h 151"/>
                  <a:gd name="T38" fmla="*/ 191 w 382"/>
                  <a:gd name="T39" fmla="*/ 17 h 151"/>
                  <a:gd name="T40" fmla="*/ 156 w 382"/>
                  <a:gd name="T41" fmla="*/ 3 h 151"/>
                  <a:gd name="T42" fmla="*/ 141 w 382"/>
                  <a:gd name="T43" fmla="*/ 11 h 151"/>
                  <a:gd name="T44" fmla="*/ 184 w 382"/>
                  <a:gd name="T45" fmla="*/ 85 h 151"/>
                  <a:gd name="T46" fmla="*/ 172 w 382"/>
                  <a:gd name="T47" fmla="*/ 75 h 151"/>
                  <a:gd name="T48" fmla="*/ 177 w 382"/>
                  <a:gd name="T49" fmla="*/ 85 h 151"/>
                  <a:gd name="T50" fmla="*/ 15 w 382"/>
                  <a:gd name="T51" fmla="*/ 49 h 151"/>
                  <a:gd name="T52" fmla="*/ 25 w 382"/>
                  <a:gd name="T53" fmla="*/ 58 h 151"/>
                  <a:gd name="T54" fmla="*/ 23 w 382"/>
                  <a:gd name="T55" fmla="*/ 71 h 151"/>
                  <a:gd name="T56" fmla="*/ 24 w 382"/>
                  <a:gd name="T57" fmla="*/ 78 h 151"/>
                  <a:gd name="T58" fmla="*/ 52 w 382"/>
                  <a:gd name="T59" fmla="*/ 84 h 151"/>
                  <a:gd name="T60" fmla="*/ 66 w 382"/>
                  <a:gd name="T61" fmla="*/ 68 h 151"/>
                  <a:gd name="T62" fmla="*/ 92 w 382"/>
                  <a:gd name="T63" fmla="*/ 73 h 151"/>
                  <a:gd name="T64" fmla="*/ 109 w 382"/>
                  <a:gd name="T65" fmla="*/ 79 h 151"/>
                  <a:gd name="T66" fmla="*/ 72 w 382"/>
                  <a:gd name="T67" fmla="*/ 89 h 151"/>
                  <a:gd name="T68" fmla="*/ 53 w 382"/>
                  <a:gd name="T69" fmla="*/ 103 h 151"/>
                  <a:gd name="T70" fmla="*/ 101 w 382"/>
                  <a:gd name="T71" fmla="*/ 97 h 151"/>
                  <a:gd name="T72" fmla="*/ 67 w 382"/>
                  <a:gd name="T73" fmla="*/ 107 h 151"/>
                  <a:gd name="T74" fmla="*/ 85 w 382"/>
                  <a:gd name="T75" fmla="*/ 114 h 151"/>
                  <a:gd name="T76" fmla="*/ 50 w 382"/>
                  <a:gd name="T77" fmla="*/ 111 h 151"/>
                  <a:gd name="T78" fmla="*/ 89 w 382"/>
                  <a:gd name="T79" fmla="*/ 129 h 151"/>
                  <a:gd name="T80" fmla="*/ 81 w 382"/>
                  <a:gd name="T81" fmla="*/ 134 h 151"/>
                  <a:gd name="T82" fmla="*/ 102 w 382"/>
                  <a:gd name="T83" fmla="*/ 146 h 151"/>
                  <a:gd name="T84" fmla="*/ 113 w 382"/>
                  <a:gd name="T85" fmla="*/ 119 h 151"/>
                  <a:gd name="T86" fmla="*/ 139 w 382"/>
                  <a:gd name="T87" fmla="*/ 86 h 151"/>
                  <a:gd name="T88" fmla="*/ 173 w 382"/>
                  <a:gd name="T89" fmla="*/ 70 h 151"/>
                  <a:gd name="T90" fmla="*/ 144 w 382"/>
                  <a:gd name="T91" fmla="*/ 53 h 151"/>
                  <a:gd name="T92" fmla="*/ 121 w 382"/>
                  <a:gd name="T93" fmla="*/ 41 h 151"/>
                  <a:gd name="T94" fmla="*/ 110 w 382"/>
                  <a:gd name="T95" fmla="*/ 27 h 151"/>
                  <a:gd name="T96" fmla="*/ 89 w 382"/>
                  <a:gd name="T97" fmla="*/ 41 h 151"/>
                  <a:gd name="T98" fmla="*/ 80 w 382"/>
                  <a:gd name="T99" fmla="*/ 39 h 151"/>
                  <a:gd name="T100" fmla="*/ 57 w 382"/>
                  <a:gd name="T101" fmla="*/ 40 h 151"/>
                  <a:gd name="T102" fmla="*/ 44 w 382"/>
                  <a:gd name="T103" fmla="*/ 36 h 151"/>
                  <a:gd name="T104" fmla="*/ 52 w 382"/>
                  <a:gd name="T105" fmla="*/ 30 h 151"/>
                  <a:gd name="T106" fmla="*/ 25 w 382"/>
                  <a:gd name="T107" fmla="*/ 25 h 151"/>
                  <a:gd name="T108" fmla="*/ 4 w 382"/>
                  <a:gd name="T109" fmla="*/ 34 h 151"/>
                  <a:gd name="T110" fmla="*/ 245 w 382"/>
                  <a:gd name="T111" fmla="*/ 14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2" h="151">
                    <a:moveTo>
                      <a:pt x="237" y="105"/>
                    </a:moveTo>
                    <a:cubicBezTo>
                      <a:pt x="238" y="104"/>
                      <a:pt x="240" y="104"/>
                      <a:pt x="239" y="103"/>
                    </a:cubicBezTo>
                    <a:cubicBezTo>
                      <a:pt x="238" y="102"/>
                      <a:pt x="237" y="102"/>
                      <a:pt x="236" y="101"/>
                    </a:cubicBezTo>
                    <a:cubicBezTo>
                      <a:pt x="235" y="101"/>
                      <a:pt x="234" y="100"/>
                      <a:pt x="233" y="100"/>
                    </a:cubicBezTo>
                    <a:cubicBezTo>
                      <a:pt x="231" y="98"/>
                      <a:pt x="229" y="98"/>
                      <a:pt x="226" y="99"/>
                    </a:cubicBezTo>
                    <a:cubicBezTo>
                      <a:pt x="223" y="100"/>
                      <a:pt x="222" y="101"/>
                      <a:pt x="220" y="99"/>
                    </a:cubicBezTo>
                    <a:cubicBezTo>
                      <a:pt x="218" y="97"/>
                      <a:pt x="216" y="97"/>
                      <a:pt x="213" y="96"/>
                    </a:cubicBezTo>
                    <a:cubicBezTo>
                      <a:pt x="210" y="95"/>
                      <a:pt x="213" y="93"/>
                      <a:pt x="214" y="91"/>
                    </a:cubicBezTo>
                    <a:cubicBezTo>
                      <a:pt x="215" y="89"/>
                      <a:pt x="213" y="87"/>
                      <a:pt x="211" y="86"/>
                    </a:cubicBezTo>
                    <a:cubicBezTo>
                      <a:pt x="208" y="85"/>
                      <a:pt x="205" y="85"/>
                      <a:pt x="203" y="86"/>
                    </a:cubicBezTo>
                    <a:cubicBezTo>
                      <a:pt x="200" y="87"/>
                      <a:pt x="197" y="88"/>
                      <a:pt x="195" y="88"/>
                    </a:cubicBezTo>
                    <a:cubicBezTo>
                      <a:pt x="192" y="88"/>
                      <a:pt x="189" y="89"/>
                      <a:pt x="186" y="88"/>
                    </a:cubicBezTo>
                    <a:cubicBezTo>
                      <a:pt x="183" y="88"/>
                      <a:pt x="181" y="89"/>
                      <a:pt x="178" y="89"/>
                    </a:cubicBezTo>
                    <a:cubicBezTo>
                      <a:pt x="177" y="90"/>
                      <a:pt x="172" y="90"/>
                      <a:pt x="172" y="91"/>
                    </a:cubicBezTo>
                    <a:cubicBezTo>
                      <a:pt x="172" y="92"/>
                      <a:pt x="176" y="94"/>
                      <a:pt x="177" y="94"/>
                    </a:cubicBezTo>
                    <a:cubicBezTo>
                      <a:pt x="178" y="95"/>
                      <a:pt x="179" y="96"/>
                      <a:pt x="180" y="96"/>
                    </a:cubicBezTo>
                    <a:cubicBezTo>
                      <a:pt x="181" y="97"/>
                      <a:pt x="182" y="97"/>
                      <a:pt x="183" y="97"/>
                    </a:cubicBezTo>
                    <a:cubicBezTo>
                      <a:pt x="186" y="98"/>
                      <a:pt x="182" y="101"/>
                      <a:pt x="181" y="101"/>
                    </a:cubicBezTo>
                    <a:cubicBezTo>
                      <a:pt x="179" y="102"/>
                      <a:pt x="177" y="104"/>
                      <a:pt x="177" y="107"/>
                    </a:cubicBezTo>
                    <a:cubicBezTo>
                      <a:pt x="178" y="108"/>
                      <a:pt x="178" y="109"/>
                      <a:pt x="177" y="109"/>
                    </a:cubicBezTo>
                    <a:cubicBezTo>
                      <a:pt x="176" y="110"/>
                      <a:pt x="175" y="110"/>
                      <a:pt x="174" y="110"/>
                    </a:cubicBezTo>
                    <a:cubicBezTo>
                      <a:pt x="173" y="111"/>
                      <a:pt x="171" y="112"/>
                      <a:pt x="171" y="114"/>
                    </a:cubicBezTo>
                    <a:cubicBezTo>
                      <a:pt x="172" y="115"/>
                      <a:pt x="175" y="114"/>
                      <a:pt x="177" y="113"/>
                    </a:cubicBezTo>
                    <a:cubicBezTo>
                      <a:pt x="179" y="113"/>
                      <a:pt x="181" y="113"/>
                      <a:pt x="184" y="113"/>
                    </a:cubicBezTo>
                    <a:cubicBezTo>
                      <a:pt x="186" y="113"/>
                      <a:pt x="188" y="112"/>
                      <a:pt x="191" y="112"/>
                    </a:cubicBezTo>
                    <a:cubicBezTo>
                      <a:pt x="194" y="112"/>
                      <a:pt x="196" y="112"/>
                      <a:pt x="199" y="111"/>
                    </a:cubicBezTo>
                    <a:cubicBezTo>
                      <a:pt x="199" y="111"/>
                      <a:pt x="203" y="110"/>
                      <a:pt x="203" y="111"/>
                    </a:cubicBezTo>
                    <a:cubicBezTo>
                      <a:pt x="203" y="112"/>
                      <a:pt x="202" y="113"/>
                      <a:pt x="201" y="113"/>
                    </a:cubicBezTo>
                    <a:cubicBezTo>
                      <a:pt x="200" y="114"/>
                      <a:pt x="199" y="114"/>
                      <a:pt x="198" y="115"/>
                    </a:cubicBezTo>
                    <a:cubicBezTo>
                      <a:pt x="196" y="116"/>
                      <a:pt x="199" y="118"/>
                      <a:pt x="200" y="118"/>
                    </a:cubicBezTo>
                    <a:cubicBezTo>
                      <a:pt x="201" y="119"/>
                      <a:pt x="203" y="122"/>
                      <a:pt x="205" y="120"/>
                    </a:cubicBezTo>
                    <a:cubicBezTo>
                      <a:pt x="205" y="120"/>
                      <a:pt x="205" y="119"/>
                      <a:pt x="206" y="119"/>
                    </a:cubicBezTo>
                    <a:cubicBezTo>
                      <a:pt x="207" y="118"/>
                      <a:pt x="208" y="118"/>
                      <a:pt x="209" y="117"/>
                    </a:cubicBezTo>
                    <a:cubicBezTo>
                      <a:pt x="212" y="117"/>
                      <a:pt x="213" y="115"/>
                      <a:pt x="216" y="115"/>
                    </a:cubicBezTo>
                    <a:cubicBezTo>
                      <a:pt x="217" y="115"/>
                      <a:pt x="220" y="115"/>
                      <a:pt x="221" y="113"/>
                    </a:cubicBezTo>
                    <a:cubicBezTo>
                      <a:pt x="223" y="112"/>
                      <a:pt x="224" y="110"/>
                      <a:pt x="226" y="108"/>
                    </a:cubicBezTo>
                    <a:cubicBezTo>
                      <a:pt x="228" y="107"/>
                      <a:pt x="230" y="108"/>
                      <a:pt x="232" y="107"/>
                    </a:cubicBezTo>
                    <a:cubicBezTo>
                      <a:pt x="234" y="106"/>
                      <a:pt x="236" y="105"/>
                      <a:pt x="238" y="104"/>
                    </a:cubicBezTo>
                    <a:cubicBezTo>
                      <a:pt x="237" y="104"/>
                      <a:pt x="237" y="105"/>
                      <a:pt x="237" y="105"/>
                    </a:cubicBezTo>
                    <a:cubicBezTo>
                      <a:pt x="237" y="104"/>
                      <a:pt x="237" y="105"/>
                      <a:pt x="237" y="105"/>
                    </a:cubicBezTo>
                    <a:close/>
                    <a:moveTo>
                      <a:pt x="269" y="65"/>
                    </a:moveTo>
                    <a:cubicBezTo>
                      <a:pt x="268" y="64"/>
                      <a:pt x="267" y="64"/>
                      <a:pt x="266" y="65"/>
                    </a:cubicBezTo>
                    <a:cubicBezTo>
                      <a:pt x="265" y="66"/>
                      <a:pt x="267" y="67"/>
                      <a:pt x="268" y="67"/>
                    </a:cubicBezTo>
                    <a:cubicBezTo>
                      <a:pt x="269" y="69"/>
                      <a:pt x="269" y="72"/>
                      <a:pt x="272" y="72"/>
                    </a:cubicBezTo>
                    <a:cubicBezTo>
                      <a:pt x="273" y="72"/>
                      <a:pt x="276" y="69"/>
                      <a:pt x="275" y="68"/>
                    </a:cubicBezTo>
                    <a:cubicBezTo>
                      <a:pt x="275" y="67"/>
                      <a:pt x="273" y="67"/>
                      <a:pt x="273" y="67"/>
                    </a:cubicBezTo>
                    <a:cubicBezTo>
                      <a:pt x="271" y="66"/>
                      <a:pt x="270" y="65"/>
                      <a:pt x="269" y="65"/>
                    </a:cubicBezTo>
                    <a:cubicBezTo>
                      <a:pt x="269" y="65"/>
                      <a:pt x="269" y="65"/>
                      <a:pt x="269" y="65"/>
                    </a:cubicBezTo>
                    <a:cubicBezTo>
                      <a:pt x="268" y="64"/>
                      <a:pt x="269" y="65"/>
                      <a:pt x="269" y="65"/>
                    </a:cubicBezTo>
                    <a:close/>
                    <a:moveTo>
                      <a:pt x="293" y="65"/>
                    </a:moveTo>
                    <a:cubicBezTo>
                      <a:pt x="296" y="65"/>
                      <a:pt x="298" y="63"/>
                      <a:pt x="301" y="62"/>
                    </a:cubicBezTo>
                    <a:cubicBezTo>
                      <a:pt x="304" y="62"/>
                      <a:pt x="307" y="61"/>
                      <a:pt x="309" y="62"/>
                    </a:cubicBezTo>
                    <a:cubicBezTo>
                      <a:pt x="312" y="64"/>
                      <a:pt x="315" y="63"/>
                      <a:pt x="318" y="63"/>
                    </a:cubicBezTo>
                    <a:cubicBezTo>
                      <a:pt x="319" y="63"/>
                      <a:pt x="321" y="63"/>
                      <a:pt x="321" y="62"/>
                    </a:cubicBezTo>
                    <a:cubicBezTo>
                      <a:pt x="320" y="61"/>
                      <a:pt x="318" y="61"/>
                      <a:pt x="317" y="61"/>
                    </a:cubicBezTo>
                    <a:cubicBezTo>
                      <a:pt x="316" y="61"/>
                      <a:pt x="314" y="61"/>
                      <a:pt x="313" y="60"/>
                    </a:cubicBezTo>
                    <a:cubicBezTo>
                      <a:pt x="312" y="60"/>
                      <a:pt x="310" y="60"/>
                      <a:pt x="309" y="60"/>
                    </a:cubicBezTo>
                    <a:cubicBezTo>
                      <a:pt x="308" y="59"/>
                      <a:pt x="306" y="59"/>
                      <a:pt x="305" y="59"/>
                    </a:cubicBezTo>
                    <a:cubicBezTo>
                      <a:pt x="303" y="59"/>
                      <a:pt x="302" y="59"/>
                      <a:pt x="300" y="59"/>
                    </a:cubicBezTo>
                    <a:cubicBezTo>
                      <a:pt x="299" y="59"/>
                      <a:pt x="297" y="59"/>
                      <a:pt x="296" y="60"/>
                    </a:cubicBezTo>
                    <a:cubicBezTo>
                      <a:pt x="295" y="60"/>
                      <a:pt x="294" y="61"/>
                      <a:pt x="293" y="62"/>
                    </a:cubicBezTo>
                    <a:cubicBezTo>
                      <a:pt x="292" y="62"/>
                      <a:pt x="292" y="63"/>
                      <a:pt x="292" y="64"/>
                    </a:cubicBezTo>
                    <a:cubicBezTo>
                      <a:pt x="292" y="65"/>
                      <a:pt x="293" y="65"/>
                      <a:pt x="294" y="65"/>
                    </a:cubicBezTo>
                    <a:cubicBezTo>
                      <a:pt x="293" y="65"/>
                      <a:pt x="293" y="65"/>
                      <a:pt x="293" y="65"/>
                    </a:cubicBezTo>
                    <a:cubicBezTo>
                      <a:pt x="294" y="65"/>
                      <a:pt x="293" y="65"/>
                      <a:pt x="293" y="65"/>
                    </a:cubicBezTo>
                    <a:close/>
                    <a:moveTo>
                      <a:pt x="363" y="16"/>
                    </a:moveTo>
                    <a:cubicBezTo>
                      <a:pt x="366" y="16"/>
                      <a:pt x="369" y="16"/>
                      <a:pt x="372" y="15"/>
                    </a:cubicBezTo>
                    <a:cubicBezTo>
                      <a:pt x="373" y="15"/>
                      <a:pt x="375" y="14"/>
                      <a:pt x="376" y="14"/>
                    </a:cubicBezTo>
                    <a:cubicBezTo>
                      <a:pt x="377" y="14"/>
                      <a:pt x="379" y="14"/>
                      <a:pt x="380" y="13"/>
                    </a:cubicBezTo>
                    <a:cubicBezTo>
                      <a:pt x="382" y="12"/>
                      <a:pt x="378" y="12"/>
                      <a:pt x="377" y="12"/>
                    </a:cubicBezTo>
                    <a:cubicBezTo>
                      <a:pt x="376" y="13"/>
                      <a:pt x="375" y="13"/>
                      <a:pt x="373" y="12"/>
                    </a:cubicBezTo>
                    <a:cubicBezTo>
                      <a:pt x="372" y="12"/>
                      <a:pt x="371" y="11"/>
                      <a:pt x="370" y="13"/>
                    </a:cubicBezTo>
                    <a:cubicBezTo>
                      <a:pt x="370" y="13"/>
                      <a:pt x="370" y="14"/>
                      <a:pt x="369" y="14"/>
                    </a:cubicBezTo>
                    <a:cubicBezTo>
                      <a:pt x="368" y="15"/>
                      <a:pt x="366" y="15"/>
                      <a:pt x="365" y="15"/>
                    </a:cubicBezTo>
                    <a:cubicBezTo>
                      <a:pt x="363" y="14"/>
                      <a:pt x="360" y="13"/>
                      <a:pt x="358" y="15"/>
                    </a:cubicBezTo>
                    <a:cubicBezTo>
                      <a:pt x="357" y="16"/>
                      <a:pt x="359" y="16"/>
                      <a:pt x="360" y="17"/>
                    </a:cubicBezTo>
                    <a:cubicBezTo>
                      <a:pt x="361" y="17"/>
                      <a:pt x="363" y="17"/>
                      <a:pt x="364" y="16"/>
                    </a:cubicBezTo>
                    <a:cubicBezTo>
                      <a:pt x="364" y="16"/>
                      <a:pt x="363" y="16"/>
                      <a:pt x="363" y="16"/>
                    </a:cubicBezTo>
                    <a:cubicBezTo>
                      <a:pt x="365" y="16"/>
                      <a:pt x="363" y="16"/>
                      <a:pt x="363" y="16"/>
                    </a:cubicBezTo>
                    <a:close/>
                    <a:moveTo>
                      <a:pt x="126" y="15"/>
                    </a:moveTo>
                    <a:cubicBezTo>
                      <a:pt x="128" y="16"/>
                      <a:pt x="131" y="17"/>
                      <a:pt x="133" y="16"/>
                    </a:cubicBezTo>
                    <a:cubicBezTo>
                      <a:pt x="134" y="16"/>
                      <a:pt x="138" y="15"/>
                      <a:pt x="138" y="17"/>
                    </a:cubicBezTo>
                    <a:cubicBezTo>
                      <a:pt x="138" y="18"/>
                      <a:pt x="136" y="21"/>
                      <a:pt x="135" y="21"/>
                    </a:cubicBezTo>
                    <a:cubicBezTo>
                      <a:pt x="134" y="20"/>
                      <a:pt x="134" y="19"/>
                      <a:pt x="133" y="20"/>
                    </a:cubicBezTo>
                    <a:cubicBezTo>
                      <a:pt x="131" y="20"/>
                      <a:pt x="131" y="21"/>
                      <a:pt x="132" y="22"/>
                    </a:cubicBezTo>
                    <a:cubicBezTo>
                      <a:pt x="132" y="23"/>
                      <a:pt x="133" y="24"/>
                      <a:pt x="134" y="25"/>
                    </a:cubicBezTo>
                    <a:cubicBezTo>
                      <a:pt x="134" y="26"/>
                      <a:pt x="134" y="27"/>
                      <a:pt x="135" y="28"/>
                    </a:cubicBezTo>
                    <a:cubicBezTo>
                      <a:pt x="135" y="29"/>
                      <a:pt x="136" y="30"/>
                      <a:pt x="137" y="30"/>
                    </a:cubicBezTo>
                    <a:cubicBezTo>
                      <a:pt x="139" y="30"/>
                      <a:pt x="140" y="30"/>
                      <a:pt x="142" y="30"/>
                    </a:cubicBezTo>
                    <a:cubicBezTo>
                      <a:pt x="143" y="30"/>
                      <a:pt x="145" y="30"/>
                      <a:pt x="146" y="30"/>
                    </a:cubicBezTo>
                    <a:cubicBezTo>
                      <a:pt x="148" y="30"/>
                      <a:pt x="149" y="30"/>
                      <a:pt x="150" y="30"/>
                    </a:cubicBezTo>
                    <a:cubicBezTo>
                      <a:pt x="154" y="29"/>
                      <a:pt x="157" y="29"/>
                      <a:pt x="160" y="28"/>
                    </a:cubicBezTo>
                    <a:cubicBezTo>
                      <a:pt x="162" y="26"/>
                      <a:pt x="165" y="27"/>
                      <a:pt x="168" y="27"/>
                    </a:cubicBezTo>
                    <a:cubicBezTo>
                      <a:pt x="171" y="27"/>
                      <a:pt x="174" y="27"/>
                      <a:pt x="178" y="27"/>
                    </a:cubicBezTo>
                    <a:cubicBezTo>
                      <a:pt x="179" y="27"/>
                      <a:pt x="181" y="27"/>
                      <a:pt x="182" y="27"/>
                    </a:cubicBezTo>
                    <a:cubicBezTo>
                      <a:pt x="183" y="27"/>
                      <a:pt x="185" y="28"/>
                      <a:pt x="186" y="28"/>
                    </a:cubicBezTo>
                    <a:cubicBezTo>
                      <a:pt x="187" y="28"/>
                      <a:pt x="194" y="27"/>
                      <a:pt x="193" y="29"/>
                    </a:cubicBezTo>
                    <a:cubicBezTo>
                      <a:pt x="191" y="31"/>
                      <a:pt x="188" y="31"/>
                      <a:pt x="185" y="31"/>
                    </a:cubicBezTo>
                    <a:cubicBezTo>
                      <a:pt x="182" y="31"/>
                      <a:pt x="179" y="33"/>
                      <a:pt x="176" y="32"/>
                    </a:cubicBezTo>
                    <a:cubicBezTo>
                      <a:pt x="174" y="31"/>
                      <a:pt x="172" y="31"/>
                      <a:pt x="171" y="31"/>
                    </a:cubicBezTo>
                    <a:cubicBezTo>
                      <a:pt x="168" y="31"/>
                      <a:pt x="171" y="33"/>
                      <a:pt x="172" y="34"/>
                    </a:cubicBezTo>
                    <a:cubicBezTo>
                      <a:pt x="173" y="34"/>
                      <a:pt x="174" y="34"/>
                      <a:pt x="175" y="35"/>
                    </a:cubicBezTo>
                    <a:cubicBezTo>
                      <a:pt x="176" y="36"/>
                      <a:pt x="174" y="36"/>
                      <a:pt x="173" y="36"/>
                    </a:cubicBezTo>
                    <a:cubicBezTo>
                      <a:pt x="172" y="36"/>
                      <a:pt x="171" y="35"/>
                      <a:pt x="169" y="35"/>
                    </a:cubicBezTo>
                    <a:cubicBezTo>
                      <a:pt x="166" y="36"/>
                      <a:pt x="164" y="36"/>
                      <a:pt x="162" y="34"/>
                    </a:cubicBezTo>
                    <a:cubicBezTo>
                      <a:pt x="161" y="34"/>
                      <a:pt x="157" y="32"/>
                      <a:pt x="157" y="34"/>
                    </a:cubicBezTo>
                    <a:cubicBezTo>
                      <a:pt x="156" y="35"/>
                      <a:pt x="158" y="37"/>
                      <a:pt x="158" y="38"/>
                    </a:cubicBezTo>
                    <a:cubicBezTo>
                      <a:pt x="160" y="39"/>
                      <a:pt x="161" y="40"/>
                      <a:pt x="163" y="41"/>
                    </a:cubicBezTo>
                    <a:cubicBezTo>
                      <a:pt x="164" y="42"/>
                      <a:pt x="165" y="43"/>
                      <a:pt x="166" y="43"/>
                    </a:cubicBezTo>
                    <a:cubicBezTo>
                      <a:pt x="168" y="44"/>
                      <a:pt x="169" y="44"/>
                      <a:pt x="170" y="43"/>
                    </a:cubicBezTo>
                    <a:cubicBezTo>
                      <a:pt x="173" y="43"/>
                      <a:pt x="176" y="42"/>
                      <a:pt x="179" y="43"/>
                    </a:cubicBezTo>
                    <a:cubicBezTo>
                      <a:pt x="182" y="44"/>
                      <a:pt x="185" y="44"/>
                      <a:pt x="187" y="43"/>
                    </a:cubicBezTo>
                    <a:cubicBezTo>
                      <a:pt x="190" y="42"/>
                      <a:pt x="194" y="41"/>
                      <a:pt x="196" y="41"/>
                    </a:cubicBezTo>
                    <a:cubicBezTo>
                      <a:pt x="199" y="42"/>
                      <a:pt x="201" y="44"/>
                      <a:pt x="204" y="44"/>
                    </a:cubicBezTo>
                    <a:cubicBezTo>
                      <a:pt x="207" y="45"/>
                      <a:pt x="210" y="44"/>
                      <a:pt x="213" y="46"/>
                    </a:cubicBezTo>
                    <a:cubicBezTo>
                      <a:pt x="215" y="48"/>
                      <a:pt x="217" y="49"/>
                      <a:pt x="220" y="50"/>
                    </a:cubicBezTo>
                    <a:cubicBezTo>
                      <a:pt x="222" y="50"/>
                      <a:pt x="226" y="49"/>
                      <a:pt x="228" y="48"/>
                    </a:cubicBezTo>
                    <a:cubicBezTo>
                      <a:pt x="229" y="48"/>
                      <a:pt x="230" y="47"/>
                      <a:pt x="230" y="46"/>
                    </a:cubicBezTo>
                    <a:cubicBezTo>
                      <a:pt x="230" y="45"/>
                      <a:pt x="231" y="45"/>
                      <a:pt x="232" y="45"/>
                    </a:cubicBezTo>
                    <a:cubicBezTo>
                      <a:pt x="233" y="44"/>
                      <a:pt x="234" y="45"/>
                      <a:pt x="236" y="45"/>
                    </a:cubicBezTo>
                    <a:cubicBezTo>
                      <a:pt x="237" y="45"/>
                      <a:pt x="239" y="45"/>
                      <a:pt x="241" y="45"/>
                    </a:cubicBezTo>
                    <a:cubicBezTo>
                      <a:pt x="245" y="45"/>
                      <a:pt x="250" y="42"/>
                      <a:pt x="255" y="40"/>
                    </a:cubicBezTo>
                    <a:cubicBezTo>
                      <a:pt x="256" y="40"/>
                      <a:pt x="257" y="39"/>
                      <a:pt x="258" y="38"/>
                    </a:cubicBezTo>
                    <a:cubicBezTo>
                      <a:pt x="258" y="36"/>
                      <a:pt x="256" y="35"/>
                      <a:pt x="255" y="34"/>
                    </a:cubicBezTo>
                    <a:cubicBezTo>
                      <a:pt x="255" y="33"/>
                      <a:pt x="257" y="32"/>
                      <a:pt x="257" y="32"/>
                    </a:cubicBezTo>
                    <a:cubicBezTo>
                      <a:pt x="259" y="32"/>
                      <a:pt x="260" y="31"/>
                      <a:pt x="261" y="31"/>
                    </a:cubicBezTo>
                    <a:cubicBezTo>
                      <a:pt x="263" y="30"/>
                      <a:pt x="266" y="29"/>
                      <a:pt x="269" y="28"/>
                    </a:cubicBezTo>
                    <a:cubicBezTo>
                      <a:pt x="270" y="28"/>
                      <a:pt x="271" y="27"/>
                      <a:pt x="272" y="26"/>
                    </a:cubicBezTo>
                    <a:cubicBezTo>
                      <a:pt x="273" y="26"/>
                      <a:pt x="274" y="26"/>
                      <a:pt x="275" y="25"/>
                    </a:cubicBezTo>
                    <a:cubicBezTo>
                      <a:pt x="276" y="25"/>
                      <a:pt x="281" y="24"/>
                      <a:pt x="279" y="21"/>
                    </a:cubicBezTo>
                    <a:cubicBezTo>
                      <a:pt x="279" y="21"/>
                      <a:pt x="277" y="20"/>
                      <a:pt x="277" y="19"/>
                    </a:cubicBezTo>
                    <a:cubicBezTo>
                      <a:pt x="278" y="19"/>
                      <a:pt x="279" y="18"/>
                      <a:pt x="279" y="18"/>
                    </a:cubicBezTo>
                    <a:cubicBezTo>
                      <a:pt x="279" y="15"/>
                      <a:pt x="275" y="14"/>
                      <a:pt x="273" y="14"/>
                    </a:cubicBezTo>
                    <a:cubicBezTo>
                      <a:pt x="270" y="13"/>
                      <a:pt x="267" y="13"/>
                      <a:pt x="264" y="13"/>
                    </a:cubicBezTo>
                    <a:cubicBezTo>
                      <a:pt x="263" y="12"/>
                      <a:pt x="262" y="12"/>
                      <a:pt x="261" y="11"/>
                    </a:cubicBezTo>
                    <a:cubicBezTo>
                      <a:pt x="259" y="11"/>
                      <a:pt x="257" y="11"/>
                      <a:pt x="255" y="10"/>
                    </a:cubicBezTo>
                    <a:cubicBezTo>
                      <a:pt x="252" y="10"/>
                      <a:pt x="250" y="9"/>
                      <a:pt x="247" y="9"/>
                    </a:cubicBezTo>
                    <a:cubicBezTo>
                      <a:pt x="243" y="8"/>
                      <a:pt x="240" y="8"/>
                      <a:pt x="237" y="7"/>
                    </a:cubicBezTo>
                    <a:cubicBezTo>
                      <a:pt x="234" y="6"/>
                      <a:pt x="232" y="5"/>
                      <a:pt x="230" y="7"/>
                    </a:cubicBezTo>
                    <a:cubicBezTo>
                      <a:pt x="228" y="9"/>
                      <a:pt x="225" y="7"/>
                      <a:pt x="223" y="7"/>
                    </a:cubicBezTo>
                    <a:cubicBezTo>
                      <a:pt x="222" y="7"/>
                      <a:pt x="221" y="8"/>
                      <a:pt x="220" y="8"/>
                    </a:cubicBezTo>
                    <a:cubicBezTo>
                      <a:pt x="220" y="9"/>
                      <a:pt x="220" y="10"/>
                      <a:pt x="219" y="11"/>
                    </a:cubicBezTo>
                    <a:cubicBezTo>
                      <a:pt x="218" y="13"/>
                      <a:pt x="215" y="12"/>
                      <a:pt x="213" y="13"/>
                    </a:cubicBezTo>
                    <a:cubicBezTo>
                      <a:pt x="212" y="13"/>
                      <a:pt x="209" y="17"/>
                      <a:pt x="208" y="15"/>
                    </a:cubicBezTo>
                    <a:cubicBezTo>
                      <a:pt x="207" y="14"/>
                      <a:pt x="207" y="13"/>
                      <a:pt x="207" y="12"/>
                    </a:cubicBezTo>
                    <a:cubicBezTo>
                      <a:pt x="207" y="11"/>
                      <a:pt x="208" y="9"/>
                      <a:pt x="209" y="9"/>
                    </a:cubicBezTo>
                    <a:cubicBezTo>
                      <a:pt x="210" y="8"/>
                      <a:pt x="211" y="9"/>
                      <a:pt x="211" y="8"/>
                    </a:cubicBezTo>
                    <a:cubicBezTo>
                      <a:pt x="212" y="8"/>
                      <a:pt x="213" y="7"/>
                      <a:pt x="212" y="6"/>
                    </a:cubicBezTo>
                    <a:cubicBezTo>
                      <a:pt x="211" y="6"/>
                      <a:pt x="210" y="5"/>
                      <a:pt x="209" y="5"/>
                    </a:cubicBezTo>
                    <a:cubicBezTo>
                      <a:pt x="208" y="3"/>
                      <a:pt x="208" y="2"/>
                      <a:pt x="207" y="1"/>
                    </a:cubicBezTo>
                    <a:cubicBezTo>
                      <a:pt x="206" y="1"/>
                      <a:pt x="204" y="0"/>
                      <a:pt x="203" y="1"/>
                    </a:cubicBezTo>
                    <a:cubicBezTo>
                      <a:pt x="203" y="2"/>
                      <a:pt x="202" y="3"/>
                      <a:pt x="201" y="3"/>
                    </a:cubicBezTo>
                    <a:cubicBezTo>
                      <a:pt x="200" y="3"/>
                      <a:pt x="199" y="3"/>
                      <a:pt x="198" y="3"/>
                    </a:cubicBezTo>
                    <a:cubicBezTo>
                      <a:pt x="198" y="4"/>
                      <a:pt x="197" y="5"/>
                      <a:pt x="198" y="6"/>
                    </a:cubicBezTo>
                    <a:cubicBezTo>
                      <a:pt x="199" y="7"/>
                      <a:pt x="200" y="7"/>
                      <a:pt x="200" y="8"/>
                    </a:cubicBezTo>
                    <a:cubicBezTo>
                      <a:pt x="200" y="9"/>
                      <a:pt x="199" y="9"/>
                      <a:pt x="199" y="10"/>
                    </a:cubicBezTo>
                    <a:cubicBezTo>
                      <a:pt x="198" y="11"/>
                      <a:pt x="197" y="11"/>
                      <a:pt x="197" y="12"/>
                    </a:cubicBezTo>
                    <a:cubicBezTo>
                      <a:pt x="197" y="14"/>
                      <a:pt x="198" y="15"/>
                      <a:pt x="198" y="16"/>
                    </a:cubicBezTo>
                    <a:cubicBezTo>
                      <a:pt x="197" y="17"/>
                      <a:pt x="195" y="21"/>
                      <a:pt x="193" y="19"/>
                    </a:cubicBezTo>
                    <a:cubicBezTo>
                      <a:pt x="192" y="18"/>
                      <a:pt x="193" y="17"/>
                      <a:pt x="191" y="17"/>
                    </a:cubicBezTo>
                    <a:cubicBezTo>
                      <a:pt x="190" y="16"/>
                      <a:pt x="189" y="16"/>
                      <a:pt x="188" y="15"/>
                    </a:cubicBezTo>
                    <a:cubicBezTo>
                      <a:pt x="186" y="15"/>
                      <a:pt x="185" y="15"/>
                      <a:pt x="184" y="15"/>
                    </a:cubicBezTo>
                    <a:cubicBezTo>
                      <a:pt x="183" y="14"/>
                      <a:pt x="182" y="13"/>
                      <a:pt x="181" y="12"/>
                    </a:cubicBezTo>
                    <a:cubicBezTo>
                      <a:pt x="179" y="12"/>
                      <a:pt x="177" y="11"/>
                      <a:pt x="175" y="11"/>
                    </a:cubicBezTo>
                    <a:cubicBezTo>
                      <a:pt x="173" y="11"/>
                      <a:pt x="172" y="11"/>
                      <a:pt x="170" y="11"/>
                    </a:cubicBezTo>
                    <a:cubicBezTo>
                      <a:pt x="168" y="10"/>
                      <a:pt x="169" y="9"/>
                      <a:pt x="168" y="8"/>
                    </a:cubicBezTo>
                    <a:cubicBezTo>
                      <a:pt x="166" y="6"/>
                      <a:pt x="164" y="6"/>
                      <a:pt x="162" y="5"/>
                    </a:cubicBezTo>
                    <a:cubicBezTo>
                      <a:pt x="160" y="4"/>
                      <a:pt x="158" y="3"/>
                      <a:pt x="156" y="3"/>
                    </a:cubicBezTo>
                    <a:cubicBezTo>
                      <a:pt x="154" y="2"/>
                      <a:pt x="152" y="0"/>
                      <a:pt x="151" y="1"/>
                    </a:cubicBezTo>
                    <a:cubicBezTo>
                      <a:pt x="150" y="1"/>
                      <a:pt x="146" y="2"/>
                      <a:pt x="147" y="3"/>
                    </a:cubicBezTo>
                    <a:cubicBezTo>
                      <a:pt x="149" y="5"/>
                      <a:pt x="151" y="3"/>
                      <a:pt x="153" y="4"/>
                    </a:cubicBezTo>
                    <a:cubicBezTo>
                      <a:pt x="155" y="6"/>
                      <a:pt x="152" y="7"/>
                      <a:pt x="151" y="8"/>
                    </a:cubicBezTo>
                    <a:cubicBezTo>
                      <a:pt x="151" y="10"/>
                      <a:pt x="150" y="11"/>
                      <a:pt x="148" y="11"/>
                    </a:cubicBezTo>
                    <a:cubicBezTo>
                      <a:pt x="146" y="11"/>
                      <a:pt x="145" y="9"/>
                      <a:pt x="144" y="8"/>
                    </a:cubicBezTo>
                    <a:cubicBezTo>
                      <a:pt x="143" y="7"/>
                      <a:pt x="141" y="6"/>
                      <a:pt x="141" y="8"/>
                    </a:cubicBezTo>
                    <a:cubicBezTo>
                      <a:pt x="141" y="9"/>
                      <a:pt x="143" y="11"/>
                      <a:pt x="141" y="11"/>
                    </a:cubicBezTo>
                    <a:cubicBezTo>
                      <a:pt x="138" y="13"/>
                      <a:pt x="135" y="11"/>
                      <a:pt x="132" y="12"/>
                    </a:cubicBezTo>
                    <a:cubicBezTo>
                      <a:pt x="130" y="12"/>
                      <a:pt x="127" y="13"/>
                      <a:pt x="125" y="13"/>
                    </a:cubicBezTo>
                    <a:cubicBezTo>
                      <a:pt x="124" y="13"/>
                      <a:pt x="122" y="12"/>
                      <a:pt x="121" y="13"/>
                    </a:cubicBezTo>
                    <a:cubicBezTo>
                      <a:pt x="119" y="16"/>
                      <a:pt x="126" y="15"/>
                      <a:pt x="127" y="15"/>
                    </a:cubicBezTo>
                    <a:cubicBezTo>
                      <a:pt x="126" y="15"/>
                      <a:pt x="126" y="15"/>
                      <a:pt x="126" y="15"/>
                    </a:cubicBezTo>
                    <a:cubicBezTo>
                      <a:pt x="127" y="15"/>
                      <a:pt x="126" y="15"/>
                      <a:pt x="126" y="15"/>
                    </a:cubicBezTo>
                    <a:close/>
                    <a:moveTo>
                      <a:pt x="177" y="86"/>
                    </a:moveTo>
                    <a:cubicBezTo>
                      <a:pt x="179" y="85"/>
                      <a:pt x="181" y="85"/>
                      <a:pt x="184" y="85"/>
                    </a:cubicBezTo>
                    <a:cubicBezTo>
                      <a:pt x="186" y="85"/>
                      <a:pt x="188" y="84"/>
                      <a:pt x="190" y="84"/>
                    </a:cubicBezTo>
                    <a:cubicBezTo>
                      <a:pt x="191" y="84"/>
                      <a:pt x="193" y="84"/>
                      <a:pt x="194" y="83"/>
                    </a:cubicBezTo>
                    <a:cubicBezTo>
                      <a:pt x="195" y="81"/>
                      <a:pt x="194" y="79"/>
                      <a:pt x="193" y="77"/>
                    </a:cubicBezTo>
                    <a:cubicBezTo>
                      <a:pt x="193" y="76"/>
                      <a:pt x="194" y="74"/>
                      <a:pt x="192" y="73"/>
                    </a:cubicBezTo>
                    <a:cubicBezTo>
                      <a:pt x="191" y="72"/>
                      <a:pt x="190" y="72"/>
                      <a:pt x="189" y="73"/>
                    </a:cubicBezTo>
                    <a:cubicBezTo>
                      <a:pt x="187" y="73"/>
                      <a:pt x="185" y="74"/>
                      <a:pt x="183" y="74"/>
                    </a:cubicBezTo>
                    <a:cubicBezTo>
                      <a:pt x="181" y="74"/>
                      <a:pt x="179" y="73"/>
                      <a:pt x="177" y="73"/>
                    </a:cubicBezTo>
                    <a:cubicBezTo>
                      <a:pt x="175" y="73"/>
                      <a:pt x="174" y="75"/>
                      <a:pt x="172" y="75"/>
                    </a:cubicBezTo>
                    <a:cubicBezTo>
                      <a:pt x="171" y="75"/>
                      <a:pt x="170" y="75"/>
                      <a:pt x="169" y="75"/>
                    </a:cubicBezTo>
                    <a:cubicBezTo>
                      <a:pt x="168" y="75"/>
                      <a:pt x="167" y="76"/>
                      <a:pt x="166" y="76"/>
                    </a:cubicBezTo>
                    <a:cubicBezTo>
                      <a:pt x="165" y="77"/>
                      <a:pt x="163" y="76"/>
                      <a:pt x="162" y="77"/>
                    </a:cubicBezTo>
                    <a:cubicBezTo>
                      <a:pt x="160" y="77"/>
                      <a:pt x="161" y="79"/>
                      <a:pt x="163" y="79"/>
                    </a:cubicBezTo>
                    <a:cubicBezTo>
                      <a:pt x="163" y="79"/>
                      <a:pt x="164" y="80"/>
                      <a:pt x="165" y="80"/>
                    </a:cubicBezTo>
                    <a:cubicBezTo>
                      <a:pt x="166" y="81"/>
                      <a:pt x="167" y="81"/>
                      <a:pt x="168" y="81"/>
                    </a:cubicBezTo>
                    <a:cubicBezTo>
                      <a:pt x="170" y="82"/>
                      <a:pt x="169" y="84"/>
                      <a:pt x="169" y="86"/>
                    </a:cubicBezTo>
                    <a:cubicBezTo>
                      <a:pt x="169" y="88"/>
                      <a:pt x="176" y="86"/>
                      <a:pt x="177" y="85"/>
                    </a:cubicBezTo>
                    <a:cubicBezTo>
                      <a:pt x="177" y="86"/>
                      <a:pt x="177" y="86"/>
                      <a:pt x="177" y="86"/>
                    </a:cubicBezTo>
                    <a:cubicBezTo>
                      <a:pt x="178" y="85"/>
                      <a:pt x="177" y="86"/>
                      <a:pt x="177" y="86"/>
                    </a:cubicBezTo>
                    <a:close/>
                    <a:moveTo>
                      <a:pt x="1" y="44"/>
                    </a:moveTo>
                    <a:cubicBezTo>
                      <a:pt x="1" y="45"/>
                      <a:pt x="2" y="46"/>
                      <a:pt x="3" y="46"/>
                    </a:cubicBezTo>
                    <a:cubicBezTo>
                      <a:pt x="4" y="47"/>
                      <a:pt x="4" y="47"/>
                      <a:pt x="5" y="48"/>
                    </a:cubicBezTo>
                    <a:cubicBezTo>
                      <a:pt x="6" y="49"/>
                      <a:pt x="7" y="55"/>
                      <a:pt x="9" y="52"/>
                    </a:cubicBezTo>
                    <a:cubicBezTo>
                      <a:pt x="10" y="51"/>
                      <a:pt x="11" y="51"/>
                      <a:pt x="13" y="51"/>
                    </a:cubicBezTo>
                    <a:cubicBezTo>
                      <a:pt x="14" y="51"/>
                      <a:pt x="17" y="51"/>
                      <a:pt x="15" y="49"/>
                    </a:cubicBezTo>
                    <a:cubicBezTo>
                      <a:pt x="14" y="48"/>
                      <a:pt x="12" y="47"/>
                      <a:pt x="13" y="45"/>
                    </a:cubicBezTo>
                    <a:cubicBezTo>
                      <a:pt x="14" y="44"/>
                      <a:pt x="15" y="44"/>
                      <a:pt x="15" y="45"/>
                    </a:cubicBezTo>
                    <a:cubicBezTo>
                      <a:pt x="16" y="46"/>
                      <a:pt x="17" y="46"/>
                      <a:pt x="18" y="47"/>
                    </a:cubicBezTo>
                    <a:cubicBezTo>
                      <a:pt x="20" y="47"/>
                      <a:pt x="24" y="45"/>
                      <a:pt x="22" y="48"/>
                    </a:cubicBezTo>
                    <a:cubicBezTo>
                      <a:pt x="21" y="50"/>
                      <a:pt x="18" y="49"/>
                      <a:pt x="17" y="51"/>
                    </a:cubicBezTo>
                    <a:cubicBezTo>
                      <a:pt x="17" y="52"/>
                      <a:pt x="15" y="53"/>
                      <a:pt x="16" y="53"/>
                    </a:cubicBezTo>
                    <a:cubicBezTo>
                      <a:pt x="16" y="54"/>
                      <a:pt x="17" y="55"/>
                      <a:pt x="18" y="55"/>
                    </a:cubicBezTo>
                    <a:cubicBezTo>
                      <a:pt x="20" y="56"/>
                      <a:pt x="23" y="56"/>
                      <a:pt x="25" y="58"/>
                    </a:cubicBezTo>
                    <a:cubicBezTo>
                      <a:pt x="28" y="60"/>
                      <a:pt x="22" y="60"/>
                      <a:pt x="21" y="61"/>
                    </a:cubicBezTo>
                    <a:cubicBezTo>
                      <a:pt x="19" y="61"/>
                      <a:pt x="17" y="60"/>
                      <a:pt x="15" y="59"/>
                    </a:cubicBezTo>
                    <a:cubicBezTo>
                      <a:pt x="14" y="58"/>
                      <a:pt x="12" y="58"/>
                      <a:pt x="11" y="58"/>
                    </a:cubicBezTo>
                    <a:cubicBezTo>
                      <a:pt x="10" y="58"/>
                      <a:pt x="8" y="57"/>
                      <a:pt x="6" y="58"/>
                    </a:cubicBezTo>
                    <a:cubicBezTo>
                      <a:pt x="4" y="58"/>
                      <a:pt x="8" y="61"/>
                      <a:pt x="8" y="61"/>
                    </a:cubicBezTo>
                    <a:cubicBezTo>
                      <a:pt x="11" y="63"/>
                      <a:pt x="10" y="65"/>
                      <a:pt x="12" y="67"/>
                    </a:cubicBezTo>
                    <a:cubicBezTo>
                      <a:pt x="14" y="69"/>
                      <a:pt x="17" y="69"/>
                      <a:pt x="20" y="70"/>
                    </a:cubicBezTo>
                    <a:cubicBezTo>
                      <a:pt x="21" y="70"/>
                      <a:pt x="22" y="70"/>
                      <a:pt x="23" y="71"/>
                    </a:cubicBezTo>
                    <a:cubicBezTo>
                      <a:pt x="24" y="72"/>
                      <a:pt x="25" y="73"/>
                      <a:pt x="26" y="73"/>
                    </a:cubicBezTo>
                    <a:cubicBezTo>
                      <a:pt x="28" y="74"/>
                      <a:pt x="32" y="75"/>
                      <a:pt x="34" y="74"/>
                    </a:cubicBezTo>
                    <a:cubicBezTo>
                      <a:pt x="35" y="74"/>
                      <a:pt x="36" y="73"/>
                      <a:pt x="36" y="74"/>
                    </a:cubicBezTo>
                    <a:cubicBezTo>
                      <a:pt x="37" y="75"/>
                      <a:pt x="35" y="76"/>
                      <a:pt x="34" y="76"/>
                    </a:cubicBezTo>
                    <a:cubicBezTo>
                      <a:pt x="34" y="76"/>
                      <a:pt x="33" y="76"/>
                      <a:pt x="32" y="76"/>
                    </a:cubicBezTo>
                    <a:cubicBezTo>
                      <a:pt x="31" y="76"/>
                      <a:pt x="30" y="77"/>
                      <a:pt x="29" y="77"/>
                    </a:cubicBezTo>
                    <a:cubicBezTo>
                      <a:pt x="27" y="77"/>
                      <a:pt x="25" y="75"/>
                      <a:pt x="24" y="76"/>
                    </a:cubicBezTo>
                    <a:cubicBezTo>
                      <a:pt x="23" y="76"/>
                      <a:pt x="23" y="78"/>
                      <a:pt x="24" y="78"/>
                    </a:cubicBezTo>
                    <a:cubicBezTo>
                      <a:pt x="24" y="79"/>
                      <a:pt x="25" y="79"/>
                      <a:pt x="26" y="79"/>
                    </a:cubicBezTo>
                    <a:cubicBezTo>
                      <a:pt x="28" y="81"/>
                      <a:pt x="29" y="83"/>
                      <a:pt x="31" y="85"/>
                    </a:cubicBezTo>
                    <a:cubicBezTo>
                      <a:pt x="32" y="87"/>
                      <a:pt x="35" y="87"/>
                      <a:pt x="37" y="87"/>
                    </a:cubicBezTo>
                    <a:cubicBezTo>
                      <a:pt x="39" y="87"/>
                      <a:pt x="40" y="87"/>
                      <a:pt x="41" y="87"/>
                    </a:cubicBezTo>
                    <a:cubicBezTo>
                      <a:pt x="42" y="87"/>
                      <a:pt x="44" y="88"/>
                      <a:pt x="45" y="87"/>
                    </a:cubicBezTo>
                    <a:cubicBezTo>
                      <a:pt x="46" y="87"/>
                      <a:pt x="46" y="86"/>
                      <a:pt x="47" y="85"/>
                    </a:cubicBezTo>
                    <a:cubicBezTo>
                      <a:pt x="47" y="84"/>
                      <a:pt x="49" y="85"/>
                      <a:pt x="49" y="85"/>
                    </a:cubicBezTo>
                    <a:cubicBezTo>
                      <a:pt x="51" y="85"/>
                      <a:pt x="51" y="85"/>
                      <a:pt x="52" y="84"/>
                    </a:cubicBezTo>
                    <a:cubicBezTo>
                      <a:pt x="53" y="84"/>
                      <a:pt x="54" y="85"/>
                      <a:pt x="55" y="83"/>
                    </a:cubicBezTo>
                    <a:cubicBezTo>
                      <a:pt x="56" y="82"/>
                      <a:pt x="56" y="79"/>
                      <a:pt x="58" y="80"/>
                    </a:cubicBezTo>
                    <a:cubicBezTo>
                      <a:pt x="59" y="80"/>
                      <a:pt x="60" y="81"/>
                      <a:pt x="60" y="81"/>
                    </a:cubicBezTo>
                    <a:cubicBezTo>
                      <a:pt x="61" y="80"/>
                      <a:pt x="61" y="79"/>
                      <a:pt x="60" y="79"/>
                    </a:cubicBezTo>
                    <a:cubicBezTo>
                      <a:pt x="59" y="77"/>
                      <a:pt x="58" y="77"/>
                      <a:pt x="60" y="75"/>
                    </a:cubicBezTo>
                    <a:cubicBezTo>
                      <a:pt x="62" y="74"/>
                      <a:pt x="60" y="73"/>
                      <a:pt x="60" y="71"/>
                    </a:cubicBezTo>
                    <a:cubicBezTo>
                      <a:pt x="59" y="69"/>
                      <a:pt x="62" y="69"/>
                      <a:pt x="63" y="68"/>
                    </a:cubicBezTo>
                    <a:cubicBezTo>
                      <a:pt x="64" y="68"/>
                      <a:pt x="65" y="67"/>
                      <a:pt x="66" y="68"/>
                    </a:cubicBezTo>
                    <a:cubicBezTo>
                      <a:pt x="66" y="69"/>
                      <a:pt x="66" y="70"/>
                      <a:pt x="67" y="71"/>
                    </a:cubicBezTo>
                    <a:cubicBezTo>
                      <a:pt x="68" y="72"/>
                      <a:pt x="70" y="73"/>
                      <a:pt x="71" y="71"/>
                    </a:cubicBezTo>
                    <a:cubicBezTo>
                      <a:pt x="72" y="69"/>
                      <a:pt x="71" y="67"/>
                      <a:pt x="74" y="65"/>
                    </a:cubicBezTo>
                    <a:cubicBezTo>
                      <a:pt x="75" y="64"/>
                      <a:pt x="77" y="65"/>
                      <a:pt x="78" y="67"/>
                    </a:cubicBezTo>
                    <a:cubicBezTo>
                      <a:pt x="78" y="70"/>
                      <a:pt x="75" y="72"/>
                      <a:pt x="75" y="74"/>
                    </a:cubicBezTo>
                    <a:cubicBezTo>
                      <a:pt x="76" y="76"/>
                      <a:pt x="79" y="76"/>
                      <a:pt x="81" y="76"/>
                    </a:cubicBezTo>
                    <a:cubicBezTo>
                      <a:pt x="84" y="76"/>
                      <a:pt x="86" y="77"/>
                      <a:pt x="88" y="75"/>
                    </a:cubicBezTo>
                    <a:cubicBezTo>
                      <a:pt x="89" y="74"/>
                      <a:pt x="91" y="74"/>
                      <a:pt x="92" y="73"/>
                    </a:cubicBezTo>
                    <a:cubicBezTo>
                      <a:pt x="93" y="73"/>
                      <a:pt x="93" y="71"/>
                      <a:pt x="94" y="71"/>
                    </a:cubicBezTo>
                    <a:cubicBezTo>
                      <a:pt x="94" y="70"/>
                      <a:pt x="95" y="69"/>
                      <a:pt x="97" y="68"/>
                    </a:cubicBezTo>
                    <a:cubicBezTo>
                      <a:pt x="97" y="68"/>
                      <a:pt x="99" y="69"/>
                      <a:pt x="100" y="70"/>
                    </a:cubicBezTo>
                    <a:cubicBezTo>
                      <a:pt x="101" y="71"/>
                      <a:pt x="98" y="73"/>
                      <a:pt x="97" y="74"/>
                    </a:cubicBezTo>
                    <a:cubicBezTo>
                      <a:pt x="95" y="76"/>
                      <a:pt x="95" y="79"/>
                      <a:pt x="98" y="79"/>
                    </a:cubicBezTo>
                    <a:cubicBezTo>
                      <a:pt x="99" y="79"/>
                      <a:pt x="100" y="79"/>
                      <a:pt x="102" y="79"/>
                    </a:cubicBezTo>
                    <a:cubicBezTo>
                      <a:pt x="103" y="79"/>
                      <a:pt x="104" y="79"/>
                      <a:pt x="106" y="79"/>
                    </a:cubicBezTo>
                    <a:cubicBezTo>
                      <a:pt x="106" y="79"/>
                      <a:pt x="109" y="78"/>
                      <a:pt x="109" y="79"/>
                    </a:cubicBezTo>
                    <a:cubicBezTo>
                      <a:pt x="108" y="80"/>
                      <a:pt x="106" y="80"/>
                      <a:pt x="106" y="80"/>
                    </a:cubicBezTo>
                    <a:cubicBezTo>
                      <a:pt x="105" y="80"/>
                      <a:pt x="104" y="81"/>
                      <a:pt x="103" y="81"/>
                    </a:cubicBezTo>
                    <a:cubicBezTo>
                      <a:pt x="102" y="81"/>
                      <a:pt x="100" y="81"/>
                      <a:pt x="99" y="81"/>
                    </a:cubicBezTo>
                    <a:cubicBezTo>
                      <a:pt x="96" y="81"/>
                      <a:pt x="93" y="82"/>
                      <a:pt x="90" y="82"/>
                    </a:cubicBezTo>
                    <a:cubicBezTo>
                      <a:pt x="88" y="82"/>
                      <a:pt x="85" y="81"/>
                      <a:pt x="84" y="83"/>
                    </a:cubicBezTo>
                    <a:cubicBezTo>
                      <a:pt x="83" y="84"/>
                      <a:pt x="83" y="85"/>
                      <a:pt x="82" y="86"/>
                    </a:cubicBezTo>
                    <a:cubicBezTo>
                      <a:pt x="82" y="87"/>
                      <a:pt x="80" y="88"/>
                      <a:pt x="79" y="88"/>
                    </a:cubicBezTo>
                    <a:cubicBezTo>
                      <a:pt x="77" y="89"/>
                      <a:pt x="74" y="88"/>
                      <a:pt x="72" y="89"/>
                    </a:cubicBezTo>
                    <a:cubicBezTo>
                      <a:pt x="71" y="90"/>
                      <a:pt x="70" y="91"/>
                      <a:pt x="69" y="91"/>
                    </a:cubicBezTo>
                    <a:cubicBezTo>
                      <a:pt x="68" y="91"/>
                      <a:pt x="66" y="92"/>
                      <a:pt x="65" y="92"/>
                    </a:cubicBezTo>
                    <a:cubicBezTo>
                      <a:pt x="62" y="93"/>
                      <a:pt x="59" y="94"/>
                      <a:pt x="56" y="95"/>
                    </a:cubicBezTo>
                    <a:cubicBezTo>
                      <a:pt x="54" y="96"/>
                      <a:pt x="52" y="94"/>
                      <a:pt x="50" y="92"/>
                    </a:cubicBezTo>
                    <a:cubicBezTo>
                      <a:pt x="48" y="91"/>
                      <a:pt x="46" y="92"/>
                      <a:pt x="45" y="95"/>
                    </a:cubicBezTo>
                    <a:cubicBezTo>
                      <a:pt x="45" y="96"/>
                      <a:pt x="45" y="97"/>
                      <a:pt x="46" y="98"/>
                    </a:cubicBezTo>
                    <a:cubicBezTo>
                      <a:pt x="46" y="100"/>
                      <a:pt x="46" y="101"/>
                      <a:pt x="47" y="102"/>
                    </a:cubicBezTo>
                    <a:cubicBezTo>
                      <a:pt x="47" y="105"/>
                      <a:pt x="51" y="104"/>
                      <a:pt x="53" y="103"/>
                    </a:cubicBezTo>
                    <a:cubicBezTo>
                      <a:pt x="56" y="102"/>
                      <a:pt x="59" y="102"/>
                      <a:pt x="62" y="102"/>
                    </a:cubicBezTo>
                    <a:cubicBezTo>
                      <a:pt x="65" y="102"/>
                      <a:pt x="68" y="102"/>
                      <a:pt x="71" y="102"/>
                    </a:cubicBezTo>
                    <a:cubicBezTo>
                      <a:pt x="73" y="101"/>
                      <a:pt x="76" y="99"/>
                      <a:pt x="78" y="99"/>
                    </a:cubicBezTo>
                    <a:cubicBezTo>
                      <a:pt x="81" y="99"/>
                      <a:pt x="83" y="100"/>
                      <a:pt x="86" y="100"/>
                    </a:cubicBezTo>
                    <a:cubicBezTo>
                      <a:pt x="87" y="100"/>
                      <a:pt x="89" y="100"/>
                      <a:pt x="90" y="100"/>
                    </a:cubicBezTo>
                    <a:cubicBezTo>
                      <a:pt x="92" y="99"/>
                      <a:pt x="93" y="99"/>
                      <a:pt x="95" y="99"/>
                    </a:cubicBezTo>
                    <a:cubicBezTo>
                      <a:pt x="97" y="99"/>
                      <a:pt x="98" y="99"/>
                      <a:pt x="99" y="98"/>
                    </a:cubicBezTo>
                    <a:cubicBezTo>
                      <a:pt x="100" y="98"/>
                      <a:pt x="100" y="97"/>
                      <a:pt x="101" y="97"/>
                    </a:cubicBezTo>
                    <a:cubicBezTo>
                      <a:pt x="102" y="97"/>
                      <a:pt x="105" y="96"/>
                      <a:pt x="105" y="97"/>
                    </a:cubicBezTo>
                    <a:cubicBezTo>
                      <a:pt x="105" y="98"/>
                      <a:pt x="102" y="99"/>
                      <a:pt x="104" y="100"/>
                    </a:cubicBezTo>
                    <a:cubicBezTo>
                      <a:pt x="105" y="101"/>
                      <a:pt x="107" y="103"/>
                      <a:pt x="105" y="103"/>
                    </a:cubicBezTo>
                    <a:cubicBezTo>
                      <a:pt x="102" y="104"/>
                      <a:pt x="99" y="103"/>
                      <a:pt x="97" y="102"/>
                    </a:cubicBezTo>
                    <a:cubicBezTo>
                      <a:pt x="94" y="102"/>
                      <a:pt x="91" y="103"/>
                      <a:pt x="88" y="103"/>
                    </a:cubicBezTo>
                    <a:cubicBezTo>
                      <a:pt x="85" y="103"/>
                      <a:pt x="83" y="104"/>
                      <a:pt x="80" y="104"/>
                    </a:cubicBezTo>
                    <a:cubicBezTo>
                      <a:pt x="77" y="105"/>
                      <a:pt x="74" y="106"/>
                      <a:pt x="71" y="106"/>
                    </a:cubicBezTo>
                    <a:cubicBezTo>
                      <a:pt x="70" y="106"/>
                      <a:pt x="67" y="106"/>
                      <a:pt x="67" y="107"/>
                    </a:cubicBezTo>
                    <a:cubicBezTo>
                      <a:pt x="66" y="108"/>
                      <a:pt x="68" y="109"/>
                      <a:pt x="70" y="109"/>
                    </a:cubicBezTo>
                    <a:cubicBezTo>
                      <a:pt x="71" y="109"/>
                      <a:pt x="72" y="108"/>
                      <a:pt x="74" y="108"/>
                    </a:cubicBezTo>
                    <a:cubicBezTo>
                      <a:pt x="75" y="108"/>
                      <a:pt x="76" y="108"/>
                      <a:pt x="77" y="108"/>
                    </a:cubicBezTo>
                    <a:cubicBezTo>
                      <a:pt x="79" y="108"/>
                      <a:pt x="80" y="109"/>
                      <a:pt x="82" y="109"/>
                    </a:cubicBezTo>
                    <a:cubicBezTo>
                      <a:pt x="83" y="110"/>
                      <a:pt x="84" y="110"/>
                      <a:pt x="85" y="110"/>
                    </a:cubicBezTo>
                    <a:cubicBezTo>
                      <a:pt x="86" y="110"/>
                      <a:pt x="87" y="111"/>
                      <a:pt x="88" y="111"/>
                    </a:cubicBezTo>
                    <a:cubicBezTo>
                      <a:pt x="89" y="112"/>
                      <a:pt x="93" y="113"/>
                      <a:pt x="91" y="115"/>
                    </a:cubicBezTo>
                    <a:cubicBezTo>
                      <a:pt x="90" y="117"/>
                      <a:pt x="87" y="115"/>
                      <a:pt x="85" y="114"/>
                    </a:cubicBezTo>
                    <a:cubicBezTo>
                      <a:pt x="83" y="112"/>
                      <a:pt x="80" y="112"/>
                      <a:pt x="77" y="111"/>
                    </a:cubicBezTo>
                    <a:cubicBezTo>
                      <a:pt x="76" y="111"/>
                      <a:pt x="74" y="111"/>
                      <a:pt x="73" y="111"/>
                    </a:cubicBezTo>
                    <a:cubicBezTo>
                      <a:pt x="72" y="111"/>
                      <a:pt x="71" y="111"/>
                      <a:pt x="69" y="111"/>
                    </a:cubicBezTo>
                    <a:cubicBezTo>
                      <a:pt x="68" y="111"/>
                      <a:pt x="68" y="112"/>
                      <a:pt x="67" y="112"/>
                    </a:cubicBezTo>
                    <a:cubicBezTo>
                      <a:pt x="66" y="113"/>
                      <a:pt x="64" y="113"/>
                      <a:pt x="63" y="114"/>
                    </a:cubicBezTo>
                    <a:cubicBezTo>
                      <a:pt x="61" y="114"/>
                      <a:pt x="62" y="112"/>
                      <a:pt x="61" y="111"/>
                    </a:cubicBezTo>
                    <a:cubicBezTo>
                      <a:pt x="59" y="109"/>
                      <a:pt x="56" y="111"/>
                      <a:pt x="55" y="111"/>
                    </a:cubicBezTo>
                    <a:cubicBezTo>
                      <a:pt x="54" y="111"/>
                      <a:pt x="50" y="110"/>
                      <a:pt x="50" y="111"/>
                    </a:cubicBezTo>
                    <a:cubicBezTo>
                      <a:pt x="49" y="114"/>
                      <a:pt x="52" y="114"/>
                      <a:pt x="53" y="116"/>
                    </a:cubicBezTo>
                    <a:cubicBezTo>
                      <a:pt x="55" y="118"/>
                      <a:pt x="55" y="121"/>
                      <a:pt x="57" y="122"/>
                    </a:cubicBezTo>
                    <a:cubicBezTo>
                      <a:pt x="58" y="124"/>
                      <a:pt x="61" y="124"/>
                      <a:pt x="63" y="124"/>
                    </a:cubicBezTo>
                    <a:cubicBezTo>
                      <a:pt x="65" y="125"/>
                      <a:pt x="68" y="125"/>
                      <a:pt x="70" y="126"/>
                    </a:cubicBezTo>
                    <a:cubicBezTo>
                      <a:pt x="73" y="127"/>
                      <a:pt x="76" y="130"/>
                      <a:pt x="78" y="130"/>
                    </a:cubicBezTo>
                    <a:cubicBezTo>
                      <a:pt x="80" y="130"/>
                      <a:pt x="84" y="131"/>
                      <a:pt x="84" y="129"/>
                    </a:cubicBezTo>
                    <a:cubicBezTo>
                      <a:pt x="85" y="128"/>
                      <a:pt x="85" y="128"/>
                      <a:pt x="86" y="128"/>
                    </a:cubicBezTo>
                    <a:cubicBezTo>
                      <a:pt x="87" y="128"/>
                      <a:pt x="88" y="129"/>
                      <a:pt x="89" y="129"/>
                    </a:cubicBezTo>
                    <a:cubicBezTo>
                      <a:pt x="90" y="130"/>
                      <a:pt x="91" y="131"/>
                      <a:pt x="92" y="131"/>
                    </a:cubicBezTo>
                    <a:cubicBezTo>
                      <a:pt x="93" y="131"/>
                      <a:pt x="95" y="131"/>
                      <a:pt x="96" y="131"/>
                    </a:cubicBezTo>
                    <a:cubicBezTo>
                      <a:pt x="96" y="131"/>
                      <a:pt x="95" y="132"/>
                      <a:pt x="95" y="132"/>
                    </a:cubicBezTo>
                    <a:cubicBezTo>
                      <a:pt x="94" y="132"/>
                      <a:pt x="93" y="133"/>
                      <a:pt x="92" y="134"/>
                    </a:cubicBezTo>
                    <a:cubicBezTo>
                      <a:pt x="91" y="135"/>
                      <a:pt x="91" y="135"/>
                      <a:pt x="90" y="134"/>
                    </a:cubicBezTo>
                    <a:cubicBezTo>
                      <a:pt x="89" y="133"/>
                      <a:pt x="88" y="133"/>
                      <a:pt x="87" y="132"/>
                    </a:cubicBezTo>
                    <a:cubicBezTo>
                      <a:pt x="86" y="132"/>
                      <a:pt x="85" y="132"/>
                      <a:pt x="84" y="133"/>
                    </a:cubicBezTo>
                    <a:cubicBezTo>
                      <a:pt x="83" y="134"/>
                      <a:pt x="83" y="134"/>
                      <a:pt x="81" y="134"/>
                    </a:cubicBezTo>
                    <a:cubicBezTo>
                      <a:pt x="80" y="134"/>
                      <a:pt x="78" y="135"/>
                      <a:pt x="80" y="136"/>
                    </a:cubicBezTo>
                    <a:cubicBezTo>
                      <a:pt x="82" y="138"/>
                      <a:pt x="85" y="136"/>
                      <a:pt x="87" y="138"/>
                    </a:cubicBezTo>
                    <a:cubicBezTo>
                      <a:pt x="88" y="138"/>
                      <a:pt x="88" y="139"/>
                      <a:pt x="89" y="140"/>
                    </a:cubicBezTo>
                    <a:cubicBezTo>
                      <a:pt x="89" y="141"/>
                      <a:pt x="91" y="141"/>
                      <a:pt x="91" y="142"/>
                    </a:cubicBezTo>
                    <a:cubicBezTo>
                      <a:pt x="92" y="143"/>
                      <a:pt x="91" y="146"/>
                      <a:pt x="93" y="146"/>
                    </a:cubicBezTo>
                    <a:cubicBezTo>
                      <a:pt x="94" y="146"/>
                      <a:pt x="94" y="145"/>
                      <a:pt x="95" y="145"/>
                    </a:cubicBezTo>
                    <a:cubicBezTo>
                      <a:pt x="96" y="144"/>
                      <a:pt x="97" y="145"/>
                      <a:pt x="98" y="145"/>
                    </a:cubicBezTo>
                    <a:cubicBezTo>
                      <a:pt x="100" y="146"/>
                      <a:pt x="101" y="146"/>
                      <a:pt x="102" y="146"/>
                    </a:cubicBezTo>
                    <a:cubicBezTo>
                      <a:pt x="103" y="145"/>
                      <a:pt x="104" y="144"/>
                      <a:pt x="105" y="144"/>
                    </a:cubicBezTo>
                    <a:cubicBezTo>
                      <a:pt x="108" y="143"/>
                      <a:pt x="108" y="142"/>
                      <a:pt x="106" y="141"/>
                    </a:cubicBezTo>
                    <a:cubicBezTo>
                      <a:pt x="104" y="140"/>
                      <a:pt x="102" y="140"/>
                      <a:pt x="103" y="138"/>
                    </a:cubicBezTo>
                    <a:cubicBezTo>
                      <a:pt x="104" y="136"/>
                      <a:pt x="107" y="136"/>
                      <a:pt x="108" y="134"/>
                    </a:cubicBezTo>
                    <a:cubicBezTo>
                      <a:pt x="110" y="132"/>
                      <a:pt x="107" y="132"/>
                      <a:pt x="106" y="131"/>
                    </a:cubicBezTo>
                    <a:cubicBezTo>
                      <a:pt x="104" y="130"/>
                      <a:pt x="108" y="129"/>
                      <a:pt x="109" y="129"/>
                    </a:cubicBezTo>
                    <a:cubicBezTo>
                      <a:pt x="111" y="128"/>
                      <a:pt x="111" y="125"/>
                      <a:pt x="112" y="123"/>
                    </a:cubicBezTo>
                    <a:cubicBezTo>
                      <a:pt x="112" y="122"/>
                      <a:pt x="112" y="120"/>
                      <a:pt x="113" y="119"/>
                    </a:cubicBezTo>
                    <a:cubicBezTo>
                      <a:pt x="114" y="118"/>
                      <a:pt x="114" y="117"/>
                      <a:pt x="115" y="116"/>
                    </a:cubicBezTo>
                    <a:cubicBezTo>
                      <a:pt x="115" y="113"/>
                      <a:pt x="118" y="113"/>
                      <a:pt x="120" y="113"/>
                    </a:cubicBezTo>
                    <a:cubicBezTo>
                      <a:pt x="122" y="113"/>
                      <a:pt x="124" y="113"/>
                      <a:pt x="126" y="111"/>
                    </a:cubicBezTo>
                    <a:cubicBezTo>
                      <a:pt x="127" y="109"/>
                      <a:pt x="127" y="106"/>
                      <a:pt x="127" y="104"/>
                    </a:cubicBezTo>
                    <a:cubicBezTo>
                      <a:pt x="128" y="101"/>
                      <a:pt x="129" y="99"/>
                      <a:pt x="129" y="96"/>
                    </a:cubicBezTo>
                    <a:cubicBezTo>
                      <a:pt x="129" y="94"/>
                      <a:pt x="130" y="91"/>
                      <a:pt x="133" y="93"/>
                    </a:cubicBezTo>
                    <a:cubicBezTo>
                      <a:pt x="134" y="94"/>
                      <a:pt x="137" y="94"/>
                      <a:pt x="138" y="92"/>
                    </a:cubicBezTo>
                    <a:cubicBezTo>
                      <a:pt x="140" y="90"/>
                      <a:pt x="140" y="88"/>
                      <a:pt x="139" y="86"/>
                    </a:cubicBezTo>
                    <a:cubicBezTo>
                      <a:pt x="138" y="83"/>
                      <a:pt x="137" y="80"/>
                      <a:pt x="138" y="78"/>
                    </a:cubicBezTo>
                    <a:cubicBezTo>
                      <a:pt x="139" y="75"/>
                      <a:pt x="142" y="77"/>
                      <a:pt x="144" y="77"/>
                    </a:cubicBezTo>
                    <a:cubicBezTo>
                      <a:pt x="145" y="76"/>
                      <a:pt x="146" y="76"/>
                      <a:pt x="147" y="76"/>
                    </a:cubicBezTo>
                    <a:cubicBezTo>
                      <a:pt x="148" y="75"/>
                      <a:pt x="149" y="75"/>
                      <a:pt x="150" y="74"/>
                    </a:cubicBezTo>
                    <a:cubicBezTo>
                      <a:pt x="151" y="72"/>
                      <a:pt x="151" y="71"/>
                      <a:pt x="154" y="71"/>
                    </a:cubicBezTo>
                    <a:cubicBezTo>
                      <a:pt x="156" y="71"/>
                      <a:pt x="158" y="72"/>
                      <a:pt x="159" y="71"/>
                    </a:cubicBezTo>
                    <a:cubicBezTo>
                      <a:pt x="162" y="71"/>
                      <a:pt x="165" y="72"/>
                      <a:pt x="167" y="70"/>
                    </a:cubicBezTo>
                    <a:cubicBezTo>
                      <a:pt x="168" y="68"/>
                      <a:pt x="171" y="69"/>
                      <a:pt x="173" y="70"/>
                    </a:cubicBezTo>
                    <a:cubicBezTo>
                      <a:pt x="175" y="71"/>
                      <a:pt x="178" y="70"/>
                      <a:pt x="180" y="68"/>
                    </a:cubicBezTo>
                    <a:cubicBezTo>
                      <a:pt x="182" y="67"/>
                      <a:pt x="181" y="65"/>
                      <a:pt x="179" y="65"/>
                    </a:cubicBezTo>
                    <a:cubicBezTo>
                      <a:pt x="176" y="65"/>
                      <a:pt x="174" y="64"/>
                      <a:pt x="171" y="63"/>
                    </a:cubicBezTo>
                    <a:cubicBezTo>
                      <a:pt x="169" y="62"/>
                      <a:pt x="166" y="61"/>
                      <a:pt x="163" y="61"/>
                    </a:cubicBezTo>
                    <a:cubicBezTo>
                      <a:pt x="160" y="60"/>
                      <a:pt x="158" y="59"/>
                      <a:pt x="155" y="58"/>
                    </a:cubicBezTo>
                    <a:cubicBezTo>
                      <a:pt x="153" y="57"/>
                      <a:pt x="153" y="54"/>
                      <a:pt x="151" y="53"/>
                    </a:cubicBezTo>
                    <a:cubicBezTo>
                      <a:pt x="150" y="52"/>
                      <a:pt x="149" y="52"/>
                      <a:pt x="148" y="52"/>
                    </a:cubicBezTo>
                    <a:cubicBezTo>
                      <a:pt x="147" y="53"/>
                      <a:pt x="145" y="53"/>
                      <a:pt x="144" y="53"/>
                    </a:cubicBezTo>
                    <a:cubicBezTo>
                      <a:pt x="142" y="53"/>
                      <a:pt x="138" y="53"/>
                      <a:pt x="137" y="52"/>
                    </a:cubicBezTo>
                    <a:cubicBezTo>
                      <a:pt x="136" y="51"/>
                      <a:pt x="137" y="50"/>
                      <a:pt x="136" y="49"/>
                    </a:cubicBezTo>
                    <a:cubicBezTo>
                      <a:pt x="136" y="48"/>
                      <a:pt x="135" y="47"/>
                      <a:pt x="135" y="46"/>
                    </a:cubicBezTo>
                    <a:cubicBezTo>
                      <a:pt x="134" y="44"/>
                      <a:pt x="137" y="43"/>
                      <a:pt x="136" y="41"/>
                    </a:cubicBezTo>
                    <a:cubicBezTo>
                      <a:pt x="135" y="40"/>
                      <a:pt x="134" y="39"/>
                      <a:pt x="133" y="39"/>
                    </a:cubicBezTo>
                    <a:cubicBezTo>
                      <a:pt x="132" y="38"/>
                      <a:pt x="131" y="38"/>
                      <a:pt x="130" y="38"/>
                    </a:cubicBezTo>
                    <a:cubicBezTo>
                      <a:pt x="128" y="38"/>
                      <a:pt x="126" y="36"/>
                      <a:pt x="124" y="36"/>
                    </a:cubicBezTo>
                    <a:cubicBezTo>
                      <a:pt x="121" y="37"/>
                      <a:pt x="123" y="40"/>
                      <a:pt x="121" y="41"/>
                    </a:cubicBezTo>
                    <a:cubicBezTo>
                      <a:pt x="120" y="42"/>
                      <a:pt x="116" y="45"/>
                      <a:pt x="115" y="44"/>
                    </a:cubicBezTo>
                    <a:cubicBezTo>
                      <a:pt x="114" y="43"/>
                      <a:pt x="116" y="42"/>
                      <a:pt x="116" y="41"/>
                    </a:cubicBezTo>
                    <a:cubicBezTo>
                      <a:pt x="117" y="40"/>
                      <a:pt x="117" y="39"/>
                      <a:pt x="117" y="37"/>
                    </a:cubicBezTo>
                    <a:cubicBezTo>
                      <a:pt x="117" y="36"/>
                      <a:pt x="116" y="35"/>
                      <a:pt x="117" y="34"/>
                    </a:cubicBezTo>
                    <a:cubicBezTo>
                      <a:pt x="117" y="33"/>
                      <a:pt x="118" y="32"/>
                      <a:pt x="119" y="32"/>
                    </a:cubicBezTo>
                    <a:cubicBezTo>
                      <a:pt x="120" y="32"/>
                      <a:pt x="121" y="31"/>
                      <a:pt x="121" y="31"/>
                    </a:cubicBezTo>
                    <a:cubicBezTo>
                      <a:pt x="120" y="29"/>
                      <a:pt x="119" y="29"/>
                      <a:pt x="118" y="29"/>
                    </a:cubicBezTo>
                    <a:cubicBezTo>
                      <a:pt x="115" y="29"/>
                      <a:pt x="113" y="28"/>
                      <a:pt x="110" y="27"/>
                    </a:cubicBezTo>
                    <a:cubicBezTo>
                      <a:pt x="108" y="26"/>
                      <a:pt x="105" y="26"/>
                      <a:pt x="102" y="25"/>
                    </a:cubicBezTo>
                    <a:cubicBezTo>
                      <a:pt x="100" y="24"/>
                      <a:pt x="99" y="21"/>
                      <a:pt x="97" y="20"/>
                    </a:cubicBezTo>
                    <a:cubicBezTo>
                      <a:pt x="96" y="18"/>
                      <a:pt x="93" y="18"/>
                      <a:pt x="93" y="21"/>
                    </a:cubicBezTo>
                    <a:cubicBezTo>
                      <a:pt x="93" y="22"/>
                      <a:pt x="94" y="23"/>
                      <a:pt x="94" y="24"/>
                    </a:cubicBezTo>
                    <a:cubicBezTo>
                      <a:pt x="93" y="25"/>
                      <a:pt x="91" y="24"/>
                      <a:pt x="90" y="24"/>
                    </a:cubicBezTo>
                    <a:cubicBezTo>
                      <a:pt x="88" y="24"/>
                      <a:pt x="85" y="25"/>
                      <a:pt x="85" y="27"/>
                    </a:cubicBezTo>
                    <a:cubicBezTo>
                      <a:pt x="85" y="30"/>
                      <a:pt x="87" y="31"/>
                      <a:pt x="88" y="32"/>
                    </a:cubicBezTo>
                    <a:cubicBezTo>
                      <a:pt x="90" y="35"/>
                      <a:pt x="90" y="38"/>
                      <a:pt x="89" y="41"/>
                    </a:cubicBezTo>
                    <a:cubicBezTo>
                      <a:pt x="89" y="43"/>
                      <a:pt x="90" y="45"/>
                      <a:pt x="92" y="47"/>
                    </a:cubicBezTo>
                    <a:cubicBezTo>
                      <a:pt x="94" y="49"/>
                      <a:pt x="95" y="50"/>
                      <a:pt x="96" y="53"/>
                    </a:cubicBezTo>
                    <a:cubicBezTo>
                      <a:pt x="97" y="54"/>
                      <a:pt x="99" y="59"/>
                      <a:pt x="98" y="60"/>
                    </a:cubicBezTo>
                    <a:cubicBezTo>
                      <a:pt x="96" y="61"/>
                      <a:pt x="93" y="57"/>
                      <a:pt x="92" y="56"/>
                    </a:cubicBezTo>
                    <a:cubicBezTo>
                      <a:pt x="90" y="54"/>
                      <a:pt x="90" y="52"/>
                      <a:pt x="87" y="52"/>
                    </a:cubicBezTo>
                    <a:cubicBezTo>
                      <a:pt x="85" y="52"/>
                      <a:pt x="83" y="52"/>
                      <a:pt x="85" y="50"/>
                    </a:cubicBezTo>
                    <a:cubicBezTo>
                      <a:pt x="88" y="48"/>
                      <a:pt x="83" y="46"/>
                      <a:pt x="82" y="45"/>
                    </a:cubicBezTo>
                    <a:cubicBezTo>
                      <a:pt x="79" y="44"/>
                      <a:pt x="81" y="42"/>
                      <a:pt x="80" y="39"/>
                    </a:cubicBezTo>
                    <a:cubicBezTo>
                      <a:pt x="80" y="37"/>
                      <a:pt x="79" y="34"/>
                      <a:pt x="77" y="33"/>
                    </a:cubicBezTo>
                    <a:cubicBezTo>
                      <a:pt x="75" y="31"/>
                      <a:pt x="72" y="30"/>
                      <a:pt x="70" y="28"/>
                    </a:cubicBezTo>
                    <a:cubicBezTo>
                      <a:pt x="68" y="26"/>
                      <a:pt x="67" y="26"/>
                      <a:pt x="64" y="27"/>
                    </a:cubicBezTo>
                    <a:cubicBezTo>
                      <a:pt x="63" y="28"/>
                      <a:pt x="63" y="28"/>
                      <a:pt x="62" y="29"/>
                    </a:cubicBezTo>
                    <a:cubicBezTo>
                      <a:pt x="62" y="31"/>
                      <a:pt x="61" y="31"/>
                      <a:pt x="60" y="32"/>
                    </a:cubicBezTo>
                    <a:cubicBezTo>
                      <a:pt x="59" y="33"/>
                      <a:pt x="59" y="34"/>
                      <a:pt x="58" y="35"/>
                    </a:cubicBezTo>
                    <a:cubicBezTo>
                      <a:pt x="58" y="35"/>
                      <a:pt x="57" y="36"/>
                      <a:pt x="56" y="36"/>
                    </a:cubicBezTo>
                    <a:cubicBezTo>
                      <a:pt x="53" y="37"/>
                      <a:pt x="56" y="39"/>
                      <a:pt x="57" y="40"/>
                    </a:cubicBezTo>
                    <a:cubicBezTo>
                      <a:pt x="58" y="41"/>
                      <a:pt x="58" y="42"/>
                      <a:pt x="58" y="43"/>
                    </a:cubicBezTo>
                    <a:cubicBezTo>
                      <a:pt x="58" y="44"/>
                      <a:pt x="57" y="45"/>
                      <a:pt x="57" y="46"/>
                    </a:cubicBezTo>
                    <a:cubicBezTo>
                      <a:pt x="55" y="48"/>
                      <a:pt x="54" y="45"/>
                      <a:pt x="54" y="44"/>
                    </a:cubicBezTo>
                    <a:cubicBezTo>
                      <a:pt x="53" y="42"/>
                      <a:pt x="51" y="42"/>
                      <a:pt x="50" y="41"/>
                    </a:cubicBezTo>
                    <a:cubicBezTo>
                      <a:pt x="49" y="40"/>
                      <a:pt x="48" y="39"/>
                      <a:pt x="47" y="39"/>
                    </a:cubicBezTo>
                    <a:cubicBezTo>
                      <a:pt x="46" y="39"/>
                      <a:pt x="45" y="40"/>
                      <a:pt x="44" y="40"/>
                    </a:cubicBezTo>
                    <a:cubicBezTo>
                      <a:pt x="42" y="40"/>
                      <a:pt x="42" y="39"/>
                      <a:pt x="43" y="38"/>
                    </a:cubicBezTo>
                    <a:cubicBezTo>
                      <a:pt x="45" y="38"/>
                      <a:pt x="46" y="37"/>
                      <a:pt x="44" y="36"/>
                    </a:cubicBezTo>
                    <a:cubicBezTo>
                      <a:pt x="42" y="35"/>
                      <a:pt x="40" y="35"/>
                      <a:pt x="38" y="36"/>
                    </a:cubicBezTo>
                    <a:cubicBezTo>
                      <a:pt x="37" y="36"/>
                      <a:pt x="35" y="36"/>
                      <a:pt x="34" y="36"/>
                    </a:cubicBezTo>
                    <a:cubicBezTo>
                      <a:pt x="33" y="35"/>
                      <a:pt x="32" y="36"/>
                      <a:pt x="30" y="37"/>
                    </a:cubicBezTo>
                    <a:cubicBezTo>
                      <a:pt x="29" y="37"/>
                      <a:pt x="27" y="36"/>
                      <a:pt x="29" y="35"/>
                    </a:cubicBezTo>
                    <a:cubicBezTo>
                      <a:pt x="31" y="34"/>
                      <a:pt x="33" y="33"/>
                      <a:pt x="35" y="33"/>
                    </a:cubicBezTo>
                    <a:cubicBezTo>
                      <a:pt x="36" y="32"/>
                      <a:pt x="37" y="31"/>
                      <a:pt x="39" y="31"/>
                    </a:cubicBezTo>
                    <a:cubicBezTo>
                      <a:pt x="40" y="31"/>
                      <a:pt x="41" y="31"/>
                      <a:pt x="43" y="31"/>
                    </a:cubicBezTo>
                    <a:cubicBezTo>
                      <a:pt x="46" y="31"/>
                      <a:pt x="49" y="30"/>
                      <a:pt x="52" y="30"/>
                    </a:cubicBezTo>
                    <a:cubicBezTo>
                      <a:pt x="54" y="30"/>
                      <a:pt x="56" y="28"/>
                      <a:pt x="55" y="26"/>
                    </a:cubicBezTo>
                    <a:cubicBezTo>
                      <a:pt x="53" y="23"/>
                      <a:pt x="50" y="25"/>
                      <a:pt x="48" y="25"/>
                    </a:cubicBezTo>
                    <a:cubicBezTo>
                      <a:pt x="47" y="25"/>
                      <a:pt x="45" y="26"/>
                      <a:pt x="44" y="26"/>
                    </a:cubicBezTo>
                    <a:cubicBezTo>
                      <a:pt x="43" y="26"/>
                      <a:pt x="41" y="26"/>
                      <a:pt x="40" y="26"/>
                    </a:cubicBezTo>
                    <a:cubicBezTo>
                      <a:pt x="39" y="27"/>
                      <a:pt x="38" y="27"/>
                      <a:pt x="36" y="28"/>
                    </a:cubicBezTo>
                    <a:cubicBezTo>
                      <a:pt x="35" y="28"/>
                      <a:pt x="34" y="28"/>
                      <a:pt x="32" y="28"/>
                    </a:cubicBezTo>
                    <a:cubicBezTo>
                      <a:pt x="31" y="28"/>
                      <a:pt x="29" y="29"/>
                      <a:pt x="28" y="27"/>
                    </a:cubicBezTo>
                    <a:cubicBezTo>
                      <a:pt x="28" y="26"/>
                      <a:pt x="27" y="25"/>
                      <a:pt x="25" y="25"/>
                    </a:cubicBezTo>
                    <a:cubicBezTo>
                      <a:pt x="23" y="25"/>
                      <a:pt x="24" y="28"/>
                      <a:pt x="24" y="29"/>
                    </a:cubicBezTo>
                    <a:cubicBezTo>
                      <a:pt x="24" y="30"/>
                      <a:pt x="22" y="31"/>
                      <a:pt x="21" y="30"/>
                    </a:cubicBezTo>
                    <a:cubicBezTo>
                      <a:pt x="20" y="29"/>
                      <a:pt x="20" y="28"/>
                      <a:pt x="19" y="27"/>
                    </a:cubicBezTo>
                    <a:cubicBezTo>
                      <a:pt x="18" y="25"/>
                      <a:pt x="16" y="25"/>
                      <a:pt x="14" y="26"/>
                    </a:cubicBezTo>
                    <a:cubicBezTo>
                      <a:pt x="13" y="26"/>
                      <a:pt x="12" y="28"/>
                      <a:pt x="11" y="28"/>
                    </a:cubicBezTo>
                    <a:cubicBezTo>
                      <a:pt x="9" y="28"/>
                      <a:pt x="8" y="27"/>
                      <a:pt x="7" y="29"/>
                    </a:cubicBezTo>
                    <a:cubicBezTo>
                      <a:pt x="6" y="30"/>
                      <a:pt x="7" y="31"/>
                      <a:pt x="6" y="32"/>
                    </a:cubicBezTo>
                    <a:cubicBezTo>
                      <a:pt x="6" y="33"/>
                      <a:pt x="4" y="33"/>
                      <a:pt x="4" y="34"/>
                    </a:cubicBezTo>
                    <a:cubicBezTo>
                      <a:pt x="2" y="35"/>
                      <a:pt x="7" y="37"/>
                      <a:pt x="3" y="37"/>
                    </a:cubicBezTo>
                    <a:cubicBezTo>
                      <a:pt x="2" y="37"/>
                      <a:pt x="1" y="36"/>
                      <a:pt x="0" y="37"/>
                    </a:cubicBezTo>
                    <a:cubicBezTo>
                      <a:pt x="0" y="38"/>
                      <a:pt x="0" y="39"/>
                      <a:pt x="0" y="39"/>
                    </a:cubicBezTo>
                    <a:cubicBezTo>
                      <a:pt x="0" y="41"/>
                      <a:pt x="1" y="43"/>
                      <a:pt x="1" y="45"/>
                    </a:cubicBezTo>
                    <a:cubicBezTo>
                      <a:pt x="1" y="45"/>
                      <a:pt x="1" y="44"/>
                      <a:pt x="1" y="44"/>
                    </a:cubicBezTo>
                    <a:cubicBezTo>
                      <a:pt x="1" y="45"/>
                      <a:pt x="1" y="44"/>
                      <a:pt x="1" y="44"/>
                    </a:cubicBezTo>
                    <a:close/>
                    <a:moveTo>
                      <a:pt x="246" y="145"/>
                    </a:moveTo>
                    <a:cubicBezTo>
                      <a:pt x="245" y="146"/>
                      <a:pt x="245" y="146"/>
                      <a:pt x="245" y="147"/>
                    </a:cubicBezTo>
                    <a:cubicBezTo>
                      <a:pt x="244" y="147"/>
                      <a:pt x="243" y="147"/>
                      <a:pt x="242" y="148"/>
                    </a:cubicBezTo>
                    <a:cubicBezTo>
                      <a:pt x="240" y="151"/>
                      <a:pt x="245" y="148"/>
                      <a:pt x="245" y="148"/>
                    </a:cubicBezTo>
                    <a:cubicBezTo>
                      <a:pt x="247" y="147"/>
                      <a:pt x="249" y="146"/>
                      <a:pt x="249" y="145"/>
                    </a:cubicBezTo>
                    <a:cubicBezTo>
                      <a:pt x="249" y="144"/>
                      <a:pt x="248" y="143"/>
                      <a:pt x="248" y="143"/>
                    </a:cubicBezTo>
                    <a:cubicBezTo>
                      <a:pt x="246" y="143"/>
                      <a:pt x="246" y="145"/>
                      <a:pt x="246" y="145"/>
                    </a:cubicBezTo>
                    <a:cubicBezTo>
                      <a:pt x="246" y="145"/>
                      <a:pt x="246" y="145"/>
                      <a:pt x="246" y="145"/>
                    </a:cubicBezTo>
                    <a:cubicBezTo>
                      <a:pt x="245" y="146"/>
                      <a:pt x="246" y="145"/>
                      <a:pt x="246" y="145"/>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58" name="Freeform 258">
                <a:extLst>
                  <a:ext uri="{FF2B5EF4-FFF2-40B4-BE49-F238E27FC236}">
                    <a16:creationId xmlns:a16="http://schemas.microsoft.com/office/drawing/2014/main" id="{5FFD3F0A-456E-2133-E934-40F140B2C3A6}"/>
                  </a:ext>
                </a:extLst>
              </p:cNvPr>
              <p:cNvSpPr>
                <a:spLocks noEditPoints="1"/>
              </p:cNvSpPr>
              <p:nvPr>
                <p:custDataLst>
                  <p:tags r:id="rId196"/>
                </p:custDataLst>
              </p:nvPr>
            </p:nvSpPr>
            <p:spPr bwMode="auto">
              <a:xfrm>
                <a:off x="5598074" y="2202656"/>
                <a:ext cx="659458" cy="540832"/>
              </a:xfrm>
              <a:custGeom>
                <a:avLst/>
                <a:gdLst>
                  <a:gd name="T0" fmla="*/ 20 w 443"/>
                  <a:gd name="T1" fmla="*/ 306 h 363"/>
                  <a:gd name="T2" fmla="*/ 22 w 443"/>
                  <a:gd name="T3" fmla="*/ 331 h 363"/>
                  <a:gd name="T4" fmla="*/ 23 w 443"/>
                  <a:gd name="T5" fmla="*/ 357 h 363"/>
                  <a:gd name="T6" fmla="*/ 71 w 443"/>
                  <a:gd name="T7" fmla="*/ 344 h 363"/>
                  <a:gd name="T8" fmla="*/ 94 w 443"/>
                  <a:gd name="T9" fmla="*/ 322 h 363"/>
                  <a:gd name="T10" fmla="*/ 114 w 443"/>
                  <a:gd name="T11" fmla="*/ 315 h 363"/>
                  <a:gd name="T12" fmla="*/ 118 w 443"/>
                  <a:gd name="T13" fmla="*/ 242 h 363"/>
                  <a:gd name="T14" fmla="*/ 165 w 443"/>
                  <a:gd name="T15" fmla="*/ 147 h 363"/>
                  <a:gd name="T16" fmla="*/ 225 w 443"/>
                  <a:gd name="T17" fmla="*/ 80 h 363"/>
                  <a:gd name="T18" fmla="*/ 290 w 443"/>
                  <a:gd name="T19" fmla="*/ 70 h 363"/>
                  <a:gd name="T20" fmla="*/ 377 w 443"/>
                  <a:gd name="T21" fmla="*/ 36 h 363"/>
                  <a:gd name="T22" fmla="*/ 437 w 443"/>
                  <a:gd name="T23" fmla="*/ 47 h 363"/>
                  <a:gd name="T24" fmla="*/ 412 w 443"/>
                  <a:gd name="T25" fmla="*/ 40 h 363"/>
                  <a:gd name="T26" fmla="*/ 423 w 443"/>
                  <a:gd name="T27" fmla="*/ 20 h 363"/>
                  <a:gd name="T28" fmla="*/ 400 w 443"/>
                  <a:gd name="T29" fmla="*/ 15 h 363"/>
                  <a:gd name="T30" fmla="*/ 391 w 443"/>
                  <a:gd name="T31" fmla="*/ 11 h 363"/>
                  <a:gd name="T32" fmla="*/ 374 w 443"/>
                  <a:gd name="T33" fmla="*/ 20 h 363"/>
                  <a:gd name="T34" fmla="*/ 346 w 443"/>
                  <a:gd name="T35" fmla="*/ 24 h 363"/>
                  <a:gd name="T36" fmla="*/ 340 w 443"/>
                  <a:gd name="T37" fmla="*/ 10 h 363"/>
                  <a:gd name="T38" fmla="*/ 310 w 443"/>
                  <a:gd name="T39" fmla="*/ 30 h 363"/>
                  <a:gd name="T40" fmla="*/ 281 w 443"/>
                  <a:gd name="T41" fmla="*/ 41 h 363"/>
                  <a:gd name="T42" fmla="*/ 254 w 443"/>
                  <a:gd name="T43" fmla="*/ 55 h 363"/>
                  <a:gd name="T44" fmla="*/ 248 w 443"/>
                  <a:gd name="T45" fmla="*/ 46 h 363"/>
                  <a:gd name="T46" fmla="*/ 226 w 443"/>
                  <a:gd name="T47" fmla="*/ 57 h 363"/>
                  <a:gd name="T48" fmla="*/ 196 w 443"/>
                  <a:gd name="T49" fmla="*/ 79 h 363"/>
                  <a:gd name="T50" fmla="*/ 199 w 443"/>
                  <a:gd name="T51" fmla="*/ 91 h 363"/>
                  <a:gd name="T52" fmla="*/ 182 w 443"/>
                  <a:gd name="T53" fmla="*/ 91 h 363"/>
                  <a:gd name="T54" fmla="*/ 182 w 443"/>
                  <a:gd name="T55" fmla="*/ 110 h 363"/>
                  <a:gd name="T56" fmla="*/ 177 w 443"/>
                  <a:gd name="T57" fmla="*/ 121 h 363"/>
                  <a:gd name="T58" fmla="*/ 146 w 443"/>
                  <a:gd name="T59" fmla="*/ 132 h 363"/>
                  <a:gd name="T60" fmla="*/ 135 w 443"/>
                  <a:gd name="T61" fmla="*/ 149 h 363"/>
                  <a:gd name="T62" fmla="*/ 121 w 443"/>
                  <a:gd name="T63" fmla="*/ 170 h 363"/>
                  <a:gd name="T64" fmla="*/ 124 w 443"/>
                  <a:gd name="T65" fmla="*/ 184 h 363"/>
                  <a:gd name="T66" fmla="*/ 90 w 443"/>
                  <a:gd name="T67" fmla="*/ 203 h 363"/>
                  <a:gd name="T68" fmla="*/ 96 w 443"/>
                  <a:gd name="T69" fmla="*/ 212 h 363"/>
                  <a:gd name="T70" fmla="*/ 75 w 443"/>
                  <a:gd name="T71" fmla="*/ 220 h 363"/>
                  <a:gd name="T72" fmla="*/ 61 w 443"/>
                  <a:gd name="T73" fmla="*/ 238 h 363"/>
                  <a:gd name="T74" fmla="*/ 45 w 443"/>
                  <a:gd name="T75" fmla="*/ 242 h 363"/>
                  <a:gd name="T76" fmla="*/ 39 w 443"/>
                  <a:gd name="T77" fmla="*/ 256 h 363"/>
                  <a:gd name="T78" fmla="*/ 18 w 443"/>
                  <a:gd name="T79" fmla="*/ 260 h 363"/>
                  <a:gd name="T80" fmla="*/ 4 w 443"/>
                  <a:gd name="T81" fmla="*/ 267 h 363"/>
                  <a:gd name="T82" fmla="*/ 24 w 443"/>
                  <a:gd name="T83" fmla="*/ 279 h 363"/>
                  <a:gd name="T84" fmla="*/ 18 w 443"/>
                  <a:gd name="T85" fmla="*/ 286 h 363"/>
                  <a:gd name="T86" fmla="*/ 5 w 443"/>
                  <a:gd name="T87" fmla="*/ 307 h 363"/>
                  <a:gd name="T88" fmla="*/ 279 w 443"/>
                  <a:gd name="T89" fmla="*/ 30 h 363"/>
                  <a:gd name="T90" fmla="*/ 265 w 443"/>
                  <a:gd name="T91" fmla="*/ 34 h 363"/>
                  <a:gd name="T92" fmla="*/ 322 w 443"/>
                  <a:gd name="T93" fmla="*/ 17 h 363"/>
                  <a:gd name="T94" fmla="*/ 297 w 443"/>
                  <a:gd name="T95" fmla="*/ 27 h 363"/>
                  <a:gd name="T96" fmla="*/ 287 w 443"/>
                  <a:gd name="T97" fmla="*/ 18 h 363"/>
                  <a:gd name="T98" fmla="*/ 294 w 443"/>
                  <a:gd name="T99" fmla="*/ 30 h 363"/>
                  <a:gd name="T100" fmla="*/ 227 w 443"/>
                  <a:gd name="T101" fmla="*/ 44 h 363"/>
                  <a:gd name="T102" fmla="*/ 174 w 443"/>
                  <a:gd name="T103" fmla="*/ 74 h 363"/>
                  <a:gd name="T104" fmla="*/ 172 w 443"/>
                  <a:gd name="T105" fmla="*/ 75 h 363"/>
                  <a:gd name="T106" fmla="*/ 135 w 443"/>
                  <a:gd name="T107" fmla="*/ 98 h 363"/>
                  <a:gd name="T108" fmla="*/ 351 w 443"/>
                  <a:gd name="T109" fmla="*/ 0 h 363"/>
                  <a:gd name="T110" fmla="*/ 180 w 443"/>
                  <a:gd name="T111" fmla="*/ 68 h 363"/>
                  <a:gd name="T112" fmla="*/ 166 w 443"/>
                  <a:gd name="T113" fmla="*/ 100 h 363"/>
                  <a:gd name="T114" fmla="*/ 232 w 443"/>
                  <a:gd name="T115" fmla="*/ 38 h 363"/>
                  <a:gd name="T116" fmla="*/ 217 w 443"/>
                  <a:gd name="T117" fmla="*/ 57 h 363"/>
                  <a:gd name="T118" fmla="*/ 175 w 443"/>
                  <a:gd name="T119" fmla="*/ 94 h 363"/>
                  <a:gd name="T120" fmla="*/ 179 w 443"/>
                  <a:gd name="T121" fmla="*/ 80 h 363"/>
                  <a:gd name="T122" fmla="*/ 194 w 443"/>
                  <a:gd name="T123" fmla="*/ 7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2" h="363">
                    <a:moveTo>
                      <a:pt x="5" y="308"/>
                    </a:moveTo>
                    <a:cubicBezTo>
                      <a:pt x="6" y="307"/>
                      <a:pt x="8" y="303"/>
                      <a:pt x="9" y="305"/>
                    </a:cubicBezTo>
                    <a:cubicBezTo>
                      <a:pt x="10" y="307"/>
                      <a:pt x="11" y="310"/>
                      <a:pt x="13" y="309"/>
                    </a:cubicBezTo>
                    <a:cubicBezTo>
                      <a:pt x="15" y="309"/>
                      <a:pt x="17" y="306"/>
                      <a:pt x="18" y="305"/>
                    </a:cubicBezTo>
                    <a:cubicBezTo>
                      <a:pt x="20" y="303"/>
                      <a:pt x="22" y="302"/>
                      <a:pt x="25" y="301"/>
                    </a:cubicBezTo>
                    <a:cubicBezTo>
                      <a:pt x="27" y="300"/>
                      <a:pt x="29" y="299"/>
                      <a:pt x="32" y="300"/>
                    </a:cubicBezTo>
                    <a:cubicBezTo>
                      <a:pt x="32" y="300"/>
                      <a:pt x="34" y="300"/>
                      <a:pt x="34" y="301"/>
                    </a:cubicBezTo>
                    <a:cubicBezTo>
                      <a:pt x="34" y="301"/>
                      <a:pt x="33" y="302"/>
                      <a:pt x="33" y="302"/>
                    </a:cubicBezTo>
                    <a:cubicBezTo>
                      <a:pt x="31" y="302"/>
                      <a:pt x="30" y="302"/>
                      <a:pt x="29" y="304"/>
                    </a:cubicBezTo>
                    <a:cubicBezTo>
                      <a:pt x="28" y="306"/>
                      <a:pt x="27" y="308"/>
                      <a:pt x="25" y="310"/>
                    </a:cubicBezTo>
                    <a:cubicBezTo>
                      <a:pt x="25" y="311"/>
                      <a:pt x="24" y="311"/>
                      <a:pt x="24" y="310"/>
                    </a:cubicBezTo>
                    <a:cubicBezTo>
                      <a:pt x="23" y="309"/>
                      <a:pt x="24" y="308"/>
                      <a:pt x="24" y="307"/>
                    </a:cubicBezTo>
                    <a:cubicBezTo>
                      <a:pt x="25" y="303"/>
                      <a:pt x="22" y="305"/>
                      <a:pt x="20" y="306"/>
                    </a:cubicBezTo>
                    <a:cubicBezTo>
                      <a:pt x="19" y="307"/>
                      <a:pt x="17" y="309"/>
                      <a:pt x="19" y="310"/>
                    </a:cubicBezTo>
                    <a:cubicBezTo>
                      <a:pt x="20" y="311"/>
                      <a:pt x="21" y="311"/>
                      <a:pt x="20" y="312"/>
                    </a:cubicBezTo>
                    <a:cubicBezTo>
                      <a:pt x="19" y="313"/>
                      <a:pt x="17" y="312"/>
                      <a:pt x="16" y="313"/>
                    </a:cubicBezTo>
                    <a:cubicBezTo>
                      <a:pt x="15" y="313"/>
                      <a:pt x="14" y="315"/>
                      <a:pt x="14" y="316"/>
                    </a:cubicBezTo>
                    <a:cubicBezTo>
                      <a:pt x="13" y="316"/>
                      <a:pt x="12" y="317"/>
                      <a:pt x="12" y="317"/>
                    </a:cubicBezTo>
                    <a:cubicBezTo>
                      <a:pt x="10" y="319"/>
                      <a:pt x="14" y="319"/>
                      <a:pt x="15" y="319"/>
                    </a:cubicBezTo>
                    <a:cubicBezTo>
                      <a:pt x="18" y="319"/>
                      <a:pt x="15" y="322"/>
                      <a:pt x="14" y="323"/>
                    </a:cubicBezTo>
                    <a:cubicBezTo>
                      <a:pt x="12" y="323"/>
                      <a:pt x="8" y="323"/>
                      <a:pt x="8" y="325"/>
                    </a:cubicBezTo>
                    <a:cubicBezTo>
                      <a:pt x="7" y="327"/>
                      <a:pt x="14" y="327"/>
                      <a:pt x="15" y="327"/>
                    </a:cubicBezTo>
                    <a:cubicBezTo>
                      <a:pt x="16" y="327"/>
                      <a:pt x="17" y="325"/>
                      <a:pt x="19" y="324"/>
                    </a:cubicBezTo>
                    <a:cubicBezTo>
                      <a:pt x="19" y="324"/>
                      <a:pt x="25" y="323"/>
                      <a:pt x="25" y="325"/>
                    </a:cubicBezTo>
                    <a:cubicBezTo>
                      <a:pt x="24" y="327"/>
                      <a:pt x="20" y="328"/>
                      <a:pt x="19" y="328"/>
                    </a:cubicBezTo>
                    <a:cubicBezTo>
                      <a:pt x="17" y="330"/>
                      <a:pt x="21" y="330"/>
                      <a:pt x="22" y="331"/>
                    </a:cubicBezTo>
                    <a:cubicBezTo>
                      <a:pt x="25" y="333"/>
                      <a:pt x="12" y="335"/>
                      <a:pt x="16" y="338"/>
                    </a:cubicBezTo>
                    <a:cubicBezTo>
                      <a:pt x="18" y="339"/>
                      <a:pt x="21" y="338"/>
                      <a:pt x="22" y="337"/>
                    </a:cubicBezTo>
                    <a:cubicBezTo>
                      <a:pt x="23" y="337"/>
                      <a:pt x="25" y="337"/>
                      <a:pt x="25" y="338"/>
                    </a:cubicBezTo>
                    <a:cubicBezTo>
                      <a:pt x="26" y="339"/>
                      <a:pt x="23" y="339"/>
                      <a:pt x="22" y="339"/>
                    </a:cubicBezTo>
                    <a:cubicBezTo>
                      <a:pt x="20" y="339"/>
                      <a:pt x="19" y="340"/>
                      <a:pt x="19" y="343"/>
                    </a:cubicBezTo>
                    <a:cubicBezTo>
                      <a:pt x="19" y="343"/>
                      <a:pt x="18" y="344"/>
                      <a:pt x="18" y="344"/>
                    </a:cubicBezTo>
                    <a:cubicBezTo>
                      <a:pt x="17" y="344"/>
                      <a:pt x="16" y="343"/>
                      <a:pt x="16" y="343"/>
                    </a:cubicBezTo>
                    <a:cubicBezTo>
                      <a:pt x="14" y="341"/>
                      <a:pt x="13" y="342"/>
                      <a:pt x="11" y="342"/>
                    </a:cubicBezTo>
                    <a:cubicBezTo>
                      <a:pt x="10" y="342"/>
                      <a:pt x="9" y="340"/>
                      <a:pt x="8" y="341"/>
                    </a:cubicBezTo>
                    <a:cubicBezTo>
                      <a:pt x="7" y="342"/>
                      <a:pt x="7" y="343"/>
                      <a:pt x="7" y="345"/>
                    </a:cubicBezTo>
                    <a:cubicBezTo>
                      <a:pt x="7" y="347"/>
                      <a:pt x="7" y="349"/>
                      <a:pt x="9" y="350"/>
                    </a:cubicBezTo>
                    <a:cubicBezTo>
                      <a:pt x="12" y="351"/>
                      <a:pt x="14" y="353"/>
                      <a:pt x="16" y="354"/>
                    </a:cubicBezTo>
                    <a:cubicBezTo>
                      <a:pt x="18" y="356"/>
                      <a:pt x="20" y="357"/>
                      <a:pt x="23" y="357"/>
                    </a:cubicBezTo>
                    <a:cubicBezTo>
                      <a:pt x="23" y="357"/>
                      <a:pt x="29" y="356"/>
                      <a:pt x="27" y="358"/>
                    </a:cubicBezTo>
                    <a:cubicBezTo>
                      <a:pt x="26" y="359"/>
                      <a:pt x="25" y="360"/>
                      <a:pt x="26" y="362"/>
                    </a:cubicBezTo>
                    <a:cubicBezTo>
                      <a:pt x="27" y="363"/>
                      <a:pt x="30" y="363"/>
                      <a:pt x="31" y="363"/>
                    </a:cubicBezTo>
                    <a:cubicBezTo>
                      <a:pt x="33" y="362"/>
                      <a:pt x="33" y="360"/>
                      <a:pt x="34" y="360"/>
                    </a:cubicBezTo>
                    <a:cubicBezTo>
                      <a:pt x="35" y="360"/>
                      <a:pt x="35" y="361"/>
                      <a:pt x="35" y="361"/>
                    </a:cubicBezTo>
                    <a:cubicBezTo>
                      <a:pt x="36" y="362"/>
                      <a:pt x="37" y="362"/>
                      <a:pt x="38" y="362"/>
                    </a:cubicBezTo>
                    <a:cubicBezTo>
                      <a:pt x="40" y="362"/>
                      <a:pt x="42" y="360"/>
                      <a:pt x="44" y="360"/>
                    </a:cubicBezTo>
                    <a:cubicBezTo>
                      <a:pt x="48" y="361"/>
                      <a:pt x="50" y="359"/>
                      <a:pt x="53" y="358"/>
                    </a:cubicBezTo>
                    <a:cubicBezTo>
                      <a:pt x="54" y="357"/>
                      <a:pt x="56" y="357"/>
                      <a:pt x="57" y="356"/>
                    </a:cubicBezTo>
                    <a:cubicBezTo>
                      <a:pt x="58" y="356"/>
                      <a:pt x="59" y="355"/>
                      <a:pt x="59" y="354"/>
                    </a:cubicBezTo>
                    <a:cubicBezTo>
                      <a:pt x="61" y="351"/>
                      <a:pt x="64" y="350"/>
                      <a:pt x="66" y="348"/>
                    </a:cubicBezTo>
                    <a:cubicBezTo>
                      <a:pt x="66" y="347"/>
                      <a:pt x="67" y="346"/>
                      <a:pt x="68" y="345"/>
                    </a:cubicBezTo>
                    <a:cubicBezTo>
                      <a:pt x="69" y="345"/>
                      <a:pt x="70" y="345"/>
                      <a:pt x="71" y="344"/>
                    </a:cubicBezTo>
                    <a:cubicBezTo>
                      <a:pt x="72" y="342"/>
                      <a:pt x="71" y="340"/>
                      <a:pt x="74" y="341"/>
                    </a:cubicBezTo>
                    <a:cubicBezTo>
                      <a:pt x="77" y="341"/>
                      <a:pt x="76" y="339"/>
                      <a:pt x="75" y="337"/>
                    </a:cubicBezTo>
                    <a:cubicBezTo>
                      <a:pt x="74" y="337"/>
                      <a:pt x="74" y="335"/>
                      <a:pt x="75" y="335"/>
                    </a:cubicBezTo>
                    <a:cubicBezTo>
                      <a:pt x="77" y="335"/>
                      <a:pt x="78" y="336"/>
                      <a:pt x="79" y="337"/>
                    </a:cubicBezTo>
                    <a:cubicBezTo>
                      <a:pt x="81" y="338"/>
                      <a:pt x="83" y="339"/>
                      <a:pt x="85" y="337"/>
                    </a:cubicBezTo>
                    <a:cubicBezTo>
                      <a:pt x="86" y="336"/>
                      <a:pt x="86" y="335"/>
                      <a:pt x="87" y="334"/>
                    </a:cubicBezTo>
                    <a:cubicBezTo>
                      <a:pt x="88" y="333"/>
                      <a:pt x="89" y="333"/>
                      <a:pt x="90" y="332"/>
                    </a:cubicBezTo>
                    <a:cubicBezTo>
                      <a:pt x="91" y="329"/>
                      <a:pt x="88" y="328"/>
                      <a:pt x="87" y="327"/>
                    </a:cubicBezTo>
                    <a:cubicBezTo>
                      <a:pt x="86" y="325"/>
                      <a:pt x="89" y="324"/>
                      <a:pt x="90" y="323"/>
                    </a:cubicBezTo>
                    <a:cubicBezTo>
                      <a:pt x="92" y="322"/>
                      <a:pt x="91" y="320"/>
                      <a:pt x="91" y="319"/>
                    </a:cubicBezTo>
                    <a:cubicBezTo>
                      <a:pt x="91" y="317"/>
                      <a:pt x="94" y="315"/>
                      <a:pt x="95" y="317"/>
                    </a:cubicBezTo>
                    <a:cubicBezTo>
                      <a:pt x="96" y="317"/>
                      <a:pt x="96" y="318"/>
                      <a:pt x="95" y="319"/>
                    </a:cubicBezTo>
                    <a:cubicBezTo>
                      <a:pt x="94" y="320"/>
                      <a:pt x="94" y="320"/>
                      <a:pt x="94" y="322"/>
                    </a:cubicBezTo>
                    <a:cubicBezTo>
                      <a:pt x="94" y="323"/>
                      <a:pt x="95" y="324"/>
                      <a:pt x="95" y="325"/>
                    </a:cubicBezTo>
                    <a:cubicBezTo>
                      <a:pt x="95" y="326"/>
                      <a:pt x="94" y="328"/>
                      <a:pt x="95" y="329"/>
                    </a:cubicBezTo>
                    <a:cubicBezTo>
                      <a:pt x="95" y="330"/>
                      <a:pt x="96" y="330"/>
                      <a:pt x="96" y="332"/>
                    </a:cubicBezTo>
                    <a:cubicBezTo>
                      <a:pt x="96" y="333"/>
                      <a:pt x="97" y="333"/>
                      <a:pt x="98" y="334"/>
                    </a:cubicBezTo>
                    <a:cubicBezTo>
                      <a:pt x="99" y="334"/>
                      <a:pt x="100" y="334"/>
                      <a:pt x="101" y="335"/>
                    </a:cubicBezTo>
                    <a:cubicBezTo>
                      <a:pt x="102" y="335"/>
                      <a:pt x="102" y="334"/>
                      <a:pt x="102" y="335"/>
                    </a:cubicBezTo>
                    <a:cubicBezTo>
                      <a:pt x="103" y="335"/>
                      <a:pt x="103" y="336"/>
                      <a:pt x="103" y="336"/>
                    </a:cubicBezTo>
                    <a:cubicBezTo>
                      <a:pt x="104" y="336"/>
                      <a:pt x="105" y="337"/>
                      <a:pt x="106" y="337"/>
                    </a:cubicBezTo>
                    <a:cubicBezTo>
                      <a:pt x="107" y="337"/>
                      <a:pt x="109" y="338"/>
                      <a:pt x="110" y="338"/>
                    </a:cubicBezTo>
                    <a:cubicBezTo>
                      <a:pt x="112" y="337"/>
                      <a:pt x="111" y="333"/>
                      <a:pt x="111" y="331"/>
                    </a:cubicBezTo>
                    <a:cubicBezTo>
                      <a:pt x="111" y="328"/>
                      <a:pt x="110" y="325"/>
                      <a:pt x="111" y="322"/>
                    </a:cubicBezTo>
                    <a:cubicBezTo>
                      <a:pt x="111" y="321"/>
                      <a:pt x="112" y="320"/>
                      <a:pt x="113" y="319"/>
                    </a:cubicBezTo>
                    <a:cubicBezTo>
                      <a:pt x="114" y="318"/>
                      <a:pt x="114" y="317"/>
                      <a:pt x="114" y="315"/>
                    </a:cubicBezTo>
                    <a:cubicBezTo>
                      <a:pt x="115" y="314"/>
                      <a:pt x="118" y="314"/>
                      <a:pt x="120" y="313"/>
                    </a:cubicBezTo>
                    <a:cubicBezTo>
                      <a:pt x="122" y="311"/>
                      <a:pt x="123" y="309"/>
                      <a:pt x="123" y="306"/>
                    </a:cubicBezTo>
                    <a:cubicBezTo>
                      <a:pt x="124" y="305"/>
                      <a:pt x="124" y="304"/>
                      <a:pt x="124" y="302"/>
                    </a:cubicBezTo>
                    <a:cubicBezTo>
                      <a:pt x="125" y="301"/>
                      <a:pt x="125" y="300"/>
                      <a:pt x="124" y="299"/>
                    </a:cubicBezTo>
                    <a:cubicBezTo>
                      <a:pt x="123" y="296"/>
                      <a:pt x="122" y="294"/>
                      <a:pt x="120" y="292"/>
                    </a:cubicBezTo>
                    <a:cubicBezTo>
                      <a:pt x="119" y="290"/>
                      <a:pt x="120" y="288"/>
                      <a:pt x="122" y="287"/>
                    </a:cubicBezTo>
                    <a:cubicBezTo>
                      <a:pt x="124" y="286"/>
                      <a:pt x="128" y="287"/>
                      <a:pt x="129" y="285"/>
                    </a:cubicBezTo>
                    <a:cubicBezTo>
                      <a:pt x="130" y="283"/>
                      <a:pt x="130" y="280"/>
                      <a:pt x="128" y="277"/>
                    </a:cubicBezTo>
                    <a:cubicBezTo>
                      <a:pt x="125" y="276"/>
                      <a:pt x="122" y="274"/>
                      <a:pt x="120" y="272"/>
                    </a:cubicBezTo>
                    <a:cubicBezTo>
                      <a:pt x="119" y="271"/>
                      <a:pt x="119" y="269"/>
                      <a:pt x="119" y="267"/>
                    </a:cubicBezTo>
                    <a:cubicBezTo>
                      <a:pt x="119" y="264"/>
                      <a:pt x="120" y="261"/>
                      <a:pt x="120" y="258"/>
                    </a:cubicBezTo>
                    <a:cubicBezTo>
                      <a:pt x="121" y="255"/>
                      <a:pt x="121" y="253"/>
                      <a:pt x="119" y="250"/>
                    </a:cubicBezTo>
                    <a:cubicBezTo>
                      <a:pt x="118" y="247"/>
                      <a:pt x="117" y="245"/>
                      <a:pt x="118" y="242"/>
                    </a:cubicBezTo>
                    <a:cubicBezTo>
                      <a:pt x="119" y="239"/>
                      <a:pt x="120" y="237"/>
                      <a:pt x="119" y="234"/>
                    </a:cubicBezTo>
                    <a:cubicBezTo>
                      <a:pt x="117" y="231"/>
                      <a:pt x="116" y="229"/>
                      <a:pt x="117" y="226"/>
                    </a:cubicBezTo>
                    <a:cubicBezTo>
                      <a:pt x="118" y="220"/>
                      <a:pt x="122" y="216"/>
                      <a:pt x="125" y="212"/>
                    </a:cubicBezTo>
                    <a:cubicBezTo>
                      <a:pt x="129" y="207"/>
                      <a:pt x="133" y="204"/>
                      <a:pt x="139" y="205"/>
                    </a:cubicBezTo>
                    <a:cubicBezTo>
                      <a:pt x="142" y="205"/>
                      <a:pt x="144" y="206"/>
                      <a:pt x="147" y="207"/>
                    </a:cubicBezTo>
                    <a:cubicBezTo>
                      <a:pt x="149" y="207"/>
                      <a:pt x="151" y="203"/>
                      <a:pt x="151" y="201"/>
                    </a:cubicBezTo>
                    <a:cubicBezTo>
                      <a:pt x="152" y="199"/>
                      <a:pt x="151" y="197"/>
                      <a:pt x="149" y="196"/>
                    </a:cubicBezTo>
                    <a:cubicBezTo>
                      <a:pt x="147" y="194"/>
                      <a:pt x="147" y="192"/>
                      <a:pt x="147" y="189"/>
                    </a:cubicBezTo>
                    <a:cubicBezTo>
                      <a:pt x="148" y="187"/>
                      <a:pt x="149" y="185"/>
                      <a:pt x="151" y="184"/>
                    </a:cubicBezTo>
                    <a:cubicBezTo>
                      <a:pt x="153" y="182"/>
                      <a:pt x="155" y="179"/>
                      <a:pt x="156" y="176"/>
                    </a:cubicBezTo>
                    <a:cubicBezTo>
                      <a:pt x="159" y="171"/>
                      <a:pt x="159" y="165"/>
                      <a:pt x="159" y="159"/>
                    </a:cubicBezTo>
                    <a:cubicBezTo>
                      <a:pt x="159" y="157"/>
                      <a:pt x="159" y="154"/>
                      <a:pt x="160" y="151"/>
                    </a:cubicBezTo>
                    <a:cubicBezTo>
                      <a:pt x="161" y="149"/>
                      <a:pt x="163" y="148"/>
                      <a:pt x="165" y="147"/>
                    </a:cubicBezTo>
                    <a:cubicBezTo>
                      <a:pt x="168" y="146"/>
                      <a:pt x="170" y="145"/>
                      <a:pt x="172" y="144"/>
                    </a:cubicBezTo>
                    <a:cubicBezTo>
                      <a:pt x="174" y="143"/>
                      <a:pt x="174" y="140"/>
                      <a:pt x="175" y="138"/>
                    </a:cubicBezTo>
                    <a:cubicBezTo>
                      <a:pt x="178" y="133"/>
                      <a:pt x="183" y="130"/>
                      <a:pt x="187" y="127"/>
                    </a:cubicBezTo>
                    <a:cubicBezTo>
                      <a:pt x="188" y="125"/>
                      <a:pt x="191" y="123"/>
                      <a:pt x="191" y="120"/>
                    </a:cubicBezTo>
                    <a:cubicBezTo>
                      <a:pt x="192" y="118"/>
                      <a:pt x="188" y="117"/>
                      <a:pt x="188" y="114"/>
                    </a:cubicBezTo>
                    <a:cubicBezTo>
                      <a:pt x="188" y="112"/>
                      <a:pt x="189" y="110"/>
                      <a:pt x="191" y="108"/>
                    </a:cubicBezTo>
                    <a:cubicBezTo>
                      <a:pt x="193" y="106"/>
                      <a:pt x="195" y="106"/>
                      <a:pt x="196" y="103"/>
                    </a:cubicBezTo>
                    <a:cubicBezTo>
                      <a:pt x="197" y="100"/>
                      <a:pt x="198" y="98"/>
                      <a:pt x="200" y="97"/>
                    </a:cubicBezTo>
                    <a:cubicBezTo>
                      <a:pt x="202" y="95"/>
                      <a:pt x="205" y="94"/>
                      <a:pt x="207" y="94"/>
                    </a:cubicBezTo>
                    <a:cubicBezTo>
                      <a:pt x="210" y="93"/>
                      <a:pt x="212" y="93"/>
                      <a:pt x="215" y="94"/>
                    </a:cubicBezTo>
                    <a:cubicBezTo>
                      <a:pt x="216" y="95"/>
                      <a:pt x="217" y="95"/>
                      <a:pt x="218" y="94"/>
                    </a:cubicBezTo>
                    <a:cubicBezTo>
                      <a:pt x="218" y="94"/>
                      <a:pt x="219" y="92"/>
                      <a:pt x="219" y="91"/>
                    </a:cubicBezTo>
                    <a:cubicBezTo>
                      <a:pt x="221" y="87"/>
                      <a:pt x="220" y="81"/>
                      <a:pt x="225" y="80"/>
                    </a:cubicBezTo>
                    <a:cubicBezTo>
                      <a:pt x="228" y="80"/>
                      <a:pt x="231" y="81"/>
                      <a:pt x="234" y="81"/>
                    </a:cubicBezTo>
                    <a:cubicBezTo>
                      <a:pt x="237" y="82"/>
                      <a:pt x="240" y="82"/>
                      <a:pt x="244" y="83"/>
                    </a:cubicBezTo>
                    <a:cubicBezTo>
                      <a:pt x="245" y="83"/>
                      <a:pt x="246" y="84"/>
                      <a:pt x="248" y="84"/>
                    </a:cubicBezTo>
                    <a:cubicBezTo>
                      <a:pt x="249" y="84"/>
                      <a:pt x="250" y="85"/>
                      <a:pt x="251" y="85"/>
                    </a:cubicBezTo>
                    <a:cubicBezTo>
                      <a:pt x="253" y="84"/>
                      <a:pt x="252" y="79"/>
                      <a:pt x="252" y="77"/>
                    </a:cubicBezTo>
                    <a:cubicBezTo>
                      <a:pt x="253" y="75"/>
                      <a:pt x="256" y="74"/>
                      <a:pt x="255" y="72"/>
                    </a:cubicBezTo>
                    <a:cubicBezTo>
                      <a:pt x="255" y="70"/>
                      <a:pt x="253" y="66"/>
                      <a:pt x="255" y="65"/>
                    </a:cubicBezTo>
                    <a:cubicBezTo>
                      <a:pt x="256" y="64"/>
                      <a:pt x="260" y="64"/>
                      <a:pt x="261" y="64"/>
                    </a:cubicBezTo>
                    <a:cubicBezTo>
                      <a:pt x="263" y="64"/>
                      <a:pt x="267" y="65"/>
                      <a:pt x="269" y="63"/>
                    </a:cubicBezTo>
                    <a:cubicBezTo>
                      <a:pt x="270" y="61"/>
                      <a:pt x="270" y="59"/>
                      <a:pt x="272" y="58"/>
                    </a:cubicBezTo>
                    <a:cubicBezTo>
                      <a:pt x="275" y="57"/>
                      <a:pt x="277" y="57"/>
                      <a:pt x="280" y="59"/>
                    </a:cubicBezTo>
                    <a:cubicBezTo>
                      <a:pt x="282" y="60"/>
                      <a:pt x="284" y="61"/>
                      <a:pt x="286" y="63"/>
                    </a:cubicBezTo>
                    <a:cubicBezTo>
                      <a:pt x="288" y="65"/>
                      <a:pt x="290" y="67"/>
                      <a:pt x="290" y="70"/>
                    </a:cubicBezTo>
                    <a:cubicBezTo>
                      <a:pt x="291" y="74"/>
                      <a:pt x="296" y="73"/>
                      <a:pt x="300" y="73"/>
                    </a:cubicBezTo>
                    <a:cubicBezTo>
                      <a:pt x="303" y="73"/>
                      <a:pt x="306" y="73"/>
                      <a:pt x="309" y="73"/>
                    </a:cubicBezTo>
                    <a:cubicBezTo>
                      <a:pt x="310" y="73"/>
                      <a:pt x="311" y="73"/>
                      <a:pt x="313" y="73"/>
                    </a:cubicBezTo>
                    <a:cubicBezTo>
                      <a:pt x="314" y="73"/>
                      <a:pt x="315" y="72"/>
                      <a:pt x="316" y="71"/>
                    </a:cubicBezTo>
                    <a:cubicBezTo>
                      <a:pt x="320" y="68"/>
                      <a:pt x="327" y="74"/>
                      <a:pt x="330" y="75"/>
                    </a:cubicBezTo>
                    <a:cubicBezTo>
                      <a:pt x="332" y="76"/>
                      <a:pt x="335" y="79"/>
                      <a:pt x="336" y="77"/>
                    </a:cubicBezTo>
                    <a:cubicBezTo>
                      <a:pt x="338" y="76"/>
                      <a:pt x="339" y="74"/>
                      <a:pt x="341" y="72"/>
                    </a:cubicBezTo>
                    <a:cubicBezTo>
                      <a:pt x="342" y="70"/>
                      <a:pt x="344" y="69"/>
                      <a:pt x="347" y="69"/>
                    </a:cubicBezTo>
                    <a:cubicBezTo>
                      <a:pt x="350" y="69"/>
                      <a:pt x="350" y="64"/>
                      <a:pt x="350" y="63"/>
                    </a:cubicBezTo>
                    <a:cubicBezTo>
                      <a:pt x="351" y="57"/>
                      <a:pt x="351" y="51"/>
                      <a:pt x="354" y="46"/>
                    </a:cubicBezTo>
                    <a:cubicBezTo>
                      <a:pt x="356" y="44"/>
                      <a:pt x="358" y="42"/>
                      <a:pt x="360" y="40"/>
                    </a:cubicBezTo>
                    <a:cubicBezTo>
                      <a:pt x="362" y="38"/>
                      <a:pt x="365" y="38"/>
                      <a:pt x="368" y="37"/>
                    </a:cubicBezTo>
                    <a:cubicBezTo>
                      <a:pt x="371" y="37"/>
                      <a:pt x="374" y="37"/>
                      <a:pt x="377" y="36"/>
                    </a:cubicBezTo>
                    <a:cubicBezTo>
                      <a:pt x="379" y="35"/>
                      <a:pt x="382" y="32"/>
                      <a:pt x="385" y="33"/>
                    </a:cubicBezTo>
                    <a:cubicBezTo>
                      <a:pt x="387" y="33"/>
                      <a:pt x="389" y="36"/>
                      <a:pt x="391" y="37"/>
                    </a:cubicBezTo>
                    <a:cubicBezTo>
                      <a:pt x="394" y="38"/>
                      <a:pt x="397" y="40"/>
                      <a:pt x="399" y="41"/>
                    </a:cubicBezTo>
                    <a:cubicBezTo>
                      <a:pt x="402" y="42"/>
                      <a:pt x="404" y="43"/>
                      <a:pt x="406" y="45"/>
                    </a:cubicBezTo>
                    <a:cubicBezTo>
                      <a:pt x="408" y="46"/>
                      <a:pt x="412" y="48"/>
                      <a:pt x="411" y="51"/>
                    </a:cubicBezTo>
                    <a:cubicBezTo>
                      <a:pt x="410" y="53"/>
                      <a:pt x="407" y="55"/>
                      <a:pt x="406" y="57"/>
                    </a:cubicBezTo>
                    <a:cubicBezTo>
                      <a:pt x="404" y="59"/>
                      <a:pt x="406" y="61"/>
                      <a:pt x="407" y="63"/>
                    </a:cubicBezTo>
                    <a:cubicBezTo>
                      <a:pt x="408" y="62"/>
                      <a:pt x="409" y="60"/>
                      <a:pt x="410" y="58"/>
                    </a:cubicBezTo>
                    <a:cubicBezTo>
                      <a:pt x="412" y="56"/>
                      <a:pt x="414" y="56"/>
                      <a:pt x="417" y="56"/>
                    </a:cubicBezTo>
                    <a:cubicBezTo>
                      <a:pt x="418" y="55"/>
                      <a:pt x="420" y="55"/>
                      <a:pt x="422" y="54"/>
                    </a:cubicBezTo>
                    <a:cubicBezTo>
                      <a:pt x="424" y="52"/>
                      <a:pt x="424" y="50"/>
                      <a:pt x="426" y="48"/>
                    </a:cubicBezTo>
                    <a:cubicBezTo>
                      <a:pt x="428" y="47"/>
                      <a:pt x="431" y="48"/>
                      <a:pt x="433" y="49"/>
                    </a:cubicBezTo>
                    <a:cubicBezTo>
                      <a:pt x="435" y="51"/>
                      <a:pt x="437" y="50"/>
                      <a:pt x="437" y="47"/>
                    </a:cubicBezTo>
                    <a:cubicBezTo>
                      <a:pt x="437" y="46"/>
                      <a:pt x="437" y="45"/>
                      <a:pt x="437" y="44"/>
                    </a:cubicBezTo>
                    <a:cubicBezTo>
                      <a:pt x="437" y="43"/>
                      <a:pt x="437" y="42"/>
                      <a:pt x="436" y="42"/>
                    </a:cubicBezTo>
                    <a:cubicBezTo>
                      <a:pt x="435" y="42"/>
                      <a:pt x="435" y="42"/>
                      <a:pt x="434" y="42"/>
                    </a:cubicBezTo>
                    <a:cubicBezTo>
                      <a:pt x="433" y="42"/>
                      <a:pt x="430" y="42"/>
                      <a:pt x="430" y="44"/>
                    </a:cubicBezTo>
                    <a:cubicBezTo>
                      <a:pt x="430" y="45"/>
                      <a:pt x="430" y="45"/>
                      <a:pt x="430" y="46"/>
                    </a:cubicBezTo>
                    <a:cubicBezTo>
                      <a:pt x="430" y="47"/>
                      <a:pt x="429" y="46"/>
                      <a:pt x="429" y="45"/>
                    </a:cubicBezTo>
                    <a:cubicBezTo>
                      <a:pt x="429" y="44"/>
                      <a:pt x="428" y="40"/>
                      <a:pt x="425" y="41"/>
                    </a:cubicBezTo>
                    <a:cubicBezTo>
                      <a:pt x="424" y="41"/>
                      <a:pt x="423" y="42"/>
                      <a:pt x="422" y="43"/>
                    </a:cubicBezTo>
                    <a:cubicBezTo>
                      <a:pt x="421" y="43"/>
                      <a:pt x="420" y="43"/>
                      <a:pt x="419" y="44"/>
                    </a:cubicBezTo>
                    <a:cubicBezTo>
                      <a:pt x="418" y="44"/>
                      <a:pt x="418" y="45"/>
                      <a:pt x="417" y="46"/>
                    </a:cubicBezTo>
                    <a:cubicBezTo>
                      <a:pt x="416" y="47"/>
                      <a:pt x="414" y="47"/>
                      <a:pt x="415" y="45"/>
                    </a:cubicBezTo>
                    <a:cubicBezTo>
                      <a:pt x="416" y="43"/>
                      <a:pt x="417" y="42"/>
                      <a:pt x="414" y="41"/>
                    </a:cubicBezTo>
                    <a:cubicBezTo>
                      <a:pt x="413" y="41"/>
                      <a:pt x="413" y="41"/>
                      <a:pt x="412" y="40"/>
                    </a:cubicBezTo>
                    <a:cubicBezTo>
                      <a:pt x="412" y="39"/>
                      <a:pt x="412" y="37"/>
                      <a:pt x="412" y="36"/>
                    </a:cubicBezTo>
                    <a:cubicBezTo>
                      <a:pt x="411" y="36"/>
                      <a:pt x="410" y="36"/>
                      <a:pt x="409" y="35"/>
                    </a:cubicBezTo>
                    <a:cubicBezTo>
                      <a:pt x="408" y="35"/>
                      <a:pt x="406" y="35"/>
                      <a:pt x="405" y="35"/>
                    </a:cubicBezTo>
                    <a:cubicBezTo>
                      <a:pt x="403" y="34"/>
                      <a:pt x="399" y="35"/>
                      <a:pt x="399" y="32"/>
                    </a:cubicBezTo>
                    <a:cubicBezTo>
                      <a:pt x="399" y="30"/>
                      <a:pt x="410" y="33"/>
                      <a:pt x="411" y="33"/>
                    </a:cubicBezTo>
                    <a:cubicBezTo>
                      <a:pt x="414" y="34"/>
                      <a:pt x="417" y="34"/>
                      <a:pt x="420" y="34"/>
                    </a:cubicBezTo>
                    <a:cubicBezTo>
                      <a:pt x="422" y="33"/>
                      <a:pt x="426" y="34"/>
                      <a:pt x="428" y="32"/>
                    </a:cubicBezTo>
                    <a:cubicBezTo>
                      <a:pt x="429" y="32"/>
                      <a:pt x="429" y="31"/>
                      <a:pt x="430" y="30"/>
                    </a:cubicBezTo>
                    <a:cubicBezTo>
                      <a:pt x="431" y="29"/>
                      <a:pt x="432" y="29"/>
                      <a:pt x="433" y="29"/>
                    </a:cubicBezTo>
                    <a:cubicBezTo>
                      <a:pt x="434" y="28"/>
                      <a:pt x="436" y="28"/>
                      <a:pt x="437" y="28"/>
                    </a:cubicBezTo>
                    <a:cubicBezTo>
                      <a:pt x="438" y="28"/>
                      <a:pt x="440" y="28"/>
                      <a:pt x="440" y="27"/>
                    </a:cubicBezTo>
                    <a:cubicBezTo>
                      <a:pt x="443" y="22"/>
                      <a:pt x="433" y="22"/>
                      <a:pt x="431" y="22"/>
                    </a:cubicBezTo>
                    <a:cubicBezTo>
                      <a:pt x="428" y="22"/>
                      <a:pt x="426" y="21"/>
                      <a:pt x="423" y="20"/>
                    </a:cubicBezTo>
                    <a:cubicBezTo>
                      <a:pt x="422" y="20"/>
                      <a:pt x="424" y="19"/>
                      <a:pt x="424" y="19"/>
                    </a:cubicBezTo>
                    <a:cubicBezTo>
                      <a:pt x="425" y="19"/>
                      <a:pt x="425" y="18"/>
                      <a:pt x="425" y="18"/>
                    </a:cubicBezTo>
                    <a:cubicBezTo>
                      <a:pt x="425" y="17"/>
                      <a:pt x="426" y="16"/>
                      <a:pt x="425" y="16"/>
                    </a:cubicBezTo>
                    <a:cubicBezTo>
                      <a:pt x="425" y="15"/>
                      <a:pt x="424" y="14"/>
                      <a:pt x="423" y="15"/>
                    </a:cubicBezTo>
                    <a:cubicBezTo>
                      <a:pt x="422" y="15"/>
                      <a:pt x="421" y="16"/>
                      <a:pt x="420" y="17"/>
                    </a:cubicBezTo>
                    <a:cubicBezTo>
                      <a:pt x="420" y="17"/>
                      <a:pt x="418" y="16"/>
                      <a:pt x="418" y="16"/>
                    </a:cubicBezTo>
                    <a:cubicBezTo>
                      <a:pt x="417" y="15"/>
                      <a:pt x="417" y="14"/>
                      <a:pt x="415" y="14"/>
                    </a:cubicBezTo>
                    <a:cubicBezTo>
                      <a:pt x="414" y="15"/>
                      <a:pt x="413" y="16"/>
                      <a:pt x="411" y="16"/>
                    </a:cubicBezTo>
                    <a:cubicBezTo>
                      <a:pt x="410" y="16"/>
                      <a:pt x="410" y="15"/>
                      <a:pt x="410" y="15"/>
                    </a:cubicBezTo>
                    <a:cubicBezTo>
                      <a:pt x="409" y="14"/>
                      <a:pt x="408" y="13"/>
                      <a:pt x="408" y="12"/>
                    </a:cubicBezTo>
                    <a:cubicBezTo>
                      <a:pt x="407" y="12"/>
                      <a:pt x="406" y="11"/>
                      <a:pt x="405" y="11"/>
                    </a:cubicBezTo>
                    <a:cubicBezTo>
                      <a:pt x="404" y="10"/>
                      <a:pt x="403" y="11"/>
                      <a:pt x="403" y="12"/>
                    </a:cubicBezTo>
                    <a:cubicBezTo>
                      <a:pt x="402" y="13"/>
                      <a:pt x="401" y="14"/>
                      <a:pt x="400" y="15"/>
                    </a:cubicBezTo>
                    <a:cubicBezTo>
                      <a:pt x="399" y="15"/>
                      <a:pt x="398" y="16"/>
                      <a:pt x="398" y="17"/>
                    </a:cubicBezTo>
                    <a:cubicBezTo>
                      <a:pt x="397" y="19"/>
                      <a:pt x="398" y="22"/>
                      <a:pt x="396" y="24"/>
                    </a:cubicBezTo>
                    <a:cubicBezTo>
                      <a:pt x="395" y="25"/>
                      <a:pt x="393" y="28"/>
                      <a:pt x="392" y="27"/>
                    </a:cubicBezTo>
                    <a:cubicBezTo>
                      <a:pt x="390" y="27"/>
                      <a:pt x="393" y="24"/>
                      <a:pt x="393" y="23"/>
                    </a:cubicBezTo>
                    <a:cubicBezTo>
                      <a:pt x="392" y="21"/>
                      <a:pt x="389" y="22"/>
                      <a:pt x="388" y="23"/>
                    </a:cubicBezTo>
                    <a:cubicBezTo>
                      <a:pt x="386" y="23"/>
                      <a:pt x="386" y="21"/>
                      <a:pt x="388" y="20"/>
                    </a:cubicBezTo>
                    <a:cubicBezTo>
                      <a:pt x="390" y="19"/>
                      <a:pt x="392" y="19"/>
                      <a:pt x="393" y="16"/>
                    </a:cubicBezTo>
                    <a:cubicBezTo>
                      <a:pt x="393" y="16"/>
                      <a:pt x="393" y="14"/>
                      <a:pt x="392" y="15"/>
                    </a:cubicBezTo>
                    <a:cubicBezTo>
                      <a:pt x="390" y="15"/>
                      <a:pt x="389" y="16"/>
                      <a:pt x="387" y="16"/>
                    </a:cubicBezTo>
                    <a:cubicBezTo>
                      <a:pt x="387" y="16"/>
                      <a:pt x="385" y="17"/>
                      <a:pt x="385" y="17"/>
                    </a:cubicBezTo>
                    <a:cubicBezTo>
                      <a:pt x="385" y="16"/>
                      <a:pt x="386" y="15"/>
                      <a:pt x="386" y="14"/>
                    </a:cubicBezTo>
                    <a:cubicBezTo>
                      <a:pt x="387" y="14"/>
                      <a:pt x="387" y="12"/>
                      <a:pt x="388" y="11"/>
                    </a:cubicBezTo>
                    <a:cubicBezTo>
                      <a:pt x="389" y="11"/>
                      <a:pt x="390" y="11"/>
                      <a:pt x="391" y="11"/>
                    </a:cubicBezTo>
                    <a:cubicBezTo>
                      <a:pt x="393" y="11"/>
                      <a:pt x="395" y="11"/>
                      <a:pt x="396" y="9"/>
                    </a:cubicBezTo>
                    <a:cubicBezTo>
                      <a:pt x="398" y="7"/>
                      <a:pt x="394" y="7"/>
                      <a:pt x="392" y="6"/>
                    </a:cubicBezTo>
                    <a:cubicBezTo>
                      <a:pt x="391" y="5"/>
                      <a:pt x="390" y="5"/>
                      <a:pt x="389" y="5"/>
                    </a:cubicBezTo>
                    <a:cubicBezTo>
                      <a:pt x="388" y="5"/>
                      <a:pt x="387" y="4"/>
                      <a:pt x="386" y="3"/>
                    </a:cubicBezTo>
                    <a:cubicBezTo>
                      <a:pt x="385" y="3"/>
                      <a:pt x="384" y="3"/>
                      <a:pt x="383" y="4"/>
                    </a:cubicBezTo>
                    <a:cubicBezTo>
                      <a:pt x="382" y="5"/>
                      <a:pt x="383" y="6"/>
                      <a:pt x="382" y="7"/>
                    </a:cubicBezTo>
                    <a:cubicBezTo>
                      <a:pt x="381" y="8"/>
                      <a:pt x="377" y="8"/>
                      <a:pt x="379" y="10"/>
                    </a:cubicBezTo>
                    <a:cubicBezTo>
                      <a:pt x="380" y="11"/>
                      <a:pt x="381" y="10"/>
                      <a:pt x="382" y="11"/>
                    </a:cubicBezTo>
                    <a:cubicBezTo>
                      <a:pt x="383" y="11"/>
                      <a:pt x="382" y="13"/>
                      <a:pt x="382" y="13"/>
                    </a:cubicBezTo>
                    <a:cubicBezTo>
                      <a:pt x="381" y="13"/>
                      <a:pt x="380" y="13"/>
                      <a:pt x="379" y="13"/>
                    </a:cubicBezTo>
                    <a:cubicBezTo>
                      <a:pt x="378" y="13"/>
                      <a:pt x="376" y="14"/>
                      <a:pt x="375" y="14"/>
                    </a:cubicBezTo>
                    <a:cubicBezTo>
                      <a:pt x="374" y="16"/>
                      <a:pt x="377" y="17"/>
                      <a:pt x="377" y="18"/>
                    </a:cubicBezTo>
                    <a:cubicBezTo>
                      <a:pt x="377" y="20"/>
                      <a:pt x="373" y="17"/>
                      <a:pt x="374" y="20"/>
                    </a:cubicBezTo>
                    <a:cubicBezTo>
                      <a:pt x="374" y="23"/>
                      <a:pt x="372" y="22"/>
                      <a:pt x="370" y="22"/>
                    </a:cubicBezTo>
                    <a:cubicBezTo>
                      <a:pt x="368" y="21"/>
                      <a:pt x="368" y="23"/>
                      <a:pt x="366" y="25"/>
                    </a:cubicBezTo>
                    <a:cubicBezTo>
                      <a:pt x="366" y="25"/>
                      <a:pt x="365" y="25"/>
                      <a:pt x="364" y="25"/>
                    </a:cubicBezTo>
                    <a:cubicBezTo>
                      <a:pt x="364" y="24"/>
                      <a:pt x="364" y="22"/>
                      <a:pt x="364" y="21"/>
                    </a:cubicBezTo>
                    <a:cubicBezTo>
                      <a:pt x="364" y="20"/>
                      <a:pt x="364" y="19"/>
                      <a:pt x="364" y="18"/>
                    </a:cubicBezTo>
                    <a:cubicBezTo>
                      <a:pt x="363" y="17"/>
                      <a:pt x="362" y="17"/>
                      <a:pt x="362" y="16"/>
                    </a:cubicBezTo>
                    <a:cubicBezTo>
                      <a:pt x="361" y="14"/>
                      <a:pt x="365" y="15"/>
                      <a:pt x="365" y="14"/>
                    </a:cubicBezTo>
                    <a:cubicBezTo>
                      <a:pt x="366" y="13"/>
                      <a:pt x="366" y="11"/>
                      <a:pt x="367" y="10"/>
                    </a:cubicBezTo>
                    <a:cubicBezTo>
                      <a:pt x="367" y="9"/>
                      <a:pt x="367" y="8"/>
                      <a:pt x="366" y="7"/>
                    </a:cubicBezTo>
                    <a:cubicBezTo>
                      <a:pt x="366" y="7"/>
                      <a:pt x="364" y="8"/>
                      <a:pt x="364" y="8"/>
                    </a:cubicBezTo>
                    <a:cubicBezTo>
                      <a:pt x="362" y="10"/>
                      <a:pt x="361" y="12"/>
                      <a:pt x="359" y="13"/>
                    </a:cubicBezTo>
                    <a:cubicBezTo>
                      <a:pt x="357" y="15"/>
                      <a:pt x="355" y="17"/>
                      <a:pt x="352" y="19"/>
                    </a:cubicBezTo>
                    <a:cubicBezTo>
                      <a:pt x="350" y="20"/>
                      <a:pt x="348" y="22"/>
                      <a:pt x="346" y="24"/>
                    </a:cubicBezTo>
                    <a:cubicBezTo>
                      <a:pt x="345" y="25"/>
                      <a:pt x="346" y="26"/>
                      <a:pt x="346" y="27"/>
                    </a:cubicBezTo>
                    <a:cubicBezTo>
                      <a:pt x="345" y="29"/>
                      <a:pt x="345" y="30"/>
                      <a:pt x="343" y="31"/>
                    </a:cubicBezTo>
                    <a:cubicBezTo>
                      <a:pt x="343" y="31"/>
                      <a:pt x="342" y="32"/>
                      <a:pt x="341" y="32"/>
                    </a:cubicBezTo>
                    <a:cubicBezTo>
                      <a:pt x="339" y="33"/>
                      <a:pt x="339" y="32"/>
                      <a:pt x="338" y="32"/>
                    </a:cubicBezTo>
                    <a:cubicBezTo>
                      <a:pt x="338" y="31"/>
                      <a:pt x="336" y="31"/>
                      <a:pt x="337" y="30"/>
                    </a:cubicBezTo>
                    <a:cubicBezTo>
                      <a:pt x="337" y="28"/>
                      <a:pt x="338" y="27"/>
                      <a:pt x="339" y="26"/>
                    </a:cubicBezTo>
                    <a:cubicBezTo>
                      <a:pt x="340" y="25"/>
                      <a:pt x="340" y="23"/>
                      <a:pt x="339" y="22"/>
                    </a:cubicBezTo>
                    <a:cubicBezTo>
                      <a:pt x="339" y="21"/>
                      <a:pt x="339" y="20"/>
                      <a:pt x="340" y="19"/>
                    </a:cubicBezTo>
                    <a:cubicBezTo>
                      <a:pt x="342" y="17"/>
                      <a:pt x="345" y="16"/>
                      <a:pt x="347" y="15"/>
                    </a:cubicBezTo>
                    <a:cubicBezTo>
                      <a:pt x="349" y="14"/>
                      <a:pt x="351" y="13"/>
                      <a:pt x="352" y="11"/>
                    </a:cubicBezTo>
                    <a:cubicBezTo>
                      <a:pt x="352" y="10"/>
                      <a:pt x="352" y="10"/>
                      <a:pt x="351" y="10"/>
                    </a:cubicBezTo>
                    <a:cubicBezTo>
                      <a:pt x="350" y="9"/>
                      <a:pt x="348" y="9"/>
                      <a:pt x="347" y="8"/>
                    </a:cubicBezTo>
                    <a:cubicBezTo>
                      <a:pt x="345" y="7"/>
                      <a:pt x="342" y="9"/>
                      <a:pt x="340" y="10"/>
                    </a:cubicBezTo>
                    <a:cubicBezTo>
                      <a:pt x="337" y="11"/>
                      <a:pt x="336" y="9"/>
                      <a:pt x="333" y="7"/>
                    </a:cubicBezTo>
                    <a:cubicBezTo>
                      <a:pt x="333" y="7"/>
                      <a:pt x="331" y="6"/>
                      <a:pt x="330" y="6"/>
                    </a:cubicBezTo>
                    <a:cubicBezTo>
                      <a:pt x="330" y="7"/>
                      <a:pt x="330" y="8"/>
                      <a:pt x="330" y="9"/>
                    </a:cubicBezTo>
                    <a:cubicBezTo>
                      <a:pt x="330" y="10"/>
                      <a:pt x="329" y="10"/>
                      <a:pt x="328" y="11"/>
                    </a:cubicBezTo>
                    <a:cubicBezTo>
                      <a:pt x="327" y="11"/>
                      <a:pt x="327" y="13"/>
                      <a:pt x="329" y="13"/>
                    </a:cubicBezTo>
                    <a:cubicBezTo>
                      <a:pt x="330" y="14"/>
                      <a:pt x="330" y="14"/>
                      <a:pt x="332" y="15"/>
                    </a:cubicBezTo>
                    <a:cubicBezTo>
                      <a:pt x="332" y="15"/>
                      <a:pt x="333" y="16"/>
                      <a:pt x="332" y="16"/>
                    </a:cubicBezTo>
                    <a:cubicBezTo>
                      <a:pt x="331" y="17"/>
                      <a:pt x="329" y="16"/>
                      <a:pt x="328" y="16"/>
                    </a:cubicBezTo>
                    <a:cubicBezTo>
                      <a:pt x="325" y="17"/>
                      <a:pt x="326" y="19"/>
                      <a:pt x="326" y="21"/>
                    </a:cubicBezTo>
                    <a:cubicBezTo>
                      <a:pt x="327" y="24"/>
                      <a:pt x="324" y="22"/>
                      <a:pt x="322" y="22"/>
                    </a:cubicBezTo>
                    <a:cubicBezTo>
                      <a:pt x="319" y="21"/>
                      <a:pt x="318" y="23"/>
                      <a:pt x="316" y="24"/>
                    </a:cubicBezTo>
                    <a:cubicBezTo>
                      <a:pt x="314" y="25"/>
                      <a:pt x="310" y="26"/>
                      <a:pt x="312" y="28"/>
                    </a:cubicBezTo>
                    <a:cubicBezTo>
                      <a:pt x="313" y="31"/>
                      <a:pt x="311" y="29"/>
                      <a:pt x="310" y="30"/>
                    </a:cubicBezTo>
                    <a:cubicBezTo>
                      <a:pt x="308" y="32"/>
                      <a:pt x="310" y="33"/>
                      <a:pt x="311" y="34"/>
                    </a:cubicBezTo>
                    <a:cubicBezTo>
                      <a:pt x="312" y="36"/>
                      <a:pt x="313" y="36"/>
                      <a:pt x="310" y="37"/>
                    </a:cubicBezTo>
                    <a:cubicBezTo>
                      <a:pt x="308" y="37"/>
                      <a:pt x="307" y="40"/>
                      <a:pt x="305" y="37"/>
                    </a:cubicBezTo>
                    <a:cubicBezTo>
                      <a:pt x="304" y="35"/>
                      <a:pt x="303" y="34"/>
                      <a:pt x="301" y="34"/>
                    </a:cubicBezTo>
                    <a:cubicBezTo>
                      <a:pt x="300" y="34"/>
                      <a:pt x="296" y="36"/>
                      <a:pt x="295" y="35"/>
                    </a:cubicBezTo>
                    <a:cubicBezTo>
                      <a:pt x="294" y="35"/>
                      <a:pt x="295" y="34"/>
                      <a:pt x="295" y="33"/>
                    </a:cubicBezTo>
                    <a:cubicBezTo>
                      <a:pt x="295" y="32"/>
                      <a:pt x="294" y="32"/>
                      <a:pt x="293" y="32"/>
                    </a:cubicBezTo>
                    <a:cubicBezTo>
                      <a:pt x="291" y="32"/>
                      <a:pt x="289" y="32"/>
                      <a:pt x="289" y="34"/>
                    </a:cubicBezTo>
                    <a:cubicBezTo>
                      <a:pt x="288" y="35"/>
                      <a:pt x="289" y="36"/>
                      <a:pt x="288" y="37"/>
                    </a:cubicBezTo>
                    <a:cubicBezTo>
                      <a:pt x="288" y="38"/>
                      <a:pt x="287" y="38"/>
                      <a:pt x="286" y="39"/>
                    </a:cubicBezTo>
                    <a:cubicBezTo>
                      <a:pt x="286" y="41"/>
                      <a:pt x="289" y="42"/>
                      <a:pt x="287" y="44"/>
                    </a:cubicBezTo>
                    <a:cubicBezTo>
                      <a:pt x="286" y="44"/>
                      <a:pt x="285" y="43"/>
                      <a:pt x="285" y="43"/>
                    </a:cubicBezTo>
                    <a:cubicBezTo>
                      <a:pt x="284" y="42"/>
                      <a:pt x="282" y="42"/>
                      <a:pt x="281" y="41"/>
                    </a:cubicBezTo>
                    <a:cubicBezTo>
                      <a:pt x="280" y="41"/>
                      <a:pt x="279" y="40"/>
                      <a:pt x="278" y="40"/>
                    </a:cubicBezTo>
                    <a:cubicBezTo>
                      <a:pt x="277" y="39"/>
                      <a:pt x="276" y="38"/>
                      <a:pt x="275" y="38"/>
                    </a:cubicBezTo>
                    <a:cubicBezTo>
                      <a:pt x="273" y="38"/>
                      <a:pt x="274" y="41"/>
                      <a:pt x="273" y="42"/>
                    </a:cubicBezTo>
                    <a:cubicBezTo>
                      <a:pt x="273" y="42"/>
                      <a:pt x="272" y="43"/>
                      <a:pt x="271" y="43"/>
                    </a:cubicBezTo>
                    <a:cubicBezTo>
                      <a:pt x="270" y="43"/>
                      <a:pt x="270" y="41"/>
                      <a:pt x="270" y="41"/>
                    </a:cubicBezTo>
                    <a:cubicBezTo>
                      <a:pt x="270" y="37"/>
                      <a:pt x="262" y="42"/>
                      <a:pt x="262" y="45"/>
                    </a:cubicBezTo>
                    <a:cubicBezTo>
                      <a:pt x="262" y="48"/>
                      <a:pt x="263" y="48"/>
                      <a:pt x="266" y="49"/>
                    </a:cubicBezTo>
                    <a:cubicBezTo>
                      <a:pt x="266" y="50"/>
                      <a:pt x="268" y="50"/>
                      <a:pt x="267" y="51"/>
                    </a:cubicBezTo>
                    <a:cubicBezTo>
                      <a:pt x="266" y="52"/>
                      <a:pt x="265" y="51"/>
                      <a:pt x="265" y="51"/>
                    </a:cubicBezTo>
                    <a:cubicBezTo>
                      <a:pt x="263" y="49"/>
                      <a:pt x="261" y="51"/>
                      <a:pt x="260" y="52"/>
                    </a:cubicBezTo>
                    <a:cubicBezTo>
                      <a:pt x="260" y="55"/>
                      <a:pt x="257" y="55"/>
                      <a:pt x="256" y="56"/>
                    </a:cubicBezTo>
                    <a:cubicBezTo>
                      <a:pt x="255" y="57"/>
                      <a:pt x="253" y="60"/>
                      <a:pt x="252" y="59"/>
                    </a:cubicBezTo>
                    <a:cubicBezTo>
                      <a:pt x="251" y="58"/>
                      <a:pt x="253" y="56"/>
                      <a:pt x="254" y="55"/>
                    </a:cubicBezTo>
                    <a:cubicBezTo>
                      <a:pt x="255" y="54"/>
                      <a:pt x="256" y="53"/>
                      <a:pt x="256" y="52"/>
                    </a:cubicBezTo>
                    <a:cubicBezTo>
                      <a:pt x="257" y="51"/>
                      <a:pt x="258" y="50"/>
                      <a:pt x="258" y="48"/>
                    </a:cubicBezTo>
                    <a:cubicBezTo>
                      <a:pt x="258" y="47"/>
                      <a:pt x="258" y="45"/>
                      <a:pt x="258" y="44"/>
                    </a:cubicBezTo>
                    <a:cubicBezTo>
                      <a:pt x="258" y="43"/>
                      <a:pt x="259" y="42"/>
                      <a:pt x="259" y="41"/>
                    </a:cubicBezTo>
                    <a:cubicBezTo>
                      <a:pt x="259" y="40"/>
                      <a:pt x="259" y="38"/>
                      <a:pt x="258" y="38"/>
                    </a:cubicBezTo>
                    <a:cubicBezTo>
                      <a:pt x="257" y="38"/>
                      <a:pt x="257" y="39"/>
                      <a:pt x="256" y="39"/>
                    </a:cubicBezTo>
                    <a:cubicBezTo>
                      <a:pt x="255" y="41"/>
                      <a:pt x="255" y="41"/>
                      <a:pt x="254" y="42"/>
                    </a:cubicBezTo>
                    <a:cubicBezTo>
                      <a:pt x="252" y="44"/>
                      <a:pt x="250" y="45"/>
                      <a:pt x="251" y="47"/>
                    </a:cubicBezTo>
                    <a:cubicBezTo>
                      <a:pt x="251" y="48"/>
                      <a:pt x="253" y="48"/>
                      <a:pt x="253" y="48"/>
                    </a:cubicBezTo>
                    <a:cubicBezTo>
                      <a:pt x="254" y="49"/>
                      <a:pt x="253" y="50"/>
                      <a:pt x="252" y="50"/>
                    </a:cubicBezTo>
                    <a:cubicBezTo>
                      <a:pt x="251" y="51"/>
                      <a:pt x="248" y="55"/>
                      <a:pt x="246" y="54"/>
                    </a:cubicBezTo>
                    <a:cubicBezTo>
                      <a:pt x="244" y="54"/>
                      <a:pt x="248" y="50"/>
                      <a:pt x="248" y="49"/>
                    </a:cubicBezTo>
                    <a:cubicBezTo>
                      <a:pt x="249" y="48"/>
                      <a:pt x="248" y="47"/>
                      <a:pt x="248" y="46"/>
                    </a:cubicBezTo>
                    <a:cubicBezTo>
                      <a:pt x="249" y="45"/>
                      <a:pt x="248" y="44"/>
                      <a:pt x="247" y="43"/>
                    </a:cubicBezTo>
                    <a:cubicBezTo>
                      <a:pt x="246" y="42"/>
                      <a:pt x="245" y="43"/>
                      <a:pt x="244" y="43"/>
                    </a:cubicBezTo>
                    <a:cubicBezTo>
                      <a:pt x="242" y="44"/>
                      <a:pt x="241" y="44"/>
                      <a:pt x="239" y="44"/>
                    </a:cubicBezTo>
                    <a:cubicBezTo>
                      <a:pt x="238" y="45"/>
                      <a:pt x="236" y="45"/>
                      <a:pt x="237" y="48"/>
                    </a:cubicBezTo>
                    <a:cubicBezTo>
                      <a:pt x="237" y="48"/>
                      <a:pt x="239" y="48"/>
                      <a:pt x="239" y="49"/>
                    </a:cubicBezTo>
                    <a:cubicBezTo>
                      <a:pt x="239" y="50"/>
                      <a:pt x="237" y="50"/>
                      <a:pt x="237" y="51"/>
                    </a:cubicBezTo>
                    <a:cubicBezTo>
                      <a:pt x="236" y="54"/>
                      <a:pt x="240" y="54"/>
                      <a:pt x="242" y="55"/>
                    </a:cubicBezTo>
                    <a:cubicBezTo>
                      <a:pt x="242" y="55"/>
                      <a:pt x="247" y="58"/>
                      <a:pt x="245" y="59"/>
                    </a:cubicBezTo>
                    <a:cubicBezTo>
                      <a:pt x="244" y="60"/>
                      <a:pt x="240" y="57"/>
                      <a:pt x="239" y="57"/>
                    </a:cubicBezTo>
                    <a:cubicBezTo>
                      <a:pt x="238" y="56"/>
                      <a:pt x="235" y="51"/>
                      <a:pt x="233" y="53"/>
                    </a:cubicBezTo>
                    <a:cubicBezTo>
                      <a:pt x="231" y="54"/>
                      <a:pt x="235" y="56"/>
                      <a:pt x="235" y="57"/>
                    </a:cubicBezTo>
                    <a:cubicBezTo>
                      <a:pt x="234" y="59"/>
                      <a:pt x="230" y="59"/>
                      <a:pt x="228" y="58"/>
                    </a:cubicBezTo>
                    <a:cubicBezTo>
                      <a:pt x="228" y="58"/>
                      <a:pt x="227" y="57"/>
                      <a:pt x="226" y="57"/>
                    </a:cubicBezTo>
                    <a:cubicBezTo>
                      <a:pt x="225" y="56"/>
                      <a:pt x="225" y="55"/>
                      <a:pt x="224" y="55"/>
                    </a:cubicBezTo>
                    <a:cubicBezTo>
                      <a:pt x="223" y="52"/>
                      <a:pt x="221" y="56"/>
                      <a:pt x="220" y="57"/>
                    </a:cubicBezTo>
                    <a:cubicBezTo>
                      <a:pt x="220" y="59"/>
                      <a:pt x="222" y="61"/>
                      <a:pt x="220" y="62"/>
                    </a:cubicBezTo>
                    <a:cubicBezTo>
                      <a:pt x="217" y="63"/>
                      <a:pt x="214" y="63"/>
                      <a:pt x="213" y="65"/>
                    </a:cubicBezTo>
                    <a:cubicBezTo>
                      <a:pt x="213" y="66"/>
                      <a:pt x="213" y="67"/>
                      <a:pt x="214" y="68"/>
                    </a:cubicBezTo>
                    <a:cubicBezTo>
                      <a:pt x="214" y="68"/>
                      <a:pt x="215" y="69"/>
                      <a:pt x="215" y="70"/>
                    </a:cubicBezTo>
                    <a:cubicBezTo>
                      <a:pt x="215" y="71"/>
                      <a:pt x="214" y="71"/>
                      <a:pt x="214" y="72"/>
                    </a:cubicBezTo>
                    <a:cubicBezTo>
                      <a:pt x="213" y="73"/>
                      <a:pt x="215" y="72"/>
                      <a:pt x="215" y="73"/>
                    </a:cubicBezTo>
                    <a:cubicBezTo>
                      <a:pt x="215" y="76"/>
                      <a:pt x="212" y="72"/>
                      <a:pt x="211" y="74"/>
                    </a:cubicBezTo>
                    <a:cubicBezTo>
                      <a:pt x="211" y="75"/>
                      <a:pt x="212" y="75"/>
                      <a:pt x="212" y="76"/>
                    </a:cubicBezTo>
                    <a:cubicBezTo>
                      <a:pt x="213" y="78"/>
                      <a:pt x="210" y="77"/>
                      <a:pt x="210" y="76"/>
                    </a:cubicBezTo>
                    <a:cubicBezTo>
                      <a:pt x="208" y="75"/>
                      <a:pt x="206" y="74"/>
                      <a:pt x="204" y="76"/>
                    </a:cubicBezTo>
                    <a:cubicBezTo>
                      <a:pt x="201" y="78"/>
                      <a:pt x="198" y="78"/>
                      <a:pt x="196" y="79"/>
                    </a:cubicBezTo>
                    <a:cubicBezTo>
                      <a:pt x="194" y="80"/>
                      <a:pt x="194" y="82"/>
                      <a:pt x="196" y="83"/>
                    </a:cubicBezTo>
                    <a:cubicBezTo>
                      <a:pt x="198" y="83"/>
                      <a:pt x="199" y="83"/>
                      <a:pt x="201" y="83"/>
                    </a:cubicBezTo>
                    <a:cubicBezTo>
                      <a:pt x="204" y="82"/>
                      <a:pt x="206" y="81"/>
                      <a:pt x="209" y="80"/>
                    </a:cubicBezTo>
                    <a:cubicBezTo>
                      <a:pt x="212" y="79"/>
                      <a:pt x="213" y="81"/>
                      <a:pt x="216" y="83"/>
                    </a:cubicBezTo>
                    <a:cubicBezTo>
                      <a:pt x="217" y="84"/>
                      <a:pt x="215" y="85"/>
                      <a:pt x="214" y="85"/>
                    </a:cubicBezTo>
                    <a:cubicBezTo>
                      <a:pt x="212" y="85"/>
                      <a:pt x="209" y="86"/>
                      <a:pt x="208" y="88"/>
                    </a:cubicBezTo>
                    <a:cubicBezTo>
                      <a:pt x="208" y="89"/>
                      <a:pt x="209" y="90"/>
                      <a:pt x="208" y="90"/>
                    </a:cubicBezTo>
                    <a:cubicBezTo>
                      <a:pt x="207" y="92"/>
                      <a:pt x="207" y="90"/>
                      <a:pt x="206" y="89"/>
                    </a:cubicBezTo>
                    <a:cubicBezTo>
                      <a:pt x="206" y="89"/>
                      <a:pt x="205" y="89"/>
                      <a:pt x="204" y="88"/>
                    </a:cubicBezTo>
                    <a:cubicBezTo>
                      <a:pt x="204" y="87"/>
                      <a:pt x="203" y="86"/>
                      <a:pt x="202" y="86"/>
                    </a:cubicBezTo>
                    <a:cubicBezTo>
                      <a:pt x="201" y="86"/>
                      <a:pt x="200" y="87"/>
                      <a:pt x="199" y="88"/>
                    </a:cubicBezTo>
                    <a:cubicBezTo>
                      <a:pt x="198" y="88"/>
                      <a:pt x="198" y="89"/>
                      <a:pt x="198" y="90"/>
                    </a:cubicBezTo>
                    <a:cubicBezTo>
                      <a:pt x="198" y="90"/>
                      <a:pt x="199" y="91"/>
                      <a:pt x="199" y="91"/>
                    </a:cubicBezTo>
                    <a:cubicBezTo>
                      <a:pt x="199" y="93"/>
                      <a:pt x="197" y="91"/>
                      <a:pt x="197" y="91"/>
                    </a:cubicBezTo>
                    <a:cubicBezTo>
                      <a:pt x="196" y="91"/>
                      <a:pt x="195" y="91"/>
                      <a:pt x="195" y="92"/>
                    </a:cubicBezTo>
                    <a:cubicBezTo>
                      <a:pt x="194" y="93"/>
                      <a:pt x="196" y="92"/>
                      <a:pt x="196" y="93"/>
                    </a:cubicBezTo>
                    <a:cubicBezTo>
                      <a:pt x="197" y="93"/>
                      <a:pt x="197" y="94"/>
                      <a:pt x="197" y="94"/>
                    </a:cubicBezTo>
                    <a:cubicBezTo>
                      <a:pt x="196" y="94"/>
                      <a:pt x="196" y="94"/>
                      <a:pt x="195" y="94"/>
                    </a:cubicBezTo>
                    <a:cubicBezTo>
                      <a:pt x="194" y="95"/>
                      <a:pt x="195" y="98"/>
                      <a:pt x="193" y="98"/>
                    </a:cubicBezTo>
                    <a:cubicBezTo>
                      <a:pt x="192" y="98"/>
                      <a:pt x="195" y="102"/>
                      <a:pt x="191" y="101"/>
                    </a:cubicBezTo>
                    <a:cubicBezTo>
                      <a:pt x="190" y="101"/>
                      <a:pt x="189" y="100"/>
                      <a:pt x="189" y="100"/>
                    </a:cubicBezTo>
                    <a:cubicBezTo>
                      <a:pt x="188" y="99"/>
                      <a:pt x="188" y="98"/>
                      <a:pt x="188" y="97"/>
                    </a:cubicBezTo>
                    <a:cubicBezTo>
                      <a:pt x="188" y="96"/>
                      <a:pt x="188" y="96"/>
                      <a:pt x="187" y="95"/>
                    </a:cubicBezTo>
                    <a:cubicBezTo>
                      <a:pt x="187" y="95"/>
                      <a:pt x="187" y="95"/>
                      <a:pt x="187" y="95"/>
                    </a:cubicBezTo>
                    <a:cubicBezTo>
                      <a:pt x="186" y="93"/>
                      <a:pt x="186" y="92"/>
                      <a:pt x="186" y="91"/>
                    </a:cubicBezTo>
                    <a:cubicBezTo>
                      <a:pt x="185" y="88"/>
                      <a:pt x="183" y="90"/>
                      <a:pt x="182" y="91"/>
                    </a:cubicBezTo>
                    <a:cubicBezTo>
                      <a:pt x="182" y="92"/>
                      <a:pt x="181" y="92"/>
                      <a:pt x="180" y="93"/>
                    </a:cubicBezTo>
                    <a:cubicBezTo>
                      <a:pt x="180" y="94"/>
                      <a:pt x="179" y="96"/>
                      <a:pt x="180" y="95"/>
                    </a:cubicBezTo>
                    <a:cubicBezTo>
                      <a:pt x="181" y="95"/>
                      <a:pt x="184" y="94"/>
                      <a:pt x="183" y="96"/>
                    </a:cubicBezTo>
                    <a:cubicBezTo>
                      <a:pt x="182" y="97"/>
                      <a:pt x="179" y="98"/>
                      <a:pt x="178" y="99"/>
                    </a:cubicBezTo>
                    <a:cubicBezTo>
                      <a:pt x="177" y="99"/>
                      <a:pt x="176" y="98"/>
                      <a:pt x="175" y="99"/>
                    </a:cubicBezTo>
                    <a:cubicBezTo>
                      <a:pt x="175" y="100"/>
                      <a:pt x="176" y="101"/>
                      <a:pt x="176" y="101"/>
                    </a:cubicBezTo>
                    <a:cubicBezTo>
                      <a:pt x="177" y="102"/>
                      <a:pt x="180" y="101"/>
                      <a:pt x="181" y="102"/>
                    </a:cubicBezTo>
                    <a:cubicBezTo>
                      <a:pt x="181" y="104"/>
                      <a:pt x="178" y="104"/>
                      <a:pt x="178" y="104"/>
                    </a:cubicBezTo>
                    <a:cubicBezTo>
                      <a:pt x="177" y="104"/>
                      <a:pt x="176" y="104"/>
                      <a:pt x="176" y="104"/>
                    </a:cubicBezTo>
                    <a:cubicBezTo>
                      <a:pt x="175" y="104"/>
                      <a:pt x="174" y="106"/>
                      <a:pt x="174" y="106"/>
                    </a:cubicBezTo>
                    <a:cubicBezTo>
                      <a:pt x="173" y="107"/>
                      <a:pt x="176" y="108"/>
                      <a:pt x="176" y="108"/>
                    </a:cubicBezTo>
                    <a:cubicBezTo>
                      <a:pt x="178" y="110"/>
                      <a:pt x="180" y="108"/>
                      <a:pt x="182" y="108"/>
                    </a:cubicBezTo>
                    <a:cubicBezTo>
                      <a:pt x="184" y="107"/>
                      <a:pt x="183" y="109"/>
                      <a:pt x="182" y="110"/>
                    </a:cubicBezTo>
                    <a:cubicBezTo>
                      <a:pt x="181" y="110"/>
                      <a:pt x="180" y="110"/>
                      <a:pt x="180" y="111"/>
                    </a:cubicBezTo>
                    <a:cubicBezTo>
                      <a:pt x="179" y="112"/>
                      <a:pt x="179" y="113"/>
                      <a:pt x="180" y="114"/>
                    </a:cubicBezTo>
                    <a:cubicBezTo>
                      <a:pt x="181" y="114"/>
                      <a:pt x="182" y="115"/>
                      <a:pt x="181" y="115"/>
                    </a:cubicBezTo>
                    <a:cubicBezTo>
                      <a:pt x="180" y="116"/>
                      <a:pt x="179" y="115"/>
                      <a:pt x="179" y="114"/>
                    </a:cubicBezTo>
                    <a:cubicBezTo>
                      <a:pt x="178" y="114"/>
                      <a:pt x="177" y="113"/>
                      <a:pt x="175" y="113"/>
                    </a:cubicBezTo>
                    <a:cubicBezTo>
                      <a:pt x="174" y="112"/>
                      <a:pt x="173" y="112"/>
                      <a:pt x="172" y="111"/>
                    </a:cubicBezTo>
                    <a:cubicBezTo>
                      <a:pt x="169" y="110"/>
                      <a:pt x="169" y="113"/>
                      <a:pt x="167" y="113"/>
                    </a:cubicBezTo>
                    <a:cubicBezTo>
                      <a:pt x="166" y="113"/>
                      <a:pt x="165" y="113"/>
                      <a:pt x="164" y="113"/>
                    </a:cubicBezTo>
                    <a:cubicBezTo>
                      <a:pt x="163" y="113"/>
                      <a:pt x="162" y="113"/>
                      <a:pt x="160" y="114"/>
                    </a:cubicBezTo>
                    <a:cubicBezTo>
                      <a:pt x="158" y="115"/>
                      <a:pt x="159" y="117"/>
                      <a:pt x="162" y="117"/>
                    </a:cubicBezTo>
                    <a:cubicBezTo>
                      <a:pt x="164" y="116"/>
                      <a:pt x="167" y="115"/>
                      <a:pt x="170" y="116"/>
                    </a:cubicBezTo>
                    <a:cubicBezTo>
                      <a:pt x="172" y="116"/>
                      <a:pt x="175" y="117"/>
                      <a:pt x="176" y="119"/>
                    </a:cubicBezTo>
                    <a:cubicBezTo>
                      <a:pt x="177" y="119"/>
                      <a:pt x="177" y="120"/>
                      <a:pt x="177" y="121"/>
                    </a:cubicBezTo>
                    <a:cubicBezTo>
                      <a:pt x="176" y="122"/>
                      <a:pt x="174" y="120"/>
                      <a:pt x="173" y="120"/>
                    </a:cubicBezTo>
                    <a:cubicBezTo>
                      <a:pt x="171" y="118"/>
                      <a:pt x="168" y="118"/>
                      <a:pt x="165" y="119"/>
                    </a:cubicBezTo>
                    <a:cubicBezTo>
                      <a:pt x="164" y="119"/>
                      <a:pt x="163" y="119"/>
                      <a:pt x="162" y="119"/>
                    </a:cubicBezTo>
                    <a:cubicBezTo>
                      <a:pt x="160" y="119"/>
                      <a:pt x="159" y="119"/>
                      <a:pt x="158" y="120"/>
                    </a:cubicBezTo>
                    <a:cubicBezTo>
                      <a:pt x="157" y="121"/>
                      <a:pt x="157" y="122"/>
                      <a:pt x="159" y="122"/>
                    </a:cubicBezTo>
                    <a:cubicBezTo>
                      <a:pt x="159" y="122"/>
                      <a:pt x="160" y="122"/>
                      <a:pt x="160" y="123"/>
                    </a:cubicBezTo>
                    <a:cubicBezTo>
                      <a:pt x="161" y="124"/>
                      <a:pt x="160" y="125"/>
                      <a:pt x="159" y="125"/>
                    </a:cubicBezTo>
                    <a:cubicBezTo>
                      <a:pt x="157" y="125"/>
                      <a:pt x="154" y="124"/>
                      <a:pt x="152" y="124"/>
                    </a:cubicBezTo>
                    <a:cubicBezTo>
                      <a:pt x="152" y="124"/>
                      <a:pt x="151" y="125"/>
                      <a:pt x="150" y="126"/>
                    </a:cubicBezTo>
                    <a:cubicBezTo>
                      <a:pt x="149" y="126"/>
                      <a:pt x="148" y="126"/>
                      <a:pt x="147" y="126"/>
                    </a:cubicBezTo>
                    <a:cubicBezTo>
                      <a:pt x="144" y="127"/>
                      <a:pt x="146" y="130"/>
                      <a:pt x="148" y="130"/>
                    </a:cubicBezTo>
                    <a:cubicBezTo>
                      <a:pt x="148" y="130"/>
                      <a:pt x="151" y="130"/>
                      <a:pt x="151" y="131"/>
                    </a:cubicBezTo>
                    <a:cubicBezTo>
                      <a:pt x="151" y="133"/>
                      <a:pt x="147" y="132"/>
                      <a:pt x="146" y="132"/>
                    </a:cubicBezTo>
                    <a:cubicBezTo>
                      <a:pt x="144" y="132"/>
                      <a:pt x="141" y="132"/>
                      <a:pt x="141" y="135"/>
                    </a:cubicBezTo>
                    <a:cubicBezTo>
                      <a:pt x="141" y="137"/>
                      <a:pt x="144" y="136"/>
                      <a:pt x="145" y="136"/>
                    </a:cubicBezTo>
                    <a:cubicBezTo>
                      <a:pt x="146" y="136"/>
                      <a:pt x="146" y="137"/>
                      <a:pt x="146" y="138"/>
                    </a:cubicBezTo>
                    <a:cubicBezTo>
                      <a:pt x="145" y="139"/>
                      <a:pt x="144" y="139"/>
                      <a:pt x="142" y="139"/>
                    </a:cubicBezTo>
                    <a:cubicBezTo>
                      <a:pt x="140" y="139"/>
                      <a:pt x="135" y="138"/>
                      <a:pt x="133" y="140"/>
                    </a:cubicBezTo>
                    <a:cubicBezTo>
                      <a:pt x="132" y="142"/>
                      <a:pt x="135" y="144"/>
                      <a:pt x="136" y="144"/>
                    </a:cubicBezTo>
                    <a:cubicBezTo>
                      <a:pt x="137" y="144"/>
                      <a:pt x="139" y="144"/>
                      <a:pt x="140" y="144"/>
                    </a:cubicBezTo>
                    <a:cubicBezTo>
                      <a:pt x="141" y="145"/>
                      <a:pt x="143" y="145"/>
                      <a:pt x="144" y="145"/>
                    </a:cubicBezTo>
                    <a:cubicBezTo>
                      <a:pt x="147" y="145"/>
                      <a:pt x="149" y="143"/>
                      <a:pt x="151" y="143"/>
                    </a:cubicBezTo>
                    <a:cubicBezTo>
                      <a:pt x="154" y="143"/>
                      <a:pt x="149" y="146"/>
                      <a:pt x="149" y="147"/>
                    </a:cubicBezTo>
                    <a:cubicBezTo>
                      <a:pt x="148" y="148"/>
                      <a:pt x="147" y="148"/>
                      <a:pt x="146" y="149"/>
                    </a:cubicBezTo>
                    <a:cubicBezTo>
                      <a:pt x="145" y="150"/>
                      <a:pt x="144" y="149"/>
                      <a:pt x="143" y="148"/>
                    </a:cubicBezTo>
                    <a:cubicBezTo>
                      <a:pt x="140" y="147"/>
                      <a:pt x="138" y="148"/>
                      <a:pt x="135" y="149"/>
                    </a:cubicBezTo>
                    <a:cubicBezTo>
                      <a:pt x="135" y="149"/>
                      <a:pt x="134" y="149"/>
                      <a:pt x="134" y="150"/>
                    </a:cubicBezTo>
                    <a:cubicBezTo>
                      <a:pt x="134" y="151"/>
                      <a:pt x="134" y="152"/>
                      <a:pt x="134" y="153"/>
                    </a:cubicBezTo>
                    <a:cubicBezTo>
                      <a:pt x="134" y="155"/>
                      <a:pt x="138" y="155"/>
                      <a:pt x="137" y="157"/>
                    </a:cubicBezTo>
                    <a:cubicBezTo>
                      <a:pt x="136" y="159"/>
                      <a:pt x="134" y="156"/>
                      <a:pt x="133" y="156"/>
                    </a:cubicBezTo>
                    <a:cubicBezTo>
                      <a:pt x="131" y="155"/>
                      <a:pt x="128" y="157"/>
                      <a:pt x="128" y="159"/>
                    </a:cubicBezTo>
                    <a:cubicBezTo>
                      <a:pt x="128" y="160"/>
                      <a:pt x="132" y="164"/>
                      <a:pt x="129" y="163"/>
                    </a:cubicBezTo>
                    <a:cubicBezTo>
                      <a:pt x="128" y="163"/>
                      <a:pt x="128" y="162"/>
                      <a:pt x="127" y="162"/>
                    </a:cubicBezTo>
                    <a:cubicBezTo>
                      <a:pt x="125" y="162"/>
                      <a:pt x="125" y="163"/>
                      <a:pt x="125" y="164"/>
                    </a:cubicBezTo>
                    <a:cubicBezTo>
                      <a:pt x="126" y="167"/>
                      <a:pt x="128" y="166"/>
                      <a:pt x="129" y="168"/>
                    </a:cubicBezTo>
                    <a:cubicBezTo>
                      <a:pt x="130" y="170"/>
                      <a:pt x="129" y="171"/>
                      <a:pt x="127" y="170"/>
                    </a:cubicBezTo>
                    <a:cubicBezTo>
                      <a:pt x="126" y="169"/>
                      <a:pt x="125" y="168"/>
                      <a:pt x="124" y="167"/>
                    </a:cubicBezTo>
                    <a:cubicBezTo>
                      <a:pt x="123" y="167"/>
                      <a:pt x="122" y="167"/>
                      <a:pt x="122" y="167"/>
                    </a:cubicBezTo>
                    <a:cubicBezTo>
                      <a:pt x="122" y="168"/>
                      <a:pt x="121" y="169"/>
                      <a:pt x="121" y="170"/>
                    </a:cubicBezTo>
                    <a:cubicBezTo>
                      <a:pt x="121" y="172"/>
                      <a:pt x="124" y="172"/>
                      <a:pt x="124" y="173"/>
                    </a:cubicBezTo>
                    <a:cubicBezTo>
                      <a:pt x="125" y="173"/>
                      <a:pt x="124" y="175"/>
                      <a:pt x="125" y="175"/>
                    </a:cubicBezTo>
                    <a:cubicBezTo>
                      <a:pt x="126" y="175"/>
                      <a:pt x="128" y="175"/>
                      <a:pt x="129" y="174"/>
                    </a:cubicBezTo>
                    <a:cubicBezTo>
                      <a:pt x="130" y="174"/>
                      <a:pt x="132" y="172"/>
                      <a:pt x="133" y="172"/>
                    </a:cubicBezTo>
                    <a:cubicBezTo>
                      <a:pt x="134" y="173"/>
                      <a:pt x="129" y="177"/>
                      <a:pt x="128" y="177"/>
                    </a:cubicBezTo>
                    <a:cubicBezTo>
                      <a:pt x="126" y="178"/>
                      <a:pt x="124" y="180"/>
                      <a:pt x="122" y="180"/>
                    </a:cubicBezTo>
                    <a:cubicBezTo>
                      <a:pt x="121" y="180"/>
                      <a:pt x="121" y="179"/>
                      <a:pt x="121" y="179"/>
                    </a:cubicBezTo>
                    <a:cubicBezTo>
                      <a:pt x="121" y="178"/>
                      <a:pt x="121" y="177"/>
                      <a:pt x="120" y="177"/>
                    </a:cubicBezTo>
                    <a:cubicBezTo>
                      <a:pt x="119" y="177"/>
                      <a:pt x="117" y="177"/>
                      <a:pt x="117" y="178"/>
                    </a:cubicBezTo>
                    <a:cubicBezTo>
                      <a:pt x="116" y="179"/>
                      <a:pt x="116" y="180"/>
                      <a:pt x="115" y="180"/>
                    </a:cubicBezTo>
                    <a:cubicBezTo>
                      <a:pt x="113" y="182"/>
                      <a:pt x="115" y="182"/>
                      <a:pt x="117" y="182"/>
                    </a:cubicBezTo>
                    <a:cubicBezTo>
                      <a:pt x="119" y="183"/>
                      <a:pt x="121" y="182"/>
                      <a:pt x="123" y="183"/>
                    </a:cubicBezTo>
                    <a:cubicBezTo>
                      <a:pt x="123" y="183"/>
                      <a:pt x="124" y="183"/>
                      <a:pt x="124" y="184"/>
                    </a:cubicBezTo>
                    <a:cubicBezTo>
                      <a:pt x="124" y="185"/>
                      <a:pt x="122" y="185"/>
                      <a:pt x="121" y="185"/>
                    </a:cubicBezTo>
                    <a:cubicBezTo>
                      <a:pt x="120" y="184"/>
                      <a:pt x="118" y="184"/>
                      <a:pt x="116" y="185"/>
                    </a:cubicBezTo>
                    <a:cubicBezTo>
                      <a:pt x="115" y="185"/>
                      <a:pt x="114" y="186"/>
                      <a:pt x="114" y="186"/>
                    </a:cubicBezTo>
                    <a:cubicBezTo>
                      <a:pt x="113" y="188"/>
                      <a:pt x="113" y="188"/>
                      <a:pt x="112" y="188"/>
                    </a:cubicBezTo>
                    <a:cubicBezTo>
                      <a:pt x="110" y="189"/>
                      <a:pt x="109" y="191"/>
                      <a:pt x="111" y="192"/>
                    </a:cubicBezTo>
                    <a:cubicBezTo>
                      <a:pt x="113" y="193"/>
                      <a:pt x="111" y="194"/>
                      <a:pt x="110" y="195"/>
                    </a:cubicBezTo>
                    <a:cubicBezTo>
                      <a:pt x="109" y="196"/>
                      <a:pt x="108" y="197"/>
                      <a:pt x="107" y="197"/>
                    </a:cubicBezTo>
                    <a:cubicBezTo>
                      <a:pt x="107" y="198"/>
                      <a:pt x="105" y="199"/>
                      <a:pt x="104" y="199"/>
                    </a:cubicBezTo>
                    <a:cubicBezTo>
                      <a:pt x="104" y="199"/>
                      <a:pt x="104" y="198"/>
                      <a:pt x="104" y="198"/>
                    </a:cubicBezTo>
                    <a:cubicBezTo>
                      <a:pt x="104" y="197"/>
                      <a:pt x="103" y="197"/>
                      <a:pt x="103" y="196"/>
                    </a:cubicBezTo>
                    <a:cubicBezTo>
                      <a:pt x="101" y="194"/>
                      <a:pt x="99" y="195"/>
                      <a:pt x="96" y="196"/>
                    </a:cubicBezTo>
                    <a:cubicBezTo>
                      <a:pt x="94" y="197"/>
                      <a:pt x="92" y="199"/>
                      <a:pt x="91" y="201"/>
                    </a:cubicBezTo>
                    <a:cubicBezTo>
                      <a:pt x="90" y="201"/>
                      <a:pt x="90" y="202"/>
                      <a:pt x="90" y="203"/>
                    </a:cubicBezTo>
                    <a:cubicBezTo>
                      <a:pt x="89" y="204"/>
                      <a:pt x="88" y="204"/>
                      <a:pt x="88" y="204"/>
                    </a:cubicBezTo>
                    <a:cubicBezTo>
                      <a:pt x="87" y="205"/>
                      <a:pt x="86" y="206"/>
                      <a:pt x="86" y="207"/>
                    </a:cubicBezTo>
                    <a:cubicBezTo>
                      <a:pt x="85" y="208"/>
                      <a:pt x="86" y="209"/>
                      <a:pt x="87" y="210"/>
                    </a:cubicBezTo>
                    <a:cubicBezTo>
                      <a:pt x="89" y="212"/>
                      <a:pt x="84" y="211"/>
                      <a:pt x="83" y="212"/>
                    </a:cubicBezTo>
                    <a:cubicBezTo>
                      <a:pt x="82" y="212"/>
                      <a:pt x="80" y="213"/>
                      <a:pt x="79" y="213"/>
                    </a:cubicBezTo>
                    <a:cubicBezTo>
                      <a:pt x="78" y="214"/>
                      <a:pt x="77" y="215"/>
                      <a:pt x="79" y="216"/>
                    </a:cubicBezTo>
                    <a:cubicBezTo>
                      <a:pt x="80" y="216"/>
                      <a:pt x="81" y="216"/>
                      <a:pt x="82" y="215"/>
                    </a:cubicBezTo>
                    <a:cubicBezTo>
                      <a:pt x="84" y="215"/>
                      <a:pt x="84" y="216"/>
                      <a:pt x="83" y="217"/>
                    </a:cubicBezTo>
                    <a:cubicBezTo>
                      <a:pt x="82" y="218"/>
                      <a:pt x="81" y="221"/>
                      <a:pt x="83" y="221"/>
                    </a:cubicBezTo>
                    <a:cubicBezTo>
                      <a:pt x="85" y="223"/>
                      <a:pt x="88" y="220"/>
                      <a:pt x="90" y="219"/>
                    </a:cubicBezTo>
                    <a:cubicBezTo>
                      <a:pt x="92" y="218"/>
                      <a:pt x="94" y="217"/>
                      <a:pt x="96" y="216"/>
                    </a:cubicBezTo>
                    <a:cubicBezTo>
                      <a:pt x="97" y="215"/>
                      <a:pt x="99" y="214"/>
                      <a:pt x="96" y="214"/>
                    </a:cubicBezTo>
                    <a:cubicBezTo>
                      <a:pt x="93" y="214"/>
                      <a:pt x="93" y="212"/>
                      <a:pt x="96" y="212"/>
                    </a:cubicBezTo>
                    <a:cubicBezTo>
                      <a:pt x="99" y="211"/>
                      <a:pt x="100" y="209"/>
                      <a:pt x="102" y="207"/>
                    </a:cubicBezTo>
                    <a:cubicBezTo>
                      <a:pt x="104" y="205"/>
                      <a:pt x="106" y="204"/>
                      <a:pt x="107" y="207"/>
                    </a:cubicBezTo>
                    <a:cubicBezTo>
                      <a:pt x="108" y="208"/>
                      <a:pt x="107" y="209"/>
                      <a:pt x="106" y="209"/>
                    </a:cubicBezTo>
                    <a:cubicBezTo>
                      <a:pt x="105" y="209"/>
                      <a:pt x="104" y="209"/>
                      <a:pt x="103" y="210"/>
                    </a:cubicBezTo>
                    <a:cubicBezTo>
                      <a:pt x="103" y="211"/>
                      <a:pt x="103" y="212"/>
                      <a:pt x="104" y="212"/>
                    </a:cubicBezTo>
                    <a:cubicBezTo>
                      <a:pt x="104" y="213"/>
                      <a:pt x="106" y="213"/>
                      <a:pt x="106" y="214"/>
                    </a:cubicBezTo>
                    <a:cubicBezTo>
                      <a:pt x="107" y="217"/>
                      <a:pt x="97" y="217"/>
                      <a:pt x="97" y="220"/>
                    </a:cubicBezTo>
                    <a:cubicBezTo>
                      <a:pt x="96" y="222"/>
                      <a:pt x="98" y="224"/>
                      <a:pt x="95" y="224"/>
                    </a:cubicBezTo>
                    <a:cubicBezTo>
                      <a:pt x="92" y="224"/>
                      <a:pt x="90" y="224"/>
                      <a:pt x="88" y="225"/>
                    </a:cubicBezTo>
                    <a:cubicBezTo>
                      <a:pt x="86" y="226"/>
                      <a:pt x="84" y="228"/>
                      <a:pt x="82" y="228"/>
                    </a:cubicBezTo>
                    <a:cubicBezTo>
                      <a:pt x="81" y="228"/>
                      <a:pt x="81" y="226"/>
                      <a:pt x="80" y="226"/>
                    </a:cubicBezTo>
                    <a:cubicBezTo>
                      <a:pt x="80" y="224"/>
                      <a:pt x="80" y="223"/>
                      <a:pt x="79" y="222"/>
                    </a:cubicBezTo>
                    <a:cubicBezTo>
                      <a:pt x="78" y="220"/>
                      <a:pt x="77" y="219"/>
                      <a:pt x="75" y="220"/>
                    </a:cubicBezTo>
                    <a:cubicBezTo>
                      <a:pt x="74" y="220"/>
                      <a:pt x="71" y="221"/>
                      <a:pt x="72" y="222"/>
                    </a:cubicBezTo>
                    <a:cubicBezTo>
                      <a:pt x="73" y="223"/>
                      <a:pt x="75" y="223"/>
                      <a:pt x="73" y="225"/>
                    </a:cubicBezTo>
                    <a:cubicBezTo>
                      <a:pt x="72" y="225"/>
                      <a:pt x="71" y="226"/>
                      <a:pt x="70" y="227"/>
                    </a:cubicBezTo>
                    <a:cubicBezTo>
                      <a:pt x="69" y="227"/>
                      <a:pt x="69" y="229"/>
                      <a:pt x="67" y="229"/>
                    </a:cubicBezTo>
                    <a:cubicBezTo>
                      <a:pt x="67" y="230"/>
                      <a:pt x="66" y="229"/>
                      <a:pt x="66" y="228"/>
                    </a:cubicBezTo>
                    <a:cubicBezTo>
                      <a:pt x="67" y="227"/>
                      <a:pt x="66" y="226"/>
                      <a:pt x="65" y="226"/>
                    </a:cubicBezTo>
                    <a:cubicBezTo>
                      <a:pt x="64" y="224"/>
                      <a:pt x="60" y="225"/>
                      <a:pt x="61" y="227"/>
                    </a:cubicBezTo>
                    <a:cubicBezTo>
                      <a:pt x="61" y="229"/>
                      <a:pt x="62" y="229"/>
                      <a:pt x="62" y="229"/>
                    </a:cubicBezTo>
                    <a:cubicBezTo>
                      <a:pt x="63" y="230"/>
                      <a:pt x="61" y="231"/>
                      <a:pt x="61" y="231"/>
                    </a:cubicBezTo>
                    <a:cubicBezTo>
                      <a:pt x="59" y="232"/>
                      <a:pt x="56" y="230"/>
                      <a:pt x="54" y="232"/>
                    </a:cubicBezTo>
                    <a:cubicBezTo>
                      <a:pt x="54" y="233"/>
                      <a:pt x="53" y="234"/>
                      <a:pt x="54" y="234"/>
                    </a:cubicBezTo>
                    <a:cubicBezTo>
                      <a:pt x="54" y="235"/>
                      <a:pt x="55" y="235"/>
                      <a:pt x="56" y="235"/>
                    </a:cubicBezTo>
                    <a:cubicBezTo>
                      <a:pt x="58" y="235"/>
                      <a:pt x="60" y="236"/>
                      <a:pt x="61" y="238"/>
                    </a:cubicBezTo>
                    <a:cubicBezTo>
                      <a:pt x="62" y="241"/>
                      <a:pt x="60" y="240"/>
                      <a:pt x="58" y="240"/>
                    </a:cubicBezTo>
                    <a:cubicBezTo>
                      <a:pt x="58" y="240"/>
                      <a:pt x="56" y="240"/>
                      <a:pt x="56" y="241"/>
                    </a:cubicBezTo>
                    <a:cubicBezTo>
                      <a:pt x="56" y="241"/>
                      <a:pt x="57" y="242"/>
                      <a:pt x="58" y="242"/>
                    </a:cubicBezTo>
                    <a:cubicBezTo>
                      <a:pt x="58" y="242"/>
                      <a:pt x="58" y="243"/>
                      <a:pt x="58" y="243"/>
                    </a:cubicBezTo>
                    <a:cubicBezTo>
                      <a:pt x="57" y="244"/>
                      <a:pt x="56" y="243"/>
                      <a:pt x="55" y="243"/>
                    </a:cubicBezTo>
                    <a:cubicBezTo>
                      <a:pt x="54" y="242"/>
                      <a:pt x="53" y="241"/>
                      <a:pt x="52" y="240"/>
                    </a:cubicBezTo>
                    <a:cubicBezTo>
                      <a:pt x="51" y="240"/>
                      <a:pt x="50" y="238"/>
                      <a:pt x="48" y="238"/>
                    </a:cubicBezTo>
                    <a:cubicBezTo>
                      <a:pt x="46" y="237"/>
                      <a:pt x="43" y="238"/>
                      <a:pt x="41" y="238"/>
                    </a:cubicBezTo>
                    <a:cubicBezTo>
                      <a:pt x="38" y="238"/>
                      <a:pt x="37" y="235"/>
                      <a:pt x="34" y="236"/>
                    </a:cubicBezTo>
                    <a:cubicBezTo>
                      <a:pt x="31" y="237"/>
                      <a:pt x="35" y="239"/>
                      <a:pt x="35" y="240"/>
                    </a:cubicBezTo>
                    <a:cubicBezTo>
                      <a:pt x="35" y="241"/>
                      <a:pt x="34" y="242"/>
                      <a:pt x="35" y="242"/>
                    </a:cubicBezTo>
                    <a:cubicBezTo>
                      <a:pt x="36" y="243"/>
                      <a:pt x="37" y="243"/>
                      <a:pt x="38" y="243"/>
                    </a:cubicBezTo>
                    <a:cubicBezTo>
                      <a:pt x="40" y="243"/>
                      <a:pt x="43" y="243"/>
                      <a:pt x="45" y="242"/>
                    </a:cubicBezTo>
                    <a:cubicBezTo>
                      <a:pt x="46" y="240"/>
                      <a:pt x="48" y="241"/>
                      <a:pt x="50" y="241"/>
                    </a:cubicBezTo>
                    <a:cubicBezTo>
                      <a:pt x="51" y="242"/>
                      <a:pt x="48" y="243"/>
                      <a:pt x="48" y="243"/>
                    </a:cubicBezTo>
                    <a:cubicBezTo>
                      <a:pt x="47" y="243"/>
                      <a:pt x="46" y="243"/>
                      <a:pt x="45" y="244"/>
                    </a:cubicBezTo>
                    <a:cubicBezTo>
                      <a:pt x="44" y="245"/>
                      <a:pt x="45" y="246"/>
                      <a:pt x="45" y="247"/>
                    </a:cubicBezTo>
                    <a:cubicBezTo>
                      <a:pt x="44" y="250"/>
                      <a:pt x="41" y="249"/>
                      <a:pt x="39" y="248"/>
                    </a:cubicBezTo>
                    <a:cubicBezTo>
                      <a:pt x="37" y="246"/>
                      <a:pt x="34" y="246"/>
                      <a:pt x="32" y="246"/>
                    </a:cubicBezTo>
                    <a:cubicBezTo>
                      <a:pt x="30" y="246"/>
                      <a:pt x="26" y="245"/>
                      <a:pt x="25" y="246"/>
                    </a:cubicBezTo>
                    <a:cubicBezTo>
                      <a:pt x="24" y="246"/>
                      <a:pt x="25" y="247"/>
                      <a:pt x="25" y="248"/>
                    </a:cubicBezTo>
                    <a:cubicBezTo>
                      <a:pt x="26" y="249"/>
                      <a:pt x="27" y="249"/>
                      <a:pt x="28" y="249"/>
                    </a:cubicBezTo>
                    <a:cubicBezTo>
                      <a:pt x="29" y="248"/>
                      <a:pt x="30" y="248"/>
                      <a:pt x="31" y="249"/>
                    </a:cubicBezTo>
                    <a:cubicBezTo>
                      <a:pt x="31" y="250"/>
                      <a:pt x="31" y="252"/>
                      <a:pt x="32" y="252"/>
                    </a:cubicBezTo>
                    <a:cubicBezTo>
                      <a:pt x="33" y="253"/>
                      <a:pt x="36" y="253"/>
                      <a:pt x="38" y="253"/>
                    </a:cubicBezTo>
                    <a:cubicBezTo>
                      <a:pt x="40" y="253"/>
                      <a:pt x="40" y="255"/>
                      <a:pt x="39" y="256"/>
                    </a:cubicBezTo>
                    <a:cubicBezTo>
                      <a:pt x="38" y="256"/>
                      <a:pt x="37" y="256"/>
                      <a:pt x="36" y="256"/>
                    </a:cubicBezTo>
                    <a:cubicBezTo>
                      <a:pt x="36" y="256"/>
                      <a:pt x="34" y="255"/>
                      <a:pt x="34" y="255"/>
                    </a:cubicBezTo>
                    <a:cubicBezTo>
                      <a:pt x="32" y="256"/>
                      <a:pt x="36" y="259"/>
                      <a:pt x="36" y="260"/>
                    </a:cubicBezTo>
                    <a:cubicBezTo>
                      <a:pt x="35" y="261"/>
                      <a:pt x="32" y="261"/>
                      <a:pt x="31" y="261"/>
                    </a:cubicBezTo>
                    <a:cubicBezTo>
                      <a:pt x="29" y="261"/>
                      <a:pt x="29" y="258"/>
                      <a:pt x="30" y="257"/>
                    </a:cubicBezTo>
                    <a:cubicBezTo>
                      <a:pt x="31" y="254"/>
                      <a:pt x="29" y="253"/>
                      <a:pt x="27" y="252"/>
                    </a:cubicBezTo>
                    <a:cubicBezTo>
                      <a:pt x="25" y="252"/>
                      <a:pt x="24" y="253"/>
                      <a:pt x="25" y="255"/>
                    </a:cubicBezTo>
                    <a:cubicBezTo>
                      <a:pt x="26" y="256"/>
                      <a:pt x="26" y="257"/>
                      <a:pt x="26" y="258"/>
                    </a:cubicBezTo>
                    <a:cubicBezTo>
                      <a:pt x="26" y="259"/>
                      <a:pt x="24" y="259"/>
                      <a:pt x="24" y="258"/>
                    </a:cubicBezTo>
                    <a:cubicBezTo>
                      <a:pt x="22" y="257"/>
                      <a:pt x="23" y="254"/>
                      <a:pt x="21" y="253"/>
                    </a:cubicBezTo>
                    <a:cubicBezTo>
                      <a:pt x="20" y="253"/>
                      <a:pt x="16" y="253"/>
                      <a:pt x="17" y="255"/>
                    </a:cubicBezTo>
                    <a:cubicBezTo>
                      <a:pt x="18" y="257"/>
                      <a:pt x="20" y="258"/>
                      <a:pt x="20" y="260"/>
                    </a:cubicBezTo>
                    <a:cubicBezTo>
                      <a:pt x="19" y="261"/>
                      <a:pt x="19" y="261"/>
                      <a:pt x="18" y="260"/>
                    </a:cubicBezTo>
                    <a:cubicBezTo>
                      <a:pt x="17" y="260"/>
                      <a:pt x="16" y="259"/>
                      <a:pt x="15" y="260"/>
                    </a:cubicBezTo>
                    <a:cubicBezTo>
                      <a:pt x="13" y="262"/>
                      <a:pt x="12" y="262"/>
                      <a:pt x="11" y="259"/>
                    </a:cubicBezTo>
                    <a:cubicBezTo>
                      <a:pt x="11" y="257"/>
                      <a:pt x="8" y="260"/>
                      <a:pt x="7" y="261"/>
                    </a:cubicBezTo>
                    <a:cubicBezTo>
                      <a:pt x="6" y="261"/>
                      <a:pt x="3" y="262"/>
                      <a:pt x="4" y="262"/>
                    </a:cubicBezTo>
                    <a:cubicBezTo>
                      <a:pt x="5" y="264"/>
                      <a:pt x="8" y="264"/>
                      <a:pt x="10" y="264"/>
                    </a:cubicBezTo>
                    <a:cubicBezTo>
                      <a:pt x="13" y="263"/>
                      <a:pt x="16" y="264"/>
                      <a:pt x="18" y="264"/>
                    </a:cubicBezTo>
                    <a:cubicBezTo>
                      <a:pt x="20" y="264"/>
                      <a:pt x="21" y="264"/>
                      <a:pt x="23" y="264"/>
                    </a:cubicBezTo>
                    <a:cubicBezTo>
                      <a:pt x="24" y="264"/>
                      <a:pt x="25" y="264"/>
                      <a:pt x="26" y="264"/>
                    </a:cubicBezTo>
                    <a:cubicBezTo>
                      <a:pt x="28" y="265"/>
                      <a:pt x="25" y="266"/>
                      <a:pt x="24" y="266"/>
                    </a:cubicBezTo>
                    <a:cubicBezTo>
                      <a:pt x="23" y="266"/>
                      <a:pt x="22" y="266"/>
                      <a:pt x="21" y="266"/>
                    </a:cubicBezTo>
                    <a:cubicBezTo>
                      <a:pt x="20" y="266"/>
                      <a:pt x="18" y="267"/>
                      <a:pt x="17" y="268"/>
                    </a:cubicBezTo>
                    <a:cubicBezTo>
                      <a:pt x="15" y="270"/>
                      <a:pt x="13" y="269"/>
                      <a:pt x="11" y="267"/>
                    </a:cubicBezTo>
                    <a:cubicBezTo>
                      <a:pt x="8" y="265"/>
                      <a:pt x="7" y="266"/>
                      <a:pt x="4" y="267"/>
                    </a:cubicBezTo>
                    <a:cubicBezTo>
                      <a:pt x="3" y="267"/>
                      <a:pt x="1" y="268"/>
                      <a:pt x="2" y="268"/>
                    </a:cubicBezTo>
                    <a:cubicBezTo>
                      <a:pt x="2" y="269"/>
                      <a:pt x="2" y="270"/>
                      <a:pt x="3" y="270"/>
                    </a:cubicBezTo>
                    <a:cubicBezTo>
                      <a:pt x="4" y="271"/>
                      <a:pt x="5" y="271"/>
                      <a:pt x="6" y="272"/>
                    </a:cubicBezTo>
                    <a:cubicBezTo>
                      <a:pt x="7" y="272"/>
                      <a:pt x="5" y="274"/>
                      <a:pt x="7" y="274"/>
                    </a:cubicBezTo>
                    <a:cubicBezTo>
                      <a:pt x="8" y="274"/>
                      <a:pt x="10" y="273"/>
                      <a:pt x="11" y="274"/>
                    </a:cubicBezTo>
                    <a:cubicBezTo>
                      <a:pt x="13" y="276"/>
                      <a:pt x="9" y="276"/>
                      <a:pt x="8" y="276"/>
                    </a:cubicBezTo>
                    <a:cubicBezTo>
                      <a:pt x="6" y="276"/>
                      <a:pt x="5" y="277"/>
                      <a:pt x="6" y="279"/>
                    </a:cubicBezTo>
                    <a:cubicBezTo>
                      <a:pt x="7" y="280"/>
                      <a:pt x="2" y="279"/>
                      <a:pt x="3" y="282"/>
                    </a:cubicBezTo>
                    <a:cubicBezTo>
                      <a:pt x="4" y="284"/>
                      <a:pt x="7" y="284"/>
                      <a:pt x="9" y="284"/>
                    </a:cubicBezTo>
                    <a:cubicBezTo>
                      <a:pt x="10" y="284"/>
                      <a:pt x="11" y="283"/>
                      <a:pt x="13" y="283"/>
                    </a:cubicBezTo>
                    <a:cubicBezTo>
                      <a:pt x="14" y="282"/>
                      <a:pt x="15" y="282"/>
                      <a:pt x="17" y="283"/>
                    </a:cubicBezTo>
                    <a:cubicBezTo>
                      <a:pt x="19" y="283"/>
                      <a:pt x="22" y="283"/>
                      <a:pt x="23" y="281"/>
                    </a:cubicBezTo>
                    <a:cubicBezTo>
                      <a:pt x="23" y="281"/>
                      <a:pt x="23" y="279"/>
                      <a:pt x="24" y="279"/>
                    </a:cubicBezTo>
                    <a:cubicBezTo>
                      <a:pt x="25" y="279"/>
                      <a:pt x="26" y="280"/>
                      <a:pt x="27" y="281"/>
                    </a:cubicBezTo>
                    <a:cubicBezTo>
                      <a:pt x="29" y="283"/>
                      <a:pt x="32" y="282"/>
                      <a:pt x="34" y="282"/>
                    </a:cubicBezTo>
                    <a:cubicBezTo>
                      <a:pt x="37" y="282"/>
                      <a:pt x="37" y="279"/>
                      <a:pt x="38" y="277"/>
                    </a:cubicBezTo>
                    <a:cubicBezTo>
                      <a:pt x="39" y="275"/>
                      <a:pt x="41" y="275"/>
                      <a:pt x="41" y="277"/>
                    </a:cubicBezTo>
                    <a:cubicBezTo>
                      <a:pt x="41" y="279"/>
                      <a:pt x="39" y="281"/>
                      <a:pt x="41" y="281"/>
                    </a:cubicBezTo>
                    <a:cubicBezTo>
                      <a:pt x="43" y="281"/>
                      <a:pt x="46" y="283"/>
                      <a:pt x="43" y="283"/>
                    </a:cubicBezTo>
                    <a:cubicBezTo>
                      <a:pt x="40" y="283"/>
                      <a:pt x="37" y="284"/>
                      <a:pt x="35" y="285"/>
                    </a:cubicBezTo>
                    <a:cubicBezTo>
                      <a:pt x="32" y="286"/>
                      <a:pt x="38" y="289"/>
                      <a:pt x="34" y="290"/>
                    </a:cubicBezTo>
                    <a:cubicBezTo>
                      <a:pt x="33" y="290"/>
                      <a:pt x="31" y="291"/>
                      <a:pt x="30" y="290"/>
                    </a:cubicBezTo>
                    <a:cubicBezTo>
                      <a:pt x="27" y="289"/>
                      <a:pt x="29" y="288"/>
                      <a:pt x="29" y="287"/>
                    </a:cubicBezTo>
                    <a:cubicBezTo>
                      <a:pt x="30" y="286"/>
                      <a:pt x="27" y="285"/>
                      <a:pt x="26" y="285"/>
                    </a:cubicBezTo>
                    <a:cubicBezTo>
                      <a:pt x="24" y="284"/>
                      <a:pt x="24" y="286"/>
                      <a:pt x="23" y="287"/>
                    </a:cubicBezTo>
                    <a:cubicBezTo>
                      <a:pt x="21" y="288"/>
                      <a:pt x="19" y="286"/>
                      <a:pt x="18" y="286"/>
                    </a:cubicBezTo>
                    <a:cubicBezTo>
                      <a:pt x="16" y="285"/>
                      <a:pt x="14" y="286"/>
                      <a:pt x="12" y="286"/>
                    </a:cubicBezTo>
                    <a:cubicBezTo>
                      <a:pt x="10" y="287"/>
                      <a:pt x="8" y="287"/>
                      <a:pt x="5" y="287"/>
                    </a:cubicBezTo>
                    <a:cubicBezTo>
                      <a:pt x="4" y="287"/>
                      <a:pt x="3" y="287"/>
                      <a:pt x="3" y="287"/>
                    </a:cubicBezTo>
                    <a:cubicBezTo>
                      <a:pt x="2" y="288"/>
                      <a:pt x="2" y="288"/>
                      <a:pt x="2" y="289"/>
                    </a:cubicBezTo>
                    <a:cubicBezTo>
                      <a:pt x="0" y="291"/>
                      <a:pt x="6" y="290"/>
                      <a:pt x="7" y="290"/>
                    </a:cubicBezTo>
                    <a:cubicBezTo>
                      <a:pt x="7" y="290"/>
                      <a:pt x="4" y="293"/>
                      <a:pt x="4" y="294"/>
                    </a:cubicBezTo>
                    <a:cubicBezTo>
                      <a:pt x="4" y="296"/>
                      <a:pt x="6" y="297"/>
                      <a:pt x="8" y="296"/>
                    </a:cubicBezTo>
                    <a:cubicBezTo>
                      <a:pt x="9" y="296"/>
                      <a:pt x="11" y="295"/>
                      <a:pt x="12" y="297"/>
                    </a:cubicBezTo>
                    <a:cubicBezTo>
                      <a:pt x="12" y="298"/>
                      <a:pt x="11" y="300"/>
                      <a:pt x="10" y="300"/>
                    </a:cubicBezTo>
                    <a:cubicBezTo>
                      <a:pt x="8" y="302"/>
                      <a:pt x="7" y="301"/>
                      <a:pt x="5" y="301"/>
                    </a:cubicBezTo>
                    <a:cubicBezTo>
                      <a:pt x="4" y="301"/>
                      <a:pt x="1" y="301"/>
                      <a:pt x="0" y="303"/>
                    </a:cubicBezTo>
                    <a:cubicBezTo>
                      <a:pt x="0" y="304"/>
                      <a:pt x="1" y="305"/>
                      <a:pt x="2" y="306"/>
                    </a:cubicBezTo>
                    <a:cubicBezTo>
                      <a:pt x="3" y="307"/>
                      <a:pt x="4" y="308"/>
                      <a:pt x="5" y="307"/>
                    </a:cubicBezTo>
                    <a:cubicBezTo>
                      <a:pt x="5" y="307"/>
                      <a:pt x="5" y="307"/>
                      <a:pt x="5" y="308"/>
                    </a:cubicBezTo>
                    <a:cubicBezTo>
                      <a:pt x="5" y="307"/>
                      <a:pt x="5" y="308"/>
                      <a:pt x="5" y="308"/>
                    </a:cubicBezTo>
                    <a:close/>
                    <a:moveTo>
                      <a:pt x="147" y="87"/>
                    </a:moveTo>
                    <a:cubicBezTo>
                      <a:pt x="146" y="88"/>
                      <a:pt x="145" y="88"/>
                      <a:pt x="145" y="89"/>
                    </a:cubicBezTo>
                    <a:cubicBezTo>
                      <a:pt x="144" y="90"/>
                      <a:pt x="143" y="91"/>
                      <a:pt x="144" y="92"/>
                    </a:cubicBezTo>
                    <a:cubicBezTo>
                      <a:pt x="144" y="93"/>
                      <a:pt x="146" y="93"/>
                      <a:pt x="146" y="93"/>
                    </a:cubicBezTo>
                    <a:cubicBezTo>
                      <a:pt x="147" y="92"/>
                      <a:pt x="149" y="92"/>
                      <a:pt x="149" y="91"/>
                    </a:cubicBezTo>
                    <a:cubicBezTo>
                      <a:pt x="150" y="90"/>
                      <a:pt x="154" y="89"/>
                      <a:pt x="152" y="87"/>
                    </a:cubicBezTo>
                    <a:cubicBezTo>
                      <a:pt x="150" y="86"/>
                      <a:pt x="148" y="86"/>
                      <a:pt x="147" y="87"/>
                    </a:cubicBezTo>
                    <a:cubicBezTo>
                      <a:pt x="147" y="87"/>
                      <a:pt x="147" y="87"/>
                      <a:pt x="147" y="87"/>
                    </a:cubicBezTo>
                    <a:cubicBezTo>
                      <a:pt x="147" y="87"/>
                      <a:pt x="147" y="87"/>
                      <a:pt x="147" y="87"/>
                    </a:cubicBezTo>
                    <a:close/>
                    <a:moveTo>
                      <a:pt x="283" y="32"/>
                    </a:moveTo>
                    <a:cubicBezTo>
                      <a:pt x="281" y="32"/>
                      <a:pt x="280" y="31"/>
                      <a:pt x="279" y="30"/>
                    </a:cubicBezTo>
                    <a:cubicBezTo>
                      <a:pt x="279" y="30"/>
                      <a:pt x="276" y="29"/>
                      <a:pt x="276" y="30"/>
                    </a:cubicBezTo>
                    <a:cubicBezTo>
                      <a:pt x="275" y="30"/>
                      <a:pt x="276" y="31"/>
                      <a:pt x="277" y="31"/>
                    </a:cubicBezTo>
                    <a:cubicBezTo>
                      <a:pt x="278" y="32"/>
                      <a:pt x="279" y="32"/>
                      <a:pt x="280" y="33"/>
                    </a:cubicBezTo>
                    <a:cubicBezTo>
                      <a:pt x="280" y="34"/>
                      <a:pt x="281" y="35"/>
                      <a:pt x="282" y="35"/>
                    </a:cubicBezTo>
                    <a:cubicBezTo>
                      <a:pt x="283" y="34"/>
                      <a:pt x="284" y="34"/>
                      <a:pt x="285" y="33"/>
                    </a:cubicBezTo>
                    <a:cubicBezTo>
                      <a:pt x="286" y="31"/>
                      <a:pt x="283" y="32"/>
                      <a:pt x="282" y="32"/>
                    </a:cubicBezTo>
                    <a:cubicBezTo>
                      <a:pt x="282" y="32"/>
                      <a:pt x="283" y="32"/>
                      <a:pt x="283" y="32"/>
                    </a:cubicBezTo>
                    <a:cubicBezTo>
                      <a:pt x="282" y="32"/>
                      <a:pt x="283" y="32"/>
                      <a:pt x="283" y="32"/>
                    </a:cubicBezTo>
                    <a:close/>
                    <a:moveTo>
                      <a:pt x="265" y="32"/>
                    </a:moveTo>
                    <a:cubicBezTo>
                      <a:pt x="264" y="32"/>
                      <a:pt x="261" y="31"/>
                      <a:pt x="261" y="31"/>
                    </a:cubicBezTo>
                    <a:cubicBezTo>
                      <a:pt x="260" y="32"/>
                      <a:pt x="260" y="32"/>
                      <a:pt x="260" y="33"/>
                    </a:cubicBezTo>
                    <a:cubicBezTo>
                      <a:pt x="261" y="34"/>
                      <a:pt x="261" y="33"/>
                      <a:pt x="262" y="33"/>
                    </a:cubicBezTo>
                    <a:cubicBezTo>
                      <a:pt x="263" y="33"/>
                      <a:pt x="264" y="35"/>
                      <a:pt x="265" y="34"/>
                    </a:cubicBezTo>
                    <a:cubicBezTo>
                      <a:pt x="267" y="32"/>
                      <a:pt x="265" y="31"/>
                      <a:pt x="264" y="32"/>
                    </a:cubicBezTo>
                    <a:cubicBezTo>
                      <a:pt x="264" y="32"/>
                      <a:pt x="264" y="32"/>
                      <a:pt x="265" y="32"/>
                    </a:cubicBezTo>
                    <a:cubicBezTo>
                      <a:pt x="264" y="32"/>
                      <a:pt x="265" y="32"/>
                      <a:pt x="265" y="32"/>
                    </a:cubicBezTo>
                    <a:close/>
                    <a:moveTo>
                      <a:pt x="250" y="32"/>
                    </a:moveTo>
                    <a:cubicBezTo>
                      <a:pt x="250" y="31"/>
                      <a:pt x="246" y="29"/>
                      <a:pt x="247" y="31"/>
                    </a:cubicBezTo>
                    <a:cubicBezTo>
                      <a:pt x="247" y="32"/>
                      <a:pt x="248" y="33"/>
                      <a:pt x="249" y="34"/>
                    </a:cubicBezTo>
                    <a:cubicBezTo>
                      <a:pt x="250" y="34"/>
                      <a:pt x="254" y="34"/>
                      <a:pt x="253" y="33"/>
                    </a:cubicBezTo>
                    <a:cubicBezTo>
                      <a:pt x="252" y="32"/>
                      <a:pt x="250" y="32"/>
                      <a:pt x="249" y="31"/>
                    </a:cubicBezTo>
                    <a:cubicBezTo>
                      <a:pt x="250" y="31"/>
                      <a:pt x="250" y="31"/>
                      <a:pt x="250" y="32"/>
                    </a:cubicBezTo>
                    <a:cubicBezTo>
                      <a:pt x="249" y="31"/>
                      <a:pt x="250" y="32"/>
                      <a:pt x="250" y="32"/>
                    </a:cubicBezTo>
                    <a:close/>
                    <a:moveTo>
                      <a:pt x="317" y="19"/>
                    </a:moveTo>
                    <a:cubicBezTo>
                      <a:pt x="318" y="20"/>
                      <a:pt x="319" y="19"/>
                      <a:pt x="319" y="19"/>
                    </a:cubicBezTo>
                    <a:cubicBezTo>
                      <a:pt x="320" y="18"/>
                      <a:pt x="322" y="18"/>
                      <a:pt x="322" y="17"/>
                    </a:cubicBezTo>
                    <a:cubicBezTo>
                      <a:pt x="322" y="16"/>
                      <a:pt x="320" y="16"/>
                      <a:pt x="319" y="15"/>
                    </a:cubicBezTo>
                    <a:cubicBezTo>
                      <a:pt x="318" y="15"/>
                      <a:pt x="316" y="14"/>
                      <a:pt x="316" y="16"/>
                    </a:cubicBezTo>
                    <a:cubicBezTo>
                      <a:pt x="316" y="17"/>
                      <a:pt x="317" y="17"/>
                      <a:pt x="317" y="18"/>
                    </a:cubicBezTo>
                    <a:cubicBezTo>
                      <a:pt x="317" y="19"/>
                      <a:pt x="317" y="20"/>
                      <a:pt x="317" y="19"/>
                    </a:cubicBezTo>
                    <a:cubicBezTo>
                      <a:pt x="318" y="20"/>
                      <a:pt x="317" y="19"/>
                      <a:pt x="317" y="19"/>
                    </a:cubicBezTo>
                    <a:close/>
                    <a:moveTo>
                      <a:pt x="296" y="27"/>
                    </a:moveTo>
                    <a:cubicBezTo>
                      <a:pt x="297" y="27"/>
                      <a:pt x="298" y="28"/>
                      <a:pt x="298" y="28"/>
                    </a:cubicBezTo>
                    <a:cubicBezTo>
                      <a:pt x="299" y="28"/>
                      <a:pt x="300" y="28"/>
                      <a:pt x="300" y="27"/>
                    </a:cubicBezTo>
                    <a:cubicBezTo>
                      <a:pt x="300" y="27"/>
                      <a:pt x="299" y="27"/>
                      <a:pt x="299" y="26"/>
                    </a:cubicBezTo>
                    <a:cubicBezTo>
                      <a:pt x="298" y="26"/>
                      <a:pt x="297" y="25"/>
                      <a:pt x="296" y="25"/>
                    </a:cubicBezTo>
                    <a:cubicBezTo>
                      <a:pt x="296" y="24"/>
                      <a:pt x="295" y="24"/>
                      <a:pt x="294" y="24"/>
                    </a:cubicBezTo>
                    <a:cubicBezTo>
                      <a:pt x="293" y="25"/>
                      <a:pt x="293" y="25"/>
                      <a:pt x="294" y="26"/>
                    </a:cubicBezTo>
                    <a:cubicBezTo>
                      <a:pt x="295" y="26"/>
                      <a:pt x="296" y="26"/>
                      <a:pt x="297" y="27"/>
                    </a:cubicBezTo>
                    <a:cubicBezTo>
                      <a:pt x="296" y="27"/>
                      <a:pt x="296" y="27"/>
                      <a:pt x="296" y="27"/>
                    </a:cubicBezTo>
                    <a:cubicBezTo>
                      <a:pt x="297" y="28"/>
                      <a:pt x="296" y="27"/>
                      <a:pt x="296" y="27"/>
                    </a:cubicBezTo>
                    <a:close/>
                    <a:moveTo>
                      <a:pt x="303" y="18"/>
                    </a:moveTo>
                    <a:cubicBezTo>
                      <a:pt x="304" y="17"/>
                      <a:pt x="305" y="17"/>
                      <a:pt x="306" y="16"/>
                    </a:cubicBezTo>
                    <a:cubicBezTo>
                      <a:pt x="307" y="15"/>
                      <a:pt x="308" y="14"/>
                      <a:pt x="308" y="14"/>
                    </a:cubicBezTo>
                    <a:cubicBezTo>
                      <a:pt x="309" y="13"/>
                      <a:pt x="311" y="12"/>
                      <a:pt x="310" y="12"/>
                    </a:cubicBezTo>
                    <a:cubicBezTo>
                      <a:pt x="310" y="12"/>
                      <a:pt x="309" y="11"/>
                      <a:pt x="308" y="12"/>
                    </a:cubicBezTo>
                    <a:cubicBezTo>
                      <a:pt x="307" y="12"/>
                      <a:pt x="307" y="14"/>
                      <a:pt x="306" y="14"/>
                    </a:cubicBezTo>
                    <a:cubicBezTo>
                      <a:pt x="305" y="15"/>
                      <a:pt x="304" y="16"/>
                      <a:pt x="303" y="16"/>
                    </a:cubicBezTo>
                    <a:cubicBezTo>
                      <a:pt x="301" y="16"/>
                      <a:pt x="300" y="16"/>
                      <a:pt x="298" y="16"/>
                    </a:cubicBezTo>
                    <a:cubicBezTo>
                      <a:pt x="297" y="16"/>
                      <a:pt x="296" y="15"/>
                      <a:pt x="294" y="15"/>
                    </a:cubicBezTo>
                    <a:cubicBezTo>
                      <a:pt x="292" y="15"/>
                      <a:pt x="291" y="18"/>
                      <a:pt x="289" y="17"/>
                    </a:cubicBezTo>
                    <a:cubicBezTo>
                      <a:pt x="288" y="16"/>
                      <a:pt x="287" y="17"/>
                      <a:pt x="287" y="18"/>
                    </a:cubicBezTo>
                    <a:cubicBezTo>
                      <a:pt x="287" y="19"/>
                      <a:pt x="288" y="20"/>
                      <a:pt x="289" y="20"/>
                    </a:cubicBezTo>
                    <a:cubicBezTo>
                      <a:pt x="291" y="21"/>
                      <a:pt x="292" y="20"/>
                      <a:pt x="293" y="20"/>
                    </a:cubicBezTo>
                    <a:cubicBezTo>
                      <a:pt x="294" y="20"/>
                      <a:pt x="296" y="20"/>
                      <a:pt x="297" y="20"/>
                    </a:cubicBezTo>
                    <a:cubicBezTo>
                      <a:pt x="299" y="20"/>
                      <a:pt x="302" y="20"/>
                      <a:pt x="303" y="18"/>
                    </a:cubicBezTo>
                    <a:cubicBezTo>
                      <a:pt x="303" y="18"/>
                      <a:pt x="303" y="18"/>
                      <a:pt x="303" y="18"/>
                    </a:cubicBezTo>
                    <a:cubicBezTo>
                      <a:pt x="304" y="17"/>
                      <a:pt x="303" y="18"/>
                      <a:pt x="303" y="18"/>
                    </a:cubicBezTo>
                    <a:close/>
                    <a:moveTo>
                      <a:pt x="294" y="30"/>
                    </a:moveTo>
                    <a:cubicBezTo>
                      <a:pt x="296" y="32"/>
                      <a:pt x="297" y="33"/>
                      <a:pt x="299" y="32"/>
                    </a:cubicBezTo>
                    <a:cubicBezTo>
                      <a:pt x="299" y="32"/>
                      <a:pt x="302" y="31"/>
                      <a:pt x="300" y="30"/>
                    </a:cubicBezTo>
                    <a:cubicBezTo>
                      <a:pt x="299" y="30"/>
                      <a:pt x="298" y="31"/>
                      <a:pt x="298" y="30"/>
                    </a:cubicBezTo>
                    <a:cubicBezTo>
                      <a:pt x="297" y="30"/>
                      <a:pt x="296" y="29"/>
                      <a:pt x="296" y="29"/>
                    </a:cubicBezTo>
                    <a:cubicBezTo>
                      <a:pt x="294" y="28"/>
                      <a:pt x="293" y="30"/>
                      <a:pt x="295" y="31"/>
                    </a:cubicBezTo>
                    <a:cubicBezTo>
                      <a:pt x="295" y="31"/>
                      <a:pt x="294" y="31"/>
                      <a:pt x="294" y="30"/>
                    </a:cubicBezTo>
                    <a:cubicBezTo>
                      <a:pt x="295" y="31"/>
                      <a:pt x="294" y="30"/>
                      <a:pt x="294" y="30"/>
                    </a:cubicBezTo>
                    <a:close/>
                    <a:moveTo>
                      <a:pt x="304" y="25"/>
                    </a:moveTo>
                    <a:cubicBezTo>
                      <a:pt x="305" y="25"/>
                      <a:pt x="305" y="26"/>
                      <a:pt x="306" y="26"/>
                    </a:cubicBezTo>
                    <a:cubicBezTo>
                      <a:pt x="308" y="26"/>
                      <a:pt x="309" y="25"/>
                      <a:pt x="310" y="24"/>
                    </a:cubicBezTo>
                    <a:cubicBezTo>
                      <a:pt x="310" y="23"/>
                      <a:pt x="311" y="23"/>
                      <a:pt x="312" y="22"/>
                    </a:cubicBezTo>
                    <a:cubicBezTo>
                      <a:pt x="313" y="21"/>
                      <a:pt x="314" y="20"/>
                      <a:pt x="313" y="19"/>
                    </a:cubicBezTo>
                    <a:cubicBezTo>
                      <a:pt x="311" y="19"/>
                      <a:pt x="309" y="20"/>
                      <a:pt x="308" y="21"/>
                    </a:cubicBezTo>
                    <a:cubicBezTo>
                      <a:pt x="307" y="21"/>
                      <a:pt x="305" y="22"/>
                      <a:pt x="304" y="22"/>
                    </a:cubicBezTo>
                    <a:cubicBezTo>
                      <a:pt x="301" y="23"/>
                      <a:pt x="303" y="24"/>
                      <a:pt x="305" y="25"/>
                    </a:cubicBezTo>
                    <a:cubicBezTo>
                      <a:pt x="304" y="25"/>
                      <a:pt x="304" y="25"/>
                      <a:pt x="304" y="25"/>
                    </a:cubicBezTo>
                    <a:cubicBezTo>
                      <a:pt x="305" y="25"/>
                      <a:pt x="304" y="25"/>
                      <a:pt x="304" y="25"/>
                    </a:cubicBezTo>
                    <a:close/>
                    <a:moveTo>
                      <a:pt x="230" y="46"/>
                    </a:moveTo>
                    <a:cubicBezTo>
                      <a:pt x="228" y="46"/>
                      <a:pt x="229" y="44"/>
                      <a:pt x="227" y="44"/>
                    </a:cubicBezTo>
                    <a:cubicBezTo>
                      <a:pt x="226" y="44"/>
                      <a:pt x="224" y="43"/>
                      <a:pt x="223" y="44"/>
                    </a:cubicBezTo>
                    <a:cubicBezTo>
                      <a:pt x="223" y="45"/>
                      <a:pt x="223" y="49"/>
                      <a:pt x="224" y="49"/>
                    </a:cubicBezTo>
                    <a:cubicBezTo>
                      <a:pt x="226" y="49"/>
                      <a:pt x="228" y="49"/>
                      <a:pt x="230" y="48"/>
                    </a:cubicBezTo>
                    <a:cubicBezTo>
                      <a:pt x="231" y="48"/>
                      <a:pt x="231" y="47"/>
                      <a:pt x="232" y="47"/>
                    </a:cubicBezTo>
                    <a:cubicBezTo>
                      <a:pt x="233" y="46"/>
                      <a:pt x="233" y="45"/>
                      <a:pt x="234" y="45"/>
                    </a:cubicBezTo>
                    <a:cubicBezTo>
                      <a:pt x="234" y="44"/>
                      <a:pt x="235" y="44"/>
                      <a:pt x="235" y="43"/>
                    </a:cubicBezTo>
                    <a:cubicBezTo>
                      <a:pt x="234" y="43"/>
                      <a:pt x="233" y="42"/>
                      <a:pt x="233" y="42"/>
                    </a:cubicBezTo>
                    <a:cubicBezTo>
                      <a:pt x="231" y="41"/>
                      <a:pt x="230" y="41"/>
                      <a:pt x="230" y="43"/>
                    </a:cubicBezTo>
                    <a:cubicBezTo>
                      <a:pt x="231" y="44"/>
                      <a:pt x="231" y="45"/>
                      <a:pt x="230" y="46"/>
                    </a:cubicBezTo>
                    <a:cubicBezTo>
                      <a:pt x="230" y="46"/>
                      <a:pt x="230" y="46"/>
                      <a:pt x="230" y="46"/>
                    </a:cubicBezTo>
                    <a:cubicBezTo>
                      <a:pt x="230" y="46"/>
                      <a:pt x="230" y="46"/>
                      <a:pt x="230" y="46"/>
                    </a:cubicBezTo>
                    <a:close/>
                    <a:moveTo>
                      <a:pt x="172" y="75"/>
                    </a:moveTo>
                    <a:cubicBezTo>
                      <a:pt x="172" y="75"/>
                      <a:pt x="173" y="75"/>
                      <a:pt x="174" y="74"/>
                    </a:cubicBezTo>
                    <a:cubicBezTo>
                      <a:pt x="174" y="73"/>
                      <a:pt x="173" y="72"/>
                      <a:pt x="173" y="71"/>
                    </a:cubicBezTo>
                    <a:cubicBezTo>
                      <a:pt x="172" y="70"/>
                      <a:pt x="171" y="70"/>
                      <a:pt x="171" y="69"/>
                    </a:cubicBezTo>
                    <a:cubicBezTo>
                      <a:pt x="171" y="68"/>
                      <a:pt x="170" y="67"/>
                      <a:pt x="169" y="67"/>
                    </a:cubicBezTo>
                    <a:cubicBezTo>
                      <a:pt x="168" y="68"/>
                      <a:pt x="168" y="69"/>
                      <a:pt x="168" y="70"/>
                    </a:cubicBezTo>
                    <a:cubicBezTo>
                      <a:pt x="167" y="71"/>
                      <a:pt x="166" y="72"/>
                      <a:pt x="165" y="72"/>
                    </a:cubicBezTo>
                    <a:cubicBezTo>
                      <a:pt x="164" y="73"/>
                      <a:pt x="163" y="73"/>
                      <a:pt x="162" y="74"/>
                    </a:cubicBezTo>
                    <a:cubicBezTo>
                      <a:pt x="162" y="75"/>
                      <a:pt x="160" y="75"/>
                      <a:pt x="160" y="75"/>
                    </a:cubicBezTo>
                    <a:cubicBezTo>
                      <a:pt x="158" y="76"/>
                      <a:pt x="158" y="77"/>
                      <a:pt x="160" y="77"/>
                    </a:cubicBezTo>
                    <a:cubicBezTo>
                      <a:pt x="162" y="77"/>
                      <a:pt x="163" y="75"/>
                      <a:pt x="165" y="75"/>
                    </a:cubicBezTo>
                    <a:cubicBezTo>
                      <a:pt x="166" y="75"/>
                      <a:pt x="167" y="74"/>
                      <a:pt x="167" y="75"/>
                    </a:cubicBezTo>
                    <a:cubicBezTo>
                      <a:pt x="168" y="75"/>
                      <a:pt x="168" y="76"/>
                      <a:pt x="168" y="77"/>
                    </a:cubicBezTo>
                    <a:cubicBezTo>
                      <a:pt x="169" y="79"/>
                      <a:pt x="172" y="76"/>
                      <a:pt x="172" y="75"/>
                    </a:cubicBezTo>
                    <a:cubicBezTo>
                      <a:pt x="172" y="75"/>
                      <a:pt x="172" y="75"/>
                      <a:pt x="172" y="75"/>
                    </a:cubicBezTo>
                    <a:cubicBezTo>
                      <a:pt x="172" y="75"/>
                      <a:pt x="172" y="75"/>
                      <a:pt x="172" y="75"/>
                    </a:cubicBezTo>
                    <a:close/>
                    <a:moveTo>
                      <a:pt x="166" y="85"/>
                    </a:moveTo>
                    <a:cubicBezTo>
                      <a:pt x="166" y="84"/>
                      <a:pt x="165" y="84"/>
                      <a:pt x="164" y="84"/>
                    </a:cubicBezTo>
                    <a:cubicBezTo>
                      <a:pt x="163" y="84"/>
                      <a:pt x="161" y="84"/>
                      <a:pt x="160" y="84"/>
                    </a:cubicBezTo>
                    <a:cubicBezTo>
                      <a:pt x="159" y="85"/>
                      <a:pt x="156" y="89"/>
                      <a:pt x="158" y="89"/>
                    </a:cubicBezTo>
                    <a:cubicBezTo>
                      <a:pt x="158" y="89"/>
                      <a:pt x="159" y="89"/>
                      <a:pt x="160" y="89"/>
                    </a:cubicBezTo>
                    <a:cubicBezTo>
                      <a:pt x="160" y="88"/>
                      <a:pt x="161" y="88"/>
                      <a:pt x="162" y="87"/>
                    </a:cubicBezTo>
                    <a:cubicBezTo>
                      <a:pt x="163" y="87"/>
                      <a:pt x="167" y="86"/>
                      <a:pt x="166" y="85"/>
                    </a:cubicBezTo>
                    <a:cubicBezTo>
                      <a:pt x="166" y="85"/>
                      <a:pt x="166" y="85"/>
                      <a:pt x="166" y="85"/>
                    </a:cubicBezTo>
                    <a:cubicBezTo>
                      <a:pt x="166" y="84"/>
                      <a:pt x="166" y="85"/>
                      <a:pt x="166" y="85"/>
                    </a:cubicBezTo>
                    <a:close/>
                    <a:moveTo>
                      <a:pt x="134" y="95"/>
                    </a:moveTo>
                    <a:cubicBezTo>
                      <a:pt x="133" y="97"/>
                      <a:pt x="131" y="98"/>
                      <a:pt x="132" y="100"/>
                    </a:cubicBezTo>
                    <a:cubicBezTo>
                      <a:pt x="132" y="102"/>
                      <a:pt x="135" y="98"/>
                      <a:pt x="135" y="98"/>
                    </a:cubicBezTo>
                    <a:cubicBezTo>
                      <a:pt x="136" y="97"/>
                      <a:pt x="137" y="97"/>
                      <a:pt x="137" y="96"/>
                    </a:cubicBezTo>
                    <a:cubicBezTo>
                      <a:pt x="137" y="95"/>
                      <a:pt x="137" y="94"/>
                      <a:pt x="136" y="93"/>
                    </a:cubicBezTo>
                    <a:cubicBezTo>
                      <a:pt x="135" y="93"/>
                      <a:pt x="134" y="95"/>
                      <a:pt x="134" y="96"/>
                    </a:cubicBezTo>
                    <a:cubicBezTo>
                      <a:pt x="134" y="95"/>
                      <a:pt x="134" y="95"/>
                      <a:pt x="134" y="95"/>
                    </a:cubicBezTo>
                    <a:cubicBezTo>
                      <a:pt x="134" y="96"/>
                      <a:pt x="134" y="95"/>
                      <a:pt x="134" y="95"/>
                    </a:cubicBezTo>
                    <a:close/>
                    <a:moveTo>
                      <a:pt x="350" y="3"/>
                    </a:moveTo>
                    <a:cubicBezTo>
                      <a:pt x="349" y="4"/>
                      <a:pt x="346" y="4"/>
                      <a:pt x="346" y="5"/>
                    </a:cubicBezTo>
                    <a:cubicBezTo>
                      <a:pt x="347" y="7"/>
                      <a:pt x="348" y="7"/>
                      <a:pt x="350" y="6"/>
                    </a:cubicBezTo>
                    <a:cubicBezTo>
                      <a:pt x="351" y="6"/>
                      <a:pt x="353" y="6"/>
                      <a:pt x="354" y="6"/>
                    </a:cubicBezTo>
                    <a:cubicBezTo>
                      <a:pt x="356" y="6"/>
                      <a:pt x="357" y="5"/>
                      <a:pt x="357" y="4"/>
                    </a:cubicBezTo>
                    <a:cubicBezTo>
                      <a:pt x="358" y="3"/>
                      <a:pt x="355" y="3"/>
                      <a:pt x="355" y="2"/>
                    </a:cubicBezTo>
                    <a:cubicBezTo>
                      <a:pt x="354" y="2"/>
                      <a:pt x="354" y="2"/>
                      <a:pt x="353" y="1"/>
                    </a:cubicBezTo>
                    <a:cubicBezTo>
                      <a:pt x="353" y="0"/>
                      <a:pt x="352" y="0"/>
                      <a:pt x="351" y="0"/>
                    </a:cubicBezTo>
                    <a:cubicBezTo>
                      <a:pt x="351" y="0"/>
                      <a:pt x="348" y="0"/>
                      <a:pt x="349" y="1"/>
                    </a:cubicBezTo>
                    <a:cubicBezTo>
                      <a:pt x="349" y="2"/>
                      <a:pt x="350" y="3"/>
                      <a:pt x="349" y="4"/>
                    </a:cubicBezTo>
                    <a:cubicBezTo>
                      <a:pt x="349" y="3"/>
                      <a:pt x="349" y="3"/>
                      <a:pt x="350" y="3"/>
                    </a:cubicBezTo>
                    <a:cubicBezTo>
                      <a:pt x="349" y="4"/>
                      <a:pt x="350" y="3"/>
                      <a:pt x="350" y="3"/>
                    </a:cubicBezTo>
                    <a:close/>
                    <a:moveTo>
                      <a:pt x="180" y="68"/>
                    </a:moveTo>
                    <a:cubicBezTo>
                      <a:pt x="180" y="69"/>
                      <a:pt x="180" y="70"/>
                      <a:pt x="180" y="70"/>
                    </a:cubicBezTo>
                    <a:cubicBezTo>
                      <a:pt x="180" y="71"/>
                      <a:pt x="179" y="71"/>
                      <a:pt x="179" y="72"/>
                    </a:cubicBezTo>
                    <a:cubicBezTo>
                      <a:pt x="179" y="73"/>
                      <a:pt x="181" y="73"/>
                      <a:pt x="181" y="72"/>
                    </a:cubicBezTo>
                    <a:cubicBezTo>
                      <a:pt x="181" y="71"/>
                      <a:pt x="181" y="71"/>
                      <a:pt x="181" y="70"/>
                    </a:cubicBezTo>
                    <a:cubicBezTo>
                      <a:pt x="182" y="70"/>
                      <a:pt x="182" y="69"/>
                      <a:pt x="182" y="69"/>
                    </a:cubicBezTo>
                    <a:cubicBezTo>
                      <a:pt x="182" y="67"/>
                      <a:pt x="181" y="68"/>
                      <a:pt x="180" y="68"/>
                    </a:cubicBezTo>
                    <a:cubicBezTo>
                      <a:pt x="180" y="68"/>
                      <a:pt x="180" y="68"/>
                      <a:pt x="180" y="68"/>
                    </a:cubicBezTo>
                    <a:cubicBezTo>
                      <a:pt x="180" y="69"/>
                      <a:pt x="180" y="68"/>
                      <a:pt x="180" y="68"/>
                    </a:cubicBezTo>
                    <a:close/>
                    <a:moveTo>
                      <a:pt x="185" y="61"/>
                    </a:moveTo>
                    <a:cubicBezTo>
                      <a:pt x="186" y="59"/>
                      <a:pt x="184" y="61"/>
                      <a:pt x="183" y="61"/>
                    </a:cubicBezTo>
                    <a:cubicBezTo>
                      <a:pt x="182" y="62"/>
                      <a:pt x="180" y="62"/>
                      <a:pt x="180" y="63"/>
                    </a:cubicBezTo>
                    <a:cubicBezTo>
                      <a:pt x="180" y="63"/>
                      <a:pt x="179" y="64"/>
                      <a:pt x="179" y="65"/>
                    </a:cubicBezTo>
                    <a:cubicBezTo>
                      <a:pt x="179" y="66"/>
                      <a:pt x="182" y="65"/>
                      <a:pt x="182" y="64"/>
                    </a:cubicBezTo>
                    <a:cubicBezTo>
                      <a:pt x="182" y="63"/>
                      <a:pt x="183" y="63"/>
                      <a:pt x="184" y="62"/>
                    </a:cubicBezTo>
                    <a:cubicBezTo>
                      <a:pt x="184" y="62"/>
                      <a:pt x="185" y="61"/>
                      <a:pt x="185" y="61"/>
                    </a:cubicBezTo>
                    <a:cubicBezTo>
                      <a:pt x="185" y="60"/>
                      <a:pt x="185" y="61"/>
                      <a:pt x="185" y="61"/>
                    </a:cubicBezTo>
                    <a:close/>
                    <a:moveTo>
                      <a:pt x="167" y="103"/>
                    </a:moveTo>
                    <a:cubicBezTo>
                      <a:pt x="167" y="103"/>
                      <a:pt x="168" y="102"/>
                      <a:pt x="168" y="102"/>
                    </a:cubicBezTo>
                    <a:cubicBezTo>
                      <a:pt x="169" y="102"/>
                      <a:pt x="170" y="102"/>
                      <a:pt x="170" y="101"/>
                    </a:cubicBezTo>
                    <a:cubicBezTo>
                      <a:pt x="171" y="100"/>
                      <a:pt x="169" y="99"/>
                      <a:pt x="169" y="99"/>
                    </a:cubicBezTo>
                    <a:cubicBezTo>
                      <a:pt x="167" y="99"/>
                      <a:pt x="166" y="99"/>
                      <a:pt x="166" y="100"/>
                    </a:cubicBezTo>
                    <a:cubicBezTo>
                      <a:pt x="165" y="101"/>
                      <a:pt x="165" y="102"/>
                      <a:pt x="165" y="102"/>
                    </a:cubicBezTo>
                    <a:cubicBezTo>
                      <a:pt x="165" y="104"/>
                      <a:pt x="166" y="104"/>
                      <a:pt x="167" y="103"/>
                    </a:cubicBezTo>
                    <a:cubicBezTo>
                      <a:pt x="167" y="103"/>
                      <a:pt x="167" y="103"/>
                      <a:pt x="167" y="103"/>
                    </a:cubicBezTo>
                    <a:cubicBezTo>
                      <a:pt x="167" y="103"/>
                      <a:pt x="167" y="103"/>
                      <a:pt x="167" y="103"/>
                    </a:cubicBezTo>
                    <a:close/>
                    <a:moveTo>
                      <a:pt x="239" y="41"/>
                    </a:moveTo>
                    <a:cubicBezTo>
                      <a:pt x="240" y="41"/>
                      <a:pt x="242" y="41"/>
                      <a:pt x="243" y="40"/>
                    </a:cubicBezTo>
                    <a:cubicBezTo>
                      <a:pt x="243" y="39"/>
                      <a:pt x="244" y="39"/>
                      <a:pt x="244" y="38"/>
                    </a:cubicBezTo>
                    <a:cubicBezTo>
                      <a:pt x="245" y="38"/>
                      <a:pt x="246" y="38"/>
                      <a:pt x="246" y="37"/>
                    </a:cubicBezTo>
                    <a:cubicBezTo>
                      <a:pt x="246" y="36"/>
                      <a:pt x="244" y="36"/>
                      <a:pt x="244" y="36"/>
                    </a:cubicBezTo>
                    <a:cubicBezTo>
                      <a:pt x="242" y="36"/>
                      <a:pt x="242" y="35"/>
                      <a:pt x="241" y="34"/>
                    </a:cubicBezTo>
                    <a:cubicBezTo>
                      <a:pt x="239" y="33"/>
                      <a:pt x="237" y="35"/>
                      <a:pt x="236" y="36"/>
                    </a:cubicBezTo>
                    <a:cubicBezTo>
                      <a:pt x="236" y="36"/>
                      <a:pt x="235" y="37"/>
                      <a:pt x="234" y="37"/>
                    </a:cubicBezTo>
                    <a:cubicBezTo>
                      <a:pt x="234" y="37"/>
                      <a:pt x="232" y="37"/>
                      <a:pt x="232" y="38"/>
                    </a:cubicBezTo>
                    <a:cubicBezTo>
                      <a:pt x="232" y="39"/>
                      <a:pt x="234" y="39"/>
                      <a:pt x="234" y="40"/>
                    </a:cubicBezTo>
                    <a:cubicBezTo>
                      <a:pt x="236" y="40"/>
                      <a:pt x="237" y="41"/>
                      <a:pt x="239" y="41"/>
                    </a:cubicBezTo>
                    <a:cubicBezTo>
                      <a:pt x="239" y="41"/>
                      <a:pt x="239" y="41"/>
                      <a:pt x="239" y="41"/>
                    </a:cubicBezTo>
                    <a:cubicBezTo>
                      <a:pt x="241" y="41"/>
                      <a:pt x="239" y="41"/>
                      <a:pt x="239" y="41"/>
                    </a:cubicBezTo>
                    <a:close/>
                    <a:moveTo>
                      <a:pt x="202" y="61"/>
                    </a:moveTo>
                    <a:cubicBezTo>
                      <a:pt x="201" y="62"/>
                      <a:pt x="201" y="61"/>
                      <a:pt x="200" y="63"/>
                    </a:cubicBezTo>
                    <a:cubicBezTo>
                      <a:pt x="200" y="64"/>
                      <a:pt x="201" y="65"/>
                      <a:pt x="202" y="65"/>
                    </a:cubicBezTo>
                    <a:cubicBezTo>
                      <a:pt x="203" y="65"/>
                      <a:pt x="204" y="65"/>
                      <a:pt x="205" y="64"/>
                    </a:cubicBezTo>
                    <a:cubicBezTo>
                      <a:pt x="207" y="63"/>
                      <a:pt x="208" y="64"/>
                      <a:pt x="209" y="63"/>
                    </a:cubicBezTo>
                    <a:cubicBezTo>
                      <a:pt x="210" y="63"/>
                      <a:pt x="210" y="63"/>
                      <a:pt x="210" y="62"/>
                    </a:cubicBezTo>
                    <a:cubicBezTo>
                      <a:pt x="211" y="61"/>
                      <a:pt x="212" y="62"/>
                      <a:pt x="212" y="62"/>
                    </a:cubicBezTo>
                    <a:cubicBezTo>
                      <a:pt x="214" y="62"/>
                      <a:pt x="216" y="61"/>
                      <a:pt x="217" y="60"/>
                    </a:cubicBezTo>
                    <a:cubicBezTo>
                      <a:pt x="217" y="59"/>
                      <a:pt x="217" y="58"/>
                      <a:pt x="217" y="57"/>
                    </a:cubicBezTo>
                    <a:cubicBezTo>
                      <a:pt x="218" y="55"/>
                      <a:pt x="219" y="54"/>
                      <a:pt x="218" y="52"/>
                    </a:cubicBezTo>
                    <a:cubicBezTo>
                      <a:pt x="218" y="51"/>
                      <a:pt x="214" y="49"/>
                      <a:pt x="213" y="51"/>
                    </a:cubicBezTo>
                    <a:cubicBezTo>
                      <a:pt x="212" y="53"/>
                      <a:pt x="213" y="54"/>
                      <a:pt x="211" y="54"/>
                    </a:cubicBezTo>
                    <a:cubicBezTo>
                      <a:pt x="211" y="54"/>
                      <a:pt x="210" y="54"/>
                      <a:pt x="209" y="55"/>
                    </a:cubicBezTo>
                    <a:cubicBezTo>
                      <a:pt x="209" y="55"/>
                      <a:pt x="209" y="56"/>
                      <a:pt x="208" y="56"/>
                    </a:cubicBezTo>
                    <a:cubicBezTo>
                      <a:pt x="207" y="56"/>
                      <a:pt x="206" y="55"/>
                      <a:pt x="205" y="55"/>
                    </a:cubicBezTo>
                    <a:cubicBezTo>
                      <a:pt x="204" y="55"/>
                      <a:pt x="203" y="54"/>
                      <a:pt x="202" y="55"/>
                    </a:cubicBezTo>
                    <a:cubicBezTo>
                      <a:pt x="201" y="56"/>
                      <a:pt x="203" y="57"/>
                      <a:pt x="203" y="58"/>
                    </a:cubicBezTo>
                    <a:cubicBezTo>
                      <a:pt x="204" y="59"/>
                      <a:pt x="203" y="61"/>
                      <a:pt x="202" y="61"/>
                    </a:cubicBezTo>
                    <a:cubicBezTo>
                      <a:pt x="202" y="61"/>
                      <a:pt x="202" y="61"/>
                      <a:pt x="202" y="61"/>
                    </a:cubicBezTo>
                    <a:cubicBezTo>
                      <a:pt x="202" y="61"/>
                      <a:pt x="202" y="61"/>
                      <a:pt x="202" y="61"/>
                    </a:cubicBezTo>
                    <a:close/>
                    <a:moveTo>
                      <a:pt x="176" y="92"/>
                    </a:moveTo>
                    <a:cubicBezTo>
                      <a:pt x="176" y="92"/>
                      <a:pt x="175" y="93"/>
                      <a:pt x="175" y="94"/>
                    </a:cubicBezTo>
                    <a:cubicBezTo>
                      <a:pt x="175" y="94"/>
                      <a:pt x="176" y="94"/>
                      <a:pt x="177" y="94"/>
                    </a:cubicBezTo>
                    <a:cubicBezTo>
                      <a:pt x="177" y="93"/>
                      <a:pt x="178" y="93"/>
                      <a:pt x="178" y="92"/>
                    </a:cubicBezTo>
                    <a:cubicBezTo>
                      <a:pt x="177" y="91"/>
                      <a:pt x="177" y="91"/>
                      <a:pt x="176" y="92"/>
                    </a:cubicBezTo>
                    <a:cubicBezTo>
                      <a:pt x="176" y="92"/>
                      <a:pt x="176" y="92"/>
                      <a:pt x="176" y="92"/>
                    </a:cubicBezTo>
                    <a:cubicBezTo>
                      <a:pt x="176" y="92"/>
                      <a:pt x="176" y="92"/>
                      <a:pt x="176" y="92"/>
                    </a:cubicBezTo>
                    <a:close/>
                    <a:moveTo>
                      <a:pt x="193" y="72"/>
                    </a:moveTo>
                    <a:cubicBezTo>
                      <a:pt x="192" y="72"/>
                      <a:pt x="191" y="72"/>
                      <a:pt x="191" y="72"/>
                    </a:cubicBezTo>
                    <a:cubicBezTo>
                      <a:pt x="190" y="71"/>
                      <a:pt x="189" y="71"/>
                      <a:pt x="188" y="71"/>
                    </a:cubicBezTo>
                    <a:cubicBezTo>
                      <a:pt x="186" y="71"/>
                      <a:pt x="187" y="73"/>
                      <a:pt x="187" y="74"/>
                    </a:cubicBezTo>
                    <a:cubicBezTo>
                      <a:pt x="187" y="75"/>
                      <a:pt x="187" y="76"/>
                      <a:pt x="187" y="76"/>
                    </a:cubicBezTo>
                    <a:cubicBezTo>
                      <a:pt x="187" y="77"/>
                      <a:pt x="186" y="77"/>
                      <a:pt x="186" y="77"/>
                    </a:cubicBezTo>
                    <a:cubicBezTo>
                      <a:pt x="184" y="78"/>
                      <a:pt x="182" y="80"/>
                      <a:pt x="180" y="81"/>
                    </a:cubicBezTo>
                    <a:cubicBezTo>
                      <a:pt x="179" y="81"/>
                      <a:pt x="179" y="81"/>
                      <a:pt x="179" y="80"/>
                    </a:cubicBezTo>
                    <a:cubicBezTo>
                      <a:pt x="179" y="79"/>
                      <a:pt x="180" y="79"/>
                      <a:pt x="180" y="78"/>
                    </a:cubicBezTo>
                    <a:cubicBezTo>
                      <a:pt x="182" y="78"/>
                      <a:pt x="184" y="77"/>
                      <a:pt x="182" y="75"/>
                    </a:cubicBezTo>
                    <a:cubicBezTo>
                      <a:pt x="181" y="74"/>
                      <a:pt x="180" y="76"/>
                      <a:pt x="178" y="75"/>
                    </a:cubicBezTo>
                    <a:cubicBezTo>
                      <a:pt x="177" y="75"/>
                      <a:pt x="177" y="79"/>
                      <a:pt x="175" y="79"/>
                    </a:cubicBezTo>
                    <a:cubicBezTo>
                      <a:pt x="173" y="80"/>
                      <a:pt x="174" y="82"/>
                      <a:pt x="173" y="83"/>
                    </a:cubicBezTo>
                    <a:cubicBezTo>
                      <a:pt x="172" y="83"/>
                      <a:pt x="172" y="84"/>
                      <a:pt x="171" y="84"/>
                    </a:cubicBezTo>
                    <a:cubicBezTo>
                      <a:pt x="171" y="85"/>
                      <a:pt x="174" y="86"/>
                      <a:pt x="174" y="86"/>
                    </a:cubicBezTo>
                    <a:cubicBezTo>
                      <a:pt x="175" y="87"/>
                      <a:pt x="177" y="88"/>
                      <a:pt x="179" y="87"/>
                    </a:cubicBezTo>
                    <a:cubicBezTo>
                      <a:pt x="181" y="86"/>
                      <a:pt x="181" y="83"/>
                      <a:pt x="183" y="83"/>
                    </a:cubicBezTo>
                    <a:cubicBezTo>
                      <a:pt x="185" y="82"/>
                      <a:pt x="185" y="80"/>
                      <a:pt x="187" y="80"/>
                    </a:cubicBezTo>
                    <a:cubicBezTo>
                      <a:pt x="189" y="80"/>
                      <a:pt x="192" y="81"/>
                      <a:pt x="193" y="79"/>
                    </a:cubicBezTo>
                    <a:cubicBezTo>
                      <a:pt x="194" y="78"/>
                      <a:pt x="193" y="76"/>
                      <a:pt x="193" y="75"/>
                    </a:cubicBezTo>
                    <a:cubicBezTo>
                      <a:pt x="194" y="74"/>
                      <a:pt x="194" y="74"/>
                      <a:pt x="194" y="73"/>
                    </a:cubicBezTo>
                    <a:cubicBezTo>
                      <a:pt x="194" y="73"/>
                      <a:pt x="193" y="72"/>
                      <a:pt x="193" y="72"/>
                    </a:cubicBezTo>
                    <a:cubicBezTo>
                      <a:pt x="193" y="72"/>
                      <a:pt x="193" y="72"/>
                      <a:pt x="193" y="72"/>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59" name="Freeform 110">
                <a:extLst>
                  <a:ext uri="{FF2B5EF4-FFF2-40B4-BE49-F238E27FC236}">
                    <a16:creationId xmlns:a16="http://schemas.microsoft.com/office/drawing/2014/main" id="{D3FDEC0D-7CA3-89D5-5CDA-6727583DEA97}"/>
                  </a:ext>
                </a:extLst>
              </p:cNvPr>
              <p:cNvSpPr/>
              <p:nvPr>
                <p:custDataLst>
                  <p:tags r:id="rId197"/>
                </p:custDataLst>
              </p:nvPr>
            </p:nvSpPr>
            <p:spPr bwMode="auto">
              <a:xfrm>
                <a:off x="6032632" y="2943545"/>
                <a:ext cx="450671" cy="229592"/>
              </a:xfrm>
              <a:custGeom>
                <a:avLst/>
                <a:gdLst>
                  <a:gd name="connsiteX0" fmla="*/ 358727 w 560889"/>
                  <a:gd name="connsiteY0" fmla="*/ 519 h 285741"/>
                  <a:gd name="connsiteX1" fmla="*/ 368000 w 560889"/>
                  <a:gd name="connsiteY1" fmla="*/ 9780 h 285741"/>
                  <a:gd name="connsiteX2" fmla="*/ 373564 w 560889"/>
                  <a:gd name="connsiteY2" fmla="*/ 19040 h 285741"/>
                  <a:gd name="connsiteX3" fmla="*/ 375419 w 560889"/>
                  <a:gd name="connsiteY3" fmla="*/ 26448 h 285741"/>
                  <a:gd name="connsiteX4" fmla="*/ 373564 w 560889"/>
                  <a:gd name="connsiteY4" fmla="*/ 35709 h 285741"/>
                  <a:gd name="connsiteX5" fmla="*/ 375419 w 560889"/>
                  <a:gd name="connsiteY5" fmla="*/ 41265 h 285741"/>
                  <a:gd name="connsiteX6" fmla="*/ 377274 w 560889"/>
                  <a:gd name="connsiteY6" fmla="*/ 46821 h 285741"/>
                  <a:gd name="connsiteX7" fmla="*/ 388402 w 560889"/>
                  <a:gd name="connsiteY7" fmla="*/ 50526 h 285741"/>
                  <a:gd name="connsiteX8" fmla="*/ 410658 w 560889"/>
                  <a:gd name="connsiteY8" fmla="*/ 57934 h 285741"/>
                  <a:gd name="connsiteX9" fmla="*/ 412513 w 560889"/>
                  <a:gd name="connsiteY9" fmla="*/ 69046 h 285741"/>
                  <a:gd name="connsiteX10" fmla="*/ 416222 w 560889"/>
                  <a:gd name="connsiteY10" fmla="*/ 82011 h 285741"/>
                  <a:gd name="connsiteX11" fmla="*/ 429205 w 560889"/>
                  <a:gd name="connsiteY11" fmla="*/ 83863 h 285741"/>
                  <a:gd name="connsiteX12" fmla="*/ 436624 w 560889"/>
                  <a:gd name="connsiteY12" fmla="*/ 83863 h 285741"/>
                  <a:gd name="connsiteX13" fmla="*/ 442188 w 560889"/>
                  <a:gd name="connsiteY13" fmla="*/ 85715 h 285741"/>
                  <a:gd name="connsiteX14" fmla="*/ 473718 w 560889"/>
                  <a:gd name="connsiteY14" fmla="*/ 82011 h 285741"/>
                  <a:gd name="connsiteX15" fmla="*/ 492265 w 560889"/>
                  <a:gd name="connsiteY15" fmla="*/ 100532 h 285741"/>
                  <a:gd name="connsiteX16" fmla="*/ 507103 w 560889"/>
                  <a:gd name="connsiteY16" fmla="*/ 100532 h 285741"/>
                  <a:gd name="connsiteX17" fmla="*/ 520086 w 560889"/>
                  <a:gd name="connsiteY17" fmla="*/ 104236 h 285741"/>
                  <a:gd name="connsiteX18" fmla="*/ 529359 w 560889"/>
                  <a:gd name="connsiteY18" fmla="*/ 106088 h 285741"/>
                  <a:gd name="connsiteX19" fmla="*/ 536778 w 560889"/>
                  <a:gd name="connsiteY19" fmla="*/ 106088 h 285741"/>
                  <a:gd name="connsiteX20" fmla="*/ 544197 w 560889"/>
                  <a:gd name="connsiteY20" fmla="*/ 115349 h 285741"/>
                  <a:gd name="connsiteX21" fmla="*/ 551616 w 560889"/>
                  <a:gd name="connsiteY21" fmla="*/ 117201 h 285741"/>
                  <a:gd name="connsiteX22" fmla="*/ 559035 w 560889"/>
                  <a:gd name="connsiteY22" fmla="*/ 115349 h 285741"/>
                  <a:gd name="connsiteX23" fmla="*/ 560889 w 560889"/>
                  <a:gd name="connsiteY23" fmla="*/ 122757 h 285741"/>
                  <a:gd name="connsiteX24" fmla="*/ 555325 w 560889"/>
                  <a:gd name="connsiteY24" fmla="*/ 132017 h 285741"/>
                  <a:gd name="connsiteX25" fmla="*/ 551616 w 560889"/>
                  <a:gd name="connsiteY25" fmla="*/ 141278 h 285741"/>
                  <a:gd name="connsiteX26" fmla="*/ 555325 w 560889"/>
                  <a:gd name="connsiteY26" fmla="*/ 144982 h 285741"/>
                  <a:gd name="connsiteX27" fmla="*/ 551616 w 560889"/>
                  <a:gd name="connsiteY27" fmla="*/ 148686 h 285741"/>
                  <a:gd name="connsiteX28" fmla="*/ 546052 w 560889"/>
                  <a:gd name="connsiteY28" fmla="*/ 157947 h 285741"/>
                  <a:gd name="connsiteX29" fmla="*/ 553470 w 560889"/>
                  <a:gd name="connsiteY29" fmla="*/ 169059 h 285741"/>
                  <a:gd name="connsiteX30" fmla="*/ 547906 w 560889"/>
                  <a:gd name="connsiteY30" fmla="*/ 182024 h 285741"/>
                  <a:gd name="connsiteX31" fmla="*/ 534923 w 560889"/>
                  <a:gd name="connsiteY31" fmla="*/ 183876 h 285741"/>
                  <a:gd name="connsiteX32" fmla="*/ 520086 w 560889"/>
                  <a:gd name="connsiteY32" fmla="*/ 183876 h 285741"/>
                  <a:gd name="connsiteX33" fmla="*/ 507103 w 560889"/>
                  <a:gd name="connsiteY33" fmla="*/ 193136 h 285741"/>
                  <a:gd name="connsiteX34" fmla="*/ 501539 w 560889"/>
                  <a:gd name="connsiteY34" fmla="*/ 204249 h 285741"/>
                  <a:gd name="connsiteX35" fmla="*/ 495975 w 560889"/>
                  <a:gd name="connsiteY35" fmla="*/ 215361 h 285741"/>
                  <a:gd name="connsiteX36" fmla="*/ 481137 w 560889"/>
                  <a:gd name="connsiteY36" fmla="*/ 217213 h 285741"/>
                  <a:gd name="connsiteX37" fmla="*/ 477428 w 560889"/>
                  <a:gd name="connsiteY37" fmla="*/ 220917 h 285741"/>
                  <a:gd name="connsiteX38" fmla="*/ 471863 w 560889"/>
                  <a:gd name="connsiteY38" fmla="*/ 224622 h 285741"/>
                  <a:gd name="connsiteX39" fmla="*/ 466299 w 560889"/>
                  <a:gd name="connsiteY39" fmla="*/ 224622 h 285741"/>
                  <a:gd name="connsiteX40" fmla="*/ 462590 w 560889"/>
                  <a:gd name="connsiteY40" fmla="*/ 230178 h 285741"/>
                  <a:gd name="connsiteX41" fmla="*/ 453316 w 560889"/>
                  <a:gd name="connsiteY41" fmla="*/ 232030 h 285741"/>
                  <a:gd name="connsiteX42" fmla="*/ 447752 w 560889"/>
                  <a:gd name="connsiteY42" fmla="*/ 228326 h 285741"/>
                  <a:gd name="connsiteX43" fmla="*/ 432915 w 560889"/>
                  <a:gd name="connsiteY43" fmla="*/ 233882 h 285741"/>
                  <a:gd name="connsiteX44" fmla="*/ 419932 w 560889"/>
                  <a:gd name="connsiteY44" fmla="*/ 239438 h 285741"/>
                  <a:gd name="connsiteX45" fmla="*/ 408804 w 560889"/>
                  <a:gd name="connsiteY45" fmla="*/ 248699 h 285741"/>
                  <a:gd name="connsiteX46" fmla="*/ 403239 w 560889"/>
                  <a:gd name="connsiteY46" fmla="*/ 252403 h 285741"/>
                  <a:gd name="connsiteX47" fmla="*/ 408804 w 560889"/>
                  <a:gd name="connsiteY47" fmla="*/ 241290 h 285741"/>
                  <a:gd name="connsiteX48" fmla="*/ 403239 w 560889"/>
                  <a:gd name="connsiteY48" fmla="*/ 243143 h 285741"/>
                  <a:gd name="connsiteX49" fmla="*/ 395821 w 560889"/>
                  <a:gd name="connsiteY49" fmla="*/ 252403 h 285741"/>
                  <a:gd name="connsiteX50" fmla="*/ 384692 w 560889"/>
                  <a:gd name="connsiteY50" fmla="*/ 256107 h 285741"/>
                  <a:gd name="connsiteX51" fmla="*/ 382838 w 560889"/>
                  <a:gd name="connsiteY51" fmla="*/ 250551 h 285741"/>
                  <a:gd name="connsiteX52" fmla="*/ 377274 w 560889"/>
                  <a:gd name="connsiteY52" fmla="*/ 248699 h 285741"/>
                  <a:gd name="connsiteX53" fmla="*/ 373564 w 560889"/>
                  <a:gd name="connsiteY53" fmla="*/ 250551 h 285741"/>
                  <a:gd name="connsiteX54" fmla="*/ 366145 w 560889"/>
                  <a:gd name="connsiteY54" fmla="*/ 250551 h 285741"/>
                  <a:gd name="connsiteX55" fmla="*/ 364291 w 560889"/>
                  <a:gd name="connsiteY55" fmla="*/ 254255 h 285741"/>
                  <a:gd name="connsiteX56" fmla="*/ 369590 w 560889"/>
                  <a:gd name="connsiteY56" fmla="*/ 257430 h 285741"/>
                  <a:gd name="connsiteX57" fmla="*/ 358727 w 560889"/>
                  <a:gd name="connsiteY57" fmla="*/ 257430 h 285741"/>
                  <a:gd name="connsiteX58" fmla="*/ 358727 w 560889"/>
                  <a:gd name="connsiteY58" fmla="*/ 256107 h 285741"/>
                  <a:gd name="connsiteX59" fmla="*/ 355017 w 560889"/>
                  <a:gd name="connsiteY59" fmla="*/ 256107 h 285741"/>
                  <a:gd name="connsiteX60" fmla="*/ 347598 w 560889"/>
                  <a:gd name="connsiteY60" fmla="*/ 254255 h 285741"/>
                  <a:gd name="connsiteX61" fmla="*/ 343889 w 560889"/>
                  <a:gd name="connsiteY61" fmla="*/ 252403 h 285741"/>
                  <a:gd name="connsiteX62" fmla="*/ 329051 w 560889"/>
                  <a:gd name="connsiteY62" fmla="*/ 254255 h 285741"/>
                  <a:gd name="connsiteX63" fmla="*/ 314214 w 560889"/>
                  <a:gd name="connsiteY63" fmla="*/ 254255 h 285741"/>
                  <a:gd name="connsiteX64" fmla="*/ 303086 w 560889"/>
                  <a:gd name="connsiteY64" fmla="*/ 246847 h 285741"/>
                  <a:gd name="connsiteX65" fmla="*/ 304940 w 560889"/>
                  <a:gd name="connsiteY65" fmla="*/ 239438 h 285741"/>
                  <a:gd name="connsiteX66" fmla="*/ 323487 w 560889"/>
                  <a:gd name="connsiteY66" fmla="*/ 237586 h 285741"/>
                  <a:gd name="connsiteX67" fmla="*/ 325342 w 560889"/>
                  <a:gd name="connsiteY67" fmla="*/ 233882 h 285741"/>
                  <a:gd name="connsiteX68" fmla="*/ 323487 w 560889"/>
                  <a:gd name="connsiteY68" fmla="*/ 232030 h 285741"/>
                  <a:gd name="connsiteX69" fmla="*/ 317923 w 560889"/>
                  <a:gd name="connsiteY69" fmla="*/ 233882 h 285741"/>
                  <a:gd name="connsiteX70" fmla="*/ 312359 w 560889"/>
                  <a:gd name="connsiteY70" fmla="*/ 233882 h 285741"/>
                  <a:gd name="connsiteX71" fmla="*/ 306795 w 560889"/>
                  <a:gd name="connsiteY71" fmla="*/ 228326 h 285741"/>
                  <a:gd name="connsiteX72" fmla="*/ 306795 w 560889"/>
                  <a:gd name="connsiteY72" fmla="*/ 222770 h 285741"/>
                  <a:gd name="connsiteX73" fmla="*/ 303086 w 560889"/>
                  <a:gd name="connsiteY73" fmla="*/ 226474 h 285741"/>
                  <a:gd name="connsiteX74" fmla="*/ 295667 w 560889"/>
                  <a:gd name="connsiteY74" fmla="*/ 230178 h 285741"/>
                  <a:gd name="connsiteX75" fmla="*/ 290103 w 560889"/>
                  <a:gd name="connsiteY75" fmla="*/ 228326 h 285741"/>
                  <a:gd name="connsiteX76" fmla="*/ 286393 w 560889"/>
                  <a:gd name="connsiteY76" fmla="*/ 232030 h 285741"/>
                  <a:gd name="connsiteX77" fmla="*/ 275265 w 560889"/>
                  <a:gd name="connsiteY77" fmla="*/ 235734 h 285741"/>
                  <a:gd name="connsiteX78" fmla="*/ 264137 w 560889"/>
                  <a:gd name="connsiteY78" fmla="*/ 239438 h 285741"/>
                  <a:gd name="connsiteX79" fmla="*/ 258573 w 560889"/>
                  <a:gd name="connsiteY79" fmla="*/ 246847 h 285741"/>
                  <a:gd name="connsiteX80" fmla="*/ 249299 w 560889"/>
                  <a:gd name="connsiteY80" fmla="*/ 241290 h 285741"/>
                  <a:gd name="connsiteX81" fmla="*/ 247444 w 560889"/>
                  <a:gd name="connsiteY81" fmla="*/ 241290 h 285741"/>
                  <a:gd name="connsiteX82" fmla="*/ 247444 w 560889"/>
                  <a:gd name="connsiteY82" fmla="*/ 246847 h 285741"/>
                  <a:gd name="connsiteX83" fmla="*/ 251154 w 560889"/>
                  <a:gd name="connsiteY83" fmla="*/ 252403 h 285741"/>
                  <a:gd name="connsiteX84" fmla="*/ 254863 w 560889"/>
                  <a:gd name="connsiteY84" fmla="*/ 256107 h 285741"/>
                  <a:gd name="connsiteX85" fmla="*/ 251154 w 560889"/>
                  <a:gd name="connsiteY85" fmla="*/ 261663 h 285741"/>
                  <a:gd name="connsiteX86" fmla="*/ 245590 w 560889"/>
                  <a:gd name="connsiteY86" fmla="*/ 265368 h 285741"/>
                  <a:gd name="connsiteX87" fmla="*/ 236316 w 560889"/>
                  <a:gd name="connsiteY87" fmla="*/ 270924 h 285741"/>
                  <a:gd name="connsiteX88" fmla="*/ 232607 w 560889"/>
                  <a:gd name="connsiteY88" fmla="*/ 267220 h 285741"/>
                  <a:gd name="connsiteX89" fmla="*/ 230752 w 560889"/>
                  <a:gd name="connsiteY89" fmla="*/ 272776 h 285741"/>
                  <a:gd name="connsiteX90" fmla="*/ 232607 w 560889"/>
                  <a:gd name="connsiteY90" fmla="*/ 278332 h 285741"/>
                  <a:gd name="connsiteX91" fmla="*/ 234462 w 560889"/>
                  <a:gd name="connsiteY91" fmla="*/ 285741 h 285741"/>
                  <a:gd name="connsiteX92" fmla="*/ 214060 w 560889"/>
                  <a:gd name="connsiteY92" fmla="*/ 282036 h 285741"/>
                  <a:gd name="connsiteX93" fmla="*/ 202932 w 560889"/>
                  <a:gd name="connsiteY93" fmla="*/ 285741 h 285741"/>
                  <a:gd name="connsiteX94" fmla="*/ 189949 w 560889"/>
                  <a:gd name="connsiteY94" fmla="*/ 282036 h 285741"/>
                  <a:gd name="connsiteX95" fmla="*/ 206641 w 560889"/>
                  <a:gd name="connsiteY95" fmla="*/ 261663 h 285741"/>
                  <a:gd name="connsiteX96" fmla="*/ 212205 w 560889"/>
                  <a:gd name="connsiteY96" fmla="*/ 252403 h 285741"/>
                  <a:gd name="connsiteX97" fmla="*/ 212205 w 560889"/>
                  <a:gd name="connsiteY97" fmla="*/ 243143 h 285741"/>
                  <a:gd name="connsiteX98" fmla="*/ 221479 w 560889"/>
                  <a:gd name="connsiteY98" fmla="*/ 246847 h 285741"/>
                  <a:gd name="connsiteX99" fmla="*/ 228897 w 560889"/>
                  <a:gd name="connsiteY99" fmla="*/ 243143 h 285741"/>
                  <a:gd name="connsiteX100" fmla="*/ 238171 w 560889"/>
                  <a:gd name="connsiteY100" fmla="*/ 243143 h 285741"/>
                  <a:gd name="connsiteX101" fmla="*/ 240026 w 560889"/>
                  <a:gd name="connsiteY101" fmla="*/ 235734 h 285741"/>
                  <a:gd name="connsiteX102" fmla="*/ 238171 w 560889"/>
                  <a:gd name="connsiteY102" fmla="*/ 224622 h 285741"/>
                  <a:gd name="connsiteX103" fmla="*/ 232607 w 560889"/>
                  <a:gd name="connsiteY103" fmla="*/ 215361 h 285741"/>
                  <a:gd name="connsiteX104" fmla="*/ 221479 w 560889"/>
                  <a:gd name="connsiteY104" fmla="*/ 198692 h 285741"/>
                  <a:gd name="connsiteX105" fmla="*/ 221479 w 560889"/>
                  <a:gd name="connsiteY105" fmla="*/ 185728 h 285741"/>
                  <a:gd name="connsiteX106" fmla="*/ 214060 w 560889"/>
                  <a:gd name="connsiteY106" fmla="*/ 178319 h 285741"/>
                  <a:gd name="connsiteX107" fmla="*/ 204786 w 560889"/>
                  <a:gd name="connsiteY107" fmla="*/ 174615 h 285741"/>
                  <a:gd name="connsiteX108" fmla="*/ 199222 w 560889"/>
                  <a:gd name="connsiteY108" fmla="*/ 172763 h 285741"/>
                  <a:gd name="connsiteX109" fmla="*/ 184385 w 560889"/>
                  <a:gd name="connsiteY109" fmla="*/ 167207 h 285741"/>
                  <a:gd name="connsiteX110" fmla="*/ 169547 w 560889"/>
                  <a:gd name="connsiteY110" fmla="*/ 161651 h 285741"/>
                  <a:gd name="connsiteX111" fmla="*/ 152855 w 560889"/>
                  <a:gd name="connsiteY111" fmla="*/ 163503 h 285741"/>
                  <a:gd name="connsiteX112" fmla="*/ 138017 w 560889"/>
                  <a:gd name="connsiteY112" fmla="*/ 167207 h 285741"/>
                  <a:gd name="connsiteX113" fmla="*/ 126889 w 560889"/>
                  <a:gd name="connsiteY113" fmla="*/ 174615 h 285741"/>
                  <a:gd name="connsiteX114" fmla="*/ 112051 w 560889"/>
                  <a:gd name="connsiteY114" fmla="*/ 180172 h 285741"/>
                  <a:gd name="connsiteX115" fmla="*/ 93504 w 560889"/>
                  <a:gd name="connsiteY115" fmla="*/ 180172 h 285741"/>
                  <a:gd name="connsiteX116" fmla="*/ 87940 w 560889"/>
                  <a:gd name="connsiteY116" fmla="*/ 183876 h 285741"/>
                  <a:gd name="connsiteX117" fmla="*/ 84231 w 560889"/>
                  <a:gd name="connsiteY117" fmla="*/ 187580 h 285741"/>
                  <a:gd name="connsiteX118" fmla="*/ 73102 w 560889"/>
                  <a:gd name="connsiteY118" fmla="*/ 182024 h 285741"/>
                  <a:gd name="connsiteX119" fmla="*/ 45282 w 560889"/>
                  <a:gd name="connsiteY119" fmla="*/ 178319 h 285741"/>
                  <a:gd name="connsiteX120" fmla="*/ 36008 w 560889"/>
                  <a:gd name="connsiteY120" fmla="*/ 178319 h 285741"/>
                  <a:gd name="connsiteX121" fmla="*/ 30444 w 560889"/>
                  <a:gd name="connsiteY121" fmla="*/ 174615 h 285741"/>
                  <a:gd name="connsiteX122" fmla="*/ 15607 w 560889"/>
                  <a:gd name="connsiteY122" fmla="*/ 178319 h 285741"/>
                  <a:gd name="connsiteX123" fmla="*/ 6333 w 560889"/>
                  <a:gd name="connsiteY123" fmla="*/ 170911 h 285741"/>
                  <a:gd name="connsiteX124" fmla="*/ 769 w 560889"/>
                  <a:gd name="connsiteY124" fmla="*/ 161651 h 285741"/>
                  <a:gd name="connsiteX125" fmla="*/ 2624 w 560889"/>
                  <a:gd name="connsiteY125" fmla="*/ 150538 h 285741"/>
                  <a:gd name="connsiteX126" fmla="*/ 10042 w 560889"/>
                  <a:gd name="connsiteY126" fmla="*/ 141278 h 285741"/>
                  <a:gd name="connsiteX127" fmla="*/ 17461 w 560889"/>
                  <a:gd name="connsiteY127" fmla="*/ 135722 h 285741"/>
                  <a:gd name="connsiteX128" fmla="*/ 13752 w 560889"/>
                  <a:gd name="connsiteY128" fmla="*/ 124609 h 285741"/>
                  <a:gd name="connsiteX129" fmla="*/ 15607 w 560889"/>
                  <a:gd name="connsiteY129" fmla="*/ 115349 h 285741"/>
                  <a:gd name="connsiteX130" fmla="*/ 24880 w 560889"/>
                  <a:gd name="connsiteY130" fmla="*/ 106088 h 285741"/>
                  <a:gd name="connsiteX131" fmla="*/ 43427 w 560889"/>
                  <a:gd name="connsiteY131" fmla="*/ 89419 h 285741"/>
                  <a:gd name="connsiteX132" fmla="*/ 56410 w 560889"/>
                  <a:gd name="connsiteY132" fmla="*/ 76455 h 285741"/>
                  <a:gd name="connsiteX133" fmla="*/ 54555 w 560889"/>
                  <a:gd name="connsiteY133" fmla="*/ 67194 h 285741"/>
                  <a:gd name="connsiteX134" fmla="*/ 56410 w 560889"/>
                  <a:gd name="connsiteY134" fmla="*/ 57934 h 285741"/>
                  <a:gd name="connsiteX135" fmla="*/ 43427 w 560889"/>
                  <a:gd name="connsiteY135" fmla="*/ 35709 h 285741"/>
                  <a:gd name="connsiteX136" fmla="*/ 56410 w 560889"/>
                  <a:gd name="connsiteY136" fmla="*/ 32005 h 285741"/>
                  <a:gd name="connsiteX137" fmla="*/ 69393 w 560889"/>
                  <a:gd name="connsiteY137" fmla="*/ 22744 h 285741"/>
                  <a:gd name="connsiteX138" fmla="*/ 95359 w 560889"/>
                  <a:gd name="connsiteY138" fmla="*/ 20892 h 285741"/>
                  <a:gd name="connsiteX139" fmla="*/ 152855 w 560889"/>
                  <a:gd name="connsiteY139" fmla="*/ 32005 h 285741"/>
                  <a:gd name="connsiteX140" fmla="*/ 167692 w 560889"/>
                  <a:gd name="connsiteY140" fmla="*/ 35709 h 285741"/>
                  <a:gd name="connsiteX141" fmla="*/ 182530 w 560889"/>
                  <a:gd name="connsiteY141" fmla="*/ 32005 h 285741"/>
                  <a:gd name="connsiteX142" fmla="*/ 193658 w 560889"/>
                  <a:gd name="connsiteY142" fmla="*/ 37561 h 285741"/>
                  <a:gd name="connsiteX143" fmla="*/ 204786 w 560889"/>
                  <a:gd name="connsiteY143" fmla="*/ 35709 h 285741"/>
                  <a:gd name="connsiteX144" fmla="*/ 212205 w 560889"/>
                  <a:gd name="connsiteY144" fmla="*/ 33857 h 285741"/>
                  <a:gd name="connsiteX145" fmla="*/ 215914 w 560889"/>
                  <a:gd name="connsiteY145" fmla="*/ 37561 h 285741"/>
                  <a:gd name="connsiteX146" fmla="*/ 228897 w 560889"/>
                  <a:gd name="connsiteY146" fmla="*/ 43117 h 285741"/>
                  <a:gd name="connsiteX147" fmla="*/ 243735 w 560889"/>
                  <a:gd name="connsiteY147" fmla="*/ 39413 h 285741"/>
                  <a:gd name="connsiteX148" fmla="*/ 251154 w 560889"/>
                  <a:gd name="connsiteY148" fmla="*/ 43117 h 285741"/>
                  <a:gd name="connsiteX149" fmla="*/ 258573 w 560889"/>
                  <a:gd name="connsiteY149" fmla="*/ 44969 h 285741"/>
                  <a:gd name="connsiteX150" fmla="*/ 262282 w 560889"/>
                  <a:gd name="connsiteY150" fmla="*/ 33857 h 285741"/>
                  <a:gd name="connsiteX151" fmla="*/ 278974 w 560889"/>
                  <a:gd name="connsiteY151" fmla="*/ 15336 h 285741"/>
                  <a:gd name="connsiteX152" fmla="*/ 293812 w 560889"/>
                  <a:gd name="connsiteY152" fmla="*/ 13484 h 285741"/>
                  <a:gd name="connsiteX153" fmla="*/ 299376 w 560889"/>
                  <a:gd name="connsiteY153" fmla="*/ 11632 h 285741"/>
                  <a:gd name="connsiteX154" fmla="*/ 306795 w 560889"/>
                  <a:gd name="connsiteY154" fmla="*/ 15336 h 285741"/>
                  <a:gd name="connsiteX155" fmla="*/ 317923 w 560889"/>
                  <a:gd name="connsiteY155" fmla="*/ 7928 h 285741"/>
                  <a:gd name="connsiteX156" fmla="*/ 330906 w 560889"/>
                  <a:gd name="connsiteY156" fmla="*/ 4223 h 285741"/>
                  <a:gd name="connsiteX157" fmla="*/ 329051 w 560889"/>
                  <a:gd name="connsiteY157" fmla="*/ 4223 h 285741"/>
                  <a:gd name="connsiteX158" fmla="*/ 343889 w 560889"/>
                  <a:gd name="connsiteY158" fmla="*/ 2371 h 285741"/>
                  <a:gd name="connsiteX159" fmla="*/ 358727 w 560889"/>
                  <a:gd name="connsiteY159" fmla="*/ 519 h 2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560889" h="285741">
                    <a:moveTo>
                      <a:pt x="358727" y="519"/>
                    </a:moveTo>
                    <a:cubicBezTo>
                      <a:pt x="362436" y="2371"/>
                      <a:pt x="366145" y="6075"/>
                      <a:pt x="368000" y="9780"/>
                    </a:cubicBezTo>
                    <a:cubicBezTo>
                      <a:pt x="369855" y="13484"/>
                      <a:pt x="369855" y="17188"/>
                      <a:pt x="373564" y="19040"/>
                    </a:cubicBezTo>
                    <a:cubicBezTo>
                      <a:pt x="377274" y="20892"/>
                      <a:pt x="379128" y="22744"/>
                      <a:pt x="375419" y="26448"/>
                    </a:cubicBezTo>
                    <a:cubicBezTo>
                      <a:pt x="373564" y="28301"/>
                      <a:pt x="371710" y="32005"/>
                      <a:pt x="373564" y="35709"/>
                    </a:cubicBezTo>
                    <a:cubicBezTo>
                      <a:pt x="375419" y="37561"/>
                      <a:pt x="375419" y="39413"/>
                      <a:pt x="375419" y="41265"/>
                    </a:cubicBezTo>
                    <a:cubicBezTo>
                      <a:pt x="375419" y="43117"/>
                      <a:pt x="375419" y="44969"/>
                      <a:pt x="377274" y="46821"/>
                    </a:cubicBezTo>
                    <a:cubicBezTo>
                      <a:pt x="379128" y="50526"/>
                      <a:pt x="384692" y="50526"/>
                      <a:pt x="388402" y="50526"/>
                    </a:cubicBezTo>
                    <a:cubicBezTo>
                      <a:pt x="395821" y="50526"/>
                      <a:pt x="408804" y="48673"/>
                      <a:pt x="410658" y="57934"/>
                    </a:cubicBezTo>
                    <a:cubicBezTo>
                      <a:pt x="410658" y="61638"/>
                      <a:pt x="410658" y="65342"/>
                      <a:pt x="412513" y="69046"/>
                    </a:cubicBezTo>
                    <a:cubicBezTo>
                      <a:pt x="414368" y="72751"/>
                      <a:pt x="412513" y="80159"/>
                      <a:pt x="416222" y="82011"/>
                    </a:cubicBezTo>
                    <a:cubicBezTo>
                      <a:pt x="419932" y="85715"/>
                      <a:pt x="423641" y="85715"/>
                      <a:pt x="429205" y="83863"/>
                    </a:cubicBezTo>
                    <a:cubicBezTo>
                      <a:pt x="431060" y="83863"/>
                      <a:pt x="432915" y="83863"/>
                      <a:pt x="436624" y="83863"/>
                    </a:cubicBezTo>
                    <a:cubicBezTo>
                      <a:pt x="438479" y="83863"/>
                      <a:pt x="440334" y="85715"/>
                      <a:pt x="442188" y="85715"/>
                    </a:cubicBezTo>
                    <a:cubicBezTo>
                      <a:pt x="453316" y="91271"/>
                      <a:pt x="462590" y="82011"/>
                      <a:pt x="473718" y="82011"/>
                    </a:cubicBezTo>
                    <a:cubicBezTo>
                      <a:pt x="482992" y="82011"/>
                      <a:pt x="484846" y="96828"/>
                      <a:pt x="492265" y="100532"/>
                    </a:cubicBezTo>
                    <a:cubicBezTo>
                      <a:pt x="497829" y="102384"/>
                      <a:pt x="501539" y="100532"/>
                      <a:pt x="507103" y="100532"/>
                    </a:cubicBezTo>
                    <a:cubicBezTo>
                      <a:pt x="512667" y="98680"/>
                      <a:pt x="514522" y="100532"/>
                      <a:pt x="520086" y="104236"/>
                    </a:cubicBezTo>
                    <a:cubicBezTo>
                      <a:pt x="521940" y="104236"/>
                      <a:pt x="525650" y="106088"/>
                      <a:pt x="529359" y="106088"/>
                    </a:cubicBezTo>
                    <a:cubicBezTo>
                      <a:pt x="531214" y="106088"/>
                      <a:pt x="533069" y="106088"/>
                      <a:pt x="536778" y="106088"/>
                    </a:cubicBezTo>
                    <a:cubicBezTo>
                      <a:pt x="540487" y="107940"/>
                      <a:pt x="542342" y="113496"/>
                      <a:pt x="544197" y="115349"/>
                    </a:cubicBezTo>
                    <a:cubicBezTo>
                      <a:pt x="547906" y="117201"/>
                      <a:pt x="549761" y="117201"/>
                      <a:pt x="551616" y="117201"/>
                    </a:cubicBezTo>
                    <a:cubicBezTo>
                      <a:pt x="553470" y="117201"/>
                      <a:pt x="557180" y="115349"/>
                      <a:pt x="559035" y="115349"/>
                    </a:cubicBezTo>
                    <a:cubicBezTo>
                      <a:pt x="560889" y="117201"/>
                      <a:pt x="560889" y="120905"/>
                      <a:pt x="560889" y="122757"/>
                    </a:cubicBezTo>
                    <a:cubicBezTo>
                      <a:pt x="560889" y="128313"/>
                      <a:pt x="559035" y="130165"/>
                      <a:pt x="555325" y="132017"/>
                    </a:cubicBezTo>
                    <a:cubicBezTo>
                      <a:pt x="551616" y="133869"/>
                      <a:pt x="549761" y="137574"/>
                      <a:pt x="551616" y="141278"/>
                    </a:cubicBezTo>
                    <a:cubicBezTo>
                      <a:pt x="553470" y="143130"/>
                      <a:pt x="555325" y="144982"/>
                      <a:pt x="555325" y="144982"/>
                    </a:cubicBezTo>
                    <a:cubicBezTo>
                      <a:pt x="555325" y="146834"/>
                      <a:pt x="551616" y="146834"/>
                      <a:pt x="551616" y="148686"/>
                    </a:cubicBezTo>
                    <a:cubicBezTo>
                      <a:pt x="547906" y="148686"/>
                      <a:pt x="544197" y="154242"/>
                      <a:pt x="546052" y="157947"/>
                    </a:cubicBezTo>
                    <a:cubicBezTo>
                      <a:pt x="549761" y="161651"/>
                      <a:pt x="553470" y="163503"/>
                      <a:pt x="553470" y="169059"/>
                    </a:cubicBezTo>
                    <a:cubicBezTo>
                      <a:pt x="553470" y="172763"/>
                      <a:pt x="551616" y="178319"/>
                      <a:pt x="547906" y="182024"/>
                    </a:cubicBezTo>
                    <a:cubicBezTo>
                      <a:pt x="546052" y="185728"/>
                      <a:pt x="538633" y="183876"/>
                      <a:pt x="534923" y="183876"/>
                    </a:cubicBezTo>
                    <a:cubicBezTo>
                      <a:pt x="529359" y="182024"/>
                      <a:pt x="525650" y="182024"/>
                      <a:pt x="520086" y="183876"/>
                    </a:cubicBezTo>
                    <a:cubicBezTo>
                      <a:pt x="514522" y="185728"/>
                      <a:pt x="510812" y="187580"/>
                      <a:pt x="507103" y="193136"/>
                    </a:cubicBezTo>
                    <a:cubicBezTo>
                      <a:pt x="503393" y="194988"/>
                      <a:pt x="503393" y="200545"/>
                      <a:pt x="501539" y="204249"/>
                    </a:cubicBezTo>
                    <a:cubicBezTo>
                      <a:pt x="499684" y="207953"/>
                      <a:pt x="499684" y="213509"/>
                      <a:pt x="495975" y="215361"/>
                    </a:cubicBezTo>
                    <a:cubicBezTo>
                      <a:pt x="490411" y="215361"/>
                      <a:pt x="484846" y="213509"/>
                      <a:pt x="481137" y="217213"/>
                    </a:cubicBezTo>
                    <a:cubicBezTo>
                      <a:pt x="479282" y="217213"/>
                      <a:pt x="479282" y="219065"/>
                      <a:pt x="477428" y="220917"/>
                    </a:cubicBezTo>
                    <a:cubicBezTo>
                      <a:pt x="475573" y="222770"/>
                      <a:pt x="473718" y="224622"/>
                      <a:pt x="471863" y="224622"/>
                    </a:cubicBezTo>
                    <a:cubicBezTo>
                      <a:pt x="470009" y="224622"/>
                      <a:pt x="468154" y="222770"/>
                      <a:pt x="466299" y="224622"/>
                    </a:cubicBezTo>
                    <a:cubicBezTo>
                      <a:pt x="464445" y="226474"/>
                      <a:pt x="464445" y="228326"/>
                      <a:pt x="462590" y="230178"/>
                    </a:cubicBezTo>
                    <a:cubicBezTo>
                      <a:pt x="460735" y="232030"/>
                      <a:pt x="455171" y="235734"/>
                      <a:pt x="453316" y="232030"/>
                    </a:cubicBezTo>
                    <a:cubicBezTo>
                      <a:pt x="453316" y="226474"/>
                      <a:pt x="449607" y="228326"/>
                      <a:pt x="447752" y="228326"/>
                    </a:cubicBezTo>
                    <a:cubicBezTo>
                      <a:pt x="442188" y="230178"/>
                      <a:pt x="438479" y="232030"/>
                      <a:pt x="432915" y="233882"/>
                    </a:cubicBezTo>
                    <a:cubicBezTo>
                      <a:pt x="427351" y="233882"/>
                      <a:pt x="423641" y="235734"/>
                      <a:pt x="419932" y="239438"/>
                    </a:cubicBezTo>
                    <a:cubicBezTo>
                      <a:pt x="416222" y="243143"/>
                      <a:pt x="412513" y="246847"/>
                      <a:pt x="408804" y="248699"/>
                    </a:cubicBezTo>
                    <a:cubicBezTo>
                      <a:pt x="406949" y="250551"/>
                      <a:pt x="403239" y="252403"/>
                      <a:pt x="403239" y="252403"/>
                    </a:cubicBezTo>
                    <a:cubicBezTo>
                      <a:pt x="401385" y="248699"/>
                      <a:pt x="410658" y="246847"/>
                      <a:pt x="408804" y="241290"/>
                    </a:cubicBezTo>
                    <a:cubicBezTo>
                      <a:pt x="405094" y="237586"/>
                      <a:pt x="405094" y="239438"/>
                      <a:pt x="403239" y="243143"/>
                    </a:cubicBezTo>
                    <a:cubicBezTo>
                      <a:pt x="403239" y="246847"/>
                      <a:pt x="399530" y="248699"/>
                      <a:pt x="395821" y="252403"/>
                    </a:cubicBezTo>
                    <a:cubicBezTo>
                      <a:pt x="393966" y="254255"/>
                      <a:pt x="388402" y="256107"/>
                      <a:pt x="384692" y="256107"/>
                    </a:cubicBezTo>
                    <a:cubicBezTo>
                      <a:pt x="382838" y="254255"/>
                      <a:pt x="382838" y="254255"/>
                      <a:pt x="382838" y="250551"/>
                    </a:cubicBezTo>
                    <a:cubicBezTo>
                      <a:pt x="380983" y="248699"/>
                      <a:pt x="379128" y="248699"/>
                      <a:pt x="377274" y="248699"/>
                    </a:cubicBezTo>
                    <a:cubicBezTo>
                      <a:pt x="375419" y="248699"/>
                      <a:pt x="375419" y="250551"/>
                      <a:pt x="373564" y="250551"/>
                    </a:cubicBezTo>
                    <a:cubicBezTo>
                      <a:pt x="371710" y="252403"/>
                      <a:pt x="369855" y="250551"/>
                      <a:pt x="366145" y="250551"/>
                    </a:cubicBezTo>
                    <a:cubicBezTo>
                      <a:pt x="364291" y="250551"/>
                      <a:pt x="360581" y="250551"/>
                      <a:pt x="364291" y="254255"/>
                    </a:cubicBezTo>
                    <a:lnTo>
                      <a:pt x="369590" y="257430"/>
                    </a:lnTo>
                    <a:lnTo>
                      <a:pt x="358727" y="257430"/>
                    </a:lnTo>
                    <a:lnTo>
                      <a:pt x="358727" y="256107"/>
                    </a:lnTo>
                    <a:cubicBezTo>
                      <a:pt x="358727" y="254255"/>
                      <a:pt x="355017" y="254255"/>
                      <a:pt x="355017" y="256107"/>
                    </a:cubicBezTo>
                    <a:cubicBezTo>
                      <a:pt x="351308" y="256107"/>
                      <a:pt x="349453" y="256107"/>
                      <a:pt x="347598" y="254255"/>
                    </a:cubicBezTo>
                    <a:cubicBezTo>
                      <a:pt x="345744" y="254255"/>
                      <a:pt x="345744" y="252403"/>
                      <a:pt x="343889" y="252403"/>
                    </a:cubicBezTo>
                    <a:cubicBezTo>
                      <a:pt x="338325" y="250551"/>
                      <a:pt x="332761" y="252403"/>
                      <a:pt x="329051" y="254255"/>
                    </a:cubicBezTo>
                    <a:cubicBezTo>
                      <a:pt x="323487" y="256107"/>
                      <a:pt x="319778" y="254255"/>
                      <a:pt x="314214" y="254255"/>
                    </a:cubicBezTo>
                    <a:cubicBezTo>
                      <a:pt x="310504" y="252403"/>
                      <a:pt x="304940" y="252403"/>
                      <a:pt x="303086" y="246847"/>
                    </a:cubicBezTo>
                    <a:cubicBezTo>
                      <a:pt x="301231" y="244995"/>
                      <a:pt x="301231" y="239438"/>
                      <a:pt x="304940" y="239438"/>
                    </a:cubicBezTo>
                    <a:cubicBezTo>
                      <a:pt x="310504" y="237586"/>
                      <a:pt x="316068" y="241290"/>
                      <a:pt x="323487" y="237586"/>
                    </a:cubicBezTo>
                    <a:cubicBezTo>
                      <a:pt x="323487" y="235734"/>
                      <a:pt x="325342" y="235734"/>
                      <a:pt x="325342" y="233882"/>
                    </a:cubicBezTo>
                    <a:cubicBezTo>
                      <a:pt x="325342" y="232030"/>
                      <a:pt x="325342" y="230178"/>
                      <a:pt x="323487" y="232030"/>
                    </a:cubicBezTo>
                    <a:cubicBezTo>
                      <a:pt x="321633" y="232030"/>
                      <a:pt x="319778" y="232030"/>
                      <a:pt x="317923" y="233882"/>
                    </a:cubicBezTo>
                    <a:cubicBezTo>
                      <a:pt x="316068" y="233882"/>
                      <a:pt x="314214" y="233882"/>
                      <a:pt x="312359" y="233882"/>
                    </a:cubicBezTo>
                    <a:cubicBezTo>
                      <a:pt x="308650" y="233882"/>
                      <a:pt x="308650" y="232030"/>
                      <a:pt x="306795" y="228326"/>
                    </a:cubicBezTo>
                    <a:cubicBezTo>
                      <a:pt x="306795" y="226474"/>
                      <a:pt x="306795" y="224622"/>
                      <a:pt x="306795" y="222770"/>
                    </a:cubicBezTo>
                    <a:cubicBezTo>
                      <a:pt x="304940" y="220917"/>
                      <a:pt x="303086" y="226474"/>
                      <a:pt x="303086" y="226474"/>
                    </a:cubicBezTo>
                    <a:cubicBezTo>
                      <a:pt x="303086" y="230178"/>
                      <a:pt x="299376" y="232030"/>
                      <a:pt x="295667" y="230178"/>
                    </a:cubicBezTo>
                    <a:cubicBezTo>
                      <a:pt x="295667" y="228326"/>
                      <a:pt x="293812" y="228326"/>
                      <a:pt x="290103" y="228326"/>
                    </a:cubicBezTo>
                    <a:cubicBezTo>
                      <a:pt x="288248" y="228326"/>
                      <a:pt x="288248" y="230178"/>
                      <a:pt x="286393" y="232030"/>
                    </a:cubicBezTo>
                    <a:cubicBezTo>
                      <a:pt x="282684" y="235734"/>
                      <a:pt x="278974" y="235734"/>
                      <a:pt x="275265" y="235734"/>
                    </a:cubicBezTo>
                    <a:cubicBezTo>
                      <a:pt x="269701" y="235734"/>
                      <a:pt x="265991" y="235734"/>
                      <a:pt x="264137" y="239438"/>
                    </a:cubicBezTo>
                    <a:cubicBezTo>
                      <a:pt x="262282" y="241290"/>
                      <a:pt x="262282" y="246847"/>
                      <a:pt x="258573" y="246847"/>
                    </a:cubicBezTo>
                    <a:cubicBezTo>
                      <a:pt x="254863" y="246847"/>
                      <a:pt x="251154" y="244995"/>
                      <a:pt x="249299" y="241290"/>
                    </a:cubicBezTo>
                    <a:cubicBezTo>
                      <a:pt x="249299" y="239438"/>
                      <a:pt x="247444" y="239438"/>
                      <a:pt x="247444" y="241290"/>
                    </a:cubicBezTo>
                    <a:cubicBezTo>
                      <a:pt x="247444" y="243143"/>
                      <a:pt x="247444" y="244995"/>
                      <a:pt x="247444" y="246847"/>
                    </a:cubicBezTo>
                    <a:cubicBezTo>
                      <a:pt x="249299" y="248699"/>
                      <a:pt x="251154" y="250551"/>
                      <a:pt x="251154" y="252403"/>
                    </a:cubicBezTo>
                    <a:cubicBezTo>
                      <a:pt x="253009" y="252403"/>
                      <a:pt x="254863" y="254255"/>
                      <a:pt x="254863" y="256107"/>
                    </a:cubicBezTo>
                    <a:cubicBezTo>
                      <a:pt x="254863" y="259811"/>
                      <a:pt x="253009" y="259811"/>
                      <a:pt x="251154" y="261663"/>
                    </a:cubicBezTo>
                    <a:cubicBezTo>
                      <a:pt x="249299" y="263515"/>
                      <a:pt x="247444" y="263515"/>
                      <a:pt x="245590" y="265368"/>
                    </a:cubicBezTo>
                    <a:cubicBezTo>
                      <a:pt x="241880" y="267220"/>
                      <a:pt x="240026" y="272776"/>
                      <a:pt x="236316" y="270924"/>
                    </a:cubicBezTo>
                    <a:cubicBezTo>
                      <a:pt x="234462" y="269072"/>
                      <a:pt x="232607" y="269072"/>
                      <a:pt x="232607" y="267220"/>
                    </a:cubicBezTo>
                    <a:cubicBezTo>
                      <a:pt x="230752" y="267220"/>
                      <a:pt x="230752" y="270924"/>
                      <a:pt x="230752" y="272776"/>
                    </a:cubicBezTo>
                    <a:cubicBezTo>
                      <a:pt x="232607" y="274628"/>
                      <a:pt x="232607" y="276480"/>
                      <a:pt x="232607" y="278332"/>
                    </a:cubicBezTo>
                    <a:cubicBezTo>
                      <a:pt x="232607" y="282036"/>
                      <a:pt x="234462" y="283888"/>
                      <a:pt x="234462" y="285741"/>
                    </a:cubicBezTo>
                    <a:cubicBezTo>
                      <a:pt x="228897" y="278332"/>
                      <a:pt x="221479" y="278332"/>
                      <a:pt x="214060" y="282036"/>
                    </a:cubicBezTo>
                    <a:cubicBezTo>
                      <a:pt x="210350" y="283888"/>
                      <a:pt x="206641" y="285741"/>
                      <a:pt x="202932" y="285741"/>
                    </a:cubicBezTo>
                    <a:cubicBezTo>
                      <a:pt x="197367" y="285741"/>
                      <a:pt x="193658" y="283888"/>
                      <a:pt x="189949" y="282036"/>
                    </a:cubicBezTo>
                    <a:cubicBezTo>
                      <a:pt x="195513" y="274628"/>
                      <a:pt x="201077" y="269072"/>
                      <a:pt x="206641" y="261663"/>
                    </a:cubicBezTo>
                    <a:cubicBezTo>
                      <a:pt x="208496" y="259811"/>
                      <a:pt x="210350" y="257959"/>
                      <a:pt x="212205" y="252403"/>
                    </a:cubicBezTo>
                    <a:cubicBezTo>
                      <a:pt x="212205" y="250551"/>
                      <a:pt x="212205" y="246847"/>
                      <a:pt x="212205" y="243143"/>
                    </a:cubicBezTo>
                    <a:cubicBezTo>
                      <a:pt x="215914" y="244995"/>
                      <a:pt x="217769" y="248699"/>
                      <a:pt x="221479" y="246847"/>
                    </a:cubicBezTo>
                    <a:cubicBezTo>
                      <a:pt x="223333" y="246847"/>
                      <a:pt x="225188" y="244995"/>
                      <a:pt x="228897" y="243143"/>
                    </a:cubicBezTo>
                    <a:cubicBezTo>
                      <a:pt x="230752" y="243143"/>
                      <a:pt x="236316" y="246847"/>
                      <a:pt x="238171" y="243143"/>
                    </a:cubicBezTo>
                    <a:cubicBezTo>
                      <a:pt x="240026" y="241290"/>
                      <a:pt x="240026" y="237586"/>
                      <a:pt x="240026" y="235734"/>
                    </a:cubicBezTo>
                    <a:cubicBezTo>
                      <a:pt x="240026" y="232030"/>
                      <a:pt x="240026" y="228326"/>
                      <a:pt x="238171" y="224622"/>
                    </a:cubicBezTo>
                    <a:cubicBezTo>
                      <a:pt x="236316" y="220917"/>
                      <a:pt x="234462" y="217213"/>
                      <a:pt x="232607" y="215361"/>
                    </a:cubicBezTo>
                    <a:cubicBezTo>
                      <a:pt x="227043" y="209805"/>
                      <a:pt x="221479" y="204249"/>
                      <a:pt x="221479" y="198692"/>
                    </a:cubicBezTo>
                    <a:cubicBezTo>
                      <a:pt x="221479" y="193136"/>
                      <a:pt x="223333" y="189432"/>
                      <a:pt x="221479" y="185728"/>
                    </a:cubicBezTo>
                    <a:cubicBezTo>
                      <a:pt x="219624" y="182024"/>
                      <a:pt x="217769" y="182024"/>
                      <a:pt x="214060" y="178319"/>
                    </a:cubicBezTo>
                    <a:cubicBezTo>
                      <a:pt x="210350" y="178319"/>
                      <a:pt x="208496" y="176467"/>
                      <a:pt x="204786" y="174615"/>
                    </a:cubicBezTo>
                    <a:cubicBezTo>
                      <a:pt x="202932" y="174615"/>
                      <a:pt x="201077" y="174615"/>
                      <a:pt x="199222" y="172763"/>
                    </a:cubicBezTo>
                    <a:cubicBezTo>
                      <a:pt x="193658" y="170911"/>
                      <a:pt x="189949" y="169059"/>
                      <a:pt x="184385" y="167207"/>
                    </a:cubicBezTo>
                    <a:cubicBezTo>
                      <a:pt x="180675" y="165355"/>
                      <a:pt x="175111" y="161651"/>
                      <a:pt x="169547" y="161651"/>
                    </a:cubicBezTo>
                    <a:cubicBezTo>
                      <a:pt x="163983" y="161651"/>
                      <a:pt x="158419" y="163503"/>
                      <a:pt x="152855" y="163503"/>
                    </a:cubicBezTo>
                    <a:cubicBezTo>
                      <a:pt x="147290" y="163503"/>
                      <a:pt x="143581" y="163503"/>
                      <a:pt x="138017" y="167207"/>
                    </a:cubicBezTo>
                    <a:cubicBezTo>
                      <a:pt x="134308" y="170911"/>
                      <a:pt x="130598" y="172763"/>
                      <a:pt x="126889" y="174615"/>
                    </a:cubicBezTo>
                    <a:cubicBezTo>
                      <a:pt x="121325" y="178319"/>
                      <a:pt x="115761" y="180172"/>
                      <a:pt x="112051" y="180172"/>
                    </a:cubicBezTo>
                    <a:cubicBezTo>
                      <a:pt x="104632" y="180172"/>
                      <a:pt x="99068" y="180172"/>
                      <a:pt x="93504" y="180172"/>
                    </a:cubicBezTo>
                    <a:cubicBezTo>
                      <a:pt x="91649" y="180172"/>
                      <a:pt x="89795" y="182024"/>
                      <a:pt x="87940" y="183876"/>
                    </a:cubicBezTo>
                    <a:cubicBezTo>
                      <a:pt x="86085" y="183876"/>
                      <a:pt x="86085" y="185728"/>
                      <a:pt x="84231" y="187580"/>
                    </a:cubicBezTo>
                    <a:cubicBezTo>
                      <a:pt x="80521" y="189432"/>
                      <a:pt x="76812" y="183876"/>
                      <a:pt x="73102" y="182024"/>
                    </a:cubicBezTo>
                    <a:cubicBezTo>
                      <a:pt x="65684" y="176467"/>
                      <a:pt x="54555" y="178319"/>
                      <a:pt x="45282" y="178319"/>
                    </a:cubicBezTo>
                    <a:cubicBezTo>
                      <a:pt x="41572" y="178319"/>
                      <a:pt x="39718" y="178319"/>
                      <a:pt x="36008" y="178319"/>
                    </a:cubicBezTo>
                    <a:cubicBezTo>
                      <a:pt x="34154" y="176467"/>
                      <a:pt x="32299" y="176467"/>
                      <a:pt x="30444" y="174615"/>
                    </a:cubicBezTo>
                    <a:cubicBezTo>
                      <a:pt x="24880" y="172763"/>
                      <a:pt x="19316" y="176467"/>
                      <a:pt x="15607" y="178319"/>
                    </a:cubicBezTo>
                    <a:cubicBezTo>
                      <a:pt x="13752" y="174615"/>
                      <a:pt x="10042" y="172763"/>
                      <a:pt x="6333" y="170911"/>
                    </a:cubicBezTo>
                    <a:cubicBezTo>
                      <a:pt x="4478" y="169059"/>
                      <a:pt x="769" y="165355"/>
                      <a:pt x="769" y="161651"/>
                    </a:cubicBezTo>
                    <a:cubicBezTo>
                      <a:pt x="-1086" y="157947"/>
                      <a:pt x="769" y="154242"/>
                      <a:pt x="2624" y="150538"/>
                    </a:cubicBezTo>
                    <a:cubicBezTo>
                      <a:pt x="4478" y="146834"/>
                      <a:pt x="6333" y="143130"/>
                      <a:pt x="10042" y="141278"/>
                    </a:cubicBezTo>
                    <a:cubicBezTo>
                      <a:pt x="13752" y="141278"/>
                      <a:pt x="17461" y="139426"/>
                      <a:pt x="17461" y="135722"/>
                    </a:cubicBezTo>
                    <a:cubicBezTo>
                      <a:pt x="17461" y="132017"/>
                      <a:pt x="15607" y="128313"/>
                      <a:pt x="13752" y="124609"/>
                    </a:cubicBezTo>
                    <a:cubicBezTo>
                      <a:pt x="13752" y="122757"/>
                      <a:pt x="13752" y="119053"/>
                      <a:pt x="15607" y="115349"/>
                    </a:cubicBezTo>
                    <a:cubicBezTo>
                      <a:pt x="19316" y="111644"/>
                      <a:pt x="21171" y="109792"/>
                      <a:pt x="24880" y="106088"/>
                    </a:cubicBezTo>
                    <a:cubicBezTo>
                      <a:pt x="30444" y="100532"/>
                      <a:pt x="36008" y="93124"/>
                      <a:pt x="43427" y="89419"/>
                    </a:cubicBezTo>
                    <a:cubicBezTo>
                      <a:pt x="48991" y="85715"/>
                      <a:pt x="56410" y="83863"/>
                      <a:pt x="56410" y="76455"/>
                    </a:cubicBezTo>
                    <a:cubicBezTo>
                      <a:pt x="58265" y="72751"/>
                      <a:pt x="56410" y="70898"/>
                      <a:pt x="54555" y="67194"/>
                    </a:cubicBezTo>
                    <a:cubicBezTo>
                      <a:pt x="54555" y="63490"/>
                      <a:pt x="58265" y="61638"/>
                      <a:pt x="56410" y="57934"/>
                    </a:cubicBezTo>
                    <a:cubicBezTo>
                      <a:pt x="52701" y="50526"/>
                      <a:pt x="47137" y="43117"/>
                      <a:pt x="43427" y="35709"/>
                    </a:cubicBezTo>
                    <a:cubicBezTo>
                      <a:pt x="48991" y="35709"/>
                      <a:pt x="52701" y="33857"/>
                      <a:pt x="56410" y="32005"/>
                    </a:cubicBezTo>
                    <a:cubicBezTo>
                      <a:pt x="61974" y="28301"/>
                      <a:pt x="63829" y="26448"/>
                      <a:pt x="69393" y="22744"/>
                    </a:cubicBezTo>
                    <a:cubicBezTo>
                      <a:pt x="76812" y="19040"/>
                      <a:pt x="86085" y="19040"/>
                      <a:pt x="95359" y="20892"/>
                    </a:cubicBezTo>
                    <a:cubicBezTo>
                      <a:pt x="113906" y="20892"/>
                      <a:pt x="134308" y="24596"/>
                      <a:pt x="152855" y="32005"/>
                    </a:cubicBezTo>
                    <a:cubicBezTo>
                      <a:pt x="158419" y="33857"/>
                      <a:pt x="162128" y="35709"/>
                      <a:pt x="167692" y="35709"/>
                    </a:cubicBezTo>
                    <a:cubicBezTo>
                      <a:pt x="173256" y="35709"/>
                      <a:pt x="176966" y="32005"/>
                      <a:pt x="182530" y="32005"/>
                    </a:cubicBezTo>
                    <a:cubicBezTo>
                      <a:pt x="186239" y="32005"/>
                      <a:pt x="189949" y="35709"/>
                      <a:pt x="193658" y="37561"/>
                    </a:cubicBezTo>
                    <a:cubicBezTo>
                      <a:pt x="197367" y="41265"/>
                      <a:pt x="201077" y="39413"/>
                      <a:pt x="204786" y="35709"/>
                    </a:cubicBezTo>
                    <a:cubicBezTo>
                      <a:pt x="206641" y="35709"/>
                      <a:pt x="210350" y="32005"/>
                      <a:pt x="212205" y="33857"/>
                    </a:cubicBezTo>
                    <a:cubicBezTo>
                      <a:pt x="214060" y="35709"/>
                      <a:pt x="214060" y="37561"/>
                      <a:pt x="215914" y="37561"/>
                    </a:cubicBezTo>
                    <a:cubicBezTo>
                      <a:pt x="219624" y="41265"/>
                      <a:pt x="223333" y="43117"/>
                      <a:pt x="228897" y="43117"/>
                    </a:cubicBezTo>
                    <a:cubicBezTo>
                      <a:pt x="234462" y="43117"/>
                      <a:pt x="240026" y="39413"/>
                      <a:pt x="243735" y="39413"/>
                    </a:cubicBezTo>
                    <a:cubicBezTo>
                      <a:pt x="247444" y="39413"/>
                      <a:pt x="249299" y="41265"/>
                      <a:pt x="251154" y="43117"/>
                    </a:cubicBezTo>
                    <a:cubicBezTo>
                      <a:pt x="253009" y="43117"/>
                      <a:pt x="256718" y="46821"/>
                      <a:pt x="258573" y="44969"/>
                    </a:cubicBezTo>
                    <a:cubicBezTo>
                      <a:pt x="262282" y="43117"/>
                      <a:pt x="262282" y="37561"/>
                      <a:pt x="262282" y="33857"/>
                    </a:cubicBezTo>
                    <a:cubicBezTo>
                      <a:pt x="262282" y="26448"/>
                      <a:pt x="269701" y="15336"/>
                      <a:pt x="278974" y="15336"/>
                    </a:cubicBezTo>
                    <a:cubicBezTo>
                      <a:pt x="282684" y="13484"/>
                      <a:pt x="288248" y="15336"/>
                      <a:pt x="293812" y="13484"/>
                    </a:cubicBezTo>
                    <a:cubicBezTo>
                      <a:pt x="295667" y="11632"/>
                      <a:pt x="297521" y="9780"/>
                      <a:pt x="299376" y="11632"/>
                    </a:cubicBezTo>
                    <a:cubicBezTo>
                      <a:pt x="301231" y="13484"/>
                      <a:pt x="303086" y="15336"/>
                      <a:pt x="306795" y="15336"/>
                    </a:cubicBezTo>
                    <a:cubicBezTo>
                      <a:pt x="310504" y="15336"/>
                      <a:pt x="314214" y="9780"/>
                      <a:pt x="317923" y="7928"/>
                    </a:cubicBezTo>
                    <a:cubicBezTo>
                      <a:pt x="321633" y="4223"/>
                      <a:pt x="327197" y="4223"/>
                      <a:pt x="330906" y="4223"/>
                    </a:cubicBezTo>
                    <a:cubicBezTo>
                      <a:pt x="330906" y="4223"/>
                      <a:pt x="330906" y="4223"/>
                      <a:pt x="329051" y="4223"/>
                    </a:cubicBezTo>
                    <a:cubicBezTo>
                      <a:pt x="334615" y="4223"/>
                      <a:pt x="338325" y="4223"/>
                      <a:pt x="343889" y="2371"/>
                    </a:cubicBezTo>
                    <a:cubicBezTo>
                      <a:pt x="347598" y="2371"/>
                      <a:pt x="353163" y="-1333"/>
                      <a:pt x="358727" y="519"/>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noAutofit/>
              </a:bodyPr>
              <a:lstStyle/>
              <a:p>
                <a:endParaRPr lang="en-US" sz="1200">
                  <a:solidFill>
                    <a:srgbClr val="000000"/>
                  </a:solidFill>
                </a:endParaRPr>
              </a:p>
            </p:txBody>
          </p:sp>
          <p:sp>
            <p:nvSpPr>
              <p:cNvPr id="260" name="Freeform 264">
                <a:extLst>
                  <a:ext uri="{FF2B5EF4-FFF2-40B4-BE49-F238E27FC236}">
                    <a16:creationId xmlns:a16="http://schemas.microsoft.com/office/drawing/2014/main" id="{BDB46BE7-A889-5DDD-2AC0-AE36B78760E5}"/>
                  </a:ext>
                </a:extLst>
              </p:cNvPr>
              <p:cNvSpPr/>
              <p:nvPr>
                <p:custDataLst>
                  <p:tags r:id="rId198"/>
                </p:custDataLst>
              </p:nvPr>
            </p:nvSpPr>
            <p:spPr bwMode="auto">
              <a:xfrm>
                <a:off x="6480753" y="3229471"/>
                <a:ext cx="169649" cy="72706"/>
              </a:xfrm>
              <a:custGeom>
                <a:avLst/>
                <a:gdLst>
                  <a:gd name="T0" fmla="*/ 94 w 114"/>
                  <a:gd name="T1" fmla="*/ 22 h 49"/>
                  <a:gd name="T2" fmla="*/ 88 w 114"/>
                  <a:gd name="T3" fmla="*/ 19 h 49"/>
                  <a:gd name="T4" fmla="*/ 80 w 114"/>
                  <a:gd name="T5" fmla="*/ 19 h 49"/>
                  <a:gd name="T6" fmla="*/ 77 w 114"/>
                  <a:gd name="T7" fmla="*/ 18 h 49"/>
                  <a:gd name="T8" fmla="*/ 74 w 114"/>
                  <a:gd name="T9" fmla="*/ 19 h 49"/>
                  <a:gd name="T10" fmla="*/ 66 w 114"/>
                  <a:gd name="T11" fmla="*/ 20 h 49"/>
                  <a:gd name="T12" fmla="*/ 63 w 114"/>
                  <a:gd name="T13" fmla="*/ 18 h 49"/>
                  <a:gd name="T14" fmla="*/ 61 w 114"/>
                  <a:gd name="T15" fmla="*/ 16 h 49"/>
                  <a:gd name="T16" fmla="*/ 54 w 114"/>
                  <a:gd name="T17" fmla="*/ 13 h 49"/>
                  <a:gd name="T18" fmla="*/ 48 w 114"/>
                  <a:gd name="T19" fmla="*/ 9 h 49"/>
                  <a:gd name="T20" fmla="*/ 39 w 114"/>
                  <a:gd name="T21" fmla="*/ 8 h 49"/>
                  <a:gd name="T22" fmla="*/ 22 w 114"/>
                  <a:gd name="T23" fmla="*/ 6 h 49"/>
                  <a:gd name="T24" fmla="*/ 15 w 114"/>
                  <a:gd name="T25" fmla="*/ 2 h 49"/>
                  <a:gd name="T26" fmla="*/ 11 w 114"/>
                  <a:gd name="T27" fmla="*/ 1 h 49"/>
                  <a:gd name="T28" fmla="*/ 7 w 114"/>
                  <a:gd name="T29" fmla="*/ 1 h 49"/>
                  <a:gd name="T30" fmla="*/ 1 w 114"/>
                  <a:gd name="T31" fmla="*/ 2 h 49"/>
                  <a:gd name="T32" fmla="*/ 1 w 114"/>
                  <a:gd name="T33" fmla="*/ 4 h 49"/>
                  <a:gd name="T34" fmla="*/ 3 w 114"/>
                  <a:gd name="T35" fmla="*/ 7 h 49"/>
                  <a:gd name="T36" fmla="*/ 10 w 114"/>
                  <a:gd name="T37" fmla="*/ 10 h 49"/>
                  <a:gd name="T38" fmla="*/ 17 w 114"/>
                  <a:gd name="T39" fmla="*/ 12 h 49"/>
                  <a:gd name="T40" fmla="*/ 23 w 114"/>
                  <a:gd name="T41" fmla="*/ 18 h 49"/>
                  <a:gd name="T42" fmla="*/ 26 w 114"/>
                  <a:gd name="T43" fmla="*/ 21 h 49"/>
                  <a:gd name="T44" fmla="*/ 26 w 114"/>
                  <a:gd name="T45" fmla="*/ 25 h 49"/>
                  <a:gd name="T46" fmla="*/ 29 w 114"/>
                  <a:gd name="T47" fmla="*/ 33 h 49"/>
                  <a:gd name="T48" fmla="*/ 25 w 114"/>
                  <a:gd name="T49" fmla="*/ 41 h 49"/>
                  <a:gd name="T50" fmla="*/ 33 w 114"/>
                  <a:gd name="T51" fmla="*/ 41 h 49"/>
                  <a:gd name="T52" fmla="*/ 36 w 114"/>
                  <a:gd name="T53" fmla="*/ 41 h 49"/>
                  <a:gd name="T54" fmla="*/ 40 w 114"/>
                  <a:gd name="T55" fmla="*/ 42 h 49"/>
                  <a:gd name="T56" fmla="*/ 42 w 114"/>
                  <a:gd name="T57" fmla="*/ 41 h 49"/>
                  <a:gd name="T58" fmla="*/ 46 w 114"/>
                  <a:gd name="T59" fmla="*/ 40 h 49"/>
                  <a:gd name="T60" fmla="*/ 52 w 114"/>
                  <a:gd name="T61" fmla="*/ 42 h 49"/>
                  <a:gd name="T62" fmla="*/ 58 w 114"/>
                  <a:gd name="T63" fmla="*/ 47 h 49"/>
                  <a:gd name="T64" fmla="*/ 60 w 114"/>
                  <a:gd name="T65" fmla="*/ 49 h 49"/>
                  <a:gd name="T66" fmla="*/ 64 w 114"/>
                  <a:gd name="T67" fmla="*/ 48 h 49"/>
                  <a:gd name="T68" fmla="*/ 81 w 114"/>
                  <a:gd name="T69" fmla="*/ 47 h 49"/>
                  <a:gd name="T70" fmla="*/ 86 w 114"/>
                  <a:gd name="T71" fmla="*/ 45 h 49"/>
                  <a:gd name="T72" fmla="*/ 91 w 114"/>
                  <a:gd name="T73" fmla="*/ 43 h 49"/>
                  <a:gd name="T74" fmla="*/ 98 w 114"/>
                  <a:gd name="T75" fmla="*/ 45 h 49"/>
                  <a:gd name="T76" fmla="*/ 105 w 114"/>
                  <a:gd name="T77" fmla="*/ 47 h 49"/>
                  <a:gd name="T78" fmla="*/ 112 w 114"/>
                  <a:gd name="T79" fmla="*/ 48 h 49"/>
                  <a:gd name="T80" fmla="*/ 111 w 114"/>
                  <a:gd name="T81" fmla="*/ 45 h 49"/>
                  <a:gd name="T82" fmla="*/ 107 w 114"/>
                  <a:gd name="T83" fmla="*/ 41 h 49"/>
                  <a:gd name="T84" fmla="*/ 107 w 114"/>
                  <a:gd name="T85" fmla="*/ 34 h 49"/>
                  <a:gd name="T86" fmla="*/ 96 w 114"/>
                  <a:gd name="T87" fmla="*/ 30 h 49"/>
                  <a:gd name="T88" fmla="*/ 94 w 114"/>
                  <a:gd name="T89" fmla="*/ 26 h 49"/>
                  <a:gd name="T90" fmla="*/ 94 w 114"/>
                  <a:gd name="T91" fmla="*/ 22 h 49"/>
                  <a:gd name="T92" fmla="*/ 94 w 114"/>
                  <a:gd name="T93" fmla="*/ 22 h 49"/>
                  <a:gd name="T94" fmla="*/ 94 w 114"/>
                  <a:gd name="T95"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4" h="49">
                    <a:moveTo>
                      <a:pt x="94" y="22"/>
                    </a:moveTo>
                    <a:cubicBezTo>
                      <a:pt x="93" y="21"/>
                      <a:pt x="90" y="20"/>
                      <a:pt x="88" y="19"/>
                    </a:cubicBezTo>
                    <a:cubicBezTo>
                      <a:pt x="85" y="19"/>
                      <a:pt x="83" y="19"/>
                      <a:pt x="80" y="19"/>
                    </a:cubicBezTo>
                    <a:cubicBezTo>
                      <a:pt x="79" y="19"/>
                      <a:pt x="78" y="18"/>
                      <a:pt x="77" y="18"/>
                    </a:cubicBezTo>
                    <a:cubicBezTo>
                      <a:pt x="75" y="18"/>
                      <a:pt x="75" y="19"/>
                      <a:pt x="74" y="19"/>
                    </a:cubicBezTo>
                    <a:cubicBezTo>
                      <a:pt x="71" y="21"/>
                      <a:pt x="68" y="21"/>
                      <a:pt x="66" y="20"/>
                    </a:cubicBezTo>
                    <a:cubicBezTo>
                      <a:pt x="64" y="20"/>
                      <a:pt x="63" y="19"/>
                      <a:pt x="63" y="18"/>
                    </a:cubicBezTo>
                    <a:cubicBezTo>
                      <a:pt x="62" y="17"/>
                      <a:pt x="62" y="16"/>
                      <a:pt x="61" y="16"/>
                    </a:cubicBezTo>
                    <a:cubicBezTo>
                      <a:pt x="59" y="14"/>
                      <a:pt x="56" y="14"/>
                      <a:pt x="54" y="13"/>
                    </a:cubicBezTo>
                    <a:cubicBezTo>
                      <a:pt x="52" y="12"/>
                      <a:pt x="50" y="11"/>
                      <a:pt x="48" y="9"/>
                    </a:cubicBezTo>
                    <a:cubicBezTo>
                      <a:pt x="45" y="7"/>
                      <a:pt x="42" y="8"/>
                      <a:pt x="39" y="8"/>
                    </a:cubicBezTo>
                    <a:cubicBezTo>
                      <a:pt x="33" y="8"/>
                      <a:pt x="27" y="9"/>
                      <a:pt x="22" y="6"/>
                    </a:cubicBezTo>
                    <a:cubicBezTo>
                      <a:pt x="19" y="5"/>
                      <a:pt x="17" y="3"/>
                      <a:pt x="15" y="2"/>
                    </a:cubicBezTo>
                    <a:cubicBezTo>
                      <a:pt x="13" y="1"/>
                      <a:pt x="12" y="1"/>
                      <a:pt x="11" y="1"/>
                    </a:cubicBezTo>
                    <a:cubicBezTo>
                      <a:pt x="9" y="1"/>
                      <a:pt x="8" y="1"/>
                      <a:pt x="7" y="1"/>
                    </a:cubicBezTo>
                    <a:cubicBezTo>
                      <a:pt x="5" y="0"/>
                      <a:pt x="2" y="0"/>
                      <a:pt x="1" y="2"/>
                    </a:cubicBezTo>
                    <a:cubicBezTo>
                      <a:pt x="1" y="3"/>
                      <a:pt x="0" y="3"/>
                      <a:pt x="1" y="4"/>
                    </a:cubicBezTo>
                    <a:cubicBezTo>
                      <a:pt x="2" y="5"/>
                      <a:pt x="2" y="6"/>
                      <a:pt x="3" y="7"/>
                    </a:cubicBezTo>
                    <a:cubicBezTo>
                      <a:pt x="5" y="8"/>
                      <a:pt x="7" y="9"/>
                      <a:pt x="10" y="10"/>
                    </a:cubicBezTo>
                    <a:cubicBezTo>
                      <a:pt x="12" y="10"/>
                      <a:pt x="15" y="10"/>
                      <a:pt x="17" y="12"/>
                    </a:cubicBezTo>
                    <a:cubicBezTo>
                      <a:pt x="18" y="15"/>
                      <a:pt x="20" y="16"/>
                      <a:pt x="23" y="18"/>
                    </a:cubicBezTo>
                    <a:cubicBezTo>
                      <a:pt x="24" y="18"/>
                      <a:pt x="26" y="19"/>
                      <a:pt x="26" y="21"/>
                    </a:cubicBezTo>
                    <a:cubicBezTo>
                      <a:pt x="26" y="23"/>
                      <a:pt x="26" y="24"/>
                      <a:pt x="26" y="25"/>
                    </a:cubicBezTo>
                    <a:cubicBezTo>
                      <a:pt x="27" y="28"/>
                      <a:pt x="29" y="30"/>
                      <a:pt x="29" y="33"/>
                    </a:cubicBezTo>
                    <a:cubicBezTo>
                      <a:pt x="29" y="37"/>
                      <a:pt x="28" y="39"/>
                      <a:pt x="25" y="41"/>
                    </a:cubicBezTo>
                    <a:cubicBezTo>
                      <a:pt x="28" y="42"/>
                      <a:pt x="31" y="41"/>
                      <a:pt x="33" y="41"/>
                    </a:cubicBezTo>
                    <a:cubicBezTo>
                      <a:pt x="34" y="41"/>
                      <a:pt x="35" y="41"/>
                      <a:pt x="36" y="41"/>
                    </a:cubicBezTo>
                    <a:cubicBezTo>
                      <a:pt x="37" y="41"/>
                      <a:pt x="39" y="42"/>
                      <a:pt x="40" y="42"/>
                    </a:cubicBezTo>
                    <a:cubicBezTo>
                      <a:pt x="41" y="42"/>
                      <a:pt x="41" y="41"/>
                      <a:pt x="42" y="41"/>
                    </a:cubicBezTo>
                    <a:cubicBezTo>
                      <a:pt x="43" y="40"/>
                      <a:pt x="44" y="40"/>
                      <a:pt x="46" y="40"/>
                    </a:cubicBezTo>
                    <a:cubicBezTo>
                      <a:pt x="48" y="39"/>
                      <a:pt x="50" y="40"/>
                      <a:pt x="52" y="42"/>
                    </a:cubicBezTo>
                    <a:cubicBezTo>
                      <a:pt x="54" y="44"/>
                      <a:pt x="56" y="45"/>
                      <a:pt x="58" y="47"/>
                    </a:cubicBezTo>
                    <a:cubicBezTo>
                      <a:pt x="58" y="48"/>
                      <a:pt x="59" y="49"/>
                      <a:pt x="60" y="49"/>
                    </a:cubicBezTo>
                    <a:cubicBezTo>
                      <a:pt x="61" y="48"/>
                      <a:pt x="63" y="48"/>
                      <a:pt x="64" y="48"/>
                    </a:cubicBezTo>
                    <a:cubicBezTo>
                      <a:pt x="70" y="47"/>
                      <a:pt x="75" y="47"/>
                      <a:pt x="81" y="47"/>
                    </a:cubicBezTo>
                    <a:cubicBezTo>
                      <a:pt x="83" y="47"/>
                      <a:pt x="85" y="47"/>
                      <a:pt x="86" y="45"/>
                    </a:cubicBezTo>
                    <a:cubicBezTo>
                      <a:pt x="88" y="43"/>
                      <a:pt x="89" y="42"/>
                      <a:pt x="91" y="43"/>
                    </a:cubicBezTo>
                    <a:cubicBezTo>
                      <a:pt x="94" y="43"/>
                      <a:pt x="96" y="44"/>
                      <a:pt x="98" y="45"/>
                    </a:cubicBezTo>
                    <a:cubicBezTo>
                      <a:pt x="100" y="47"/>
                      <a:pt x="102" y="47"/>
                      <a:pt x="105" y="47"/>
                    </a:cubicBezTo>
                    <a:cubicBezTo>
                      <a:pt x="107" y="48"/>
                      <a:pt x="110" y="49"/>
                      <a:pt x="112" y="48"/>
                    </a:cubicBezTo>
                    <a:cubicBezTo>
                      <a:pt x="114" y="48"/>
                      <a:pt x="112" y="46"/>
                      <a:pt x="111" y="45"/>
                    </a:cubicBezTo>
                    <a:cubicBezTo>
                      <a:pt x="110" y="44"/>
                      <a:pt x="108" y="43"/>
                      <a:pt x="107" y="41"/>
                    </a:cubicBezTo>
                    <a:cubicBezTo>
                      <a:pt x="105" y="39"/>
                      <a:pt x="106" y="36"/>
                      <a:pt x="107" y="34"/>
                    </a:cubicBezTo>
                    <a:cubicBezTo>
                      <a:pt x="103" y="33"/>
                      <a:pt x="99" y="32"/>
                      <a:pt x="96" y="30"/>
                    </a:cubicBezTo>
                    <a:cubicBezTo>
                      <a:pt x="95" y="29"/>
                      <a:pt x="94" y="27"/>
                      <a:pt x="94" y="26"/>
                    </a:cubicBezTo>
                    <a:cubicBezTo>
                      <a:pt x="95" y="24"/>
                      <a:pt x="95" y="23"/>
                      <a:pt x="94" y="22"/>
                    </a:cubicBezTo>
                    <a:cubicBezTo>
                      <a:pt x="94" y="22"/>
                      <a:pt x="94" y="22"/>
                      <a:pt x="94" y="22"/>
                    </a:cubicBezTo>
                    <a:cubicBezTo>
                      <a:pt x="92" y="20"/>
                      <a:pt x="94" y="22"/>
                      <a:pt x="94" y="22"/>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61" name="Freeform 265">
                <a:extLst>
                  <a:ext uri="{FF2B5EF4-FFF2-40B4-BE49-F238E27FC236}">
                    <a16:creationId xmlns:a16="http://schemas.microsoft.com/office/drawing/2014/main" id="{42FEAB14-410E-8319-E839-8F8C820F94A6}"/>
                  </a:ext>
                </a:extLst>
              </p:cNvPr>
              <p:cNvSpPr/>
              <p:nvPr>
                <p:custDataLst>
                  <p:tags r:id="rId199"/>
                </p:custDataLst>
              </p:nvPr>
            </p:nvSpPr>
            <p:spPr bwMode="auto">
              <a:xfrm>
                <a:off x="6610859" y="3279218"/>
                <a:ext cx="136484" cy="103319"/>
              </a:xfrm>
              <a:custGeom>
                <a:avLst/>
                <a:gdLst>
                  <a:gd name="T0" fmla="*/ 53 w 92"/>
                  <a:gd name="T1" fmla="*/ 9 h 69"/>
                  <a:gd name="T2" fmla="*/ 44 w 92"/>
                  <a:gd name="T3" fmla="*/ 15 h 69"/>
                  <a:gd name="T4" fmla="*/ 35 w 92"/>
                  <a:gd name="T5" fmla="*/ 9 h 69"/>
                  <a:gd name="T6" fmla="*/ 30 w 92"/>
                  <a:gd name="T7" fmla="*/ 5 h 69"/>
                  <a:gd name="T8" fmla="*/ 26 w 92"/>
                  <a:gd name="T9" fmla="*/ 1 h 69"/>
                  <a:gd name="T10" fmla="*/ 24 w 92"/>
                  <a:gd name="T11" fmla="*/ 1 h 69"/>
                  <a:gd name="T12" fmla="*/ 22 w 92"/>
                  <a:gd name="T13" fmla="*/ 0 h 69"/>
                  <a:gd name="T14" fmla="*/ 21 w 92"/>
                  <a:gd name="T15" fmla="*/ 2 h 69"/>
                  <a:gd name="T16" fmla="*/ 22 w 92"/>
                  <a:gd name="T17" fmla="*/ 6 h 69"/>
                  <a:gd name="T18" fmla="*/ 28 w 92"/>
                  <a:gd name="T19" fmla="*/ 14 h 69"/>
                  <a:gd name="T20" fmla="*/ 20 w 92"/>
                  <a:gd name="T21" fmla="*/ 16 h 69"/>
                  <a:gd name="T22" fmla="*/ 9 w 92"/>
                  <a:gd name="T23" fmla="*/ 13 h 69"/>
                  <a:gd name="T24" fmla="*/ 4 w 92"/>
                  <a:gd name="T25" fmla="*/ 11 h 69"/>
                  <a:gd name="T26" fmla="*/ 0 w 92"/>
                  <a:gd name="T27" fmla="*/ 14 h 69"/>
                  <a:gd name="T28" fmla="*/ 8 w 92"/>
                  <a:gd name="T29" fmla="*/ 22 h 69"/>
                  <a:gd name="T30" fmla="*/ 8 w 92"/>
                  <a:gd name="T31" fmla="*/ 26 h 69"/>
                  <a:gd name="T32" fmla="*/ 10 w 92"/>
                  <a:gd name="T33" fmla="*/ 29 h 69"/>
                  <a:gd name="T34" fmla="*/ 14 w 92"/>
                  <a:gd name="T35" fmla="*/ 36 h 69"/>
                  <a:gd name="T36" fmla="*/ 13 w 92"/>
                  <a:gd name="T37" fmla="*/ 42 h 69"/>
                  <a:gd name="T38" fmla="*/ 21 w 92"/>
                  <a:gd name="T39" fmla="*/ 46 h 69"/>
                  <a:gd name="T40" fmla="*/ 25 w 92"/>
                  <a:gd name="T41" fmla="*/ 50 h 69"/>
                  <a:gd name="T42" fmla="*/ 25 w 92"/>
                  <a:gd name="T43" fmla="*/ 54 h 69"/>
                  <a:gd name="T44" fmla="*/ 27 w 92"/>
                  <a:gd name="T45" fmla="*/ 58 h 69"/>
                  <a:gd name="T46" fmla="*/ 41 w 92"/>
                  <a:gd name="T47" fmla="*/ 46 h 69"/>
                  <a:gd name="T48" fmla="*/ 49 w 92"/>
                  <a:gd name="T49" fmla="*/ 44 h 69"/>
                  <a:gd name="T50" fmla="*/ 55 w 92"/>
                  <a:gd name="T51" fmla="*/ 50 h 69"/>
                  <a:gd name="T52" fmla="*/ 53 w 92"/>
                  <a:gd name="T53" fmla="*/ 53 h 69"/>
                  <a:gd name="T54" fmla="*/ 55 w 92"/>
                  <a:gd name="T55" fmla="*/ 56 h 69"/>
                  <a:gd name="T56" fmla="*/ 52 w 92"/>
                  <a:gd name="T57" fmla="*/ 61 h 69"/>
                  <a:gd name="T58" fmla="*/ 57 w 92"/>
                  <a:gd name="T59" fmla="*/ 66 h 69"/>
                  <a:gd name="T60" fmla="*/ 64 w 92"/>
                  <a:gd name="T61" fmla="*/ 69 h 69"/>
                  <a:gd name="T62" fmla="*/ 64 w 92"/>
                  <a:gd name="T63" fmla="*/ 60 h 69"/>
                  <a:gd name="T64" fmla="*/ 67 w 92"/>
                  <a:gd name="T65" fmla="*/ 58 h 69"/>
                  <a:gd name="T66" fmla="*/ 70 w 92"/>
                  <a:gd name="T67" fmla="*/ 55 h 69"/>
                  <a:gd name="T68" fmla="*/ 72 w 92"/>
                  <a:gd name="T69" fmla="*/ 53 h 69"/>
                  <a:gd name="T70" fmla="*/ 72 w 92"/>
                  <a:gd name="T71" fmla="*/ 50 h 69"/>
                  <a:gd name="T72" fmla="*/ 72 w 92"/>
                  <a:gd name="T73" fmla="*/ 41 h 69"/>
                  <a:gd name="T74" fmla="*/ 76 w 92"/>
                  <a:gd name="T75" fmla="*/ 34 h 69"/>
                  <a:gd name="T76" fmla="*/ 82 w 92"/>
                  <a:gd name="T77" fmla="*/ 32 h 69"/>
                  <a:gd name="T78" fmla="*/ 85 w 92"/>
                  <a:gd name="T79" fmla="*/ 33 h 69"/>
                  <a:gd name="T80" fmla="*/ 89 w 92"/>
                  <a:gd name="T81" fmla="*/ 34 h 69"/>
                  <a:gd name="T82" fmla="*/ 86 w 92"/>
                  <a:gd name="T83" fmla="*/ 29 h 69"/>
                  <a:gd name="T84" fmla="*/ 84 w 92"/>
                  <a:gd name="T85" fmla="*/ 27 h 69"/>
                  <a:gd name="T86" fmla="*/ 80 w 92"/>
                  <a:gd name="T87" fmla="*/ 26 h 69"/>
                  <a:gd name="T88" fmla="*/ 73 w 92"/>
                  <a:gd name="T89" fmla="*/ 22 h 69"/>
                  <a:gd name="T90" fmla="*/ 69 w 92"/>
                  <a:gd name="T91" fmla="*/ 16 h 69"/>
                  <a:gd name="T92" fmla="*/ 65 w 92"/>
                  <a:gd name="T93" fmla="*/ 9 h 69"/>
                  <a:gd name="T94" fmla="*/ 60 w 92"/>
                  <a:gd name="T95" fmla="*/ 4 h 69"/>
                  <a:gd name="T96" fmla="*/ 58 w 92"/>
                  <a:gd name="T97" fmla="*/ 3 h 69"/>
                  <a:gd name="T98" fmla="*/ 56 w 92"/>
                  <a:gd name="T99" fmla="*/ 5 h 69"/>
                  <a:gd name="T100" fmla="*/ 53 w 92"/>
                  <a:gd name="T101" fmla="*/ 9 h 69"/>
                  <a:gd name="T102" fmla="*/ 51 w 92"/>
                  <a:gd name="T103" fmla="*/ 10 h 69"/>
                  <a:gd name="T104" fmla="*/ 53 w 92"/>
                  <a:gd name="T105" fmla="*/ 9 h 69"/>
                  <a:gd name="T106" fmla="*/ 53 w 92"/>
                  <a:gd name="T107" fmla="*/ 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2" h="69">
                    <a:moveTo>
                      <a:pt x="53" y="9"/>
                    </a:moveTo>
                    <a:cubicBezTo>
                      <a:pt x="50" y="11"/>
                      <a:pt x="47" y="15"/>
                      <a:pt x="44" y="15"/>
                    </a:cubicBezTo>
                    <a:cubicBezTo>
                      <a:pt x="40" y="14"/>
                      <a:pt x="37" y="12"/>
                      <a:pt x="35" y="9"/>
                    </a:cubicBezTo>
                    <a:cubicBezTo>
                      <a:pt x="33" y="8"/>
                      <a:pt x="32" y="6"/>
                      <a:pt x="30" y="5"/>
                    </a:cubicBezTo>
                    <a:cubicBezTo>
                      <a:pt x="29" y="4"/>
                      <a:pt x="28" y="2"/>
                      <a:pt x="26" y="1"/>
                    </a:cubicBezTo>
                    <a:cubicBezTo>
                      <a:pt x="25" y="1"/>
                      <a:pt x="25" y="1"/>
                      <a:pt x="24" y="1"/>
                    </a:cubicBezTo>
                    <a:cubicBezTo>
                      <a:pt x="23" y="1"/>
                      <a:pt x="23" y="0"/>
                      <a:pt x="22" y="0"/>
                    </a:cubicBezTo>
                    <a:cubicBezTo>
                      <a:pt x="22" y="1"/>
                      <a:pt x="22" y="1"/>
                      <a:pt x="21" y="2"/>
                    </a:cubicBezTo>
                    <a:cubicBezTo>
                      <a:pt x="20" y="4"/>
                      <a:pt x="21" y="5"/>
                      <a:pt x="22" y="6"/>
                    </a:cubicBezTo>
                    <a:cubicBezTo>
                      <a:pt x="24" y="8"/>
                      <a:pt x="28" y="10"/>
                      <a:pt x="28" y="14"/>
                    </a:cubicBezTo>
                    <a:cubicBezTo>
                      <a:pt x="28" y="18"/>
                      <a:pt x="22" y="17"/>
                      <a:pt x="20" y="16"/>
                    </a:cubicBezTo>
                    <a:cubicBezTo>
                      <a:pt x="16" y="15"/>
                      <a:pt x="12" y="15"/>
                      <a:pt x="9" y="13"/>
                    </a:cubicBezTo>
                    <a:cubicBezTo>
                      <a:pt x="7" y="12"/>
                      <a:pt x="5" y="11"/>
                      <a:pt x="4" y="11"/>
                    </a:cubicBezTo>
                    <a:cubicBezTo>
                      <a:pt x="1" y="11"/>
                      <a:pt x="1" y="13"/>
                      <a:pt x="0" y="14"/>
                    </a:cubicBezTo>
                    <a:cubicBezTo>
                      <a:pt x="3" y="16"/>
                      <a:pt x="8" y="18"/>
                      <a:pt x="8" y="22"/>
                    </a:cubicBezTo>
                    <a:cubicBezTo>
                      <a:pt x="9" y="23"/>
                      <a:pt x="8" y="25"/>
                      <a:pt x="8" y="26"/>
                    </a:cubicBezTo>
                    <a:cubicBezTo>
                      <a:pt x="9" y="27"/>
                      <a:pt x="9" y="28"/>
                      <a:pt x="10" y="29"/>
                    </a:cubicBezTo>
                    <a:cubicBezTo>
                      <a:pt x="11" y="31"/>
                      <a:pt x="14" y="33"/>
                      <a:pt x="14" y="36"/>
                    </a:cubicBezTo>
                    <a:cubicBezTo>
                      <a:pt x="14" y="38"/>
                      <a:pt x="11" y="40"/>
                      <a:pt x="13" y="42"/>
                    </a:cubicBezTo>
                    <a:cubicBezTo>
                      <a:pt x="16" y="43"/>
                      <a:pt x="18" y="44"/>
                      <a:pt x="21" y="46"/>
                    </a:cubicBezTo>
                    <a:cubicBezTo>
                      <a:pt x="22" y="47"/>
                      <a:pt x="25" y="48"/>
                      <a:pt x="25" y="50"/>
                    </a:cubicBezTo>
                    <a:cubicBezTo>
                      <a:pt x="25" y="52"/>
                      <a:pt x="25" y="53"/>
                      <a:pt x="25" y="54"/>
                    </a:cubicBezTo>
                    <a:cubicBezTo>
                      <a:pt x="26" y="56"/>
                      <a:pt x="27" y="57"/>
                      <a:pt x="27" y="58"/>
                    </a:cubicBezTo>
                    <a:cubicBezTo>
                      <a:pt x="32" y="54"/>
                      <a:pt x="36" y="49"/>
                      <a:pt x="41" y="46"/>
                    </a:cubicBezTo>
                    <a:cubicBezTo>
                      <a:pt x="43" y="44"/>
                      <a:pt x="46" y="43"/>
                      <a:pt x="49" y="44"/>
                    </a:cubicBezTo>
                    <a:cubicBezTo>
                      <a:pt x="51" y="44"/>
                      <a:pt x="55" y="48"/>
                      <a:pt x="55" y="50"/>
                    </a:cubicBezTo>
                    <a:cubicBezTo>
                      <a:pt x="55" y="51"/>
                      <a:pt x="54" y="52"/>
                      <a:pt x="53" y="53"/>
                    </a:cubicBezTo>
                    <a:cubicBezTo>
                      <a:pt x="53" y="54"/>
                      <a:pt x="55" y="55"/>
                      <a:pt x="55" y="56"/>
                    </a:cubicBezTo>
                    <a:cubicBezTo>
                      <a:pt x="56" y="59"/>
                      <a:pt x="52" y="59"/>
                      <a:pt x="52" y="61"/>
                    </a:cubicBezTo>
                    <a:cubicBezTo>
                      <a:pt x="53" y="63"/>
                      <a:pt x="55" y="65"/>
                      <a:pt x="57" y="66"/>
                    </a:cubicBezTo>
                    <a:cubicBezTo>
                      <a:pt x="59" y="68"/>
                      <a:pt x="61" y="68"/>
                      <a:pt x="64" y="69"/>
                    </a:cubicBezTo>
                    <a:cubicBezTo>
                      <a:pt x="64" y="66"/>
                      <a:pt x="64" y="63"/>
                      <a:pt x="64" y="60"/>
                    </a:cubicBezTo>
                    <a:cubicBezTo>
                      <a:pt x="64" y="58"/>
                      <a:pt x="65" y="56"/>
                      <a:pt x="67" y="58"/>
                    </a:cubicBezTo>
                    <a:cubicBezTo>
                      <a:pt x="69" y="60"/>
                      <a:pt x="70" y="57"/>
                      <a:pt x="70" y="55"/>
                    </a:cubicBezTo>
                    <a:cubicBezTo>
                      <a:pt x="70" y="54"/>
                      <a:pt x="71" y="53"/>
                      <a:pt x="72" y="53"/>
                    </a:cubicBezTo>
                    <a:cubicBezTo>
                      <a:pt x="73" y="53"/>
                      <a:pt x="73" y="50"/>
                      <a:pt x="72" y="50"/>
                    </a:cubicBezTo>
                    <a:cubicBezTo>
                      <a:pt x="71" y="47"/>
                      <a:pt x="72" y="44"/>
                      <a:pt x="72" y="41"/>
                    </a:cubicBezTo>
                    <a:cubicBezTo>
                      <a:pt x="73" y="38"/>
                      <a:pt x="74" y="36"/>
                      <a:pt x="76" y="34"/>
                    </a:cubicBezTo>
                    <a:cubicBezTo>
                      <a:pt x="78" y="32"/>
                      <a:pt x="79" y="31"/>
                      <a:pt x="82" y="32"/>
                    </a:cubicBezTo>
                    <a:cubicBezTo>
                      <a:pt x="83" y="32"/>
                      <a:pt x="84" y="33"/>
                      <a:pt x="85" y="33"/>
                    </a:cubicBezTo>
                    <a:cubicBezTo>
                      <a:pt x="87" y="34"/>
                      <a:pt x="88" y="34"/>
                      <a:pt x="89" y="34"/>
                    </a:cubicBezTo>
                    <a:cubicBezTo>
                      <a:pt x="92" y="34"/>
                      <a:pt x="87" y="29"/>
                      <a:pt x="86" y="29"/>
                    </a:cubicBezTo>
                    <a:cubicBezTo>
                      <a:pt x="86" y="28"/>
                      <a:pt x="85" y="27"/>
                      <a:pt x="84" y="27"/>
                    </a:cubicBezTo>
                    <a:cubicBezTo>
                      <a:pt x="83" y="26"/>
                      <a:pt x="82" y="26"/>
                      <a:pt x="80" y="26"/>
                    </a:cubicBezTo>
                    <a:cubicBezTo>
                      <a:pt x="77" y="26"/>
                      <a:pt x="75" y="24"/>
                      <a:pt x="73" y="22"/>
                    </a:cubicBezTo>
                    <a:cubicBezTo>
                      <a:pt x="71" y="21"/>
                      <a:pt x="70" y="19"/>
                      <a:pt x="69" y="16"/>
                    </a:cubicBezTo>
                    <a:cubicBezTo>
                      <a:pt x="68" y="13"/>
                      <a:pt x="67" y="11"/>
                      <a:pt x="65" y="9"/>
                    </a:cubicBezTo>
                    <a:cubicBezTo>
                      <a:pt x="63" y="7"/>
                      <a:pt x="62" y="5"/>
                      <a:pt x="60" y="4"/>
                    </a:cubicBezTo>
                    <a:cubicBezTo>
                      <a:pt x="59" y="3"/>
                      <a:pt x="59" y="3"/>
                      <a:pt x="58" y="3"/>
                    </a:cubicBezTo>
                    <a:cubicBezTo>
                      <a:pt x="57" y="4"/>
                      <a:pt x="57" y="4"/>
                      <a:pt x="56" y="5"/>
                    </a:cubicBezTo>
                    <a:cubicBezTo>
                      <a:pt x="55" y="6"/>
                      <a:pt x="54" y="7"/>
                      <a:pt x="53" y="9"/>
                    </a:cubicBezTo>
                    <a:cubicBezTo>
                      <a:pt x="52" y="9"/>
                      <a:pt x="52" y="10"/>
                      <a:pt x="51" y="10"/>
                    </a:cubicBezTo>
                    <a:cubicBezTo>
                      <a:pt x="52" y="10"/>
                      <a:pt x="52" y="9"/>
                      <a:pt x="53" y="9"/>
                    </a:cubicBezTo>
                    <a:cubicBezTo>
                      <a:pt x="51" y="10"/>
                      <a:pt x="53" y="9"/>
                      <a:pt x="53" y="9"/>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62" name="Freeform 269">
                <a:extLst>
                  <a:ext uri="{FF2B5EF4-FFF2-40B4-BE49-F238E27FC236}">
                    <a16:creationId xmlns:a16="http://schemas.microsoft.com/office/drawing/2014/main" id="{04BAE791-DCF7-C3F8-4114-B57B71371918}"/>
                  </a:ext>
                </a:extLst>
              </p:cNvPr>
              <p:cNvSpPr/>
              <p:nvPr>
                <p:custDataLst>
                  <p:tags r:id="rId200"/>
                </p:custDataLst>
              </p:nvPr>
            </p:nvSpPr>
            <p:spPr bwMode="auto">
              <a:xfrm>
                <a:off x="7695074" y="2955228"/>
                <a:ext cx="811248" cy="331642"/>
              </a:xfrm>
              <a:custGeom>
                <a:avLst/>
                <a:gdLst>
                  <a:gd name="T0" fmla="*/ 3 w 545"/>
                  <a:gd name="T1" fmla="*/ 75 h 223"/>
                  <a:gd name="T2" fmla="*/ 14 w 545"/>
                  <a:gd name="T3" fmla="*/ 84 h 223"/>
                  <a:gd name="T4" fmla="*/ 28 w 545"/>
                  <a:gd name="T5" fmla="*/ 88 h 223"/>
                  <a:gd name="T6" fmla="*/ 43 w 545"/>
                  <a:gd name="T7" fmla="*/ 96 h 223"/>
                  <a:gd name="T8" fmla="*/ 54 w 545"/>
                  <a:gd name="T9" fmla="*/ 116 h 223"/>
                  <a:gd name="T10" fmla="*/ 50 w 545"/>
                  <a:gd name="T11" fmla="*/ 146 h 223"/>
                  <a:gd name="T12" fmla="*/ 101 w 545"/>
                  <a:gd name="T13" fmla="*/ 154 h 223"/>
                  <a:gd name="T14" fmla="*/ 119 w 545"/>
                  <a:gd name="T15" fmla="*/ 168 h 223"/>
                  <a:gd name="T16" fmla="*/ 129 w 545"/>
                  <a:gd name="T17" fmla="*/ 174 h 223"/>
                  <a:gd name="T18" fmla="*/ 136 w 545"/>
                  <a:gd name="T19" fmla="*/ 188 h 223"/>
                  <a:gd name="T20" fmla="*/ 154 w 545"/>
                  <a:gd name="T21" fmla="*/ 199 h 223"/>
                  <a:gd name="T22" fmla="*/ 199 w 545"/>
                  <a:gd name="T23" fmla="*/ 203 h 223"/>
                  <a:gd name="T24" fmla="*/ 235 w 545"/>
                  <a:gd name="T25" fmla="*/ 206 h 223"/>
                  <a:gd name="T26" fmla="*/ 247 w 545"/>
                  <a:gd name="T27" fmla="*/ 213 h 223"/>
                  <a:gd name="T28" fmla="*/ 275 w 545"/>
                  <a:gd name="T29" fmla="*/ 219 h 223"/>
                  <a:gd name="T30" fmla="*/ 289 w 545"/>
                  <a:gd name="T31" fmla="*/ 223 h 223"/>
                  <a:gd name="T32" fmla="*/ 322 w 545"/>
                  <a:gd name="T33" fmla="*/ 209 h 223"/>
                  <a:gd name="T34" fmla="*/ 377 w 545"/>
                  <a:gd name="T35" fmla="*/ 201 h 223"/>
                  <a:gd name="T36" fmla="*/ 404 w 545"/>
                  <a:gd name="T37" fmla="*/ 181 h 223"/>
                  <a:gd name="T38" fmla="*/ 401 w 545"/>
                  <a:gd name="T39" fmla="*/ 169 h 223"/>
                  <a:gd name="T40" fmla="*/ 405 w 545"/>
                  <a:gd name="T41" fmla="*/ 155 h 223"/>
                  <a:gd name="T42" fmla="*/ 436 w 545"/>
                  <a:gd name="T43" fmla="*/ 157 h 223"/>
                  <a:gd name="T44" fmla="*/ 457 w 545"/>
                  <a:gd name="T45" fmla="*/ 143 h 223"/>
                  <a:gd name="T46" fmla="*/ 478 w 545"/>
                  <a:gd name="T47" fmla="*/ 139 h 223"/>
                  <a:gd name="T48" fmla="*/ 483 w 545"/>
                  <a:gd name="T49" fmla="*/ 130 h 223"/>
                  <a:gd name="T50" fmla="*/ 506 w 545"/>
                  <a:gd name="T51" fmla="*/ 122 h 223"/>
                  <a:gd name="T52" fmla="*/ 544 w 545"/>
                  <a:gd name="T53" fmla="*/ 114 h 223"/>
                  <a:gd name="T54" fmla="*/ 519 w 545"/>
                  <a:gd name="T55" fmla="*/ 92 h 223"/>
                  <a:gd name="T56" fmla="*/ 499 w 545"/>
                  <a:gd name="T57" fmla="*/ 98 h 223"/>
                  <a:gd name="T58" fmla="*/ 477 w 545"/>
                  <a:gd name="T59" fmla="*/ 97 h 223"/>
                  <a:gd name="T60" fmla="*/ 472 w 545"/>
                  <a:gd name="T61" fmla="*/ 86 h 223"/>
                  <a:gd name="T62" fmla="*/ 476 w 545"/>
                  <a:gd name="T63" fmla="*/ 72 h 223"/>
                  <a:gd name="T64" fmla="*/ 481 w 545"/>
                  <a:gd name="T65" fmla="*/ 47 h 223"/>
                  <a:gd name="T66" fmla="*/ 453 w 545"/>
                  <a:gd name="T67" fmla="*/ 42 h 223"/>
                  <a:gd name="T68" fmla="*/ 430 w 545"/>
                  <a:gd name="T69" fmla="*/ 54 h 223"/>
                  <a:gd name="T70" fmla="*/ 397 w 545"/>
                  <a:gd name="T71" fmla="*/ 64 h 223"/>
                  <a:gd name="T72" fmla="*/ 360 w 545"/>
                  <a:gd name="T73" fmla="*/ 62 h 223"/>
                  <a:gd name="T74" fmla="*/ 338 w 545"/>
                  <a:gd name="T75" fmla="*/ 47 h 223"/>
                  <a:gd name="T76" fmla="*/ 316 w 545"/>
                  <a:gd name="T77" fmla="*/ 40 h 223"/>
                  <a:gd name="T78" fmla="*/ 272 w 545"/>
                  <a:gd name="T79" fmla="*/ 43 h 223"/>
                  <a:gd name="T80" fmla="*/ 243 w 545"/>
                  <a:gd name="T81" fmla="*/ 29 h 223"/>
                  <a:gd name="T82" fmla="*/ 223 w 545"/>
                  <a:gd name="T83" fmla="*/ 11 h 223"/>
                  <a:gd name="T84" fmla="*/ 197 w 545"/>
                  <a:gd name="T85" fmla="*/ 4 h 223"/>
                  <a:gd name="T86" fmla="*/ 182 w 545"/>
                  <a:gd name="T87" fmla="*/ 4 h 223"/>
                  <a:gd name="T88" fmla="*/ 172 w 545"/>
                  <a:gd name="T89" fmla="*/ 16 h 223"/>
                  <a:gd name="T90" fmla="*/ 177 w 545"/>
                  <a:gd name="T91" fmla="*/ 35 h 223"/>
                  <a:gd name="T92" fmla="*/ 163 w 545"/>
                  <a:gd name="T93" fmla="*/ 50 h 223"/>
                  <a:gd name="T94" fmla="*/ 134 w 545"/>
                  <a:gd name="T95" fmla="*/ 46 h 223"/>
                  <a:gd name="T96" fmla="*/ 115 w 545"/>
                  <a:gd name="T97" fmla="*/ 46 h 223"/>
                  <a:gd name="T98" fmla="*/ 100 w 545"/>
                  <a:gd name="T99" fmla="*/ 34 h 223"/>
                  <a:gd name="T100" fmla="*/ 78 w 545"/>
                  <a:gd name="T101" fmla="*/ 28 h 223"/>
                  <a:gd name="T102" fmla="*/ 62 w 545"/>
                  <a:gd name="T103" fmla="*/ 33 h 223"/>
                  <a:gd name="T104" fmla="*/ 31 w 545"/>
                  <a:gd name="T105" fmla="*/ 49 h 223"/>
                  <a:gd name="T106" fmla="*/ 22 w 545"/>
                  <a:gd name="T107" fmla="*/ 57 h 223"/>
                  <a:gd name="T108" fmla="*/ 4 w 545"/>
                  <a:gd name="T109" fmla="*/ 62 h 223"/>
                  <a:gd name="T110" fmla="*/ 0 w 545"/>
                  <a:gd name="T111" fmla="*/ 71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45" h="223">
                    <a:moveTo>
                      <a:pt x="0" y="71"/>
                    </a:moveTo>
                    <a:cubicBezTo>
                      <a:pt x="0" y="72"/>
                      <a:pt x="1" y="72"/>
                      <a:pt x="2" y="73"/>
                    </a:cubicBezTo>
                    <a:cubicBezTo>
                      <a:pt x="3" y="74"/>
                      <a:pt x="3" y="74"/>
                      <a:pt x="3" y="75"/>
                    </a:cubicBezTo>
                    <a:cubicBezTo>
                      <a:pt x="4" y="77"/>
                      <a:pt x="8" y="79"/>
                      <a:pt x="10" y="79"/>
                    </a:cubicBezTo>
                    <a:cubicBezTo>
                      <a:pt x="11" y="80"/>
                      <a:pt x="12" y="81"/>
                      <a:pt x="13" y="81"/>
                    </a:cubicBezTo>
                    <a:cubicBezTo>
                      <a:pt x="14" y="82"/>
                      <a:pt x="14" y="83"/>
                      <a:pt x="14" y="84"/>
                    </a:cubicBezTo>
                    <a:cubicBezTo>
                      <a:pt x="14" y="86"/>
                      <a:pt x="15" y="87"/>
                      <a:pt x="16" y="87"/>
                    </a:cubicBezTo>
                    <a:cubicBezTo>
                      <a:pt x="17" y="88"/>
                      <a:pt x="19" y="89"/>
                      <a:pt x="20" y="89"/>
                    </a:cubicBezTo>
                    <a:cubicBezTo>
                      <a:pt x="23" y="89"/>
                      <a:pt x="25" y="87"/>
                      <a:pt x="28" y="88"/>
                    </a:cubicBezTo>
                    <a:cubicBezTo>
                      <a:pt x="29" y="89"/>
                      <a:pt x="30" y="89"/>
                      <a:pt x="31" y="90"/>
                    </a:cubicBezTo>
                    <a:cubicBezTo>
                      <a:pt x="33" y="91"/>
                      <a:pt x="34" y="91"/>
                      <a:pt x="36" y="92"/>
                    </a:cubicBezTo>
                    <a:cubicBezTo>
                      <a:pt x="39" y="93"/>
                      <a:pt x="41" y="94"/>
                      <a:pt x="43" y="96"/>
                    </a:cubicBezTo>
                    <a:cubicBezTo>
                      <a:pt x="44" y="99"/>
                      <a:pt x="45" y="101"/>
                      <a:pt x="46" y="104"/>
                    </a:cubicBezTo>
                    <a:cubicBezTo>
                      <a:pt x="47" y="107"/>
                      <a:pt x="48" y="109"/>
                      <a:pt x="49" y="111"/>
                    </a:cubicBezTo>
                    <a:cubicBezTo>
                      <a:pt x="51" y="113"/>
                      <a:pt x="53" y="114"/>
                      <a:pt x="54" y="116"/>
                    </a:cubicBezTo>
                    <a:cubicBezTo>
                      <a:pt x="55" y="119"/>
                      <a:pt x="55" y="122"/>
                      <a:pt x="54" y="125"/>
                    </a:cubicBezTo>
                    <a:cubicBezTo>
                      <a:pt x="53" y="127"/>
                      <a:pt x="55" y="130"/>
                      <a:pt x="54" y="132"/>
                    </a:cubicBezTo>
                    <a:cubicBezTo>
                      <a:pt x="53" y="136"/>
                      <a:pt x="47" y="141"/>
                      <a:pt x="50" y="146"/>
                    </a:cubicBezTo>
                    <a:cubicBezTo>
                      <a:pt x="53" y="150"/>
                      <a:pt x="59" y="150"/>
                      <a:pt x="63" y="151"/>
                    </a:cubicBezTo>
                    <a:cubicBezTo>
                      <a:pt x="70" y="151"/>
                      <a:pt x="76" y="151"/>
                      <a:pt x="83" y="152"/>
                    </a:cubicBezTo>
                    <a:cubicBezTo>
                      <a:pt x="89" y="152"/>
                      <a:pt x="95" y="152"/>
                      <a:pt x="101" y="154"/>
                    </a:cubicBezTo>
                    <a:cubicBezTo>
                      <a:pt x="103" y="155"/>
                      <a:pt x="105" y="157"/>
                      <a:pt x="107" y="159"/>
                    </a:cubicBezTo>
                    <a:cubicBezTo>
                      <a:pt x="109" y="161"/>
                      <a:pt x="111" y="162"/>
                      <a:pt x="114" y="164"/>
                    </a:cubicBezTo>
                    <a:cubicBezTo>
                      <a:pt x="115" y="165"/>
                      <a:pt x="117" y="167"/>
                      <a:pt x="119" y="168"/>
                    </a:cubicBezTo>
                    <a:cubicBezTo>
                      <a:pt x="121" y="168"/>
                      <a:pt x="122" y="168"/>
                      <a:pt x="123" y="168"/>
                    </a:cubicBezTo>
                    <a:cubicBezTo>
                      <a:pt x="124" y="168"/>
                      <a:pt x="126" y="168"/>
                      <a:pt x="127" y="169"/>
                    </a:cubicBezTo>
                    <a:cubicBezTo>
                      <a:pt x="129" y="170"/>
                      <a:pt x="128" y="173"/>
                      <a:pt x="129" y="174"/>
                    </a:cubicBezTo>
                    <a:cubicBezTo>
                      <a:pt x="130" y="175"/>
                      <a:pt x="131" y="176"/>
                      <a:pt x="131" y="176"/>
                    </a:cubicBezTo>
                    <a:cubicBezTo>
                      <a:pt x="132" y="177"/>
                      <a:pt x="133" y="179"/>
                      <a:pt x="134" y="180"/>
                    </a:cubicBezTo>
                    <a:cubicBezTo>
                      <a:pt x="134" y="183"/>
                      <a:pt x="135" y="185"/>
                      <a:pt x="136" y="188"/>
                    </a:cubicBezTo>
                    <a:cubicBezTo>
                      <a:pt x="137" y="191"/>
                      <a:pt x="139" y="192"/>
                      <a:pt x="141" y="194"/>
                    </a:cubicBezTo>
                    <a:cubicBezTo>
                      <a:pt x="142" y="196"/>
                      <a:pt x="143" y="199"/>
                      <a:pt x="146" y="200"/>
                    </a:cubicBezTo>
                    <a:cubicBezTo>
                      <a:pt x="148" y="201"/>
                      <a:pt x="151" y="199"/>
                      <a:pt x="154" y="199"/>
                    </a:cubicBezTo>
                    <a:cubicBezTo>
                      <a:pt x="160" y="198"/>
                      <a:pt x="166" y="199"/>
                      <a:pt x="172" y="200"/>
                    </a:cubicBezTo>
                    <a:cubicBezTo>
                      <a:pt x="178" y="202"/>
                      <a:pt x="185" y="202"/>
                      <a:pt x="191" y="203"/>
                    </a:cubicBezTo>
                    <a:cubicBezTo>
                      <a:pt x="194" y="203"/>
                      <a:pt x="196" y="204"/>
                      <a:pt x="199" y="203"/>
                    </a:cubicBezTo>
                    <a:cubicBezTo>
                      <a:pt x="202" y="203"/>
                      <a:pt x="204" y="201"/>
                      <a:pt x="207" y="201"/>
                    </a:cubicBezTo>
                    <a:cubicBezTo>
                      <a:pt x="213" y="202"/>
                      <a:pt x="220" y="203"/>
                      <a:pt x="226" y="204"/>
                    </a:cubicBezTo>
                    <a:cubicBezTo>
                      <a:pt x="229" y="205"/>
                      <a:pt x="232" y="205"/>
                      <a:pt x="235" y="206"/>
                    </a:cubicBezTo>
                    <a:cubicBezTo>
                      <a:pt x="236" y="206"/>
                      <a:pt x="237" y="206"/>
                      <a:pt x="238" y="207"/>
                    </a:cubicBezTo>
                    <a:cubicBezTo>
                      <a:pt x="240" y="207"/>
                      <a:pt x="241" y="209"/>
                      <a:pt x="241" y="210"/>
                    </a:cubicBezTo>
                    <a:cubicBezTo>
                      <a:pt x="243" y="212"/>
                      <a:pt x="245" y="212"/>
                      <a:pt x="247" y="213"/>
                    </a:cubicBezTo>
                    <a:cubicBezTo>
                      <a:pt x="250" y="213"/>
                      <a:pt x="253" y="214"/>
                      <a:pt x="257" y="215"/>
                    </a:cubicBezTo>
                    <a:cubicBezTo>
                      <a:pt x="260" y="216"/>
                      <a:pt x="263" y="217"/>
                      <a:pt x="266" y="218"/>
                    </a:cubicBezTo>
                    <a:cubicBezTo>
                      <a:pt x="269" y="219"/>
                      <a:pt x="271" y="220"/>
                      <a:pt x="275" y="219"/>
                    </a:cubicBezTo>
                    <a:cubicBezTo>
                      <a:pt x="277" y="219"/>
                      <a:pt x="280" y="218"/>
                      <a:pt x="282" y="220"/>
                    </a:cubicBezTo>
                    <a:cubicBezTo>
                      <a:pt x="283" y="220"/>
                      <a:pt x="283" y="221"/>
                      <a:pt x="284" y="222"/>
                    </a:cubicBezTo>
                    <a:cubicBezTo>
                      <a:pt x="286" y="222"/>
                      <a:pt x="287" y="223"/>
                      <a:pt x="289" y="223"/>
                    </a:cubicBezTo>
                    <a:cubicBezTo>
                      <a:pt x="292" y="223"/>
                      <a:pt x="294" y="221"/>
                      <a:pt x="297" y="220"/>
                    </a:cubicBezTo>
                    <a:cubicBezTo>
                      <a:pt x="300" y="219"/>
                      <a:pt x="303" y="217"/>
                      <a:pt x="306" y="216"/>
                    </a:cubicBezTo>
                    <a:cubicBezTo>
                      <a:pt x="311" y="213"/>
                      <a:pt x="316" y="210"/>
                      <a:pt x="322" y="209"/>
                    </a:cubicBezTo>
                    <a:cubicBezTo>
                      <a:pt x="328" y="207"/>
                      <a:pt x="335" y="207"/>
                      <a:pt x="341" y="206"/>
                    </a:cubicBezTo>
                    <a:cubicBezTo>
                      <a:pt x="347" y="206"/>
                      <a:pt x="354" y="206"/>
                      <a:pt x="360" y="206"/>
                    </a:cubicBezTo>
                    <a:cubicBezTo>
                      <a:pt x="366" y="205"/>
                      <a:pt x="372" y="204"/>
                      <a:pt x="377" y="201"/>
                    </a:cubicBezTo>
                    <a:cubicBezTo>
                      <a:pt x="380" y="200"/>
                      <a:pt x="382" y="199"/>
                      <a:pt x="384" y="196"/>
                    </a:cubicBezTo>
                    <a:cubicBezTo>
                      <a:pt x="386" y="194"/>
                      <a:pt x="388" y="192"/>
                      <a:pt x="390" y="190"/>
                    </a:cubicBezTo>
                    <a:cubicBezTo>
                      <a:pt x="395" y="187"/>
                      <a:pt x="400" y="184"/>
                      <a:pt x="404" y="181"/>
                    </a:cubicBezTo>
                    <a:cubicBezTo>
                      <a:pt x="405" y="181"/>
                      <a:pt x="407" y="180"/>
                      <a:pt x="407" y="179"/>
                    </a:cubicBezTo>
                    <a:cubicBezTo>
                      <a:pt x="407" y="178"/>
                      <a:pt x="406" y="177"/>
                      <a:pt x="406" y="176"/>
                    </a:cubicBezTo>
                    <a:cubicBezTo>
                      <a:pt x="404" y="174"/>
                      <a:pt x="402" y="172"/>
                      <a:pt x="401" y="169"/>
                    </a:cubicBezTo>
                    <a:cubicBezTo>
                      <a:pt x="400" y="168"/>
                      <a:pt x="399" y="167"/>
                      <a:pt x="399" y="165"/>
                    </a:cubicBezTo>
                    <a:cubicBezTo>
                      <a:pt x="399" y="164"/>
                      <a:pt x="400" y="163"/>
                      <a:pt x="401" y="162"/>
                    </a:cubicBezTo>
                    <a:cubicBezTo>
                      <a:pt x="402" y="159"/>
                      <a:pt x="404" y="157"/>
                      <a:pt x="405" y="155"/>
                    </a:cubicBezTo>
                    <a:cubicBezTo>
                      <a:pt x="409" y="150"/>
                      <a:pt x="414" y="150"/>
                      <a:pt x="420" y="152"/>
                    </a:cubicBezTo>
                    <a:cubicBezTo>
                      <a:pt x="422" y="154"/>
                      <a:pt x="425" y="155"/>
                      <a:pt x="428" y="156"/>
                    </a:cubicBezTo>
                    <a:cubicBezTo>
                      <a:pt x="431" y="157"/>
                      <a:pt x="433" y="158"/>
                      <a:pt x="436" y="157"/>
                    </a:cubicBezTo>
                    <a:cubicBezTo>
                      <a:pt x="439" y="156"/>
                      <a:pt x="441" y="154"/>
                      <a:pt x="443" y="153"/>
                    </a:cubicBezTo>
                    <a:cubicBezTo>
                      <a:pt x="445" y="151"/>
                      <a:pt x="448" y="149"/>
                      <a:pt x="450" y="147"/>
                    </a:cubicBezTo>
                    <a:cubicBezTo>
                      <a:pt x="452" y="145"/>
                      <a:pt x="454" y="144"/>
                      <a:pt x="457" y="143"/>
                    </a:cubicBezTo>
                    <a:cubicBezTo>
                      <a:pt x="460" y="143"/>
                      <a:pt x="463" y="143"/>
                      <a:pt x="466" y="143"/>
                    </a:cubicBezTo>
                    <a:cubicBezTo>
                      <a:pt x="469" y="143"/>
                      <a:pt x="472" y="143"/>
                      <a:pt x="475" y="141"/>
                    </a:cubicBezTo>
                    <a:cubicBezTo>
                      <a:pt x="476" y="141"/>
                      <a:pt x="477" y="140"/>
                      <a:pt x="478" y="139"/>
                    </a:cubicBezTo>
                    <a:cubicBezTo>
                      <a:pt x="479" y="138"/>
                      <a:pt x="481" y="138"/>
                      <a:pt x="481" y="137"/>
                    </a:cubicBezTo>
                    <a:cubicBezTo>
                      <a:pt x="482" y="136"/>
                      <a:pt x="481" y="134"/>
                      <a:pt x="481" y="133"/>
                    </a:cubicBezTo>
                    <a:cubicBezTo>
                      <a:pt x="482" y="132"/>
                      <a:pt x="482" y="131"/>
                      <a:pt x="483" y="130"/>
                    </a:cubicBezTo>
                    <a:cubicBezTo>
                      <a:pt x="485" y="128"/>
                      <a:pt x="486" y="126"/>
                      <a:pt x="489" y="125"/>
                    </a:cubicBezTo>
                    <a:cubicBezTo>
                      <a:pt x="491" y="123"/>
                      <a:pt x="494" y="124"/>
                      <a:pt x="497" y="123"/>
                    </a:cubicBezTo>
                    <a:cubicBezTo>
                      <a:pt x="500" y="123"/>
                      <a:pt x="503" y="123"/>
                      <a:pt x="506" y="122"/>
                    </a:cubicBezTo>
                    <a:cubicBezTo>
                      <a:pt x="512" y="120"/>
                      <a:pt x="517" y="117"/>
                      <a:pt x="523" y="117"/>
                    </a:cubicBezTo>
                    <a:cubicBezTo>
                      <a:pt x="529" y="117"/>
                      <a:pt x="535" y="117"/>
                      <a:pt x="541" y="117"/>
                    </a:cubicBezTo>
                    <a:cubicBezTo>
                      <a:pt x="543" y="117"/>
                      <a:pt x="545" y="116"/>
                      <a:pt x="544" y="114"/>
                    </a:cubicBezTo>
                    <a:cubicBezTo>
                      <a:pt x="543" y="112"/>
                      <a:pt x="541" y="110"/>
                      <a:pt x="539" y="108"/>
                    </a:cubicBezTo>
                    <a:cubicBezTo>
                      <a:pt x="535" y="103"/>
                      <a:pt x="531" y="99"/>
                      <a:pt x="526" y="95"/>
                    </a:cubicBezTo>
                    <a:cubicBezTo>
                      <a:pt x="524" y="93"/>
                      <a:pt x="522" y="92"/>
                      <a:pt x="519" y="92"/>
                    </a:cubicBezTo>
                    <a:cubicBezTo>
                      <a:pt x="517" y="91"/>
                      <a:pt x="514" y="91"/>
                      <a:pt x="512" y="92"/>
                    </a:cubicBezTo>
                    <a:cubicBezTo>
                      <a:pt x="509" y="92"/>
                      <a:pt x="507" y="93"/>
                      <a:pt x="505" y="94"/>
                    </a:cubicBezTo>
                    <a:cubicBezTo>
                      <a:pt x="504" y="96"/>
                      <a:pt x="503" y="99"/>
                      <a:pt x="499" y="98"/>
                    </a:cubicBezTo>
                    <a:cubicBezTo>
                      <a:pt x="497" y="97"/>
                      <a:pt x="495" y="95"/>
                      <a:pt x="492" y="95"/>
                    </a:cubicBezTo>
                    <a:cubicBezTo>
                      <a:pt x="490" y="94"/>
                      <a:pt x="487" y="95"/>
                      <a:pt x="484" y="95"/>
                    </a:cubicBezTo>
                    <a:cubicBezTo>
                      <a:pt x="482" y="96"/>
                      <a:pt x="479" y="98"/>
                      <a:pt x="477" y="97"/>
                    </a:cubicBezTo>
                    <a:cubicBezTo>
                      <a:pt x="474" y="97"/>
                      <a:pt x="472" y="94"/>
                      <a:pt x="471" y="92"/>
                    </a:cubicBezTo>
                    <a:cubicBezTo>
                      <a:pt x="470" y="91"/>
                      <a:pt x="470" y="90"/>
                      <a:pt x="470" y="89"/>
                    </a:cubicBezTo>
                    <a:cubicBezTo>
                      <a:pt x="470" y="87"/>
                      <a:pt x="471" y="87"/>
                      <a:pt x="472" y="86"/>
                    </a:cubicBezTo>
                    <a:cubicBezTo>
                      <a:pt x="472" y="85"/>
                      <a:pt x="473" y="84"/>
                      <a:pt x="474" y="82"/>
                    </a:cubicBezTo>
                    <a:cubicBezTo>
                      <a:pt x="474" y="81"/>
                      <a:pt x="474" y="80"/>
                      <a:pt x="474" y="79"/>
                    </a:cubicBezTo>
                    <a:cubicBezTo>
                      <a:pt x="474" y="76"/>
                      <a:pt x="475" y="74"/>
                      <a:pt x="476" y="72"/>
                    </a:cubicBezTo>
                    <a:cubicBezTo>
                      <a:pt x="478" y="70"/>
                      <a:pt x="479" y="67"/>
                      <a:pt x="480" y="65"/>
                    </a:cubicBezTo>
                    <a:cubicBezTo>
                      <a:pt x="483" y="60"/>
                      <a:pt x="486" y="55"/>
                      <a:pt x="489" y="50"/>
                    </a:cubicBezTo>
                    <a:cubicBezTo>
                      <a:pt x="486" y="48"/>
                      <a:pt x="484" y="47"/>
                      <a:pt x="481" y="47"/>
                    </a:cubicBezTo>
                    <a:cubicBezTo>
                      <a:pt x="478" y="47"/>
                      <a:pt x="475" y="49"/>
                      <a:pt x="473" y="49"/>
                    </a:cubicBezTo>
                    <a:cubicBezTo>
                      <a:pt x="467" y="50"/>
                      <a:pt x="465" y="45"/>
                      <a:pt x="460" y="43"/>
                    </a:cubicBezTo>
                    <a:cubicBezTo>
                      <a:pt x="458" y="42"/>
                      <a:pt x="455" y="42"/>
                      <a:pt x="453" y="42"/>
                    </a:cubicBezTo>
                    <a:cubicBezTo>
                      <a:pt x="449" y="42"/>
                      <a:pt x="446" y="42"/>
                      <a:pt x="443" y="43"/>
                    </a:cubicBezTo>
                    <a:cubicBezTo>
                      <a:pt x="441" y="45"/>
                      <a:pt x="438" y="46"/>
                      <a:pt x="436" y="48"/>
                    </a:cubicBezTo>
                    <a:cubicBezTo>
                      <a:pt x="434" y="49"/>
                      <a:pt x="432" y="52"/>
                      <a:pt x="430" y="54"/>
                    </a:cubicBezTo>
                    <a:cubicBezTo>
                      <a:pt x="428" y="56"/>
                      <a:pt x="426" y="57"/>
                      <a:pt x="424" y="58"/>
                    </a:cubicBezTo>
                    <a:cubicBezTo>
                      <a:pt x="421" y="59"/>
                      <a:pt x="418" y="59"/>
                      <a:pt x="415" y="59"/>
                    </a:cubicBezTo>
                    <a:cubicBezTo>
                      <a:pt x="409" y="60"/>
                      <a:pt x="403" y="62"/>
                      <a:pt x="397" y="64"/>
                    </a:cubicBezTo>
                    <a:cubicBezTo>
                      <a:pt x="394" y="65"/>
                      <a:pt x="391" y="66"/>
                      <a:pt x="389" y="66"/>
                    </a:cubicBezTo>
                    <a:cubicBezTo>
                      <a:pt x="385" y="66"/>
                      <a:pt x="382" y="65"/>
                      <a:pt x="379" y="65"/>
                    </a:cubicBezTo>
                    <a:cubicBezTo>
                      <a:pt x="373" y="64"/>
                      <a:pt x="366" y="62"/>
                      <a:pt x="360" y="62"/>
                    </a:cubicBezTo>
                    <a:cubicBezTo>
                      <a:pt x="355" y="61"/>
                      <a:pt x="349" y="62"/>
                      <a:pt x="345" y="59"/>
                    </a:cubicBezTo>
                    <a:cubicBezTo>
                      <a:pt x="343" y="57"/>
                      <a:pt x="342" y="55"/>
                      <a:pt x="341" y="53"/>
                    </a:cubicBezTo>
                    <a:cubicBezTo>
                      <a:pt x="340" y="51"/>
                      <a:pt x="341" y="48"/>
                      <a:pt x="338" y="47"/>
                    </a:cubicBezTo>
                    <a:cubicBezTo>
                      <a:pt x="336" y="47"/>
                      <a:pt x="334" y="47"/>
                      <a:pt x="332" y="46"/>
                    </a:cubicBezTo>
                    <a:cubicBezTo>
                      <a:pt x="329" y="46"/>
                      <a:pt x="327" y="43"/>
                      <a:pt x="324" y="42"/>
                    </a:cubicBezTo>
                    <a:cubicBezTo>
                      <a:pt x="322" y="41"/>
                      <a:pt x="319" y="40"/>
                      <a:pt x="316" y="40"/>
                    </a:cubicBezTo>
                    <a:cubicBezTo>
                      <a:pt x="313" y="40"/>
                      <a:pt x="310" y="39"/>
                      <a:pt x="307" y="38"/>
                    </a:cubicBezTo>
                    <a:cubicBezTo>
                      <a:pt x="301" y="37"/>
                      <a:pt x="295" y="36"/>
                      <a:pt x="289" y="38"/>
                    </a:cubicBezTo>
                    <a:cubicBezTo>
                      <a:pt x="283" y="40"/>
                      <a:pt x="278" y="43"/>
                      <a:pt x="272" y="43"/>
                    </a:cubicBezTo>
                    <a:cubicBezTo>
                      <a:pt x="269" y="43"/>
                      <a:pt x="266" y="42"/>
                      <a:pt x="263" y="41"/>
                    </a:cubicBezTo>
                    <a:cubicBezTo>
                      <a:pt x="260" y="41"/>
                      <a:pt x="257" y="40"/>
                      <a:pt x="254" y="39"/>
                    </a:cubicBezTo>
                    <a:cubicBezTo>
                      <a:pt x="249" y="37"/>
                      <a:pt x="245" y="34"/>
                      <a:pt x="243" y="29"/>
                    </a:cubicBezTo>
                    <a:cubicBezTo>
                      <a:pt x="243" y="26"/>
                      <a:pt x="243" y="24"/>
                      <a:pt x="243" y="22"/>
                    </a:cubicBezTo>
                    <a:cubicBezTo>
                      <a:pt x="243" y="19"/>
                      <a:pt x="242" y="17"/>
                      <a:pt x="240" y="16"/>
                    </a:cubicBezTo>
                    <a:cubicBezTo>
                      <a:pt x="234" y="14"/>
                      <a:pt x="228" y="13"/>
                      <a:pt x="223" y="11"/>
                    </a:cubicBezTo>
                    <a:cubicBezTo>
                      <a:pt x="220" y="10"/>
                      <a:pt x="217" y="9"/>
                      <a:pt x="214" y="9"/>
                    </a:cubicBezTo>
                    <a:cubicBezTo>
                      <a:pt x="211" y="8"/>
                      <a:pt x="208" y="8"/>
                      <a:pt x="204" y="7"/>
                    </a:cubicBezTo>
                    <a:cubicBezTo>
                      <a:pt x="202" y="7"/>
                      <a:pt x="199" y="5"/>
                      <a:pt x="197" y="4"/>
                    </a:cubicBezTo>
                    <a:cubicBezTo>
                      <a:pt x="196" y="3"/>
                      <a:pt x="194" y="3"/>
                      <a:pt x="193" y="2"/>
                    </a:cubicBezTo>
                    <a:cubicBezTo>
                      <a:pt x="192" y="1"/>
                      <a:pt x="190" y="0"/>
                      <a:pt x="189" y="0"/>
                    </a:cubicBezTo>
                    <a:cubicBezTo>
                      <a:pt x="186" y="0"/>
                      <a:pt x="183" y="3"/>
                      <a:pt x="182" y="4"/>
                    </a:cubicBezTo>
                    <a:cubicBezTo>
                      <a:pt x="181" y="5"/>
                      <a:pt x="180" y="6"/>
                      <a:pt x="179" y="7"/>
                    </a:cubicBezTo>
                    <a:cubicBezTo>
                      <a:pt x="178" y="8"/>
                      <a:pt x="177" y="10"/>
                      <a:pt x="177" y="11"/>
                    </a:cubicBezTo>
                    <a:cubicBezTo>
                      <a:pt x="176" y="13"/>
                      <a:pt x="173" y="14"/>
                      <a:pt x="172" y="16"/>
                    </a:cubicBezTo>
                    <a:cubicBezTo>
                      <a:pt x="171" y="18"/>
                      <a:pt x="171" y="21"/>
                      <a:pt x="171" y="23"/>
                    </a:cubicBezTo>
                    <a:cubicBezTo>
                      <a:pt x="172" y="25"/>
                      <a:pt x="173" y="28"/>
                      <a:pt x="174" y="30"/>
                    </a:cubicBezTo>
                    <a:cubicBezTo>
                      <a:pt x="174" y="32"/>
                      <a:pt x="177" y="33"/>
                      <a:pt x="177" y="35"/>
                    </a:cubicBezTo>
                    <a:cubicBezTo>
                      <a:pt x="178" y="38"/>
                      <a:pt x="176" y="40"/>
                      <a:pt x="175" y="43"/>
                    </a:cubicBezTo>
                    <a:cubicBezTo>
                      <a:pt x="174" y="45"/>
                      <a:pt x="173" y="47"/>
                      <a:pt x="170" y="47"/>
                    </a:cubicBezTo>
                    <a:cubicBezTo>
                      <a:pt x="167" y="48"/>
                      <a:pt x="166" y="49"/>
                      <a:pt x="163" y="50"/>
                    </a:cubicBezTo>
                    <a:cubicBezTo>
                      <a:pt x="161" y="52"/>
                      <a:pt x="158" y="52"/>
                      <a:pt x="155" y="51"/>
                    </a:cubicBezTo>
                    <a:cubicBezTo>
                      <a:pt x="150" y="50"/>
                      <a:pt x="144" y="47"/>
                      <a:pt x="138" y="46"/>
                    </a:cubicBezTo>
                    <a:cubicBezTo>
                      <a:pt x="137" y="46"/>
                      <a:pt x="135" y="46"/>
                      <a:pt x="134" y="46"/>
                    </a:cubicBezTo>
                    <a:cubicBezTo>
                      <a:pt x="133" y="46"/>
                      <a:pt x="132" y="47"/>
                      <a:pt x="131" y="48"/>
                    </a:cubicBezTo>
                    <a:cubicBezTo>
                      <a:pt x="129" y="49"/>
                      <a:pt x="126" y="49"/>
                      <a:pt x="124" y="48"/>
                    </a:cubicBezTo>
                    <a:cubicBezTo>
                      <a:pt x="121" y="47"/>
                      <a:pt x="118" y="47"/>
                      <a:pt x="115" y="46"/>
                    </a:cubicBezTo>
                    <a:cubicBezTo>
                      <a:pt x="113" y="46"/>
                      <a:pt x="111" y="45"/>
                      <a:pt x="110" y="42"/>
                    </a:cubicBezTo>
                    <a:cubicBezTo>
                      <a:pt x="109" y="40"/>
                      <a:pt x="109" y="38"/>
                      <a:pt x="108" y="35"/>
                    </a:cubicBezTo>
                    <a:cubicBezTo>
                      <a:pt x="106" y="33"/>
                      <a:pt x="103" y="34"/>
                      <a:pt x="100" y="34"/>
                    </a:cubicBezTo>
                    <a:cubicBezTo>
                      <a:pt x="97" y="34"/>
                      <a:pt x="95" y="34"/>
                      <a:pt x="92" y="33"/>
                    </a:cubicBezTo>
                    <a:cubicBezTo>
                      <a:pt x="89" y="32"/>
                      <a:pt x="88" y="30"/>
                      <a:pt x="85" y="29"/>
                    </a:cubicBezTo>
                    <a:cubicBezTo>
                      <a:pt x="83" y="28"/>
                      <a:pt x="80" y="27"/>
                      <a:pt x="78" y="28"/>
                    </a:cubicBezTo>
                    <a:cubicBezTo>
                      <a:pt x="77" y="28"/>
                      <a:pt x="76" y="30"/>
                      <a:pt x="75" y="30"/>
                    </a:cubicBezTo>
                    <a:cubicBezTo>
                      <a:pt x="73" y="31"/>
                      <a:pt x="72" y="32"/>
                      <a:pt x="71" y="33"/>
                    </a:cubicBezTo>
                    <a:cubicBezTo>
                      <a:pt x="68" y="33"/>
                      <a:pt x="65" y="32"/>
                      <a:pt x="62" y="33"/>
                    </a:cubicBezTo>
                    <a:cubicBezTo>
                      <a:pt x="59" y="35"/>
                      <a:pt x="57" y="36"/>
                      <a:pt x="54" y="38"/>
                    </a:cubicBezTo>
                    <a:cubicBezTo>
                      <a:pt x="47" y="41"/>
                      <a:pt x="41" y="44"/>
                      <a:pt x="34" y="47"/>
                    </a:cubicBezTo>
                    <a:cubicBezTo>
                      <a:pt x="33" y="48"/>
                      <a:pt x="32" y="48"/>
                      <a:pt x="31" y="49"/>
                    </a:cubicBezTo>
                    <a:cubicBezTo>
                      <a:pt x="30" y="50"/>
                      <a:pt x="31" y="51"/>
                      <a:pt x="30" y="52"/>
                    </a:cubicBezTo>
                    <a:cubicBezTo>
                      <a:pt x="30" y="53"/>
                      <a:pt x="28" y="54"/>
                      <a:pt x="27" y="54"/>
                    </a:cubicBezTo>
                    <a:cubicBezTo>
                      <a:pt x="25" y="55"/>
                      <a:pt x="24" y="56"/>
                      <a:pt x="22" y="57"/>
                    </a:cubicBezTo>
                    <a:cubicBezTo>
                      <a:pt x="19" y="58"/>
                      <a:pt x="16" y="58"/>
                      <a:pt x="12" y="58"/>
                    </a:cubicBezTo>
                    <a:cubicBezTo>
                      <a:pt x="10" y="58"/>
                      <a:pt x="8" y="58"/>
                      <a:pt x="6" y="59"/>
                    </a:cubicBezTo>
                    <a:cubicBezTo>
                      <a:pt x="5" y="59"/>
                      <a:pt x="5" y="61"/>
                      <a:pt x="4" y="62"/>
                    </a:cubicBezTo>
                    <a:cubicBezTo>
                      <a:pt x="4" y="63"/>
                      <a:pt x="3" y="64"/>
                      <a:pt x="2" y="65"/>
                    </a:cubicBezTo>
                    <a:cubicBezTo>
                      <a:pt x="1" y="66"/>
                      <a:pt x="0" y="65"/>
                      <a:pt x="0" y="67"/>
                    </a:cubicBezTo>
                    <a:cubicBezTo>
                      <a:pt x="0" y="68"/>
                      <a:pt x="0" y="70"/>
                      <a:pt x="0" y="71"/>
                    </a:cubicBezTo>
                    <a:cubicBezTo>
                      <a:pt x="0" y="71"/>
                      <a:pt x="0" y="71"/>
                      <a:pt x="0" y="71"/>
                    </a:cubicBezTo>
                    <a:cubicBezTo>
                      <a:pt x="1" y="72"/>
                      <a:pt x="0" y="71"/>
                      <a:pt x="0" y="71"/>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63" name="Freeform 165123">
                <a:extLst>
                  <a:ext uri="{FF2B5EF4-FFF2-40B4-BE49-F238E27FC236}">
                    <a16:creationId xmlns:a16="http://schemas.microsoft.com/office/drawing/2014/main" id="{B25724AC-2403-CB12-50A0-268AB1B9060A}"/>
                  </a:ext>
                </a:extLst>
              </p:cNvPr>
              <p:cNvSpPr/>
              <p:nvPr>
                <p:custDataLst>
                  <p:tags r:id="rId201"/>
                </p:custDataLst>
              </p:nvPr>
            </p:nvSpPr>
            <p:spPr bwMode="auto">
              <a:xfrm>
                <a:off x="7013932" y="3429854"/>
                <a:ext cx="382786" cy="360644"/>
              </a:xfrm>
              <a:custGeom>
                <a:avLst/>
                <a:gdLst>
                  <a:gd name="connsiteX0" fmla="*/ 473149 w 476402"/>
                  <a:gd name="connsiteY0" fmla="*/ 35501 h 448844"/>
                  <a:gd name="connsiteX1" fmla="*/ 476402 w 476402"/>
                  <a:gd name="connsiteY1" fmla="*/ 36857 h 448844"/>
                  <a:gd name="connsiteX2" fmla="*/ 474949 w 476402"/>
                  <a:gd name="connsiteY2" fmla="*/ 37345 h 448844"/>
                  <a:gd name="connsiteX3" fmla="*/ 473962 w 476402"/>
                  <a:gd name="connsiteY3" fmla="*/ 37345 h 448844"/>
                  <a:gd name="connsiteX4" fmla="*/ 473633 w 476402"/>
                  <a:gd name="connsiteY4" fmla="*/ 36517 h 448844"/>
                  <a:gd name="connsiteX5" fmla="*/ 469067 w 476402"/>
                  <a:gd name="connsiteY5" fmla="*/ 22370 h 448844"/>
                  <a:gd name="connsiteX6" fmla="*/ 471491 w 476402"/>
                  <a:gd name="connsiteY6" fmla="*/ 30855 h 448844"/>
                  <a:gd name="connsiteX7" fmla="*/ 471001 w 476402"/>
                  <a:gd name="connsiteY7" fmla="*/ 30444 h 448844"/>
                  <a:gd name="connsiteX8" fmla="*/ 468368 w 476402"/>
                  <a:gd name="connsiteY8" fmla="*/ 30444 h 448844"/>
                  <a:gd name="connsiteX9" fmla="*/ 467381 w 476402"/>
                  <a:gd name="connsiteY9" fmla="*/ 29891 h 448844"/>
                  <a:gd name="connsiteX10" fmla="*/ 466394 w 476402"/>
                  <a:gd name="connsiteY10" fmla="*/ 29063 h 448844"/>
                  <a:gd name="connsiteX11" fmla="*/ 465736 w 476402"/>
                  <a:gd name="connsiteY11" fmla="*/ 27959 h 448844"/>
                  <a:gd name="connsiteX12" fmla="*/ 465407 w 476402"/>
                  <a:gd name="connsiteY12" fmla="*/ 27131 h 448844"/>
                  <a:gd name="connsiteX13" fmla="*/ 465736 w 476402"/>
                  <a:gd name="connsiteY13" fmla="*/ 26303 h 448844"/>
                  <a:gd name="connsiteX14" fmla="*/ 466394 w 476402"/>
                  <a:gd name="connsiteY14" fmla="*/ 25751 h 448844"/>
                  <a:gd name="connsiteX15" fmla="*/ 468039 w 476402"/>
                  <a:gd name="connsiteY15" fmla="*/ 24922 h 448844"/>
                  <a:gd name="connsiteX16" fmla="*/ 468039 w 476402"/>
                  <a:gd name="connsiteY16" fmla="*/ 24370 h 448844"/>
                  <a:gd name="connsiteX17" fmla="*/ 468368 w 476402"/>
                  <a:gd name="connsiteY17" fmla="*/ 24094 h 448844"/>
                  <a:gd name="connsiteX18" fmla="*/ 468039 w 476402"/>
                  <a:gd name="connsiteY18" fmla="*/ 23542 h 448844"/>
                  <a:gd name="connsiteX19" fmla="*/ 468039 w 476402"/>
                  <a:gd name="connsiteY19" fmla="*/ 23266 h 448844"/>
                  <a:gd name="connsiteX20" fmla="*/ 468368 w 476402"/>
                  <a:gd name="connsiteY20" fmla="*/ 22714 h 448844"/>
                  <a:gd name="connsiteX21" fmla="*/ 469026 w 476402"/>
                  <a:gd name="connsiteY21" fmla="*/ 22438 h 448844"/>
                  <a:gd name="connsiteX22" fmla="*/ 468039 w 476402"/>
                  <a:gd name="connsiteY22" fmla="*/ 19970 h 448844"/>
                  <a:gd name="connsiteX23" fmla="*/ 468213 w 476402"/>
                  <a:gd name="connsiteY23" fmla="*/ 20375 h 448844"/>
                  <a:gd name="connsiteX24" fmla="*/ 468039 w 476402"/>
                  <a:gd name="connsiteY24" fmla="*/ 20230 h 448844"/>
                  <a:gd name="connsiteX25" fmla="*/ 388409 w 476402"/>
                  <a:gd name="connsiteY25" fmla="*/ 3823 h 448844"/>
                  <a:gd name="connsiteX26" fmla="*/ 391197 w 476402"/>
                  <a:gd name="connsiteY26" fmla="*/ 3823 h 448844"/>
                  <a:gd name="connsiteX27" fmla="*/ 400467 w 476402"/>
                  <a:gd name="connsiteY27" fmla="*/ 3823 h 448844"/>
                  <a:gd name="connsiteX28" fmla="*/ 401575 w 476402"/>
                  <a:gd name="connsiteY28" fmla="*/ 4192 h 448844"/>
                  <a:gd name="connsiteX29" fmla="*/ 401575 w 476402"/>
                  <a:gd name="connsiteY29" fmla="*/ 4218 h 448844"/>
                  <a:gd name="connsiteX30" fmla="*/ 401575 w 476402"/>
                  <a:gd name="connsiteY30" fmla="*/ 4494 h 448844"/>
                  <a:gd name="connsiteX31" fmla="*/ 401575 w 476402"/>
                  <a:gd name="connsiteY31" fmla="*/ 5047 h 448844"/>
                  <a:gd name="connsiteX32" fmla="*/ 400917 w 476402"/>
                  <a:gd name="connsiteY32" fmla="*/ 5047 h 448844"/>
                  <a:gd name="connsiteX33" fmla="*/ 400588 w 476402"/>
                  <a:gd name="connsiteY33" fmla="*/ 5047 h 448844"/>
                  <a:gd name="connsiteX34" fmla="*/ 399930 w 476402"/>
                  <a:gd name="connsiteY34" fmla="*/ 4494 h 448844"/>
                  <a:gd name="connsiteX35" fmla="*/ 398943 w 476402"/>
                  <a:gd name="connsiteY35" fmla="*/ 4494 h 448844"/>
                  <a:gd name="connsiteX36" fmla="*/ 398614 w 476402"/>
                  <a:gd name="connsiteY36" fmla="*/ 4218 h 448844"/>
                  <a:gd name="connsiteX37" fmla="*/ 398614 w 476402"/>
                  <a:gd name="connsiteY37" fmla="*/ 4494 h 448844"/>
                  <a:gd name="connsiteX38" fmla="*/ 397956 w 476402"/>
                  <a:gd name="connsiteY38" fmla="*/ 4494 h 448844"/>
                  <a:gd name="connsiteX39" fmla="*/ 397627 w 476402"/>
                  <a:gd name="connsiteY39" fmla="*/ 5047 h 448844"/>
                  <a:gd name="connsiteX40" fmla="*/ 396968 w 476402"/>
                  <a:gd name="connsiteY40" fmla="*/ 4494 h 448844"/>
                  <a:gd name="connsiteX41" fmla="*/ 396639 w 476402"/>
                  <a:gd name="connsiteY41" fmla="*/ 4494 h 448844"/>
                  <a:gd name="connsiteX42" fmla="*/ 395981 w 476402"/>
                  <a:gd name="connsiteY42" fmla="*/ 4494 h 448844"/>
                  <a:gd name="connsiteX43" fmla="*/ 395652 w 476402"/>
                  <a:gd name="connsiteY43" fmla="*/ 5047 h 448844"/>
                  <a:gd name="connsiteX44" fmla="*/ 394994 w 476402"/>
                  <a:gd name="connsiteY44" fmla="*/ 5323 h 448844"/>
                  <a:gd name="connsiteX45" fmla="*/ 394336 w 476402"/>
                  <a:gd name="connsiteY45" fmla="*/ 5047 h 448844"/>
                  <a:gd name="connsiteX46" fmla="*/ 393349 w 476402"/>
                  <a:gd name="connsiteY46" fmla="*/ 5047 h 448844"/>
                  <a:gd name="connsiteX47" fmla="*/ 393020 w 476402"/>
                  <a:gd name="connsiteY47" fmla="*/ 5047 h 448844"/>
                  <a:gd name="connsiteX48" fmla="*/ 393020 w 476402"/>
                  <a:gd name="connsiteY48" fmla="*/ 4494 h 448844"/>
                  <a:gd name="connsiteX49" fmla="*/ 392362 w 476402"/>
                  <a:gd name="connsiteY49" fmla="*/ 4218 h 448844"/>
                  <a:gd name="connsiteX50" fmla="*/ 392033 w 476402"/>
                  <a:gd name="connsiteY50" fmla="*/ 4218 h 448844"/>
                  <a:gd name="connsiteX51" fmla="*/ 391375 w 476402"/>
                  <a:gd name="connsiteY51" fmla="*/ 4494 h 448844"/>
                  <a:gd name="connsiteX52" fmla="*/ 391046 w 476402"/>
                  <a:gd name="connsiteY52" fmla="*/ 4218 h 448844"/>
                  <a:gd name="connsiteX53" fmla="*/ 390388 w 476402"/>
                  <a:gd name="connsiteY53" fmla="*/ 4218 h 448844"/>
                  <a:gd name="connsiteX54" fmla="*/ 390059 w 476402"/>
                  <a:gd name="connsiteY54" fmla="*/ 4218 h 448844"/>
                  <a:gd name="connsiteX55" fmla="*/ 374511 w 476402"/>
                  <a:gd name="connsiteY55" fmla="*/ 3823 h 448844"/>
                  <a:gd name="connsiteX56" fmla="*/ 386146 w 476402"/>
                  <a:gd name="connsiteY56" fmla="*/ 3823 h 448844"/>
                  <a:gd name="connsiteX57" fmla="*/ 383478 w 476402"/>
                  <a:gd name="connsiteY57" fmla="*/ 4494 h 448844"/>
                  <a:gd name="connsiteX58" fmla="*/ 382820 w 476402"/>
                  <a:gd name="connsiteY58" fmla="*/ 4494 h 448844"/>
                  <a:gd name="connsiteX59" fmla="*/ 382162 w 476402"/>
                  <a:gd name="connsiteY59" fmla="*/ 4494 h 448844"/>
                  <a:gd name="connsiteX60" fmla="*/ 381833 w 476402"/>
                  <a:gd name="connsiteY60" fmla="*/ 4494 h 448844"/>
                  <a:gd name="connsiteX61" fmla="*/ 381175 w 476402"/>
                  <a:gd name="connsiteY61" fmla="*/ 5047 h 448844"/>
                  <a:gd name="connsiteX62" fmla="*/ 380188 w 476402"/>
                  <a:gd name="connsiteY62" fmla="*/ 5047 h 448844"/>
                  <a:gd name="connsiteX63" fmla="*/ 379859 w 476402"/>
                  <a:gd name="connsiteY63" fmla="*/ 5047 h 448844"/>
                  <a:gd name="connsiteX64" fmla="*/ 379201 w 476402"/>
                  <a:gd name="connsiteY64" fmla="*/ 4494 h 448844"/>
                  <a:gd name="connsiteX65" fmla="*/ 379201 w 476402"/>
                  <a:gd name="connsiteY65" fmla="*/ 4218 h 448844"/>
                  <a:gd name="connsiteX66" fmla="*/ 378872 w 476402"/>
                  <a:gd name="connsiteY66" fmla="*/ 4218 h 448844"/>
                  <a:gd name="connsiteX67" fmla="*/ 377885 w 476402"/>
                  <a:gd name="connsiteY67" fmla="*/ 5047 h 448844"/>
                  <a:gd name="connsiteX68" fmla="*/ 376898 w 476402"/>
                  <a:gd name="connsiteY68" fmla="*/ 5323 h 448844"/>
                  <a:gd name="connsiteX69" fmla="*/ 375910 w 476402"/>
                  <a:gd name="connsiteY69" fmla="*/ 5323 h 448844"/>
                  <a:gd name="connsiteX70" fmla="*/ 375910 w 476402"/>
                  <a:gd name="connsiteY70" fmla="*/ 5875 h 448844"/>
                  <a:gd name="connsiteX71" fmla="*/ 375910 w 476402"/>
                  <a:gd name="connsiteY71" fmla="*/ 6703 h 448844"/>
                  <a:gd name="connsiteX72" fmla="*/ 375910 w 476402"/>
                  <a:gd name="connsiteY72" fmla="*/ 6979 h 448844"/>
                  <a:gd name="connsiteX73" fmla="*/ 376239 w 476402"/>
                  <a:gd name="connsiteY73" fmla="*/ 8359 h 448844"/>
                  <a:gd name="connsiteX74" fmla="*/ 376239 w 476402"/>
                  <a:gd name="connsiteY74" fmla="*/ 8911 h 448844"/>
                  <a:gd name="connsiteX75" fmla="*/ 376239 w 476402"/>
                  <a:gd name="connsiteY75" fmla="*/ 9187 h 448844"/>
                  <a:gd name="connsiteX76" fmla="*/ 375910 w 476402"/>
                  <a:gd name="connsiteY76" fmla="*/ 10016 h 448844"/>
                  <a:gd name="connsiteX77" fmla="*/ 375910 w 476402"/>
                  <a:gd name="connsiteY77" fmla="*/ 10568 h 448844"/>
                  <a:gd name="connsiteX78" fmla="*/ 375252 w 476402"/>
                  <a:gd name="connsiteY78" fmla="*/ 10844 h 448844"/>
                  <a:gd name="connsiteX79" fmla="*/ 374594 w 476402"/>
                  <a:gd name="connsiteY79" fmla="*/ 11396 h 448844"/>
                  <a:gd name="connsiteX80" fmla="*/ 373278 w 476402"/>
                  <a:gd name="connsiteY80" fmla="*/ 12224 h 448844"/>
                  <a:gd name="connsiteX81" fmla="*/ 372620 w 476402"/>
                  <a:gd name="connsiteY81" fmla="*/ 12224 h 448844"/>
                  <a:gd name="connsiteX82" fmla="*/ 372620 w 476402"/>
                  <a:gd name="connsiteY82" fmla="*/ 12500 h 448844"/>
                  <a:gd name="connsiteX83" fmla="*/ 373278 w 476402"/>
                  <a:gd name="connsiteY83" fmla="*/ 13052 h 448844"/>
                  <a:gd name="connsiteX84" fmla="*/ 373278 w 476402"/>
                  <a:gd name="connsiteY84" fmla="*/ 13328 h 448844"/>
                  <a:gd name="connsiteX85" fmla="*/ 372620 w 476402"/>
                  <a:gd name="connsiteY85" fmla="*/ 13328 h 448844"/>
                  <a:gd name="connsiteX86" fmla="*/ 372291 w 476402"/>
                  <a:gd name="connsiteY86" fmla="*/ 13328 h 448844"/>
                  <a:gd name="connsiteX87" fmla="*/ 371304 w 476402"/>
                  <a:gd name="connsiteY87" fmla="*/ 13328 h 448844"/>
                  <a:gd name="connsiteX88" fmla="*/ 370646 w 476402"/>
                  <a:gd name="connsiteY88" fmla="*/ 13880 h 448844"/>
                  <a:gd name="connsiteX89" fmla="*/ 369988 w 476402"/>
                  <a:gd name="connsiteY89" fmla="*/ 13880 h 448844"/>
                  <a:gd name="connsiteX90" fmla="*/ 369659 w 476402"/>
                  <a:gd name="connsiteY90" fmla="*/ 13880 h 448844"/>
                  <a:gd name="connsiteX91" fmla="*/ 369659 w 476402"/>
                  <a:gd name="connsiteY91" fmla="*/ 14156 h 448844"/>
                  <a:gd name="connsiteX92" fmla="*/ 369659 w 476402"/>
                  <a:gd name="connsiteY92" fmla="*/ 14708 h 448844"/>
                  <a:gd name="connsiteX93" fmla="*/ 369659 w 476402"/>
                  <a:gd name="connsiteY93" fmla="*/ 15537 h 448844"/>
                  <a:gd name="connsiteX94" fmla="*/ 369659 w 476402"/>
                  <a:gd name="connsiteY94" fmla="*/ 16089 h 448844"/>
                  <a:gd name="connsiteX95" fmla="*/ 369659 w 476402"/>
                  <a:gd name="connsiteY95" fmla="*/ 16365 h 448844"/>
                  <a:gd name="connsiteX96" fmla="*/ 369659 w 476402"/>
                  <a:gd name="connsiteY96" fmla="*/ 16917 h 448844"/>
                  <a:gd name="connsiteX97" fmla="*/ 369001 w 476402"/>
                  <a:gd name="connsiteY97" fmla="*/ 16917 h 448844"/>
                  <a:gd name="connsiteX98" fmla="*/ 368014 w 476402"/>
                  <a:gd name="connsiteY98" fmla="*/ 16917 h 448844"/>
                  <a:gd name="connsiteX99" fmla="*/ 368014 w 476402"/>
                  <a:gd name="connsiteY99" fmla="*/ 17193 h 448844"/>
                  <a:gd name="connsiteX100" fmla="*/ 367685 w 476402"/>
                  <a:gd name="connsiteY100" fmla="*/ 17193 h 448844"/>
                  <a:gd name="connsiteX101" fmla="*/ 366698 w 476402"/>
                  <a:gd name="connsiteY101" fmla="*/ 18573 h 448844"/>
                  <a:gd name="connsiteX102" fmla="*/ 366039 w 476402"/>
                  <a:gd name="connsiteY102" fmla="*/ 18849 h 448844"/>
                  <a:gd name="connsiteX103" fmla="*/ 365710 w 476402"/>
                  <a:gd name="connsiteY103" fmla="*/ 18849 h 448844"/>
                  <a:gd name="connsiteX104" fmla="*/ 365052 w 476402"/>
                  <a:gd name="connsiteY104" fmla="*/ 19401 h 448844"/>
                  <a:gd name="connsiteX105" fmla="*/ 364723 w 476402"/>
                  <a:gd name="connsiteY105" fmla="*/ 19953 h 448844"/>
                  <a:gd name="connsiteX106" fmla="*/ 364065 w 476402"/>
                  <a:gd name="connsiteY106" fmla="*/ 19953 h 448844"/>
                  <a:gd name="connsiteX107" fmla="*/ 363736 w 476402"/>
                  <a:gd name="connsiteY107" fmla="*/ 20782 h 448844"/>
                  <a:gd name="connsiteX108" fmla="*/ 363078 w 476402"/>
                  <a:gd name="connsiteY108" fmla="*/ 20782 h 448844"/>
                  <a:gd name="connsiteX109" fmla="*/ 362749 w 476402"/>
                  <a:gd name="connsiteY109" fmla="*/ 20230 h 448844"/>
                  <a:gd name="connsiteX110" fmla="*/ 362091 w 476402"/>
                  <a:gd name="connsiteY110" fmla="*/ 20230 h 448844"/>
                  <a:gd name="connsiteX111" fmla="*/ 361433 w 476402"/>
                  <a:gd name="connsiteY111" fmla="*/ 20230 h 448844"/>
                  <a:gd name="connsiteX112" fmla="*/ 361433 w 476402"/>
                  <a:gd name="connsiteY112" fmla="*/ 20782 h 448844"/>
                  <a:gd name="connsiteX113" fmla="*/ 361104 w 476402"/>
                  <a:gd name="connsiteY113" fmla="*/ 20782 h 448844"/>
                  <a:gd name="connsiteX114" fmla="*/ 360446 w 476402"/>
                  <a:gd name="connsiteY114" fmla="*/ 21058 h 448844"/>
                  <a:gd name="connsiteX115" fmla="*/ 360117 w 476402"/>
                  <a:gd name="connsiteY115" fmla="*/ 21058 h 448844"/>
                  <a:gd name="connsiteX116" fmla="*/ 360117 w 476402"/>
                  <a:gd name="connsiteY116" fmla="*/ 21610 h 448844"/>
                  <a:gd name="connsiteX117" fmla="*/ 359459 w 476402"/>
                  <a:gd name="connsiteY117" fmla="*/ 21610 h 448844"/>
                  <a:gd name="connsiteX118" fmla="*/ 359459 w 476402"/>
                  <a:gd name="connsiteY118" fmla="*/ 21886 h 448844"/>
                  <a:gd name="connsiteX119" fmla="*/ 359130 w 476402"/>
                  <a:gd name="connsiteY119" fmla="*/ 23542 h 448844"/>
                  <a:gd name="connsiteX120" fmla="*/ 359130 w 476402"/>
                  <a:gd name="connsiteY120" fmla="*/ 24094 h 448844"/>
                  <a:gd name="connsiteX121" fmla="*/ 359130 w 476402"/>
                  <a:gd name="connsiteY121" fmla="*/ 24370 h 448844"/>
                  <a:gd name="connsiteX122" fmla="*/ 359459 w 476402"/>
                  <a:gd name="connsiteY122" fmla="*/ 24922 h 448844"/>
                  <a:gd name="connsiteX123" fmla="*/ 359459 w 476402"/>
                  <a:gd name="connsiteY123" fmla="*/ 25475 h 448844"/>
                  <a:gd name="connsiteX124" fmla="*/ 358472 w 476402"/>
                  <a:gd name="connsiteY124" fmla="*/ 26303 h 448844"/>
                  <a:gd name="connsiteX125" fmla="*/ 358472 w 476402"/>
                  <a:gd name="connsiteY125" fmla="*/ 26579 h 448844"/>
                  <a:gd name="connsiteX126" fmla="*/ 358472 w 476402"/>
                  <a:gd name="connsiteY126" fmla="*/ 27131 h 448844"/>
                  <a:gd name="connsiteX127" fmla="*/ 358472 w 476402"/>
                  <a:gd name="connsiteY127" fmla="*/ 27407 h 448844"/>
                  <a:gd name="connsiteX128" fmla="*/ 359130 w 476402"/>
                  <a:gd name="connsiteY128" fmla="*/ 27959 h 448844"/>
                  <a:gd name="connsiteX129" fmla="*/ 360117 w 476402"/>
                  <a:gd name="connsiteY129" fmla="*/ 28787 h 448844"/>
                  <a:gd name="connsiteX130" fmla="*/ 360117 w 476402"/>
                  <a:gd name="connsiteY130" fmla="*/ 29063 h 448844"/>
                  <a:gd name="connsiteX131" fmla="*/ 360446 w 476402"/>
                  <a:gd name="connsiteY131" fmla="*/ 29615 h 448844"/>
                  <a:gd name="connsiteX132" fmla="*/ 360446 w 476402"/>
                  <a:gd name="connsiteY132" fmla="*/ 29891 h 448844"/>
                  <a:gd name="connsiteX133" fmla="*/ 357814 w 476402"/>
                  <a:gd name="connsiteY133" fmla="*/ 33756 h 448844"/>
                  <a:gd name="connsiteX134" fmla="*/ 359459 w 476402"/>
                  <a:gd name="connsiteY134" fmla="*/ 34308 h 448844"/>
                  <a:gd name="connsiteX135" fmla="*/ 362749 w 476402"/>
                  <a:gd name="connsiteY135" fmla="*/ 35689 h 448844"/>
                  <a:gd name="connsiteX136" fmla="*/ 365710 w 476402"/>
                  <a:gd name="connsiteY136" fmla="*/ 35965 h 448844"/>
                  <a:gd name="connsiteX137" fmla="*/ 366698 w 476402"/>
                  <a:gd name="connsiteY137" fmla="*/ 35965 h 448844"/>
                  <a:gd name="connsiteX138" fmla="*/ 367027 w 476402"/>
                  <a:gd name="connsiteY138" fmla="*/ 35965 h 448844"/>
                  <a:gd name="connsiteX139" fmla="*/ 367685 w 476402"/>
                  <a:gd name="connsiteY139" fmla="*/ 35965 h 448844"/>
                  <a:gd name="connsiteX140" fmla="*/ 367685 w 476402"/>
                  <a:gd name="connsiteY140" fmla="*/ 35689 h 448844"/>
                  <a:gd name="connsiteX141" fmla="*/ 368672 w 476402"/>
                  <a:gd name="connsiteY141" fmla="*/ 35136 h 448844"/>
                  <a:gd name="connsiteX142" fmla="*/ 369001 w 476402"/>
                  <a:gd name="connsiteY142" fmla="*/ 34584 h 448844"/>
                  <a:gd name="connsiteX143" fmla="*/ 372620 w 476402"/>
                  <a:gd name="connsiteY143" fmla="*/ 34584 h 448844"/>
                  <a:gd name="connsiteX144" fmla="*/ 373278 w 476402"/>
                  <a:gd name="connsiteY144" fmla="*/ 35136 h 448844"/>
                  <a:gd name="connsiteX145" fmla="*/ 373607 w 476402"/>
                  <a:gd name="connsiteY145" fmla="*/ 35136 h 448844"/>
                  <a:gd name="connsiteX146" fmla="*/ 374265 w 476402"/>
                  <a:gd name="connsiteY146" fmla="*/ 35689 h 448844"/>
                  <a:gd name="connsiteX147" fmla="*/ 374594 w 476402"/>
                  <a:gd name="connsiteY147" fmla="*/ 35689 h 448844"/>
                  <a:gd name="connsiteX148" fmla="*/ 375252 w 476402"/>
                  <a:gd name="connsiteY148" fmla="*/ 35689 h 448844"/>
                  <a:gd name="connsiteX149" fmla="*/ 375910 w 476402"/>
                  <a:gd name="connsiteY149" fmla="*/ 35136 h 448844"/>
                  <a:gd name="connsiteX150" fmla="*/ 375910 w 476402"/>
                  <a:gd name="connsiteY150" fmla="*/ 34584 h 448844"/>
                  <a:gd name="connsiteX151" fmla="*/ 376239 w 476402"/>
                  <a:gd name="connsiteY151" fmla="*/ 34584 h 448844"/>
                  <a:gd name="connsiteX152" fmla="*/ 376239 w 476402"/>
                  <a:gd name="connsiteY152" fmla="*/ 35136 h 448844"/>
                  <a:gd name="connsiteX153" fmla="*/ 376898 w 476402"/>
                  <a:gd name="connsiteY153" fmla="*/ 35689 h 448844"/>
                  <a:gd name="connsiteX154" fmla="*/ 377227 w 476402"/>
                  <a:gd name="connsiteY154" fmla="*/ 35689 h 448844"/>
                  <a:gd name="connsiteX155" fmla="*/ 377227 w 476402"/>
                  <a:gd name="connsiteY155" fmla="*/ 35965 h 448844"/>
                  <a:gd name="connsiteX156" fmla="*/ 377885 w 476402"/>
                  <a:gd name="connsiteY156" fmla="*/ 35965 h 448844"/>
                  <a:gd name="connsiteX157" fmla="*/ 378214 w 476402"/>
                  <a:gd name="connsiteY157" fmla="*/ 36517 h 448844"/>
                  <a:gd name="connsiteX158" fmla="*/ 378214 w 476402"/>
                  <a:gd name="connsiteY158" fmla="*/ 36793 h 448844"/>
                  <a:gd name="connsiteX159" fmla="*/ 377885 w 476402"/>
                  <a:gd name="connsiteY159" fmla="*/ 37345 h 448844"/>
                  <a:gd name="connsiteX160" fmla="*/ 377885 w 476402"/>
                  <a:gd name="connsiteY160" fmla="*/ 37621 h 448844"/>
                  <a:gd name="connsiteX161" fmla="*/ 377227 w 476402"/>
                  <a:gd name="connsiteY161" fmla="*/ 37621 h 448844"/>
                  <a:gd name="connsiteX162" fmla="*/ 377227 w 476402"/>
                  <a:gd name="connsiteY162" fmla="*/ 39277 h 448844"/>
                  <a:gd name="connsiteX163" fmla="*/ 377227 w 476402"/>
                  <a:gd name="connsiteY163" fmla="*/ 39829 h 448844"/>
                  <a:gd name="connsiteX164" fmla="*/ 377227 w 476402"/>
                  <a:gd name="connsiteY164" fmla="*/ 40105 h 448844"/>
                  <a:gd name="connsiteX165" fmla="*/ 377885 w 476402"/>
                  <a:gd name="connsiteY165" fmla="*/ 40105 h 448844"/>
                  <a:gd name="connsiteX166" fmla="*/ 377885 w 476402"/>
                  <a:gd name="connsiteY166" fmla="*/ 40658 h 448844"/>
                  <a:gd name="connsiteX167" fmla="*/ 380846 w 476402"/>
                  <a:gd name="connsiteY167" fmla="*/ 42314 h 448844"/>
                  <a:gd name="connsiteX168" fmla="*/ 380846 w 476402"/>
                  <a:gd name="connsiteY168" fmla="*/ 42866 h 448844"/>
                  <a:gd name="connsiteX169" fmla="*/ 381175 w 476402"/>
                  <a:gd name="connsiteY169" fmla="*/ 42866 h 448844"/>
                  <a:gd name="connsiteX170" fmla="*/ 381175 w 476402"/>
                  <a:gd name="connsiteY170" fmla="*/ 43142 h 448844"/>
                  <a:gd name="connsiteX171" fmla="*/ 382162 w 476402"/>
                  <a:gd name="connsiteY171" fmla="*/ 43694 h 448844"/>
                  <a:gd name="connsiteX172" fmla="*/ 382820 w 476402"/>
                  <a:gd name="connsiteY172" fmla="*/ 43694 h 448844"/>
                  <a:gd name="connsiteX173" fmla="*/ 382820 w 476402"/>
                  <a:gd name="connsiteY173" fmla="*/ 43970 h 448844"/>
                  <a:gd name="connsiteX174" fmla="*/ 382820 w 476402"/>
                  <a:gd name="connsiteY174" fmla="*/ 44522 h 448844"/>
                  <a:gd name="connsiteX175" fmla="*/ 383478 w 476402"/>
                  <a:gd name="connsiteY175" fmla="*/ 44522 h 448844"/>
                  <a:gd name="connsiteX176" fmla="*/ 383807 w 476402"/>
                  <a:gd name="connsiteY176" fmla="*/ 44798 h 448844"/>
                  <a:gd name="connsiteX177" fmla="*/ 384465 w 476402"/>
                  <a:gd name="connsiteY177" fmla="*/ 44798 h 448844"/>
                  <a:gd name="connsiteX178" fmla="*/ 384794 w 476402"/>
                  <a:gd name="connsiteY178" fmla="*/ 44798 h 448844"/>
                  <a:gd name="connsiteX179" fmla="*/ 385452 w 476402"/>
                  <a:gd name="connsiteY179" fmla="*/ 44798 h 448844"/>
                  <a:gd name="connsiteX180" fmla="*/ 385781 w 476402"/>
                  <a:gd name="connsiteY180" fmla="*/ 45350 h 448844"/>
                  <a:gd name="connsiteX181" fmla="*/ 385781 w 476402"/>
                  <a:gd name="connsiteY181" fmla="*/ 45903 h 448844"/>
                  <a:gd name="connsiteX182" fmla="*/ 386439 w 476402"/>
                  <a:gd name="connsiteY182" fmla="*/ 46731 h 448844"/>
                  <a:gd name="connsiteX183" fmla="*/ 387427 w 476402"/>
                  <a:gd name="connsiteY183" fmla="*/ 45903 h 448844"/>
                  <a:gd name="connsiteX184" fmla="*/ 388414 w 476402"/>
                  <a:gd name="connsiteY184" fmla="*/ 46179 h 448844"/>
                  <a:gd name="connsiteX185" fmla="*/ 389401 w 476402"/>
                  <a:gd name="connsiteY185" fmla="*/ 47007 h 448844"/>
                  <a:gd name="connsiteX186" fmla="*/ 391375 w 476402"/>
                  <a:gd name="connsiteY186" fmla="*/ 46731 h 448844"/>
                  <a:gd name="connsiteX187" fmla="*/ 393349 w 476402"/>
                  <a:gd name="connsiteY187" fmla="*/ 46731 h 448844"/>
                  <a:gd name="connsiteX188" fmla="*/ 397627 w 476402"/>
                  <a:gd name="connsiteY188" fmla="*/ 47007 h 448844"/>
                  <a:gd name="connsiteX189" fmla="*/ 397956 w 476402"/>
                  <a:gd name="connsiteY189" fmla="*/ 47559 h 448844"/>
                  <a:gd name="connsiteX190" fmla="*/ 397956 w 476402"/>
                  <a:gd name="connsiteY190" fmla="*/ 47835 h 448844"/>
                  <a:gd name="connsiteX191" fmla="*/ 398614 w 476402"/>
                  <a:gd name="connsiteY191" fmla="*/ 49491 h 448844"/>
                  <a:gd name="connsiteX192" fmla="*/ 398614 w 476402"/>
                  <a:gd name="connsiteY192" fmla="*/ 50043 h 448844"/>
                  <a:gd name="connsiteX193" fmla="*/ 397956 w 476402"/>
                  <a:gd name="connsiteY193" fmla="*/ 50043 h 448844"/>
                  <a:gd name="connsiteX194" fmla="*/ 397956 w 476402"/>
                  <a:gd name="connsiteY194" fmla="*/ 50319 h 448844"/>
                  <a:gd name="connsiteX195" fmla="*/ 396968 w 476402"/>
                  <a:gd name="connsiteY195" fmla="*/ 50872 h 448844"/>
                  <a:gd name="connsiteX196" fmla="*/ 396639 w 476402"/>
                  <a:gd name="connsiteY196" fmla="*/ 51148 h 448844"/>
                  <a:gd name="connsiteX197" fmla="*/ 395981 w 476402"/>
                  <a:gd name="connsiteY197" fmla="*/ 51700 h 448844"/>
                  <a:gd name="connsiteX198" fmla="*/ 395652 w 476402"/>
                  <a:gd name="connsiteY198" fmla="*/ 53080 h 448844"/>
                  <a:gd name="connsiteX199" fmla="*/ 395652 w 476402"/>
                  <a:gd name="connsiteY199" fmla="*/ 53356 h 448844"/>
                  <a:gd name="connsiteX200" fmla="*/ 395652 w 476402"/>
                  <a:gd name="connsiteY200" fmla="*/ 53908 h 448844"/>
                  <a:gd name="connsiteX201" fmla="*/ 395652 w 476402"/>
                  <a:gd name="connsiteY201" fmla="*/ 54736 h 448844"/>
                  <a:gd name="connsiteX202" fmla="*/ 395652 w 476402"/>
                  <a:gd name="connsiteY202" fmla="*/ 55012 h 448844"/>
                  <a:gd name="connsiteX203" fmla="*/ 396639 w 476402"/>
                  <a:gd name="connsiteY203" fmla="*/ 56393 h 448844"/>
                  <a:gd name="connsiteX204" fmla="*/ 396639 w 476402"/>
                  <a:gd name="connsiteY204" fmla="*/ 56945 h 448844"/>
                  <a:gd name="connsiteX205" fmla="*/ 395981 w 476402"/>
                  <a:gd name="connsiteY205" fmla="*/ 57221 h 448844"/>
                  <a:gd name="connsiteX206" fmla="*/ 395981 w 476402"/>
                  <a:gd name="connsiteY206" fmla="*/ 57773 h 448844"/>
                  <a:gd name="connsiteX207" fmla="*/ 395981 w 476402"/>
                  <a:gd name="connsiteY207" fmla="*/ 58049 h 448844"/>
                  <a:gd name="connsiteX208" fmla="*/ 396639 w 476402"/>
                  <a:gd name="connsiteY208" fmla="*/ 58049 h 448844"/>
                  <a:gd name="connsiteX209" fmla="*/ 396639 w 476402"/>
                  <a:gd name="connsiteY209" fmla="*/ 58601 h 448844"/>
                  <a:gd name="connsiteX210" fmla="*/ 396968 w 476402"/>
                  <a:gd name="connsiteY210" fmla="*/ 58601 h 448844"/>
                  <a:gd name="connsiteX211" fmla="*/ 397956 w 476402"/>
                  <a:gd name="connsiteY211" fmla="*/ 57773 h 448844"/>
                  <a:gd name="connsiteX212" fmla="*/ 398943 w 476402"/>
                  <a:gd name="connsiteY212" fmla="*/ 57773 h 448844"/>
                  <a:gd name="connsiteX213" fmla="*/ 399601 w 476402"/>
                  <a:gd name="connsiteY213" fmla="*/ 57773 h 448844"/>
                  <a:gd name="connsiteX214" fmla="*/ 399930 w 476402"/>
                  <a:gd name="connsiteY214" fmla="*/ 58049 h 448844"/>
                  <a:gd name="connsiteX215" fmla="*/ 400588 w 476402"/>
                  <a:gd name="connsiteY215" fmla="*/ 58601 h 448844"/>
                  <a:gd name="connsiteX216" fmla="*/ 400917 w 476402"/>
                  <a:gd name="connsiteY216" fmla="*/ 58877 h 448844"/>
                  <a:gd name="connsiteX217" fmla="*/ 401575 w 476402"/>
                  <a:gd name="connsiteY217" fmla="*/ 58601 h 448844"/>
                  <a:gd name="connsiteX218" fmla="*/ 402233 w 476402"/>
                  <a:gd name="connsiteY218" fmla="*/ 58601 h 448844"/>
                  <a:gd name="connsiteX219" fmla="*/ 402562 w 476402"/>
                  <a:gd name="connsiteY219" fmla="*/ 58601 h 448844"/>
                  <a:gd name="connsiteX220" fmla="*/ 402562 w 476402"/>
                  <a:gd name="connsiteY220" fmla="*/ 58877 h 448844"/>
                  <a:gd name="connsiteX221" fmla="*/ 403549 w 476402"/>
                  <a:gd name="connsiteY221" fmla="*/ 59705 h 448844"/>
                  <a:gd name="connsiteX222" fmla="*/ 404207 w 476402"/>
                  <a:gd name="connsiteY222" fmla="*/ 59705 h 448844"/>
                  <a:gd name="connsiteX223" fmla="*/ 404536 w 476402"/>
                  <a:gd name="connsiteY223" fmla="*/ 59705 h 448844"/>
                  <a:gd name="connsiteX224" fmla="*/ 405194 w 476402"/>
                  <a:gd name="connsiteY224" fmla="*/ 59705 h 448844"/>
                  <a:gd name="connsiteX225" fmla="*/ 405523 w 476402"/>
                  <a:gd name="connsiteY225" fmla="*/ 60257 h 448844"/>
                  <a:gd name="connsiteX226" fmla="*/ 406181 w 476402"/>
                  <a:gd name="connsiteY226" fmla="*/ 60533 h 448844"/>
                  <a:gd name="connsiteX227" fmla="*/ 406510 w 476402"/>
                  <a:gd name="connsiteY227" fmla="*/ 60533 h 448844"/>
                  <a:gd name="connsiteX228" fmla="*/ 407497 w 476402"/>
                  <a:gd name="connsiteY228" fmla="*/ 61085 h 448844"/>
                  <a:gd name="connsiteX229" fmla="*/ 408156 w 476402"/>
                  <a:gd name="connsiteY229" fmla="*/ 61085 h 448844"/>
                  <a:gd name="connsiteX230" fmla="*/ 408814 w 476402"/>
                  <a:gd name="connsiteY230" fmla="*/ 61085 h 448844"/>
                  <a:gd name="connsiteX231" fmla="*/ 408814 w 476402"/>
                  <a:gd name="connsiteY231" fmla="*/ 61362 h 448844"/>
                  <a:gd name="connsiteX232" fmla="*/ 409143 w 476402"/>
                  <a:gd name="connsiteY232" fmla="*/ 61914 h 448844"/>
                  <a:gd name="connsiteX233" fmla="*/ 409143 w 476402"/>
                  <a:gd name="connsiteY233" fmla="*/ 62190 h 448844"/>
                  <a:gd name="connsiteX234" fmla="*/ 408156 w 476402"/>
                  <a:gd name="connsiteY234" fmla="*/ 62742 h 448844"/>
                  <a:gd name="connsiteX235" fmla="*/ 407497 w 476402"/>
                  <a:gd name="connsiteY235" fmla="*/ 63294 h 448844"/>
                  <a:gd name="connsiteX236" fmla="*/ 407168 w 476402"/>
                  <a:gd name="connsiteY236" fmla="*/ 64122 h 448844"/>
                  <a:gd name="connsiteX237" fmla="*/ 407168 w 476402"/>
                  <a:gd name="connsiteY237" fmla="*/ 64398 h 448844"/>
                  <a:gd name="connsiteX238" fmla="*/ 407497 w 476402"/>
                  <a:gd name="connsiteY238" fmla="*/ 64398 h 448844"/>
                  <a:gd name="connsiteX239" fmla="*/ 407497 w 476402"/>
                  <a:gd name="connsiteY239" fmla="*/ 64950 h 448844"/>
                  <a:gd name="connsiteX240" fmla="*/ 408156 w 476402"/>
                  <a:gd name="connsiteY240" fmla="*/ 64950 h 448844"/>
                  <a:gd name="connsiteX241" fmla="*/ 408156 w 476402"/>
                  <a:gd name="connsiteY241" fmla="*/ 65226 h 448844"/>
                  <a:gd name="connsiteX242" fmla="*/ 408814 w 476402"/>
                  <a:gd name="connsiteY242" fmla="*/ 65226 h 448844"/>
                  <a:gd name="connsiteX243" fmla="*/ 408814 w 476402"/>
                  <a:gd name="connsiteY243" fmla="*/ 65778 h 448844"/>
                  <a:gd name="connsiteX244" fmla="*/ 408156 w 476402"/>
                  <a:gd name="connsiteY244" fmla="*/ 65778 h 448844"/>
                  <a:gd name="connsiteX245" fmla="*/ 407497 w 476402"/>
                  <a:gd name="connsiteY245" fmla="*/ 66331 h 448844"/>
                  <a:gd name="connsiteX246" fmla="*/ 407168 w 476402"/>
                  <a:gd name="connsiteY246" fmla="*/ 66607 h 448844"/>
                  <a:gd name="connsiteX247" fmla="*/ 407168 w 476402"/>
                  <a:gd name="connsiteY247" fmla="*/ 67159 h 448844"/>
                  <a:gd name="connsiteX248" fmla="*/ 407168 w 476402"/>
                  <a:gd name="connsiteY248" fmla="*/ 67987 h 448844"/>
                  <a:gd name="connsiteX249" fmla="*/ 407168 w 476402"/>
                  <a:gd name="connsiteY249" fmla="*/ 68263 h 448844"/>
                  <a:gd name="connsiteX250" fmla="*/ 406510 w 476402"/>
                  <a:gd name="connsiteY250" fmla="*/ 68815 h 448844"/>
                  <a:gd name="connsiteX251" fmla="*/ 406181 w 476402"/>
                  <a:gd name="connsiteY251" fmla="*/ 69091 h 448844"/>
                  <a:gd name="connsiteX252" fmla="*/ 406181 w 476402"/>
                  <a:gd name="connsiteY252" fmla="*/ 69919 h 448844"/>
                  <a:gd name="connsiteX253" fmla="*/ 405523 w 476402"/>
                  <a:gd name="connsiteY253" fmla="*/ 69919 h 448844"/>
                  <a:gd name="connsiteX254" fmla="*/ 405523 w 476402"/>
                  <a:gd name="connsiteY254" fmla="*/ 70471 h 448844"/>
                  <a:gd name="connsiteX255" fmla="*/ 405194 w 476402"/>
                  <a:gd name="connsiteY255" fmla="*/ 70471 h 448844"/>
                  <a:gd name="connsiteX256" fmla="*/ 404536 w 476402"/>
                  <a:gd name="connsiteY256" fmla="*/ 70471 h 448844"/>
                  <a:gd name="connsiteX257" fmla="*/ 404536 w 476402"/>
                  <a:gd name="connsiteY257" fmla="*/ 70747 h 448844"/>
                  <a:gd name="connsiteX258" fmla="*/ 404207 w 476402"/>
                  <a:gd name="connsiteY258" fmla="*/ 70747 h 448844"/>
                  <a:gd name="connsiteX259" fmla="*/ 403549 w 476402"/>
                  <a:gd name="connsiteY259" fmla="*/ 70747 h 448844"/>
                  <a:gd name="connsiteX260" fmla="*/ 403549 w 476402"/>
                  <a:gd name="connsiteY260" fmla="*/ 71299 h 448844"/>
                  <a:gd name="connsiteX261" fmla="*/ 403220 w 476402"/>
                  <a:gd name="connsiteY261" fmla="*/ 71299 h 448844"/>
                  <a:gd name="connsiteX262" fmla="*/ 403220 w 476402"/>
                  <a:gd name="connsiteY262" fmla="*/ 71576 h 448844"/>
                  <a:gd name="connsiteX263" fmla="*/ 402562 w 476402"/>
                  <a:gd name="connsiteY263" fmla="*/ 71576 h 448844"/>
                  <a:gd name="connsiteX264" fmla="*/ 402562 w 476402"/>
                  <a:gd name="connsiteY264" fmla="*/ 72128 h 448844"/>
                  <a:gd name="connsiteX265" fmla="*/ 402233 w 476402"/>
                  <a:gd name="connsiteY265" fmla="*/ 72128 h 448844"/>
                  <a:gd name="connsiteX266" fmla="*/ 401575 w 476402"/>
                  <a:gd name="connsiteY266" fmla="*/ 72404 h 448844"/>
                  <a:gd name="connsiteX267" fmla="*/ 399930 w 476402"/>
                  <a:gd name="connsiteY267" fmla="*/ 72404 h 448844"/>
                  <a:gd name="connsiteX268" fmla="*/ 399601 w 476402"/>
                  <a:gd name="connsiteY268" fmla="*/ 72404 h 448844"/>
                  <a:gd name="connsiteX269" fmla="*/ 398943 w 476402"/>
                  <a:gd name="connsiteY269" fmla="*/ 72956 h 448844"/>
                  <a:gd name="connsiteX270" fmla="*/ 398614 w 476402"/>
                  <a:gd name="connsiteY270" fmla="*/ 72956 h 448844"/>
                  <a:gd name="connsiteX271" fmla="*/ 398614 w 476402"/>
                  <a:gd name="connsiteY271" fmla="*/ 73508 h 448844"/>
                  <a:gd name="connsiteX272" fmla="*/ 397956 w 476402"/>
                  <a:gd name="connsiteY272" fmla="*/ 73508 h 448844"/>
                  <a:gd name="connsiteX273" fmla="*/ 397627 w 476402"/>
                  <a:gd name="connsiteY273" fmla="*/ 73508 h 448844"/>
                  <a:gd name="connsiteX274" fmla="*/ 396968 w 476402"/>
                  <a:gd name="connsiteY274" fmla="*/ 73508 h 448844"/>
                  <a:gd name="connsiteX275" fmla="*/ 396639 w 476402"/>
                  <a:gd name="connsiteY275" fmla="*/ 73784 h 448844"/>
                  <a:gd name="connsiteX276" fmla="*/ 395981 w 476402"/>
                  <a:gd name="connsiteY276" fmla="*/ 74336 h 448844"/>
                  <a:gd name="connsiteX277" fmla="*/ 395652 w 476402"/>
                  <a:gd name="connsiteY277" fmla="*/ 74612 h 448844"/>
                  <a:gd name="connsiteX278" fmla="*/ 395652 w 476402"/>
                  <a:gd name="connsiteY278" fmla="*/ 75164 h 448844"/>
                  <a:gd name="connsiteX279" fmla="*/ 394994 w 476402"/>
                  <a:gd name="connsiteY279" fmla="*/ 75440 h 448844"/>
                  <a:gd name="connsiteX280" fmla="*/ 394994 w 476402"/>
                  <a:gd name="connsiteY280" fmla="*/ 75992 h 448844"/>
                  <a:gd name="connsiteX281" fmla="*/ 394007 w 476402"/>
                  <a:gd name="connsiteY281" fmla="*/ 77373 h 448844"/>
                  <a:gd name="connsiteX282" fmla="*/ 394007 w 476402"/>
                  <a:gd name="connsiteY282" fmla="*/ 77649 h 448844"/>
                  <a:gd name="connsiteX283" fmla="*/ 394007 w 476402"/>
                  <a:gd name="connsiteY283" fmla="*/ 78201 h 448844"/>
                  <a:gd name="connsiteX284" fmla="*/ 394336 w 476402"/>
                  <a:gd name="connsiteY284" fmla="*/ 78477 h 448844"/>
                  <a:gd name="connsiteX285" fmla="*/ 394336 w 476402"/>
                  <a:gd name="connsiteY285" fmla="*/ 79029 h 448844"/>
                  <a:gd name="connsiteX286" fmla="*/ 394007 w 476402"/>
                  <a:gd name="connsiteY286" fmla="*/ 80685 h 448844"/>
                  <a:gd name="connsiteX287" fmla="*/ 393349 w 476402"/>
                  <a:gd name="connsiteY287" fmla="*/ 80961 h 448844"/>
                  <a:gd name="connsiteX288" fmla="*/ 393349 w 476402"/>
                  <a:gd name="connsiteY288" fmla="*/ 81513 h 448844"/>
                  <a:gd name="connsiteX289" fmla="*/ 393020 w 476402"/>
                  <a:gd name="connsiteY289" fmla="*/ 81513 h 448844"/>
                  <a:gd name="connsiteX290" fmla="*/ 393020 w 476402"/>
                  <a:gd name="connsiteY290" fmla="*/ 80961 h 448844"/>
                  <a:gd name="connsiteX291" fmla="*/ 393020 w 476402"/>
                  <a:gd name="connsiteY291" fmla="*/ 80685 h 448844"/>
                  <a:gd name="connsiteX292" fmla="*/ 392362 w 476402"/>
                  <a:gd name="connsiteY292" fmla="*/ 80685 h 448844"/>
                  <a:gd name="connsiteX293" fmla="*/ 392033 w 476402"/>
                  <a:gd name="connsiteY293" fmla="*/ 80685 h 448844"/>
                  <a:gd name="connsiteX294" fmla="*/ 391375 w 476402"/>
                  <a:gd name="connsiteY294" fmla="*/ 80685 h 448844"/>
                  <a:gd name="connsiteX295" fmla="*/ 391046 w 476402"/>
                  <a:gd name="connsiteY295" fmla="*/ 80685 h 448844"/>
                  <a:gd name="connsiteX296" fmla="*/ 390388 w 476402"/>
                  <a:gd name="connsiteY296" fmla="*/ 80961 h 448844"/>
                  <a:gd name="connsiteX297" fmla="*/ 390059 w 476402"/>
                  <a:gd name="connsiteY297" fmla="*/ 80961 h 448844"/>
                  <a:gd name="connsiteX298" fmla="*/ 389401 w 476402"/>
                  <a:gd name="connsiteY298" fmla="*/ 80961 h 448844"/>
                  <a:gd name="connsiteX299" fmla="*/ 389072 w 476402"/>
                  <a:gd name="connsiteY299" fmla="*/ 80961 h 448844"/>
                  <a:gd name="connsiteX300" fmla="*/ 388414 w 476402"/>
                  <a:gd name="connsiteY300" fmla="*/ 80961 h 448844"/>
                  <a:gd name="connsiteX301" fmla="*/ 387756 w 476402"/>
                  <a:gd name="connsiteY301" fmla="*/ 81513 h 448844"/>
                  <a:gd name="connsiteX302" fmla="*/ 387427 w 476402"/>
                  <a:gd name="connsiteY302" fmla="*/ 81513 h 448844"/>
                  <a:gd name="connsiteX303" fmla="*/ 387427 w 476402"/>
                  <a:gd name="connsiteY303" fmla="*/ 81790 h 448844"/>
                  <a:gd name="connsiteX304" fmla="*/ 387427 w 476402"/>
                  <a:gd name="connsiteY304" fmla="*/ 82342 h 448844"/>
                  <a:gd name="connsiteX305" fmla="*/ 387427 w 476402"/>
                  <a:gd name="connsiteY305" fmla="*/ 82618 h 448844"/>
                  <a:gd name="connsiteX306" fmla="*/ 387427 w 476402"/>
                  <a:gd name="connsiteY306" fmla="*/ 83170 h 448844"/>
                  <a:gd name="connsiteX307" fmla="*/ 387427 w 476402"/>
                  <a:gd name="connsiteY307" fmla="*/ 83998 h 448844"/>
                  <a:gd name="connsiteX308" fmla="*/ 387427 w 476402"/>
                  <a:gd name="connsiteY308" fmla="*/ 84550 h 448844"/>
                  <a:gd name="connsiteX309" fmla="*/ 386768 w 476402"/>
                  <a:gd name="connsiteY309" fmla="*/ 84550 h 448844"/>
                  <a:gd name="connsiteX310" fmla="*/ 386768 w 476402"/>
                  <a:gd name="connsiteY310" fmla="*/ 84826 h 448844"/>
                  <a:gd name="connsiteX311" fmla="*/ 386768 w 476402"/>
                  <a:gd name="connsiteY311" fmla="*/ 85654 h 448844"/>
                  <a:gd name="connsiteX312" fmla="*/ 386768 w 476402"/>
                  <a:gd name="connsiteY312" fmla="*/ 86206 h 448844"/>
                  <a:gd name="connsiteX313" fmla="*/ 386768 w 476402"/>
                  <a:gd name="connsiteY313" fmla="*/ 87035 h 448844"/>
                  <a:gd name="connsiteX314" fmla="*/ 386439 w 476402"/>
                  <a:gd name="connsiteY314" fmla="*/ 87587 h 448844"/>
                  <a:gd name="connsiteX315" fmla="*/ 386439 w 476402"/>
                  <a:gd name="connsiteY315" fmla="*/ 87863 h 448844"/>
                  <a:gd name="connsiteX316" fmla="*/ 386439 w 476402"/>
                  <a:gd name="connsiteY316" fmla="*/ 88691 h 448844"/>
                  <a:gd name="connsiteX317" fmla="*/ 387756 w 476402"/>
                  <a:gd name="connsiteY317" fmla="*/ 90347 h 448844"/>
                  <a:gd name="connsiteX318" fmla="*/ 387756 w 476402"/>
                  <a:gd name="connsiteY318" fmla="*/ 90899 h 448844"/>
                  <a:gd name="connsiteX319" fmla="*/ 387756 w 476402"/>
                  <a:gd name="connsiteY319" fmla="*/ 91175 h 448844"/>
                  <a:gd name="connsiteX320" fmla="*/ 388414 w 476402"/>
                  <a:gd name="connsiteY320" fmla="*/ 91727 h 448844"/>
                  <a:gd name="connsiteX321" fmla="*/ 389072 w 476402"/>
                  <a:gd name="connsiteY321" fmla="*/ 94212 h 448844"/>
                  <a:gd name="connsiteX322" fmla="*/ 389072 w 476402"/>
                  <a:gd name="connsiteY322" fmla="*/ 95040 h 448844"/>
                  <a:gd name="connsiteX323" fmla="*/ 389072 w 476402"/>
                  <a:gd name="connsiteY323" fmla="*/ 95868 h 448844"/>
                  <a:gd name="connsiteX324" fmla="*/ 389072 w 476402"/>
                  <a:gd name="connsiteY324" fmla="*/ 96420 h 448844"/>
                  <a:gd name="connsiteX325" fmla="*/ 389072 w 476402"/>
                  <a:gd name="connsiteY325" fmla="*/ 96696 h 448844"/>
                  <a:gd name="connsiteX326" fmla="*/ 389401 w 476402"/>
                  <a:gd name="connsiteY326" fmla="*/ 98905 h 448844"/>
                  <a:gd name="connsiteX327" fmla="*/ 390059 w 476402"/>
                  <a:gd name="connsiteY327" fmla="*/ 101113 h 448844"/>
                  <a:gd name="connsiteX328" fmla="*/ 392033 w 476402"/>
                  <a:gd name="connsiteY328" fmla="*/ 104426 h 448844"/>
                  <a:gd name="connsiteX329" fmla="*/ 392033 w 476402"/>
                  <a:gd name="connsiteY329" fmla="*/ 105806 h 448844"/>
                  <a:gd name="connsiteX330" fmla="*/ 391375 w 476402"/>
                  <a:gd name="connsiteY330" fmla="*/ 108291 h 448844"/>
                  <a:gd name="connsiteX331" fmla="*/ 392033 w 476402"/>
                  <a:gd name="connsiteY331" fmla="*/ 109119 h 448844"/>
                  <a:gd name="connsiteX332" fmla="*/ 392033 w 476402"/>
                  <a:gd name="connsiteY332" fmla="*/ 109395 h 448844"/>
                  <a:gd name="connsiteX333" fmla="*/ 392362 w 476402"/>
                  <a:gd name="connsiteY333" fmla="*/ 110223 h 448844"/>
                  <a:gd name="connsiteX334" fmla="*/ 392362 w 476402"/>
                  <a:gd name="connsiteY334" fmla="*/ 110775 h 448844"/>
                  <a:gd name="connsiteX335" fmla="*/ 392362 w 476402"/>
                  <a:gd name="connsiteY335" fmla="*/ 111603 h 448844"/>
                  <a:gd name="connsiteX336" fmla="*/ 392362 w 476402"/>
                  <a:gd name="connsiteY336" fmla="*/ 112155 h 448844"/>
                  <a:gd name="connsiteX337" fmla="*/ 392033 w 476402"/>
                  <a:gd name="connsiteY337" fmla="*/ 113260 h 448844"/>
                  <a:gd name="connsiteX338" fmla="*/ 392033 w 476402"/>
                  <a:gd name="connsiteY338" fmla="*/ 113812 h 448844"/>
                  <a:gd name="connsiteX339" fmla="*/ 391375 w 476402"/>
                  <a:gd name="connsiteY339" fmla="*/ 114088 h 448844"/>
                  <a:gd name="connsiteX340" fmla="*/ 392033 w 476402"/>
                  <a:gd name="connsiteY340" fmla="*/ 114640 h 448844"/>
                  <a:gd name="connsiteX341" fmla="*/ 392362 w 476402"/>
                  <a:gd name="connsiteY341" fmla="*/ 115192 h 448844"/>
                  <a:gd name="connsiteX342" fmla="*/ 393020 w 476402"/>
                  <a:gd name="connsiteY342" fmla="*/ 115468 h 448844"/>
                  <a:gd name="connsiteX343" fmla="*/ 393349 w 476402"/>
                  <a:gd name="connsiteY343" fmla="*/ 116296 h 448844"/>
                  <a:gd name="connsiteX344" fmla="*/ 393349 w 476402"/>
                  <a:gd name="connsiteY344" fmla="*/ 116848 h 448844"/>
                  <a:gd name="connsiteX345" fmla="*/ 393349 w 476402"/>
                  <a:gd name="connsiteY345" fmla="*/ 117677 h 448844"/>
                  <a:gd name="connsiteX346" fmla="*/ 393349 w 476402"/>
                  <a:gd name="connsiteY346" fmla="*/ 117953 h 448844"/>
                  <a:gd name="connsiteX347" fmla="*/ 393020 w 476402"/>
                  <a:gd name="connsiteY347" fmla="*/ 117953 h 448844"/>
                  <a:gd name="connsiteX348" fmla="*/ 393020 w 476402"/>
                  <a:gd name="connsiteY348" fmla="*/ 118505 h 448844"/>
                  <a:gd name="connsiteX349" fmla="*/ 393349 w 476402"/>
                  <a:gd name="connsiteY349" fmla="*/ 119609 h 448844"/>
                  <a:gd name="connsiteX350" fmla="*/ 393349 w 476402"/>
                  <a:gd name="connsiteY350" fmla="*/ 120161 h 448844"/>
                  <a:gd name="connsiteX351" fmla="*/ 393349 w 476402"/>
                  <a:gd name="connsiteY351" fmla="*/ 120437 h 448844"/>
                  <a:gd name="connsiteX352" fmla="*/ 393020 w 476402"/>
                  <a:gd name="connsiteY352" fmla="*/ 120437 h 448844"/>
                  <a:gd name="connsiteX353" fmla="*/ 392362 w 476402"/>
                  <a:gd name="connsiteY353" fmla="*/ 120989 h 448844"/>
                  <a:gd name="connsiteX354" fmla="*/ 392362 w 476402"/>
                  <a:gd name="connsiteY354" fmla="*/ 121817 h 448844"/>
                  <a:gd name="connsiteX355" fmla="*/ 392033 w 476402"/>
                  <a:gd name="connsiteY355" fmla="*/ 122369 h 448844"/>
                  <a:gd name="connsiteX356" fmla="*/ 391375 w 476402"/>
                  <a:gd name="connsiteY356" fmla="*/ 122646 h 448844"/>
                  <a:gd name="connsiteX357" fmla="*/ 392033 w 476402"/>
                  <a:gd name="connsiteY357" fmla="*/ 123474 h 448844"/>
                  <a:gd name="connsiteX358" fmla="*/ 392033 w 476402"/>
                  <a:gd name="connsiteY358" fmla="*/ 124026 h 448844"/>
                  <a:gd name="connsiteX359" fmla="*/ 392362 w 476402"/>
                  <a:gd name="connsiteY359" fmla="*/ 124302 h 448844"/>
                  <a:gd name="connsiteX360" fmla="*/ 392362 w 476402"/>
                  <a:gd name="connsiteY360" fmla="*/ 124854 h 448844"/>
                  <a:gd name="connsiteX361" fmla="*/ 392362 w 476402"/>
                  <a:gd name="connsiteY361" fmla="*/ 125406 h 448844"/>
                  <a:gd name="connsiteX362" fmla="*/ 392362 w 476402"/>
                  <a:gd name="connsiteY362" fmla="*/ 125682 h 448844"/>
                  <a:gd name="connsiteX363" fmla="*/ 392362 w 476402"/>
                  <a:gd name="connsiteY363" fmla="*/ 126510 h 448844"/>
                  <a:gd name="connsiteX364" fmla="*/ 392362 w 476402"/>
                  <a:gd name="connsiteY364" fmla="*/ 127062 h 448844"/>
                  <a:gd name="connsiteX365" fmla="*/ 392362 w 476402"/>
                  <a:gd name="connsiteY365" fmla="*/ 127891 h 448844"/>
                  <a:gd name="connsiteX366" fmla="*/ 392033 w 476402"/>
                  <a:gd name="connsiteY366" fmla="*/ 127891 h 448844"/>
                  <a:gd name="connsiteX367" fmla="*/ 392033 w 476402"/>
                  <a:gd name="connsiteY367" fmla="*/ 128167 h 448844"/>
                  <a:gd name="connsiteX368" fmla="*/ 392362 w 476402"/>
                  <a:gd name="connsiteY368" fmla="*/ 128719 h 448844"/>
                  <a:gd name="connsiteX369" fmla="*/ 392362 w 476402"/>
                  <a:gd name="connsiteY369" fmla="*/ 128167 h 448844"/>
                  <a:gd name="connsiteX370" fmla="*/ 393020 w 476402"/>
                  <a:gd name="connsiteY370" fmla="*/ 128167 h 448844"/>
                  <a:gd name="connsiteX371" fmla="*/ 393020 w 476402"/>
                  <a:gd name="connsiteY371" fmla="*/ 128719 h 448844"/>
                  <a:gd name="connsiteX372" fmla="*/ 393020 w 476402"/>
                  <a:gd name="connsiteY372" fmla="*/ 128995 h 448844"/>
                  <a:gd name="connsiteX373" fmla="*/ 394007 w 476402"/>
                  <a:gd name="connsiteY373" fmla="*/ 129547 h 448844"/>
                  <a:gd name="connsiteX374" fmla="*/ 394336 w 476402"/>
                  <a:gd name="connsiteY374" fmla="*/ 129823 h 448844"/>
                  <a:gd name="connsiteX375" fmla="*/ 394336 w 476402"/>
                  <a:gd name="connsiteY375" fmla="*/ 130375 h 448844"/>
                  <a:gd name="connsiteX376" fmla="*/ 394007 w 476402"/>
                  <a:gd name="connsiteY376" fmla="*/ 130651 h 448844"/>
                  <a:gd name="connsiteX377" fmla="*/ 394007 w 476402"/>
                  <a:gd name="connsiteY377" fmla="*/ 131203 h 448844"/>
                  <a:gd name="connsiteX378" fmla="*/ 394007 w 476402"/>
                  <a:gd name="connsiteY378" fmla="*/ 131755 h 448844"/>
                  <a:gd name="connsiteX379" fmla="*/ 393349 w 476402"/>
                  <a:gd name="connsiteY379" fmla="*/ 132031 h 448844"/>
                  <a:gd name="connsiteX380" fmla="*/ 394007 w 476402"/>
                  <a:gd name="connsiteY380" fmla="*/ 132860 h 448844"/>
                  <a:gd name="connsiteX381" fmla="*/ 394994 w 476402"/>
                  <a:gd name="connsiteY381" fmla="*/ 133412 h 448844"/>
                  <a:gd name="connsiteX382" fmla="*/ 396639 w 476402"/>
                  <a:gd name="connsiteY382" fmla="*/ 134240 h 448844"/>
                  <a:gd name="connsiteX383" fmla="*/ 397627 w 476402"/>
                  <a:gd name="connsiteY383" fmla="*/ 135068 h 448844"/>
                  <a:gd name="connsiteX384" fmla="*/ 397956 w 476402"/>
                  <a:gd name="connsiteY384" fmla="*/ 135620 h 448844"/>
                  <a:gd name="connsiteX385" fmla="*/ 398614 w 476402"/>
                  <a:gd name="connsiteY385" fmla="*/ 135620 h 448844"/>
                  <a:gd name="connsiteX386" fmla="*/ 398943 w 476402"/>
                  <a:gd name="connsiteY386" fmla="*/ 135896 h 448844"/>
                  <a:gd name="connsiteX387" fmla="*/ 399601 w 476402"/>
                  <a:gd name="connsiteY387" fmla="*/ 135896 h 448844"/>
                  <a:gd name="connsiteX388" fmla="*/ 399930 w 476402"/>
                  <a:gd name="connsiteY388" fmla="*/ 135896 h 448844"/>
                  <a:gd name="connsiteX389" fmla="*/ 400588 w 476402"/>
                  <a:gd name="connsiteY389" fmla="*/ 135620 h 448844"/>
                  <a:gd name="connsiteX390" fmla="*/ 400917 w 476402"/>
                  <a:gd name="connsiteY390" fmla="*/ 135620 h 448844"/>
                  <a:gd name="connsiteX391" fmla="*/ 402233 w 476402"/>
                  <a:gd name="connsiteY391" fmla="*/ 135620 h 448844"/>
                  <a:gd name="connsiteX392" fmla="*/ 403220 w 476402"/>
                  <a:gd name="connsiteY392" fmla="*/ 135620 h 448844"/>
                  <a:gd name="connsiteX393" fmla="*/ 403549 w 476402"/>
                  <a:gd name="connsiteY393" fmla="*/ 135896 h 448844"/>
                  <a:gd name="connsiteX394" fmla="*/ 403549 w 476402"/>
                  <a:gd name="connsiteY394" fmla="*/ 136448 h 448844"/>
                  <a:gd name="connsiteX395" fmla="*/ 404207 w 476402"/>
                  <a:gd name="connsiteY395" fmla="*/ 136448 h 448844"/>
                  <a:gd name="connsiteX396" fmla="*/ 404536 w 476402"/>
                  <a:gd name="connsiteY396" fmla="*/ 137276 h 448844"/>
                  <a:gd name="connsiteX397" fmla="*/ 404536 w 476402"/>
                  <a:gd name="connsiteY397" fmla="*/ 137552 h 448844"/>
                  <a:gd name="connsiteX398" fmla="*/ 415394 w 476402"/>
                  <a:gd name="connsiteY398" fmla="*/ 142797 h 448844"/>
                  <a:gd name="connsiteX399" fmla="*/ 415394 w 476402"/>
                  <a:gd name="connsiteY399" fmla="*/ 143074 h 448844"/>
                  <a:gd name="connsiteX400" fmla="*/ 415394 w 476402"/>
                  <a:gd name="connsiteY400" fmla="*/ 143902 h 448844"/>
                  <a:gd name="connsiteX401" fmla="*/ 415723 w 476402"/>
                  <a:gd name="connsiteY401" fmla="*/ 144454 h 448844"/>
                  <a:gd name="connsiteX402" fmla="*/ 416381 w 476402"/>
                  <a:gd name="connsiteY402" fmla="*/ 144730 h 448844"/>
                  <a:gd name="connsiteX403" fmla="*/ 416710 w 476402"/>
                  <a:gd name="connsiteY403" fmla="*/ 144730 h 448844"/>
                  <a:gd name="connsiteX404" fmla="*/ 417141 w 476402"/>
                  <a:gd name="connsiteY404" fmla="*/ 144730 h 448844"/>
                  <a:gd name="connsiteX405" fmla="*/ 417154 w 476402"/>
                  <a:gd name="connsiteY405" fmla="*/ 144746 h 448844"/>
                  <a:gd name="connsiteX406" fmla="*/ 422716 w 476402"/>
                  <a:gd name="connsiteY406" fmla="*/ 146600 h 448844"/>
                  <a:gd name="connsiteX407" fmla="*/ 425923 w 476402"/>
                  <a:gd name="connsiteY407" fmla="*/ 146600 h 448844"/>
                  <a:gd name="connsiteX408" fmla="*/ 425923 w 476402"/>
                  <a:gd name="connsiteY408" fmla="*/ 146938 h 448844"/>
                  <a:gd name="connsiteX409" fmla="*/ 426252 w 476402"/>
                  <a:gd name="connsiteY409" fmla="*/ 148319 h 448844"/>
                  <a:gd name="connsiteX410" fmla="*/ 425923 w 476402"/>
                  <a:gd name="connsiteY410" fmla="*/ 149147 h 448844"/>
                  <a:gd name="connsiteX411" fmla="*/ 425923 w 476402"/>
                  <a:gd name="connsiteY411" fmla="*/ 149423 h 448844"/>
                  <a:gd name="connsiteX412" fmla="*/ 425265 w 476402"/>
                  <a:gd name="connsiteY412" fmla="*/ 150251 h 448844"/>
                  <a:gd name="connsiteX413" fmla="*/ 425265 w 476402"/>
                  <a:gd name="connsiteY413" fmla="*/ 150803 h 448844"/>
                  <a:gd name="connsiteX414" fmla="*/ 425265 w 476402"/>
                  <a:gd name="connsiteY414" fmla="*/ 151631 h 448844"/>
                  <a:gd name="connsiteX415" fmla="*/ 426252 w 476402"/>
                  <a:gd name="connsiteY415" fmla="*/ 154116 h 448844"/>
                  <a:gd name="connsiteX416" fmla="*/ 427239 w 476402"/>
                  <a:gd name="connsiteY416" fmla="*/ 154944 h 448844"/>
                  <a:gd name="connsiteX417" fmla="*/ 428556 w 476402"/>
                  <a:gd name="connsiteY417" fmla="*/ 155496 h 448844"/>
                  <a:gd name="connsiteX418" fmla="*/ 429543 w 476402"/>
                  <a:gd name="connsiteY418" fmla="*/ 155496 h 448844"/>
                  <a:gd name="connsiteX419" fmla="*/ 430005 w 476402"/>
                  <a:gd name="connsiteY419" fmla="*/ 155237 h 448844"/>
                  <a:gd name="connsiteX420" fmla="*/ 430132 w 476402"/>
                  <a:gd name="connsiteY420" fmla="*/ 155872 h 448844"/>
                  <a:gd name="connsiteX421" fmla="*/ 441256 w 476402"/>
                  <a:gd name="connsiteY421" fmla="*/ 159580 h 448844"/>
                  <a:gd name="connsiteX422" fmla="*/ 445427 w 476402"/>
                  <a:gd name="connsiteY422" fmla="*/ 160276 h 448844"/>
                  <a:gd name="connsiteX423" fmla="*/ 446719 w 476402"/>
                  <a:gd name="connsiteY423" fmla="*/ 164798 h 448844"/>
                  <a:gd name="connsiteX424" fmla="*/ 446652 w 476402"/>
                  <a:gd name="connsiteY424" fmla="*/ 164882 h 448844"/>
                  <a:gd name="connsiteX425" fmla="*/ 446652 w 476402"/>
                  <a:gd name="connsiteY425" fmla="*/ 165205 h 448844"/>
                  <a:gd name="connsiteX426" fmla="*/ 438573 w 476402"/>
                  <a:gd name="connsiteY426" fmla="*/ 168235 h 448844"/>
                  <a:gd name="connsiteX427" fmla="*/ 438426 w 476402"/>
                  <a:gd name="connsiteY427" fmla="*/ 168194 h 448844"/>
                  <a:gd name="connsiteX428" fmla="*/ 438097 w 476402"/>
                  <a:gd name="connsiteY428" fmla="*/ 168194 h 448844"/>
                  <a:gd name="connsiteX429" fmla="*/ 438097 w 476402"/>
                  <a:gd name="connsiteY429" fmla="*/ 168414 h 448844"/>
                  <a:gd name="connsiteX430" fmla="*/ 436473 w 476402"/>
                  <a:gd name="connsiteY430" fmla="*/ 169023 h 448844"/>
                  <a:gd name="connsiteX431" fmla="*/ 436452 w 476402"/>
                  <a:gd name="connsiteY431" fmla="*/ 169023 h 448844"/>
                  <a:gd name="connsiteX432" fmla="*/ 436452 w 476402"/>
                  <a:gd name="connsiteY432" fmla="*/ 169031 h 448844"/>
                  <a:gd name="connsiteX433" fmla="*/ 431986 w 476402"/>
                  <a:gd name="connsiteY433" fmla="*/ 170706 h 448844"/>
                  <a:gd name="connsiteX434" fmla="*/ 431888 w 476402"/>
                  <a:gd name="connsiteY434" fmla="*/ 170803 h 448844"/>
                  <a:gd name="connsiteX435" fmla="*/ 431517 w 476402"/>
                  <a:gd name="connsiteY435" fmla="*/ 170679 h 448844"/>
                  <a:gd name="connsiteX436" fmla="*/ 430859 w 476402"/>
                  <a:gd name="connsiteY436" fmla="*/ 171231 h 448844"/>
                  <a:gd name="connsiteX437" fmla="*/ 430859 w 476402"/>
                  <a:gd name="connsiteY437" fmla="*/ 171833 h 448844"/>
                  <a:gd name="connsiteX438" fmla="*/ 429037 w 476402"/>
                  <a:gd name="connsiteY438" fmla="*/ 173655 h 448844"/>
                  <a:gd name="connsiteX439" fmla="*/ 427239 w 476402"/>
                  <a:gd name="connsiteY439" fmla="*/ 173439 h 448844"/>
                  <a:gd name="connsiteX440" fmla="*/ 426252 w 476402"/>
                  <a:gd name="connsiteY440" fmla="*/ 175096 h 448844"/>
                  <a:gd name="connsiteX441" fmla="*/ 425923 w 476402"/>
                  <a:gd name="connsiteY441" fmla="*/ 175372 h 448844"/>
                  <a:gd name="connsiteX442" fmla="*/ 423291 w 476402"/>
                  <a:gd name="connsiteY442" fmla="*/ 177304 h 448844"/>
                  <a:gd name="connsiteX443" fmla="*/ 422962 w 476402"/>
                  <a:gd name="connsiteY443" fmla="*/ 177580 h 448844"/>
                  <a:gd name="connsiteX444" fmla="*/ 422304 w 476402"/>
                  <a:gd name="connsiteY444" fmla="*/ 178132 h 448844"/>
                  <a:gd name="connsiteX445" fmla="*/ 422304 w 476402"/>
                  <a:gd name="connsiteY445" fmla="*/ 178961 h 448844"/>
                  <a:gd name="connsiteX446" fmla="*/ 422304 w 476402"/>
                  <a:gd name="connsiteY446" fmla="*/ 179237 h 448844"/>
                  <a:gd name="connsiteX447" fmla="*/ 422304 w 476402"/>
                  <a:gd name="connsiteY447" fmla="*/ 179789 h 448844"/>
                  <a:gd name="connsiteX448" fmla="*/ 421975 w 476402"/>
                  <a:gd name="connsiteY448" fmla="*/ 180065 h 448844"/>
                  <a:gd name="connsiteX449" fmla="*/ 421975 w 476402"/>
                  <a:gd name="connsiteY449" fmla="*/ 180617 h 448844"/>
                  <a:gd name="connsiteX450" fmla="*/ 421317 w 476402"/>
                  <a:gd name="connsiteY450" fmla="*/ 180893 h 448844"/>
                  <a:gd name="connsiteX451" fmla="*/ 420988 w 476402"/>
                  <a:gd name="connsiteY451" fmla="*/ 181445 h 448844"/>
                  <a:gd name="connsiteX452" fmla="*/ 421317 w 476402"/>
                  <a:gd name="connsiteY452" fmla="*/ 181721 h 448844"/>
                  <a:gd name="connsiteX453" fmla="*/ 422716 w 476402"/>
                  <a:gd name="connsiteY453" fmla="*/ 184303 h 448844"/>
                  <a:gd name="connsiteX454" fmla="*/ 422716 w 476402"/>
                  <a:gd name="connsiteY454" fmla="*/ 194533 h 448844"/>
                  <a:gd name="connsiteX455" fmla="*/ 422304 w 476402"/>
                  <a:gd name="connsiteY455" fmla="*/ 195800 h 448844"/>
                  <a:gd name="connsiteX456" fmla="*/ 421975 w 476402"/>
                  <a:gd name="connsiteY456" fmla="*/ 196628 h 448844"/>
                  <a:gd name="connsiteX457" fmla="*/ 421975 w 476402"/>
                  <a:gd name="connsiteY457" fmla="*/ 198008 h 448844"/>
                  <a:gd name="connsiteX458" fmla="*/ 421317 w 476402"/>
                  <a:gd name="connsiteY458" fmla="*/ 199665 h 448844"/>
                  <a:gd name="connsiteX459" fmla="*/ 421317 w 476402"/>
                  <a:gd name="connsiteY459" fmla="*/ 199941 h 448844"/>
                  <a:gd name="connsiteX460" fmla="*/ 421317 w 476402"/>
                  <a:gd name="connsiteY460" fmla="*/ 201045 h 448844"/>
                  <a:gd name="connsiteX461" fmla="*/ 421975 w 476402"/>
                  <a:gd name="connsiteY461" fmla="*/ 201321 h 448844"/>
                  <a:gd name="connsiteX462" fmla="*/ 421975 w 476402"/>
                  <a:gd name="connsiteY462" fmla="*/ 201873 h 448844"/>
                  <a:gd name="connsiteX463" fmla="*/ 422135 w 476402"/>
                  <a:gd name="connsiteY463" fmla="*/ 202007 h 448844"/>
                  <a:gd name="connsiteX464" fmla="*/ 421191 w 476402"/>
                  <a:gd name="connsiteY464" fmla="*/ 207670 h 448844"/>
                  <a:gd name="connsiteX465" fmla="*/ 420330 w 476402"/>
                  <a:gd name="connsiteY465" fmla="*/ 207670 h 448844"/>
                  <a:gd name="connsiteX466" fmla="*/ 419672 w 476402"/>
                  <a:gd name="connsiteY466" fmla="*/ 207670 h 448844"/>
                  <a:gd name="connsiteX467" fmla="*/ 419343 w 476402"/>
                  <a:gd name="connsiteY467" fmla="*/ 208222 h 448844"/>
                  <a:gd name="connsiteX468" fmla="*/ 418685 w 476402"/>
                  <a:gd name="connsiteY468" fmla="*/ 208498 h 448844"/>
                  <a:gd name="connsiteX469" fmla="*/ 418356 w 476402"/>
                  <a:gd name="connsiteY469" fmla="*/ 209326 h 448844"/>
                  <a:gd name="connsiteX470" fmla="*/ 418356 w 476402"/>
                  <a:gd name="connsiteY470" fmla="*/ 209879 h 448844"/>
                  <a:gd name="connsiteX471" fmla="*/ 417697 w 476402"/>
                  <a:gd name="connsiteY471" fmla="*/ 209879 h 448844"/>
                  <a:gd name="connsiteX472" fmla="*/ 417368 w 476402"/>
                  <a:gd name="connsiteY472" fmla="*/ 209879 h 448844"/>
                  <a:gd name="connsiteX473" fmla="*/ 416381 w 476402"/>
                  <a:gd name="connsiteY473" fmla="*/ 209879 h 448844"/>
                  <a:gd name="connsiteX474" fmla="*/ 415723 w 476402"/>
                  <a:gd name="connsiteY474" fmla="*/ 209879 h 448844"/>
                  <a:gd name="connsiteX475" fmla="*/ 415394 w 476402"/>
                  <a:gd name="connsiteY475" fmla="*/ 209879 h 448844"/>
                  <a:gd name="connsiteX476" fmla="*/ 415394 w 476402"/>
                  <a:gd name="connsiteY476" fmla="*/ 210155 h 448844"/>
                  <a:gd name="connsiteX477" fmla="*/ 414736 w 476402"/>
                  <a:gd name="connsiteY477" fmla="*/ 210707 h 448844"/>
                  <a:gd name="connsiteX478" fmla="*/ 415394 w 476402"/>
                  <a:gd name="connsiteY478" fmla="*/ 211259 h 448844"/>
                  <a:gd name="connsiteX479" fmla="*/ 414736 w 476402"/>
                  <a:gd name="connsiteY479" fmla="*/ 212087 h 448844"/>
                  <a:gd name="connsiteX480" fmla="*/ 414078 w 476402"/>
                  <a:gd name="connsiteY480" fmla="*/ 212363 h 448844"/>
                  <a:gd name="connsiteX481" fmla="*/ 413749 w 476402"/>
                  <a:gd name="connsiteY481" fmla="*/ 212363 h 448844"/>
                  <a:gd name="connsiteX482" fmla="*/ 413091 w 476402"/>
                  <a:gd name="connsiteY482" fmla="*/ 212915 h 448844"/>
                  <a:gd name="connsiteX483" fmla="*/ 413749 w 476402"/>
                  <a:gd name="connsiteY483" fmla="*/ 213191 h 448844"/>
                  <a:gd name="connsiteX484" fmla="*/ 413749 w 476402"/>
                  <a:gd name="connsiteY484" fmla="*/ 213743 h 448844"/>
                  <a:gd name="connsiteX485" fmla="*/ 413091 w 476402"/>
                  <a:gd name="connsiteY485" fmla="*/ 214019 h 448844"/>
                  <a:gd name="connsiteX486" fmla="*/ 412762 w 476402"/>
                  <a:gd name="connsiteY486" fmla="*/ 214571 h 448844"/>
                  <a:gd name="connsiteX487" fmla="*/ 412104 w 476402"/>
                  <a:gd name="connsiteY487" fmla="*/ 215400 h 448844"/>
                  <a:gd name="connsiteX488" fmla="*/ 411775 w 476402"/>
                  <a:gd name="connsiteY488" fmla="*/ 215952 h 448844"/>
                  <a:gd name="connsiteX489" fmla="*/ 411117 w 476402"/>
                  <a:gd name="connsiteY489" fmla="*/ 216228 h 448844"/>
                  <a:gd name="connsiteX490" fmla="*/ 411117 w 476402"/>
                  <a:gd name="connsiteY490" fmla="*/ 216780 h 448844"/>
                  <a:gd name="connsiteX491" fmla="*/ 410788 w 476402"/>
                  <a:gd name="connsiteY491" fmla="*/ 217056 h 448844"/>
                  <a:gd name="connsiteX492" fmla="*/ 410788 w 476402"/>
                  <a:gd name="connsiteY492" fmla="*/ 217201 h 448844"/>
                  <a:gd name="connsiteX493" fmla="*/ 409142 w 476402"/>
                  <a:gd name="connsiteY493" fmla="*/ 218436 h 448844"/>
                  <a:gd name="connsiteX494" fmla="*/ 408814 w 476402"/>
                  <a:gd name="connsiteY494" fmla="*/ 218436 h 448844"/>
                  <a:gd name="connsiteX495" fmla="*/ 408156 w 476402"/>
                  <a:gd name="connsiteY495" fmla="*/ 218712 h 448844"/>
                  <a:gd name="connsiteX496" fmla="*/ 407497 w 476402"/>
                  <a:gd name="connsiteY496" fmla="*/ 219264 h 448844"/>
                  <a:gd name="connsiteX497" fmla="*/ 407168 w 476402"/>
                  <a:gd name="connsiteY497" fmla="*/ 219540 h 448844"/>
                  <a:gd name="connsiteX498" fmla="*/ 407168 w 476402"/>
                  <a:gd name="connsiteY498" fmla="*/ 219916 h 448844"/>
                  <a:gd name="connsiteX499" fmla="*/ 406029 w 476402"/>
                  <a:gd name="connsiteY499" fmla="*/ 220771 h 448844"/>
                  <a:gd name="connsiteX500" fmla="*/ 404399 w 476402"/>
                  <a:gd name="connsiteY500" fmla="*/ 224847 h 448844"/>
                  <a:gd name="connsiteX501" fmla="*/ 403220 w 476402"/>
                  <a:gd name="connsiteY501" fmla="*/ 226166 h 448844"/>
                  <a:gd name="connsiteX502" fmla="*/ 403220 w 476402"/>
                  <a:gd name="connsiteY502" fmla="*/ 226442 h 448844"/>
                  <a:gd name="connsiteX503" fmla="*/ 402562 w 476402"/>
                  <a:gd name="connsiteY503" fmla="*/ 226442 h 448844"/>
                  <a:gd name="connsiteX504" fmla="*/ 402233 w 476402"/>
                  <a:gd name="connsiteY504" fmla="*/ 226442 h 448844"/>
                  <a:gd name="connsiteX505" fmla="*/ 402233 w 476402"/>
                  <a:gd name="connsiteY505" fmla="*/ 226994 h 448844"/>
                  <a:gd name="connsiteX506" fmla="*/ 402233 w 476402"/>
                  <a:gd name="connsiteY506" fmla="*/ 227270 h 448844"/>
                  <a:gd name="connsiteX507" fmla="*/ 401575 w 476402"/>
                  <a:gd name="connsiteY507" fmla="*/ 227270 h 448844"/>
                  <a:gd name="connsiteX508" fmla="*/ 400917 w 476402"/>
                  <a:gd name="connsiteY508" fmla="*/ 227822 h 448844"/>
                  <a:gd name="connsiteX509" fmla="*/ 400588 w 476402"/>
                  <a:gd name="connsiteY509" fmla="*/ 228098 h 448844"/>
                  <a:gd name="connsiteX510" fmla="*/ 400588 w 476402"/>
                  <a:gd name="connsiteY510" fmla="*/ 228650 h 448844"/>
                  <a:gd name="connsiteX511" fmla="*/ 399930 w 476402"/>
                  <a:gd name="connsiteY511" fmla="*/ 228650 h 448844"/>
                  <a:gd name="connsiteX512" fmla="*/ 401575 w 476402"/>
                  <a:gd name="connsiteY512" fmla="*/ 229478 h 448844"/>
                  <a:gd name="connsiteX513" fmla="*/ 402305 w 476402"/>
                  <a:gd name="connsiteY513" fmla="*/ 230091 h 448844"/>
                  <a:gd name="connsiteX514" fmla="*/ 400467 w 476402"/>
                  <a:gd name="connsiteY514" fmla="*/ 235605 h 448844"/>
                  <a:gd name="connsiteX515" fmla="*/ 396759 w 476402"/>
                  <a:gd name="connsiteY515" fmla="*/ 237459 h 448844"/>
                  <a:gd name="connsiteX516" fmla="*/ 392045 w 476402"/>
                  <a:gd name="connsiteY516" fmla="*/ 240288 h 448844"/>
                  <a:gd name="connsiteX517" fmla="*/ 391046 w 476402"/>
                  <a:gd name="connsiteY517" fmla="*/ 240521 h 448844"/>
                  <a:gd name="connsiteX518" fmla="*/ 385781 w 476402"/>
                  <a:gd name="connsiteY518" fmla="*/ 243005 h 448844"/>
                  <a:gd name="connsiteX519" fmla="*/ 385452 w 476402"/>
                  <a:gd name="connsiteY519" fmla="*/ 243557 h 448844"/>
                  <a:gd name="connsiteX520" fmla="*/ 383807 w 476402"/>
                  <a:gd name="connsiteY520" fmla="*/ 247698 h 448844"/>
                  <a:gd name="connsiteX521" fmla="*/ 382162 w 476402"/>
                  <a:gd name="connsiteY521" fmla="*/ 251839 h 448844"/>
                  <a:gd name="connsiteX522" fmla="*/ 381936 w 476402"/>
                  <a:gd name="connsiteY522" fmla="*/ 252742 h 448844"/>
                  <a:gd name="connsiteX523" fmla="*/ 380073 w 476402"/>
                  <a:gd name="connsiteY523" fmla="*/ 256001 h 448844"/>
                  <a:gd name="connsiteX524" fmla="*/ 378658 w 476402"/>
                  <a:gd name="connsiteY524" fmla="*/ 260955 h 448844"/>
                  <a:gd name="connsiteX525" fmla="*/ 377227 w 476402"/>
                  <a:gd name="connsiteY525" fmla="*/ 263157 h 448844"/>
                  <a:gd name="connsiteX526" fmla="*/ 375252 w 476402"/>
                  <a:gd name="connsiteY526" fmla="*/ 267574 h 448844"/>
                  <a:gd name="connsiteX527" fmla="*/ 373278 w 476402"/>
                  <a:gd name="connsiteY527" fmla="*/ 270334 h 448844"/>
                  <a:gd name="connsiteX528" fmla="*/ 372291 w 476402"/>
                  <a:gd name="connsiteY528" fmla="*/ 271439 h 448844"/>
                  <a:gd name="connsiteX529" fmla="*/ 372236 w 476402"/>
                  <a:gd name="connsiteY529" fmla="*/ 271562 h 448844"/>
                  <a:gd name="connsiteX530" fmla="*/ 361533 w 476402"/>
                  <a:gd name="connsiteY530" fmla="*/ 278253 h 448844"/>
                  <a:gd name="connsiteX531" fmla="*/ 360488 w 476402"/>
                  <a:gd name="connsiteY531" fmla="*/ 279508 h 448844"/>
                  <a:gd name="connsiteX532" fmla="*/ 358472 w 476402"/>
                  <a:gd name="connsiteY532" fmla="*/ 280548 h 448844"/>
                  <a:gd name="connsiteX533" fmla="*/ 353865 w 476402"/>
                  <a:gd name="connsiteY533" fmla="*/ 283033 h 448844"/>
                  <a:gd name="connsiteX534" fmla="*/ 352878 w 476402"/>
                  <a:gd name="connsiteY534" fmla="*/ 283309 h 448844"/>
                  <a:gd name="connsiteX535" fmla="*/ 350575 w 476402"/>
                  <a:gd name="connsiteY535" fmla="*/ 286345 h 448844"/>
                  <a:gd name="connsiteX536" fmla="*/ 349917 w 476402"/>
                  <a:gd name="connsiteY536" fmla="*/ 287726 h 448844"/>
                  <a:gd name="connsiteX537" fmla="*/ 347943 w 476402"/>
                  <a:gd name="connsiteY537" fmla="*/ 294627 h 448844"/>
                  <a:gd name="connsiteX538" fmla="*/ 347285 w 476402"/>
                  <a:gd name="connsiteY538" fmla="*/ 296283 h 448844"/>
                  <a:gd name="connsiteX539" fmla="*/ 346298 w 476402"/>
                  <a:gd name="connsiteY539" fmla="*/ 297388 h 448844"/>
                  <a:gd name="connsiteX540" fmla="*/ 345310 w 476402"/>
                  <a:gd name="connsiteY540" fmla="*/ 298768 h 448844"/>
                  <a:gd name="connsiteX541" fmla="*/ 341362 w 476402"/>
                  <a:gd name="connsiteY541" fmla="*/ 302081 h 448844"/>
                  <a:gd name="connsiteX542" fmla="*/ 338730 w 476402"/>
                  <a:gd name="connsiteY542" fmla="*/ 305117 h 448844"/>
                  <a:gd name="connsiteX543" fmla="*/ 338401 w 476402"/>
                  <a:gd name="connsiteY543" fmla="*/ 305945 h 448844"/>
                  <a:gd name="connsiteX544" fmla="*/ 338401 w 476402"/>
                  <a:gd name="connsiteY544" fmla="*/ 306497 h 448844"/>
                  <a:gd name="connsiteX545" fmla="*/ 338188 w 476402"/>
                  <a:gd name="connsiteY545" fmla="*/ 307837 h 448844"/>
                  <a:gd name="connsiteX546" fmla="*/ 331869 w 476402"/>
                  <a:gd name="connsiteY546" fmla="*/ 311629 h 448844"/>
                  <a:gd name="connsiteX547" fmla="*/ 323249 w 476402"/>
                  <a:gd name="connsiteY547" fmla="*/ 314503 h 448844"/>
                  <a:gd name="connsiteX548" fmla="*/ 322607 w 476402"/>
                  <a:gd name="connsiteY548" fmla="*/ 314503 h 448844"/>
                  <a:gd name="connsiteX549" fmla="*/ 319317 w 476402"/>
                  <a:gd name="connsiteY549" fmla="*/ 314503 h 448844"/>
                  <a:gd name="connsiteX550" fmla="*/ 317014 w 476402"/>
                  <a:gd name="connsiteY550" fmla="*/ 315055 h 448844"/>
                  <a:gd name="connsiteX551" fmla="*/ 314382 w 476402"/>
                  <a:gd name="connsiteY551" fmla="*/ 315883 h 448844"/>
                  <a:gd name="connsiteX552" fmla="*/ 313116 w 476402"/>
                  <a:gd name="connsiteY552" fmla="*/ 316503 h 448844"/>
                  <a:gd name="connsiteX553" fmla="*/ 304059 w 476402"/>
                  <a:gd name="connsiteY553" fmla="*/ 313483 h 448844"/>
                  <a:gd name="connsiteX554" fmla="*/ 297570 w 476402"/>
                  <a:gd name="connsiteY554" fmla="*/ 309775 h 448844"/>
                  <a:gd name="connsiteX555" fmla="*/ 295997 w 476402"/>
                  <a:gd name="connsiteY555" fmla="*/ 310224 h 448844"/>
                  <a:gd name="connsiteX556" fmla="*/ 295627 w 476402"/>
                  <a:gd name="connsiteY556" fmla="*/ 309810 h 448844"/>
                  <a:gd name="connsiteX557" fmla="*/ 294640 w 476402"/>
                  <a:gd name="connsiteY557" fmla="*/ 309258 h 448844"/>
                  <a:gd name="connsiteX558" fmla="*/ 293982 w 476402"/>
                  <a:gd name="connsiteY558" fmla="*/ 308982 h 448844"/>
                  <a:gd name="connsiteX559" fmla="*/ 292994 w 476402"/>
                  <a:gd name="connsiteY559" fmla="*/ 308430 h 448844"/>
                  <a:gd name="connsiteX560" fmla="*/ 292665 w 476402"/>
                  <a:gd name="connsiteY560" fmla="*/ 308430 h 448844"/>
                  <a:gd name="connsiteX561" fmla="*/ 291678 w 476402"/>
                  <a:gd name="connsiteY561" fmla="*/ 308430 h 448844"/>
                  <a:gd name="connsiteX562" fmla="*/ 290691 w 476402"/>
                  <a:gd name="connsiteY562" fmla="*/ 308982 h 448844"/>
                  <a:gd name="connsiteX563" fmla="*/ 289046 w 476402"/>
                  <a:gd name="connsiteY563" fmla="*/ 309258 h 448844"/>
                  <a:gd name="connsiteX564" fmla="*/ 288717 w 476402"/>
                  <a:gd name="connsiteY564" fmla="*/ 309258 h 448844"/>
                  <a:gd name="connsiteX565" fmla="*/ 288059 w 476402"/>
                  <a:gd name="connsiteY565" fmla="*/ 309810 h 448844"/>
                  <a:gd name="connsiteX566" fmla="*/ 286414 w 476402"/>
                  <a:gd name="connsiteY566" fmla="*/ 311466 h 448844"/>
                  <a:gd name="connsiteX567" fmla="*/ 284111 w 476402"/>
                  <a:gd name="connsiteY567" fmla="*/ 313123 h 448844"/>
                  <a:gd name="connsiteX568" fmla="*/ 284111 w 476402"/>
                  <a:gd name="connsiteY568" fmla="*/ 313675 h 448844"/>
                  <a:gd name="connsiteX569" fmla="*/ 280820 w 476402"/>
                  <a:gd name="connsiteY569" fmla="*/ 316159 h 448844"/>
                  <a:gd name="connsiteX570" fmla="*/ 280820 w 476402"/>
                  <a:gd name="connsiteY570" fmla="*/ 316987 h 448844"/>
                  <a:gd name="connsiteX571" fmla="*/ 278517 w 476402"/>
                  <a:gd name="connsiteY571" fmla="*/ 323337 h 448844"/>
                  <a:gd name="connsiteX572" fmla="*/ 277530 w 476402"/>
                  <a:gd name="connsiteY572" fmla="*/ 324717 h 448844"/>
                  <a:gd name="connsiteX573" fmla="*/ 274898 w 476402"/>
                  <a:gd name="connsiteY573" fmla="*/ 326925 h 448844"/>
                  <a:gd name="connsiteX574" fmla="*/ 272923 w 476402"/>
                  <a:gd name="connsiteY574" fmla="*/ 329686 h 448844"/>
                  <a:gd name="connsiteX575" fmla="*/ 269304 w 476402"/>
                  <a:gd name="connsiteY575" fmla="*/ 333551 h 448844"/>
                  <a:gd name="connsiteX576" fmla="*/ 267330 w 476402"/>
                  <a:gd name="connsiteY576" fmla="*/ 334931 h 448844"/>
                  <a:gd name="connsiteX577" fmla="*/ 264369 w 476402"/>
                  <a:gd name="connsiteY577" fmla="*/ 337415 h 448844"/>
                  <a:gd name="connsiteX578" fmla="*/ 263382 w 476402"/>
                  <a:gd name="connsiteY578" fmla="*/ 339624 h 448844"/>
                  <a:gd name="connsiteX579" fmla="*/ 262065 w 476402"/>
                  <a:gd name="connsiteY579" fmla="*/ 342108 h 448844"/>
                  <a:gd name="connsiteX580" fmla="*/ 261736 w 476402"/>
                  <a:gd name="connsiteY580" fmla="*/ 346249 h 448844"/>
                  <a:gd name="connsiteX581" fmla="*/ 260749 w 476402"/>
                  <a:gd name="connsiteY581" fmla="*/ 350666 h 448844"/>
                  <a:gd name="connsiteX582" fmla="*/ 261078 w 476402"/>
                  <a:gd name="connsiteY582" fmla="*/ 351770 h 448844"/>
                  <a:gd name="connsiteX583" fmla="*/ 262065 w 476402"/>
                  <a:gd name="connsiteY583" fmla="*/ 353151 h 448844"/>
                  <a:gd name="connsiteX584" fmla="*/ 266672 w 476402"/>
                  <a:gd name="connsiteY584" fmla="*/ 354807 h 448844"/>
                  <a:gd name="connsiteX585" fmla="*/ 268317 w 476402"/>
                  <a:gd name="connsiteY585" fmla="*/ 355635 h 448844"/>
                  <a:gd name="connsiteX586" fmla="*/ 270949 w 476402"/>
                  <a:gd name="connsiteY586" fmla="*/ 357843 h 448844"/>
                  <a:gd name="connsiteX587" fmla="*/ 271936 w 476402"/>
                  <a:gd name="connsiteY587" fmla="*/ 358120 h 448844"/>
                  <a:gd name="connsiteX588" fmla="*/ 276222 w 476402"/>
                  <a:gd name="connsiteY588" fmla="*/ 357963 h 448844"/>
                  <a:gd name="connsiteX589" fmla="*/ 276248 w 476402"/>
                  <a:gd name="connsiteY589" fmla="*/ 357985 h 448844"/>
                  <a:gd name="connsiteX590" fmla="*/ 282042 w 476402"/>
                  <a:gd name="connsiteY590" fmla="*/ 360303 h 448844"/>
                  <a:gd name="connsiteX591" fmla="*/ 282794 w 476402"/>
                  <a:gd name="connsiteY591" fmla="*/ 362668 h 448844"/>
                  <a:gd name="connsiteX592" fmla="*/ 282794 w 476402"/>
                  <a:gd name="connsiteY592" fmla="*/ 364193 h 448844"/>
                  <a:gd name="connsiteX593" fmla="*/ 282794 w 476402"/>
                  <a:gd name="connsiteY593" fmla="*/ 365573 h 448844"/>
                  <a:gd name="connsiteX594" fmla="*/ 282794 w 476402"/>
                  <a:gd name="connsiteY594" fmla="*/ 365849 h 448844"/>
                  <a:gd name="connsiteX595" fmla="*/ 282465 w 476402"/>
                  <a:gd name="connsiteY595" fmla="*/ 366677 h 448844"/>
                  <a:gd name="connsiteX596" fmla="*/ 282465 w 476402"/>
                  <a:gd name="connsiteY596" fmla="*/ 367229 h 448844"/>
                  <a:gd name="connsiteX597" fmla="*/ 282465 w 476402"/>
                  <a:gd name="connsiteY597" fmla="*/ 368057 h 448844"/>
                  <a:gd name="connsiteX598" fmla="*/ 282465 w 476402"/>
                  <a:gd name="connsiteY598" fmla="*/ 369162 h 448844"/>
                  <a:gd name="connsiteX599" fmla="*/ 282465 w 476402"/>
                  <a:gd name="connsiteY599" fmla="*/ 370542 h 448844"/>
                  <a:gd name="connsiteX600" fmla="*/ 281807 w 476402"/>
                  <a:gd name="connsiteY600" fmla="*/ 371922 h 448844"/>
                  <a:gd name="connsiteX601" fmla="*/ 280491 w 476402"/>
                  <a:gd name="connsiteY601" fmla="*/ 374959 h 448844"/>
                  <a:gd name="connsiteX602" fmla="*/ 279833 w 476402"/>
                  <a:gd name="connsiteY602" fmla="*/ 375235 h 448844"/>
                  <a:gd name="connsiteX603" fmla="*/ 279833 w 476402"/>
                  <a:gd name="connsiteY603" fmla="*/ 376615 h 448844"/>
                  <a:gd name="connsiteX604" fmla="*/ 279833 w 476402"/>
                  <a:gd name="connsiteY604" fmla="*/ 378271 h 448844"/>
                  <a:gd name="connsiteX605" fmla="*/ 279833 w 476402"/>
                  <a:gd name="connsiteY605" fmla="*/ 378548 h 448844"/>
                  <a:gd name="connsiteX606" fmla="*/ 280491 w 476402"/>
                  <a:gd name="connsiteY606" fmla="*/ 380480 h 448844"/>
                  <a:gd name="connsiteX607" fmla="*/ 281478 w 476402"/>
                  <a:gd name="connsiteY607" fmla="*/ 382136 h 448844"/>
                  <a:gd name="connsiteX608" fmla="*/ 282794 w 476402"/>
                  <a:gd name="connsiteY608" fmla="*/ 383240 h 448844"/>
                  <a:gd name="connsiteX609" fmla="*/ 284111 w 476402"/>
                  <a:gd name="connsiteY609" fmla="*/ 384621 h 448844"/>
                  <a:gd name="connsiteX610" fmla="*/ 284440 w 476402"/>
                  <a:gd name="connsiteY610" fmla="*/ 385449 h 448844"/>
                  <a:gd name="connsiteX611" fmla="*/ 285427 w 476402"/>
                  <a:gd name="connsiteY611" fmla="*/ 387105 h 448844"/>
                  <a:gd name="connsiteX612" fmla="*/ 285427 w 476402"/>
                  <a:gd name="connsiteY612" fmla="*/ 387933 h 448844"/>
                  <a:gd name="connsiteX613" fmla="*/ 286085 w 476402"/>
                  <a:gd name="connsiteY613" fmla="*/ 388485 h 448844"/>
                  <a:gd name="connsiteX614" fmla="*/ 287730 w 476402"/>
                  <a:gd name="connsiteY614" fmla="*/ 388762 h 448844"/>
                  <a:gd name="connsiteX615" fmla="*/ 289046 w 476402"/>
                  <a:gd name="connsiteY615" fmla="*/ 389314 h 448844"/>
                  <a:gd name="connsiteX616" fmla="*/ 292355 w 476402"/>
                  <a:gd name="connsiteY616" fmla="*/ 388851 h 448844"/>
                  <a:gd name="connsiteX617" fmla="*/ 292935 w 476402"/>
                  <a:gd name="connsiteY617" fmla="*/ 389508 h 448844"/>
                  <a:gd name="connsiteX618" fmla="*/ 298588 w 476402"/>
                  <a:gd name="connsiteY618" fmla="*/ 390639 h 448844"/>
                  <a:gd name="connsiteX619" fmla="*/ 298588 w 476402"/>
                  <a:gd name="connsiteY619" fmla="*/ 390694 h 448844"/>
                  <a:gd name="connsiteX620" fmla="*/ 298588 w 476402"/>
                  <a:gd name="connsiteY620" fmla="*/ 393454 h 448844"/>
                  <a:gd name="connsiteX621" fmla="*/ 298259 w 476402"/>
                  <a:gd name="connsiteY621" fmla="*/ 397319 h 448844"/>
                  <a:gd name="connsiteX622" fmla="*/ 298588 w 476402"/>
                  <a:gd name="connsiteY622" fmla="*/ 398699 h 448844"/>
                  <a:gd name="connsiteX623" fmla="*/ 299246 w 476402"/>
                  <a:gd name="connsiteY623" fmla="*/ 398975 h 448844"/>
                  <a:gd name="connsiteX624" fmla="*/ 300233 w 476402"/>
                  <a:gd name="connsiteY624" fmla="*/ 400632 h 448844"/>
                  <a:gd name="connsiteX625" fmla="*/ 300891 w 476402"/>
                  <a:gd name="connsiteY625" fmla="*/ 401736 h 448844"/>
                  <a:gd name="connsiteX626" fmla="*/ 300891 w 476402"/>
                  <a:gd name="connsiteY626" fmla="*/ 402012 h 448844"/>
                  <a:gd name="connsiteX627" fmla="*/ 301220 w 476402"/>
                  <a:gd name="connsiteY627" fmla="*/ 402840 h 448844"/>
                  <a:gd name="connsiteX628" fmla="*/ 302207 w 476402"/>
                  <a:gd name="connsiteY628" fmla="*/ 404221 h 448844"/>
                  <a:gd name="connsiteX629" fmla="*/ 304182 w 476402"/>
                  <a:gd name="connsiteY629" fmla="*/ 405877 h 448844"/>
                  <a:gd name="connsiteX630" fmla="*/ 304840 w 476402"/>
                  <a:gd name="connsiteY630" fmla="*/ 406429 h 448844"/>
                  <a:gd name="connsiteX631" fmla="*/ 305169 w 476402"/>
                  <a:gd name="connsiteY631" fmla="*/ 407257 h 448844"/>
                  <a:gd name="connsiteX632" fmla="*/ 306156 w 476402"/>
                  <a:gd name="connsiteY632" fmla="*/ 411950 h 448844"/>
                  <a:gd name="connsiteX633" fmla="*/ 306814 w 476402"/>
                  <a:gd name="connsiteY633" fmla="*/ 413882 h 448844"/>
                  <a:gd name="connsiteX634" fmla="*/ 307801 w 476402"/>
                  <a:gd name="connsiteY634" fmla="*/ 415815 h 448844"/>
                  <a:gd name="connsiteX635" fmla="*/ 309775 w 476402"/>
                  <a:gd name="connsiteY635" fmla="*/ 418575 h 448844"/>
                  <a:gd name="connsiteX636" fmla="*/ 310762 w 476402"/>
                  <a:gd name="connsiteY636" fmla="*/ 421060 h 448844"/>
                  <a:gd name="connsiteX637" fmla="*/ 311420 w 476402"/>
                  <a:gd name="connsiteY637" fmla="*/ 422440 h 448844"/>
                  <a:gd name="connsiteX638" fmla="*/ 311749 w 476402"/>
                  <a:gd name="connsiteY638" fmla="*/ 422992 h 448844"/>
                  <a:gd name="connsiteX639" fmla="*/ 310762 w 476402"/>
                  <a:gd name="connsiteY639" fmla="*/ 423268 h 448844"/>
                  <a:gd name="connsiteX640" fmla="*/ 308788 w 476402"/>
                  <a:gd name="connsiteY640" fmla="*/ 424096 h 448844"/>
                  <a:gd name="connsiteX641" fmla="*/ 308459 w 476402"/>
                  <a:gd name="connsiteY641" fmla="*/ 424925 h 448844"/>
                  <a:gd name="connsiteX642" fmla="*/ 308459 w 476402"/>
                  <a:gd name="connsiteY642" fmla="*/ 425753 h 448844"/>
                  <a:gd name="connsiteX643" fmla="*/ 308459 w 476402"/>
                  <a:gd name="connsiteY643" fmla="*/ 427133 h 448844"/>
                  <a:gd name="connsiteX644" fmla="*/ 308788 w 476402"/>
                  <a:gd name="connsiteY644" fmla="*/ 427685 h 448844"/>
                  <a:gd name="connsiteX645" fmla="*/ 309446 w 476402"/>
                  <a:gd name="connsiteY645" fmla="*/ 427961 h 448844"/>
                  <a:gd name="connsiteX646" fmla="*/ 308788 w 476402"/>
                  <a:gd name="connsiteY646" fmla="*/ 427961 h 448844"/>
                  <a:gd name="connsiteX647" fmla="*/ 308788 w 476402"/>
                  <a:gd name="connsiteY647" fmla="*/ 428513 h 448844"/>
                  <a:gd name="connsiteX648" fmla="*/ 308788 w 476402"/>
                  <a:gd name="connsiteY648" fmla="*/ 428789 h 448844"/>
                  <a:gd name="connsiteX649" fmla="*/ 308788 w 476402"/>
                  <a:gd name="connsiteY649" fmla="*/ 429341 h 448844"/>
                  <a:gd name="connsiteX650" fmla="*/ 308788 w 476402"/>
                  <a:gd name="connsiteY650" fmla="*/ 429617 h 448844"/>
                  <a:gd name="connsiteX651" fmla="*/ 308788 w 476402"/>
                  <a:gd name="connsiteY651" fmla="*/ 430170 h 448844"/>
                  <a:gd name="connsiteX652" fmla="*/ 309775 w 476402"/>
                  <a:gd name="connsiteY652" fmla="*/ 430446 h 448844"/>
                  <a:gd name="connsiteX653" fmla="*/ 310762 w 476402"/>
                  <a:gd name="connsiteY653" fmla="*/ 430446 h 448844"/>
                  <a:gd name="connsiteX654" fmla="*/ 311749 w 476402"/>
                  <a:gd name="connsiteY654" fmla="*/ 430998 h 448844"/>
                  <a:gd name="connsiteX655" fmla="*/ 312407 w 476402"/>
                  <a:gd name="connsiteY655" fmla="*/ 431826 h 448844"/>
                  <a:gd name="connsiteX656" fmla="*/ 311749 w 476402"/>
                  <a:gd name="connsiteY656" fmla="*/ 432378 h 448844"/>
                  <a:gd name="connsiteX657" fmla="*/ 310433 w 476402"/>
                  <a:gd name="connsiteY657" fmla="*/ 432654 h 448844"/>
                  <a:gd name="connsiteX658" fmla="*/ 310433 w 476402"/>
                  <a:gd name="connsiteY658" fmla="*/ 433206 h 448844"/>
                  <a:gd name="connsiteX659" fmla="*/ 309775 w 476402"/>
                  <a:gd name="connsiteY659" fmla="*/ 433482 h 448844"/>
                  <a:gd name="connsiteX660" fmla="*/ 309446 w 476402"/>
                  <a:gd name="connsiteY660" fmla="*/ 433482 h 448844"/>
                  <a:gd name="connsiteX661" fmla="*/ 308788 w 476402"/>
                  <a:gd name="connsiteY661" fmla="*/ 433482 h 448844"/>
                  <a:gd name="connsiteX662" fmla="*/ 308459 w 476402"/>
                  <a:gd name="connsiteY662" fmla="*/ 433482 h 448844"/>
                  <a:gd name="connsiteX663" fmla="*/ 307801 w 476402"/>
                  <a:gd name="connsiteY663" fmla="*/ 433482 h 448844"/>
                  <a:gd name="connsiteX664" fmla="*/ 307143 w 476402"/>
                  <a:gd name="connsiteY664" fmla="*/ 433482 h 448844"/>
                  <a:gd name="connsiteX665" fmla="*/ 306485 w 476402"/>
                  <a:gd name="connsiteY665" fmla="*/ 433942 h 448844"/>
                  <a:gd name="connsiteX666" fmla="*/ 304059 w 476402"/>
                  <a:gd name="connsiteY666" fmla="*/ 430301 h 448844"/>
                  <a:gd name="connsiteX667" fmla="*/ 294789 w 476402"/>
                  <a:gd name="connsiteY667" fmla="*/ 430301 h 448844"/>
                  <a:gd name="connsiteX668" fmla="*/ 288428 w 476402"/>
                  <a:gd name="connsiteY668" fmla="*/ 433482 h 448844"/>
                  <a:gd name="connsiteX669" fmla="*/ 287730 w 476402"/>
                  <a:gd name="connsiteY669" fmla="*/ 433482 h 448844"/>
                  <a:gd name="connsiteX670" fmla="*/ 286414 w 476402"/>
                  <a:gd name="connsiteY670" fmla="*/ 434034 h 448844"/>
                  <a:gd name="connsiteX671" fmla="*/ 285427 w 476402"/>
                  <a:gd name="connsiteY671" fmla="*/ 434310 h 448844"/>
                  <a:gd name="connsiteX672" fmla="*/ 285098 w 476402"/>
                  <a:gd name="connsiteY672" fmla="*/ 434863 h 448844"/>
                  <a:gd name="connsiteX673" fmla="*/ 284440 w 476402"/>
                  <a:gd name="connsiteY673" fmla="*/ 434863 h 448844"/>
                  <a:gd name="connsiteX674" fmla="*/ 282465 w 476402"/>
                  <a:gd name="connsiteY674" fmla="*/ 435139 h 448844"/>
                  <a:gd name="connsiteX675" fmla="*/ 281582 w 476402"/>
                  <a:gd name="connsiteY675" fmla="*/ 435633 h 448844"/>
                  <a:gd name="connsiteX676" fmla="*/ 266978 w 476402"/>
                  <a:gd name="connsiteY676" fmla="*/ 434010 h 448844"/>
                  <a:gd name="connsiteX677" fmla="*/ 248438 w 476402"/>
                  <a:gd name="connsiteY677" fmla="*/ 432156 h 448844"/>
                  <a:gd name="connsiteX678" fmla="*/ 241022 w 476402"/>
                  <a:gd name="connsiteY678" fmla="*/ 434010 h 448844"/>
                  <a:gd name="connsiteX679" fmla="*/ 240289 w 476402"/>
                  <a:gd name="connsiteY679" fmla="*/ 436943 h 448844"/>
                  <a:gd name="connsiteX680" fmla="*/ 240020 w 476402"/>
                  <a:gd name="connsiteY680" fmla="*/ 435139 h 448844"/>
                  <a:gd name="connsiteX681" fmla="*/ 239362 w 476402"/>
                  <a:gd name="connsiteY681" fmla="*/ 434863 h 448844"/>
                  <a:gd name="connsiteX682" fmla="*/ 238046 w 476402"/>
                  <a:gd name="connsiteY682" fmla="*/ 434310 h 448844"/>
                  <a:gd name="connsiteX683" fmla="*/ 237388 w 476402"/>
                  <a:gd name="connsiteY683" fmla="*/ 435967 h 448844"/>
                  <a:gd name="connsiteX684" fmla="*/ 237388 w 476402"/>
                  <a:gd name="connsiteY684" fmla="*/ 438451 h 448844"/>
                  <a:gd name="connsiteX685" fmla="*/ 237388 w 476402"/>
                  <a:gd name="connsiteY685" fmla="*/ 442040 h 448844"/>
                  <a:gd name="connsiteX686" fmla="*/ 237388 w 476402"/>
                  <a:gd name="connsiteY686" fmla="*/ 442317 h 448844"/>
                  <a:gd name="connsiteX687" fmla="*/ 235460 w 476402"/>
                  <a:gd name="connsiteY687" fmla="*/ 443281 h 448844"/>
                  <a:gd name="connsiteX688" fmla="*/ 229708 w 476402"/>
                  <a:gd name="connsiteY688" fmla="*/ 446733 h 448844"/>
                  <a:gd name="connsiteX689" fmla="*/ 227846 w 476402"/>
                  <a:gd name="connsiteY689" fmla="*/ 446733 h 448844"/>
                  <a:gd name="connsiteX690" fmla="*/ 226201 w 476402"/>
                  <a:gd name="connsiteY690" fmla="*/ 447009 h 448844"/>
                  <a:gd name="connsiteX691" fmla="*/ 225214 w 476402"/>
                  <a:gd name="connsiteY691" fmla="*/ 447837 h 448844"/>
                  <a:gd name="connsiteX692" fmla="*/ 225214 w 476402"/>
                  <a:gd name="connsiteY692" fmla="*/ 447561 h 448844"/>
                  <a:gd name="connsiteX693" fmla="*/ 225214 w 476402"/>
                  <a:gd name="connsiteY693" fmla="*/ 447009 h 448844"/>
                  <a:gd name="connsiteX694" fmla="*/ 225214 w 476402"/>
                  <a:gd name="connsiteY694" fmla="*/ 446733 h 448844"/>
                  <a:gd name="connsiteX695" fmla="*/ 224556 w 476402"/>
                  <a:gd name="connsiteY695" fmla="*/ 446733 h 448844"/>
                  <a:gd name="connsiteX696" fmla="*/ 224556 w 476402"/>
                  <a:gd name="connsiteY696" fmla="*/ 447009 h 448844"/>
                  <a:gd name="connsiteX697" fmla="*/ 224556 w 476402"/>
                  <a:gd name="connsiteY697" fmla="*/ 447561 h 448844"/>
                  <a:gd name="connsiteX698" fmla="*/ 224556 w 476402"/>
                  <a:gd name="connsiteY698" fmla="*/ 447837 h 448844"/>
                  <a:gd name="connsiteX699" fmla="*/ 224227 w 476402"/>
                  <a:gd name="connsiteY699" fmla="*/ 448389 h 448844"/>
                  <a:gd name="connsiteX700" fmla="*/ 223569 w 476402"/>
                  <a:gd name="connsiteY700" fmla="*/ 448665 h 448844"/>
                  <a:gd name="connsiteX701" fmla="*/ 223240 w 476402"/>
                  <a:gd name="connsiteY701" fmla="*/ 448389 h 448844"/>
                  <a:gd name="connsiteX702" fmla="*/ 223240 w 476402"/>
                  <a:gd name="connsiteY702" fmla="*/ 447837 h 448844"/>
                  <a:gd name="connsiteX703" fmla="*/ 222582 w 476402"/>
                  <a:gd name="connsiteY703" fmla="*/ 447837 h 448844"/>
                  <a:gd name="connsiteX704" fmla="*/ 222253 w 476402"/>
                  <a:gd name="connsiteY704" fmla="*/ 447837 h 448844"/>
                  <a:gd name="connsiteX705" fmla="*/ 222253 w 476402"/>
                  <a:gd name="connsiteY705" fmla="*/ 448389 h 448844"/>
                  <a:gd name="connsiteX706" fmla="*/ 222253 w 476402"/>
                  <a:gd name="connsiteY706" fmla="*/ 448665 h 448844"/>
                  <a:gd name="connsiteX707" fmla="*/ 222253 w 476402"/>
                  <a:gd name="connsiteY707" fmla="*/ 448844 h 448844"/>
                  <a:gd name="connsiteX708" fmla="*/ 218774 w 476402"/>
                  <a:gd name="connsiteY708" fmla="*/ 448844 h 448844"/>
                  <a:gd name="connsiteX709" fmla="*/ 211358 w 476402"/>
                  <a:gd name="connsiteY709" fmla="*/ 445135 h 448844"/>
                  <a:gd name="connsiteX710" fmla="*/ 200234 w 476402"/>
                  <a:gd name="connsiteY710" fmla="*/ 443281 h 448844"/>
                  <a:gd name="connsiteX711" fmla="*/ 196526 w 476402"/>
                  <a:gd name="connsiteY711" fmla="*/ 435864 h 448844"/>
                  <a:gd name="connsiteX712" fmla="*/ 194672 w 476402"/>
                  <a:gd name="connsiteY712" fmla="*/ 424739 h 448844"/>
                  <a:gd name="connsiteX713" fmla="*/ 185402 w 476402"/>
                  <a:gd name="connsiteY713" fmla="*/ 419176 h 448844"/>
                  <a:gd name="connsiteX714" fmla="*/ 179840 w 476402"/>
                  <a:gd name="connsiteY714" fmla="*/ 415467 h 448844"/>
                  <a:gd name="connsiteX715" fmla="*/ 177986 w 476402"/>
                  <a:gd name="connsiteY715" fmla="*/ 406196 h 448844"/>
                  <a:gd name="connsiteX716" fmla="*/ 176132 w 476402"/>
                  <a:gd name="connsiteY716" fmla="*/ 398779 h 448844"/>
                  <a:gd name="connsiteX717" fmla="*/ 174278 w 476402"/>
                  <a:gd name="connsiteY717" fmla="*/ 395071 h 448844"/>
                  <a:gd name="connsiteX718" fmla="*/ 170570 w 476402"/>
                  <a:gd name="connsiteY718" fmla="*/ 393216 h 448844"/>
                  <a:gd name="connsiteX719" fmla="*/ 168716 w 476402"/>
                  <a:gd name="connsiteY719" fmla="*/ 396925 h 448844"/>
                  <a:gd name="connsiteX720" fmla="*/ 161300 w 476402"/>
                  <a:gd name="connsiteY720" fmla="*/ 400633 h 448844"/>
                  <a:gd name="connsiteX721" fmla="*/ 146467 w 476402"/>
                  <a:gd name="connsiteY721" fmla="*/ 398779 h 448844"/>
                  <a:gd name="connsiteX722" fmla="*/ 129781 w 476402"/>
                  <a:gd name="connsiteY722" fmla="*/ 400633 h 448844"/>
                  <a:gd name="connsiteX723" fmla="*/ 118657 w 476402"/>
                  <a:gd name="connsiteY723" fmla="*/ 406196 h 448844"/>
                  <a:gd name="connsiteX724" fmla="*/ 103825 w 476402"/>
                  <a:gd name="connsiteY724" fmla="*/ 402488 h 448844"/>
                  <a:gd name="connsiteX725" fmla="*/ 100117 w 476402"/>
                  <a:gd name="connsiteY725" fmla="*/ 400633 h 448844"/>
                  <a:gd name="connsiteX726" fmla="*/ 98263 w 476402"/>
                  <a:gd name="connsiteY726" fmla="*/ 396925 h 448844"/>
                  <a:gd name="connsiteX727" fmla="*/ 92701 w 476402"/>
                  <a:gd name="connsiteY727" fmla="*/ 395071 h 448844"/>
                  <a:gd name="connsiteX728" fmla="*/ 90847 w 476402"/>
                  <a:gd name="connsiteY728" fmla="*/ 400633 h 448844"/>
                  <a:gd name="connsiteX729" fmla="*/ 87139 w 476402"/>
                  <a:gd name="connsiteY729" fmla="*/ 400633 h 448844"/>
                  <a:gd name="connsiteX730" fmla="*/ 81577 w 476402"/>
                  <a:gd name="connsiteY730" fmla="*/ 402488 h 448844"/>
                  <a:gd name="connsiteX731" fmla="*/ 77869 w 476402"/>
                  <a:gd name="connsiteY731" fmla="*/ 406196 h 448844"/>
                  <a:gd name="connsiteX732" fmla="*/ 72307 w 476402"/>
                  <a:gd name="connsiteY732" fmla="*/ 406196 h 448844"/>
                  <a:gd name="connsiteX733" fmla="*/ 59329 w 476402"/>
                  <a:gd name="connsiteY733" fmla="*/ 402488 h 448844"/>
                  <a:gd name="connsiteX734" fmla="*/ 51913 w 476402"/>
                  <a:gd name="connsiteY734" fmla="*/ 402488 h 448844"/>
                  <a:gd name="connsiteX735" fmla="*/ 48205 w 476402"/>
                  <a:gd name="connsiteY735" fmla="*/ 406196 h 448844"/>
                  <a:gd name="connsiteX736" fmla="*/ 37081 w 476402"/>
                  <a:gd name="connsiteY736" fmla="*/ 406196 h 448844"/>
                  <a:gd name="connsiteX737" fmla="*/ 25956 w 476402"/>
                  <a:gd name="connsiteY737" fmla="*/ 409905 h 448844"/>
                  <a:gd name="connsiteX738" fmla="*/ 20394 w 476402"/>
                  <a:gd name="connsiteY738" fmla="*/ 402488 h 448844"/>
                  <a:gd name="connsiteX739" fmla="*/ 24102 w 476402"/>
                  <a:gd name="connsiteY739" fmla="*/ 385799 h 448844"/>
                  <a:gd name="connsiteX740" fmla="*/ 27810 w 476402"/>
                  <a:gd name="connsiteY740" fmla="*/ 370965 h 448844"/>
                  <a:gd name="connsiteX741" fmla="*/ 40789 w 476402"/>
                  <a:gd name="connsiteY741" fmla="*/ 363548 h 448844"/>
                  <a:gd name="connsiteX742" fmla="*/ 55621 w 476402"/>
                  <a:gd name="connsiteY742" fmla="*/ 361694 h 448844"/>
                  <a:gd name="connsiteX743" fmla="*/ 66745 w 476402"/>
                  <a:gd name="connsiteY743" fmla="*/ 357985 h 448844"/>
                  <a:gd name="connsiteX744" fmla="*/ 70453 w 476402"/>
                  <a:gd name="connsiteY744" fmla="*/ 345006 h 448844"/>
                  <a:gd name="connsiteX745" fmla="*/ 68599 w 476402"/>
                  <a:gd name="connsiteY745" fmla="*/ 333880 h 448844"/>
                  <a:gd name="connsiteX746" fmla="*/ 59329 w 476402"/>
                  <a:gd name="connsiteY746" fmla="*/ 333880 h 448844"/>
                  <a:gd name="connsiteX747" fmla="*/ 55621 w 476402"/>
                  <a:gd name="connsiteY747" fmla="*/ 330172 h 448844"/>
                  <a:gd name="connsiteX748" fmla="*/ 55621 w 476402"/>
                  <a:gd name="connsiteY748" fmla="*/ 317192 h 448844"/>
                  <a:gd name="connsiteX749" fmla="*/ 55621 w 476402"/>
                  <a:gd name="connsiteY749" fmla="*/ 302358 h 448844"/>
                  <a:gd name="connsiteX750" fmla="*/ 42643 w 476402"/>
                  <a:gd name="connsiteY750" fmla="*/ 294941 h 448844"/>
                  <a:gd name="connsiteX751" fmla="*/ 29664 w 476402"/>
                  <a:gd name="connsiteY751" fmla="*/ 289378 h 448844"/>
                  <a:gd name="connsiteX752" fmla="*/ 20394 w 476402"/>
                  <a:gd name="connsiteY752" fmla="*/ 278253 h 448844"/>
                  <a:gd name="connsiteX753" fmla="*/ 0 w 476402"/>
                  <a:gd name="connsiteY753" fmla="*/ 250439 h 448844"/>
                  <a:gd name="connsiteX754" fmla="*/ 70453 w 476402"/>
                  <a:gd name="connsiteY754" fmla="*/ 261564 h 448844"/>
                  <a:gd name="connsiteX755" fmla="*/ 87139 w 476402"/>
                  <a:gd name="connsiteY755" fmla="*/ 263418 h 448844"/>
                  <a:gd name="connsiteX756" fmla="*/ 101971 w 476402"/>
                  <a:gd name="connsiteY756" fmla="*/ 261564 h 448844"/>
                  <a:gd name="connsiteX757" fmla="*/ 131635 w 476402"/>
                  <a:gd name="connsiteY757" fmla="*/ 257856 h 448844"/>
                  <a:gd name="connsiteX758" fmla="*/ 148321 w 476402"/>
                  <a:gd name="connsiteY758" fmla="*/ 254147 h 448844"/>
                  <a:gd name="connsiteX759" fmla="*/ 161300 w 476402"/>
                  <a:gd name="connsiteY759" fmla="*/ 250439 h 448844"/>
                  <a:gd name="connsiteX760" fmla="*/ 168716 w 476402"/>
                  <a:gd name="connsiteY760" fmla="*/ 224479 h 448844"/>
                  <a:gd name="connsiteX761" fmla="*/ 168716 w 476402"/>
                  <a:gd name="connsiteY761" fmla="*/ 215208 h 448844"/>
                  <a:gd name="connsiteX762" fmla="*/ 172424 w 476402"/>
                  <a:gd name="connsiteY762" fmla="*/ 209645 h 448844"/>
                  <a:gd name="connsiteX763" fmla="*/ 183548 w 476402"/>
                  <a:gd name="connsiteY763" fmla="*/ 200374 h 448844"/>
                  <a:gd name="connsiteX764" fmla="*/ 196526 w 476402"/>
                  <a:gd name="connsiteY764" fmla="*/ 204082 h 448844"/>
                  <a:gd name="connsiteX765" fmla="*/ 209504 w 476402"/>
                  <a:gd name="connsiteY765" fmla="*/ 196665 h 448844"/>
                  <a:gd name="connsiteX766" fmla="*/ 211358 w 476402"/>
                  <a:gd name="connsiteY766" fmla="*/ 192957 h 448844"/>
                  <a:gd name="connsiteX767" fmla="*/ 211358 w 476402"/>
                  <a:gd name="connsiteY767" fmla="*/ 191103 h 448844"/>
                  <a:gd name="connsiteX768" fmla="*/ 215066 w 476402"/>
                  <a:gd name="connsiteY768" fmla="*/ 187394 h 448844"/>
                  <a:gd name="connsiteX769" fmla="*/ 226190 w 476402"/>
                  <a:gd name="connsiteY769" fmla="*/ 183686 h 448844"/>
                  <a:gd name="connsiteX770" fmla="*/ 233606 w 476402"/>
                  <a:gd name="connsiteY770" fmla="*/ 181831 h 448844"/>
                  <a:gd name="connsiteX771" fmla="*/ 239168 w 476402"/>
                  <a:gd name="connsiteY771" fmla="*/ 185540 h 448844"/>
                  <a:gd name="connsiteX772" fmla="*/ 250292 w 476402"/>
                  <a:gd name="connsiteY772" fmla="*/ 185540 h 448844"/>
                  <a:gd name="connsiteX773" fmla="*/ 261416 w 476402"/>
                  <a:gd name="connsiteY773" fmla="*/ 174414 h 448844"/>
                  <a:gd name="connsiteX774" fmla="*/ 259562 w 476402"/>
                  <a:gd name="connsiteY774" fmla="*/ 161434 h 448844"/>
                  <a:gd name="connsiteX775" fmla="*/ 263270 w 476402"/>
                  <a:gd name="connsiteY775" fmla="*/ 154017 h 448844"/>
                  <a:gd name="connsiteX776" fmla="*/ 266978 w 476402"/>
                  <a:gd name="connsiteY776" fmla="*/ 148455 h 448844"/>
                  <a:gd name="connsiteX777" fmla="*/ 268832 w 476402"/>
                  <a:gd name="connsiteY777" fmla="*/ 137329 h 448844"/>
                  <a:gd name="connsiteX778" fmla="*/ 279956 w 476402"/>
                  <a:gd name="connsiteY778" fmla="*/ 135475 h 448844"/>
                  <a:gd name="connsiteX779" fmla="*/ 291081 w 476402"/>
                  <a:gd name="connsiteY779" fmla="*/ 128058 h 448844"/>
                  <a:gd name="connsiteX780" fmla="*/ 281810 w 476402"/>
                  <a:gd name="connsiteY780" fmla="*/ 105807 h 448844"/>
                  <a:gd name="connsiteX781" fmla="*/ 287372 w 476402"/>
                  <a:gd name="connsiteY781" fmla="*/ 102098 h 448844"/>
                  <a:gd name="connsiteX782" fmla="*/ 304059 w 476402"/>
                  <a:gd name="connsiteY782" fmla="*/ 105807 h 448844"/>
                  <a:gd name="connsiteX783" fmla="*/ 315183 w 476402"/>
                  <a:gd name="connsiteY783" fmla="*/ 100244 h 448844"/>
                  <a:gd name="connsiteX784" fmla="*/ 318891 w 476402"/>
                  <a:gd name="connsiteY784" fmla="*/ 90973 h 448844"/>
                  <a:gd name="connsiteX785" fmla="*/ 317037 w 476402"/>
                  <a:gd name="connsiteY785" fmla="*/ 83556 h 448844"/>
                  <a:gd name="connsiteX786" fmla="*/ 318891 w 476402"/>
                  <a:gd name="connsiteY786" fmla="*/ 77993 h 448844"/>
                  <a:gd name="connsiteX787" fmla="*/ 328161 w 476402"/>
                  <a:gd name="connsiteY787" fmla="*/ 68722 h 448844"/>
                  <a:gd name="connsiteX788" fmla="*/ 335577 w 476402"/>
                  <a:gd name="connsiteY788" fmla="*/ 55742 h 448844"/>
                  <a:gd name="connsiteX789" fmla="*/ 330015 w 476402"/>
                  <a:gd name="connsiteY789" fmla="*/ 40908 h 448844"/>
                  <a:gd name="connsiteX790" fmla="*/ 324453 w 476402"/>
                  <a:gd name="connsiteY790" fmla="*/ 27928 h 448844"/>
                  <a:gd name="connsiteX791" fmla="*/ 335577 w 476402"/>
                  <a:gd name="connsiteY791" fmla="*/ 18657 h 448844"/>
                  <a:gd name="connsiteX792" fmla="*/ 342993 w 476402"/>
                  <a:gd name="connsiteY792" fmla="*/ 18657 h 448844"/>
                  <a:gd name="connsiteX793" fmla="*/ 348555 w 476402"/>
                  <a:gd name="connsiteY793" fmla="*/ 14948 h 448844"/>
                  <a:gd name="connsiteX794" fmla="*/ 359679 w 476402"/>
                  <a:gd name="connsiteY794" fmla="*/ 7531 h 448844"/>
                  <a:gd name="connsiteX795" fmla="*/ 374511 w 476402"/>
                  <a:gd name="connsiteY795" fmla="*/ 3823 h 448844"/>
                  <a:gd name="connsiteX796" fmla="*/ 449614 w 476402"/>
                  <a:gd name="connsiteY796" fmla="*/ 0 h 448844"/>
                  <a:gd name="connsiteX797" fmla="*/ 450526 w 476402"/>
                  <a:gd name="connsiteY797" fmla="*/ 114 h 448844"/>
                  <a:gd name="connsiteX798" fmla="*/ 454660 w 476402"/>
                  <a:gd name="connsiteY798" fmla="*/ 3068 h 448844"/>
                  <a:gd name="connsiteX799" fmla="*/ 453233 w 476402"/>
                  <a:gd name="connsiteY799" fmla="*/ 3666 h 448844"/>
                  <a:gd name="connsiteX800" fmla="*/ 453233 w 476402"/>
                  <a:gd name="connsiteY800" fmla="*/ 4218 h 448844"/>
                  <a:gd name="connsiteX801" fmla="*/ 452575 w 476402"/>
                  <a:gd name="connsiteY801" fmla="*/ 4494 h 448844"/>
                  <a:gd name="connsiteX802" fmla="*/ 450601 w 476402"/>
                  <a:gd name="connsiteY802" fmla="*/ 4494 h 448844"/>
                  <a:gd name="connsiteX803" fmla="*/ 450272 w 476402"/>
                  <a:gd name="connsiteY803" fmla="*/ 3666 h 448844"/>
                  <a:gd name="connsiteX804" fmla="*/ 449614 w 476402"/>
                  <a:gd name="connsiteY804" fmla="*/ 2286 h 448844"/>
                  <a:gd name="connsiteX805" fmla="*/ 449614 w 476402"/>
                  <a:gd name="connsiteY805" fmla="*/ 630 h 448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Lst>
                <a:rect l="l" t="t" r="r" b="b"/>
                <a:pathLst>
                  <a:path w="476401" h="448844">
                    <a:moveTo>
                      <a:pt x="473149" y="35501"/>
                    </a:moveTo>
                    <a:lnTo>
                      <a:pt x="476402" y="36857"/>
                    </a:lnTo>
                    <a:lnTo>
                      <a:pt x="474949" y="37345"/>
                    </a:lnTo>
                    <a:lnTo>
                      <a:pt x="473962" y="37345"/>
                    </a:lnTo>
                    <a:lnTo>
                      <a:pt x="473633" y="36517"/>
                    </a:lnTo>
                    <a:close/>
                    <a:moveTo>
                      <a:pt x="469067" y="22370"/>
                    </a:moveTo>
                    <a:lnTo>
                      <a:pt x="471491" y="30855"/>
                    </a:lnTo>
                    <a:lnTo>
                      <a:pt x="471001" y="30444"/>
                    </a:lnTo>
                    <a:lnTo>
                      <a:pt x="468368" y="30444"/>
                    </a:lnTo>
                    <a:lnTo>
                      <a:pt x="467381" y="29891"/>
                    </a:lnTo>
                    <a:lnTo>
                      <a:pt x="466394" y="29063"/>
                    </a:lnTo>
                    <a:lnTo>
                      <a:pt x="465736" y="27959"/>
                    </a:lnTo>
                    <a:lnTo>
                      <a:pt x="465407" y="27131"/>
                    </a:lnTo>
                    <a:lnTo>
                      <a:pt x="465736" y="26303"/>
                    </a:lnTo>
                    <a:lnTo>
                      <a:pt x="466394" y="25751"/>
                    </a:lnTo>
                    <a:lnTo>
                      <a:pt x="468039" y="24922"/>
                    </a:lnTo>
                    <a:lnTo>
                      <a:pt x="468039" y="24370"/>
                    </a:lnTo>
                    <a:lnTo>
                      <a:pt x="468368" y="24094"/>
                    </a:lnTo>
                    <a:lnTo>
                      <a:pt x="468039" y="23542"/>
                    </a:lnTo>
                    <a:lnTo>
                      <a:pt x="468039" y="23266"/>
                    </a:lnTo>
                    <a:lnTo>
                      <a:pt x="468368" y="22714"/>
                    </a:lnTo>
                    <a:lnTo>
                      <a:pt x="469026" y="22438"/>
                    </a:lnTo>
                    <a:close/>
                    <a:moveTo>
                      <a:pt x="468039" y="19970"/>
                    </a:moveTo>
                    <a:lnTo>
                      <a:pt x="468213" y="20375"/>
                    </a:lnTo>
                    <a:lnTo>
                      <a:pt x="468039" y="20230"/>
                    </a:lnTo>
                    <a:close/>
                    <a:moveTo>
                      <a:pt x="388409" y="3823"/>
                    </a:moveTo>
                    <a:lnTo>
                      <a:pt x="391197" y="3823"/>
                    </a:lnTo>
                    <a:cubicBezTo>
                      <a:pt x="393051" y="3823"/>
                      <a:pt x="396759" y="1969"/>
                      <a:pt x="400467" y="3823"/>
                    </a:cubicBezTo>
                    <a:lnTo>
                      <a:pt x="401575" y="4192"/>
                    </a:lnTo>
                    <a:lnTo>
                      <a:pt x="401575" y="4218"/>
                    </a:lnTo>
                    <a:lnTo>
                      <a:pt x="401575" y="4494"/>
                    </a:lnTo>
                    <a:lnTo>
                      <a:pt x="401575" y="5047"/>
                    </a:lnTo>
                    <a:lnTo>
                      <a:pt x="400917" y="5047"/>
                    </a:lnTo>
                    <a:lnTo>
                      <a:pt x="400588" y="5047"/>
                    </a:lnTo>
                    <a:lnTo>
                      <a:pt x="399930" y="4494"/>
                    </a:lnTo>
                    <a:lnTo>
                      <a:pt x="398943" y="4494"/>
                    </a:lnTo>
                    <a:lnTo>
                      <a:pt x="398614" y="4218"/>
                    </a:lnTo>
                    <a:lnTo>
                      <a:pt x="398614" y="4494"/>
                    </a:lnTo>
                    <a:lnTo>
                      <a:pt x="397956" y="4494"/>
                    </a:lnTo>
                    <a:lnTo>
                      <a:pt x="397627" y="5047"/>
                    </a:lnTo>
                    <a:lnTo>
                      <a:pt x="396968" y="4494"/>
                    </a:lnTo>
                    <a:lnTo>
                      <a:pt x="396639" y="4494"/>
                    </a:lnTo>
                    <a:lnTo>
                      <a:pt x="395981" y="4494"/>
                    </a:lnTo>
                    <a:lnTo>
                      <a:pt x="395652" y="5047"/>
                    </a:lnTo>
                    <a:lnTo>
                      <a:pt x="394994" y="5323"/>
                    </a:lnTo>
                    <a:lnTo>
                      <a:pt x="394336" y="5047"/>
                    </a:lnTo>
                    <a:lnTo>
                      <a:pt x="393349" y="5047"/>
                    </a:lnTo>
                    <a:lnTo>
                      <a:pt x="393020" y="5047"/>
                    </a:lnTo>
                    <a:lnTo>
                      <a:pt x="393020" y="4494"/>
                    </a:lnTo>
                    <a:lnTo>
                      <a:pt x="392362" y="4218"/>
                    </a:lnTo>
                    <a:lnTo>
                      <a:pt x="392033" y="4218"/>
                    </a:lnTo>
                    <a:lnTo>
                      <a:pt x="391375" y="4494"/>
                    </a:lnTo>
                    <a:lnTo>
                      <a:pt x="391046" y="4218"/>
                    </a:lnTo>
                    <a:lnTo>
                      <a:pt x="390388" y="4218"/>
                    </a:lnTo>
                    <a:lnTo>
                      <a:pt x="390059" y="4218"/>
                    </a:lnTo>
                    <a:close/>
                    <a:moveTo>
                      <a:pt x="374511" y="3823"/>
                    </a:moveTo>
                    <a:lnTo>
                      <a:pt x="386146" y="3823"/>
                    </a:lnTo>
                    <a:lnTo>
                      <a:pt x="383478" y="4494"/>
                    </a:lnTo>
                    <a:lnTo>
                      <a:pt x="382820" y="4494"/>
                    </a:lnTo>
                    <a:lnTo>
                      <a:pt x="382162" y="4494"/>
                    </a:lnTo>
                    <a:lnTo>
                      <a:pt x="381833" y="4494"/>
                    </a:lnTo>
                    <a:lnTo>
                      <a:pt x="381175" y="5047"/>
                    </a:lnTo>
                    <a:lnTo>
                      <a:pt x="380188" y="5047"/>
                    </a:lnTo>
                    <a:lnTo>
                      <a:pt x="379859" y="5047"/>
                    </a:lnTo>
                    <a:lnTo>
                      <a:pt x="379201" y="4494"/>
                    </a:lnTo>
                    <a:lnTo>
                      <a:pt x="379201" y="4218"/>
                    </a:lnTo>
                    <a:lnTo>
                      <a:pt x="378872" y="4218"/>
                    </a:lnTo>
                    <a:lnTo>
                      <a:pt x="377885" y="5047"/>
                    </a:lnTo>
                    <a:lnTo>
                      <a:pt x="376898" y="5323"/>
                    </a:lnTo>
                    <a:lnTo>
                      <a:pt x="375910" y="5323"/>
                    </a:lnTo>
                    <a:lnTo>
                      <a:pt x="375910" y="5875"/>
                    </a:lnTo>
                    <a:lnTo>
                      <a:pt x="375910" y="6703"/>
                    </a:lnTo>
                    <a:lnTo>
                      <a:pt x="375910" y="6979"/>
                    </a:lnTo>
                    <a:lnTo>
                      <a:pt x="376239" y="8359"/>
                    </a:lnTo>
                    <a:lnTo>
                      <a:pt x="376239" y="8911"/>
                    </a:lnTo>
                    <a:lnTo>
                      <a:pt x="376239" y="9187"/>
                    </a:lnTo>
                    <a:lnTo>
                      <a:pt x="375910" y="10016"/>
                    </a:lnTo>
                    <a:lnTo>
                      <a:pt x="375910" y="10568"/>
                    </a:lnTo>
                    <a:lnTo>
                      <a:pt x="375252" y="10844"/>
                    </a:lnTo>
                    <a:lnTo>
                      <a:pt x="374594" y="11396"/>
                    </a:lnTo>
                    <a:lnTo>
                      <a:pt x="373278" y="12224"/>
                    </a:lnTo>
                    <a:lnTo>
                      <a:pt x="372620" y="12224"/>
                    </a:lnTo>
                    <a:lnTo>
                      <a:pt x="372620" y="12500"/>
                    </a:lnTo>
                    <a:lnTo>
                      <a:pt x="373278" y="13052"/>
                    </a:lnTo>
                    <a:lnTo>
                      <a:pt x="373278" y="13328"/>
                    </a:lnTo>
                    <a:lnTo>
                      <a:pt x="372620" y="13328"/>
                    </a:lnTo>
                    <a:lnTo>
                      <a:pt x="372291" y="13328"/>
                    </a:lnTo>
                    <a:lnTo>
                      <a:pt x="371304" y="13328"/>
                    </a:lnTo>
                    <a:lnTo>
                      <a:pt x="370646" y="13880"/>
                    </a:lnTo>
                    <a:lnTo>
                      <a:pt x="369988" y="13880"/>
                    </a:lnTo>
                    <a:lnTo>
                      <a:pt x="369659" y="13880"/>
                    </a:lnTo>
                    <a:lnTo>
                      <a:pt x="369659" y="14156"/>
                    </a:lnTo>
                    <a:lnTo>
                      <a:pt x="369659" y="14708"/>
                    </a:lnTo>
                    <a:lnTo>
                      <a:pt x="369659" y="15537"/>
                    </a:lnTo>
                    <a:lnTo>
                      <a:pt x="369659" y="16089"/>
                    </a:lnTo>
                    <a:lnTo>
                      <a:pt x="369659" y="16365"/>
                    </a:lnTo>
                    <a:lnTo>
                      <a:pt x="369659" y="16917"/>
                    </a:lnTo>
                    <a:lnTo>
                      <a:pt x="369001" y="16917"/>
                    </a:lnTo>
                    <a:lnTo>
                      <a:pt x="368014" y="16917"/>
                    </a:lnTo>
                    <a:lnTo>
                      <a:pt x="368014" y="17193"/>
                    </a:lnTo>
                    <a:lnTo>
                      <a:pt x="367685" y="17193"/>
                    </a:lnTo>
                    <a:lnTo>
                      <a:pt x="366698" y="18573"/>
                    </a:lnTo>
                    <a:lnTo>
                      <a:pt x="366039" y="18849"/>
                    </a:lnTo>
                    <a:lnTo>
                      <a:pt x="365710" y="18849"/>
                    </a:lnTo>
                    <a:lnTo>
                      <a:pt x="365052" y="19401"/>
                    </a:lnTo>
                    <a:lnTo>
                      <a:pt x="364723" y="19953"/>
                    </a:lnTo>
                    <a:lnTo>
                      <a:pt x="364065" y="19953"/>
                    </a:lnTo>
                    <a:lnTo>
                      <a:pt x="363736" y="20782"/>
                    </a:lnTo>
                    <a:lnTo>
                      <a:pt x="363078" y="20782"/>
                    </a:lnTo>
                    <a:lnTo>
                      <a:pt x="362749" y="20230"/>
                    </a:lnTo>
                    <a:lnTo>
                      <a:pt x="362091" y="20230"/>
                    </a:lnTo>
                    <a:lnTo>
                      <a:pt x="361433" y="20230"/>
                    </a:lnTo>
                    <a:lnTo>
                      <a:pt x="361433" y="20782"/>
                    </a:lnTo>
                    <a:lnTo>
                      <a:pt x="361104" y="20782"/>
                    </a:lnTo>
                    <a:lnTo>
                      <a:pt x="360446" y="21058"/>
                    </a:lnTo>
                    <a:lnTo>
                      <a:pt x="360117" y="21058"/>
                    </a:lnTo>
                    <a:lnTo>
                      <a:pt x="360117" y="21610"/>
                    </a:lnTo>
                    <a:lnTo>
                      <a:pt x="359459" y="21610"/>
                    </a:lnTo>
                    <a:lnTo>
                      <a:pt x="359459" y="21886"/>
                    </a:lnTo>
                    <a:lnTo>
                      <a:pt x="359130" y="23542"/>
                    </a:lnTo>
                    <a:lnTo>
                      <a:pt x="359130" y="24094"/>
                    </a:lnTo>
                    <a:lnTo>
                      <a:pt x="359130" y="24370"/>
                    </a:lnTo>
                    <a:lnTo>
                      <a:pt x="359459" y="24922"/>
                    </a:lnTo>
                    <a:lnTo>
                      <a:pt x="359459" y="25475"/>
                    </a:lnTo>
                    <a:lnTo>
                      <a:pt x="358472" y="26303"/>
                    </a:lnTo>
                    <a:lnTo>
                      <a:pt x="358472" y="26579"/>
                    </a:lnTo>
                    <a:lnTo>
                      <a:pt x="358472" y="27131"/>
                    </a:lnTo>
                    <a:lnTo>
                      <a:pt x="358472" y="27407"/>
                    </a:lnTo>
                    <a:lnTo>
                      <a:pt x="359130" y="27959"/>
                    </a:lnTo>
                    <a:lnTo>
                      <a:pt x="360117" y="28787"/>
                    </a:lnTo>
                    <a:lnTo>
                      <a:pt x="360117" y="29063"/>
                    </a:lnTo>
                    <a:lnTo>
                      <a:pt x="360446" y="29615"/>
                    </a:lnTo>
                    <a:lnTo>
                      <a:pt x="360446" y="29891"/>
                    </a:lnTo>
                    <a:lnTo>
                      <a:pt x="357814" y="33756"/>
                    </a:lnTo>
                    <a:lnTo>
                      <a:pt x="359459" y="34308"/>
                    </a:lnTo>
                    <a:lnTo>
                      <a:pt x="362749" y="35689"/>
                    </a:lnTo>
                    <a:lnTo>
                      <a:pt x="365710" y="35965"/>
                    </a:lnTo>
                    <a:lnTo>
                      <a:pt x="366698" y="35965"/>
                    </a:lnTo>
                    <a:lnTo>
                      <a:pt x="367027" y="35965"/>
                    </a:lnTo>
                    <a:lnTo>
                      <a:pt x="367685" y="35965"/>
                    </a:lnTo>
                    <a:lnTo>
                      <a:pt x="367685" y="35689"/>
                    </a:lnTo>
                    <a:lnTo>
                      <a:pt x="368672" y="35136"/>
                    </a:lnTo>
                    <a:lnTo>
                      <a:pt x="369001" y="34584"/>
                    </a:lnTo>
                    <a:lnTo>
                      <a:pt x="372620" y="34584"/>
                    </a:lnTo>
                    <a:lnTo>
                      <a:pt x="373278" y="35136"/>
                    </a:lnTo>
                    <a:lnTo>
                      <a:pt x="373607" y="35136"/>
                    </a:lnTo>
                    <a:lnTo>
                      <a:pt x="374265" y="35689"/>
                    </a:lnTo>
                    <a:lnTo>
                      <a:pt x="374594" y="35689"/>
                    </a:lnTo>
                    <a:lnTo>
                      <a:pt x="375252" y="35689"/>
                    </a:lnTo>
                    <a:lnTo>
                      <a:pt x="375910" y="35136"/>
                    </a:lnTo>
                    <a:lnTo>
                      <a:pt x="375910" y="34584"/>
                    </a:lnTo>
                    <a:lnTo>
                      <a:pt x="376239" y="34584"/>
                    </a:lnTo>
                    <a:lnTo>
                      <a:pt x="376239" y="35136"/>
                    </a:lnTo>
                    <a:lnTo>
                      <a:pt x="376898" y="35689"/>
                    </a:lnTo>
                    <a:lnTo>
                      <a:pt x="377227" y="35689"/>
                    </a:lnTo>
                    <a:lnTo>
                      <a:pt x="377227" y="35965"/>
                    </a:lnTo>
                    <a:lnTo>
                      <a:pt x="377885" y="35965"/>
                    </a:lnTo>
                    <a:lnTo>
                      <a:pt x="378214" y="36517"/>
                    </a:lnTo>
                    <a:lnTo>
                      <a:pt x="378214" y="36793"/>
                    </a:lnTo>
                    <a:lnTo>
                      <a:pt x="377885" y="37345"/>
                    </a:lnTo>
                    <a:lnTo>
                      <a:pt x="377885" y="37621"/>
                    </a:lnTo>
                    <a:lnTo>
                      <a:pt x="377227" y="37621"/>
                    </a:lnTo>
                    <a:lnTo>
                      <a:pt x="377227" y="39277"/>
                    </a:lnTo>
                    <a:lnTo>
                      <a:pt x="377227" y="39829"/>
                    </a:lnTo>
                    <a:lnTo>
                      <a:pt x="377227" y="40105"/>
                    </a:lnTo>
                    <a:lnTo>
                      <a:pt x="377885" y="40105"/>
                    </a:lnTo>
                    <a:lnTo>
                      <a:pt x="377885" y="40658"/>
                    </a:lnTo>
                    <a:lnTo>
                      <a:pt x="380846" y="42314"/>
                    </a:lnTo>
                    <a:lnTo>
                      <a:pt x="380846" y="42866"/>
                    </a:lnTo>
                    <a:lnTo>
                      <a:pt x="381175" y="42866"/>
                    </a:lnTo>
                    <a:lnTo>
                      <a:pt x="381175" y="43142"/>
                    </a:lnTo>
                    <a:lnTo>
                      <a:pt x="382162" y="43694"/>
                    </a:lnTo>
                    <a:lnTo>
                      <a:pt x="382820" y="43694"/>
                    </a:lnTo>
                    <a:lnTo>
                      <a:pt x="382820" y="43970"/>
                    </a:lnTo>
                    <a:lnTo>
                      <a:pt x="382820" y="44522"/>
                    </a:lnTo>
                    <a:lnTo>
                      <a:pt x="383478" y="44522"/>
                    </a:lnTo>
                    <a:lnTo>
                      <a:pt x="383807" y="44798"/>
                    </a:lnTo>
                    <a:lnTo>
                      <a:pt x="384465" y="44798"/>
                    </a:lnTo>
                    <a:lnTo>
                      <a:pt x="384794" y="44798"/>
                    </a:lnTo>
                    <a:lnTo>
                      <a:pt x="385452" y="44798"/>
                    </a:lnTo>
                    <a:lnTo>
                      <a:pt x="385781" y="45350"/>
                    </a:lnTo>
                    <a:lnTo>
                      <a:pt x="385781" y="45903"/>
                    </a:lnTo>
                    <a:lnTo>
                      <a:pt x="386439" y="46731"/>
                    </a:lnTo>
                    <a:lnTo>
                      <a:pt x="387427" y="45903"/>
                    </a:lnTo>
                    <a:lnTo>
                      <a:pt x="388414" y="46179"/>
                    </a:lnTo>
                    <a:lnTo>
                      <a:pt x="389401" y="47007"/>
                    </a:lnTo>
                    <a:lnTo>
                      <a:pt x="391375" y="46731"/>
                    </a:lnTo>
                    <a:lnTo>
                      <a:pt x="393349" y="46731"/>
                    </a:lnTo>
                    <a:lnTo>
                      <a:pt x="397627" y="47007"/>
                    </a:lnTo>
                    <a:lnTo>
                      <a:pt x="397956" y="47559"/>
                    </a:lnTo>
                    <a:lnTo>
                      <a:pt x="397956" y="47835"/>
                    </a:lnTo>
                    <a:lnTo>
                      <a:pt x="398614" y="49491"/>
                    </a:lnTo>
                    <a:lnTo>
                      <a:pt x="398614" y="50043"/>
                    </a:lnTo>
                    <a:lnTo>
                      <a:pt x="397956" y="50043"/>
                    </a:lnTo>
                    <a:lnTo>
                      <a:pt x="397956" y="50319"/>
                    </a:lnTo>
                    <a:lnTo>
                      <a:pt x="396968" y="50872"/>
                    </a:lnTo>
                    <a:lnTo>
                      <a:pt x="396639" y="51148"/>
                    </a:lnTo>
                    <a:lnTo>
                      <a:pt x="395981" y="51700"/>
                    </a:lnTo>
                    <a:lnTo>
                      <a:pt x="395652" y="53080"/>
                    </a:lnTo>
                    <a:lnTo>
                      <a:pt x="395652" y="53356"/>
                    </a:lnTo>
                    <a:lnTo>
                      <a:pt x="395652" y="53908"/>
                    </a:lnTo>
                    <a:lnTo>
                      <a:pt x="395652" y="54736"/>
                    </a:lnTo>
                    <a:lnTo>
                      <a:pt x="395652" y="55012"/>
                    </a:lnTo>
                    <a:lnTo>
                      <a:pt x="396639" y="56393"/>
                    </a:lnTo>
                    <a:lnTo>
                      <a:pt x="396639" y="56945"/>
                    </a:lnTo>
                    <a:lnTo>
                      <a:pt x="395981" y="57221"/>
                    </a:lnTo>
                    <a:lnTo>
                      <a:pt x="395981" y="57773"/>
                    </a:lnTo>
                    <a:lnTo>
                      <a:pt x="395981" y="58049"/>
                    </a:lnTo>
                    <a:lnTo>
                      <a:pt x="396639" y="58049"/>
                    </a:lnTo>
                    <a:lnTo>
                      <a:pt x="396639" y="58601"/>
                    </a:lnTo>
                    <a:lnTo>
                      <a:pt x="396968" y="58601"/>
                    </a:lnTo>
                    <a:lnTo>
                      <a:pt x="397956" y="57773"/>
                    </a:lnTo>
                    <a:lnTo>
                      <a:pt x="398943" y="57773"/>
                    </a:lnTo>
                    <a:lnTo>
                      <a:pt x="399601" y="57773"/>
                    </a:lnTo>
                    <a:lnTo>
                      <a:pt x="399930" y="58049"/>
                    </a:lnTo>
                    <a:lnTo>
                      <a:pt x="400588" y="58601"/>
                    </a:lnTo>
                    <a:lnTo>
                      <a:pt x="400917" y="58877"/>
                    </a:lnTo>
                    <a:lnTo>
                      <a:pt x="401575" y="58601"/>
                    </a:lnTo>
                    <a:lnTo>
                      <a:pt x="402233" y="58601"/>
                    </a:lnTo>
                    <a:lnTo>
                      <a:pt x="402562" y="58601"/>
                    </a:lnTo>
                    <a:lnTo>
                      <a:pt x="402562" y="58877"/>
                    </a:lnTo>
                    <a:lnTo>
                      <a:pt x="403549" y="59705"/>
                    </a:lnTo>
                    <a:lnTo>
                      <a:pt x="404207" y="59705"/>
                    </a:lnTo>
                    <a:lnTo>
                      <a:pt x="404536" y="59705"/>
                    </a:lnTo>
                    <a:lnTo>
                      <a:pt x="405194" y="59705"/>
                    </a:lnTo>
                    <a:lnTo>
                      <a:pt x="405523" y="60257"/>
                    </a:lnTo>
                    <a:lnTo>
                      <a:pt x="406181" y="60533"/>
                    </a:lnTo>
                    <a:lnTo>
                      <a:pt x="406510" y="60533"/>
                    </a:lnTo>
                    <a:lnTo>
                      <a:pt x="407497" y="61085"/>
                    </a:lnTo>
                    <a:lnTo>
                      <a:pt x="408156" y="61085"/>
                    </a:lnTo>
                    <a:lnTo>
                      <a:pt x="408814" y="61085"/>
                    </a:lnTo>
                    <a:lnTo>
                      <a:pt x="408814" y="61362"/>
                    </a:lnTo>
                    <a:lnTo>
                      <a:pt x="409143" y="61914"/>
                    </a:lnTo>
                    <a:lnTo>
                      <a:pt x="409143" y="62190"/>
                    </a:lnTo>
                    <a:lnTo>
                      <a:pt x="408156" y="62742"/>
                    </a:lnTo>
                    <a:lnTo>
                      <a:pt x="407497" y="63294"/>
                    </a:lnTo>
                    <a:lnTo>
                      <a:pt x="407168" y="64122"/>
                    </a:lnTo>
                    <a:lnTo>
                      <a:pt x="407168" y="64398"/>
                    </a:lnTo>
                    <a:lnTo>
                      <a:pt x="407497" y="64398"/>
                    </a:lnTo>
                    <a:lnTo>
                      <a:pt x="407497" y="64950"/>
                    </a:lnTo>
                    <a:lnTo>
                      <a:pt x="408156" y="64950"/>
                    </a:lnTo>
                    <a:lnTo>
                      <a:pt x="408156" y="65226"/>
                    </a:lnTo>
                    <a:lnTo>
                      <a:pt x="408814" y="65226"/>
                    </a:lnTo>
                    <a:lnTo>
                      <a:pt x="408814" y="65778"/>
                    </a:lnTo>
                    <a:lnTo>
                      <a:pt x="408156" y="65778"/>
                    </a:lnTo>
                    <a:lnTo>
                      <a:pt x="407497" y="66331"/>
                    </a:lnTo>
                    <a:lnTo>
                      <a:pt x="407168" y="66607"/>
                    </a:lnTo>
                    <a:lnTo>
                      <a:pt x="407168" y="67159"/>
                    </a:lnTo>
                    <a:lnTo>
                      <a:pt x="407168" y="67987"/>
                    </a:lnTo>
                    <a:lnTo>
                      <a:pt x="407168" y="68263"/>
                    </a:lnTo>
                    <a:lnTo>
                      <a:pt x="406510" y="68815"/>
                    </a:lnTo>
                    <a:lnTo>
                      <a:pt x="406181" y="69091"/>
                    </a:lnTo>
                    <a:lnTo>
                      <a:pt x="406181" y="69919"/>
                    </a:lnTo>
                    <a:lnTo>
                      <a:pt x="405523" y="69919"/>
                    </a:lnTo>
                    <a:lnTo>
                      <a:pt x="405523" y="70471"/>
                    </a:lnTo>
                    <a:lnTo>
                      <a:pt x="405194" y="70471"/>
                    </a:lnTo>
                    <a:lnTo>
                      <a:pt x="404536" y="70471"/>
                    </a:lnTo>
                    <a:lnTo>
                      <a:pt x="404536" y="70747"/>
                    </a:lnTo>
                    <a:lnTo>
                      <a:pt x="404207" y="70747"/>
                    </a:lnTo>
                    <a:lnTo>
                      <a:pt x="403549" y="70747"/>
                    </a:lnTo>
                    <a:lnTo>
                      <a:pt x="403549" y="71299"/>
                    </a:lnTo>
                    <a:lnTo>
                      <a:pt x="403220" y="71299"/>
                    </a:lnTo>
                    <a:lnTo>
                      <a:pt x="403220" y="71576"/>
                    </a:lnTo>
                    <a:lnTo>
                      <a:pt x="402562" y="71576"/>
                    </a:lnTo>
                    <a:lnTo>
                      <a:pt x="402562" y="72128"/>
                    </a:lnTo>
                    <a:lnTo>
                      <a:pt x="402233" y="72128"/>
                    </a:lnTo>
                    <a:lnTo>
                      <a:pt x="401575" y="72404"/>
                    </a:lnTo>
                    <a:lnTo>
                      <a:pt x="399930" y="72404"/>
                    </a:lnTo>
                    <a:lnTo>
                      <a:pt x="399601" y="72404"/>
                    </a:lnTo>
                    <a:lnTo>
                      <a:pt x="398943" y="72956"/>
                    </a:lnTo>
                    <a:lnTo>
                      <a:pt x="398614" y="72956"/>
                    </a:lnTo>
                    <a:lnTo>
                      <a:pt x="398614" y="73508"/>
                    </a:lnTo>
                    <a:lnTo>
                      <a:pt x="397956" y="73508"/>
                    </a:lnTo>
                    <a:lnTo>
                      <a:pt x="397627" y="73508"/>
                    </a:lnTo>
                    <a:lnTo>
                      <a:pt x="396968" y="73508"/>
                    </a:lnTo>
                    <a:lnTo>
                      <a:pt x="396639" y="73784"/>
                    </a:lnTo>
                    <a:lnTo>
                      <a:pt x="395981" y="74336"/>
                    </a:lnTo>
                    <a:lnTo>
                      <a:pt x="395652" y="74612"/>
                    </a:lnTo>
                    <a:lnTo>
                      <a:pt x="395652" y="75164"/>
                    </a:lnTo>
                    <a:lnTo>
                      <a:pt x="394994" y="75440"/>
                    </a:lnTo>
                    <a:lnTo>
                      <a:pt x="394994" y="75992"/>
                    </a:lnTo>
                    <a:lnTo>
                      <a:pt x="394007" y="77373"/>
                    </a:lnTo>
                    <a:lnTo>
                      <a:pt x="394007" y="77649"/>
                    </a:lnTo>
                    <a:lnTo>
                      <a:pt x="394007" y="78201"/>
                    </a:lnTo>
                    <a:lnTo>
                      <a:pt x="394336" y="78477"/>
                    </a:lnTo>
                    <a:lnTo>
                      <a:pt x="394336" y="79029"/>
                    </a:lnTo>
                    <a:lnTo>
                      <a:pt x="394007" y="80685"/>
                    </a:lnTo>
                    <a:lnTo>
                      <a:pt x="393349" y="80961"/>
                    </a:lnTo>
                    <a:lnTo>
                      <a:pt x="393349" y="81513"/>
                    </a:lnTo>
                    <a:lnTo>
                      <a:pt x="393020" y="81513"/>
                    </a:lnTo>
                    <a:lnTo>
                      <a:pt x="393020" y="80961"/>
                    </a:lnTo>
                    <a:lnTo>
                      <a:pt x="393020" y="80685"/>
                    </a:lnTo>
                    <a:lnTo>
                      <a:pt x="392362" y="80685"/>
                    </a:lnTo>
                    <a:lnTo>
                      <a:pt x="392033" y="80685"/>
                    </a:lnTo>
                    <a:lnTo>
                      <a:pt x="391375" y="80685"/>
                    </a:lnTo>
                    <a:lnTo>
                      <a:pt x="391046" y="80685"/>
                    </a:lnTo>
                    <a:lnTo>
                      <a:pt x="390388" y="80961"/>
                    </a:lnTo>
                    <a:lnTo>
                      <a:pt x="390059" y="80961"/>
                    </a:lnTo>
                    <a:lnTo>
                      <a:pt x="389401" y="80961"/>
                    </a:lnTo>
                    <a:lnTo>
                      <a:pt x="389072" y="80961"/>
                    </a:lnTo>
                    <a:lnTo>
                      <a:pt x="388414" y="80961"/>
                    </a:lnTo>
                    <a:lnTo>
                      <a:pt x="387756" y="81513"/>
                    </a:lnTo>
                    <a:lnTo>
                      <a:pt x="387427" y="81513"/>
                    </a:lnTo>
                    <a:lnTo>
                      <a:pt x="387427" y="81790"/>
                    </a:lnTo>
                    <a:lnTo>
                      <a:pt x="387427" y="82342"/>
                    </a:lnTo>
                    <a:lnTo>
                      <a:pt x="387427" y="82618"/>
                    </a:lnTo>
                    <a:lnTo>
                      <a:pt x="387427" y="83170"/>
                    </a:lnTo>
                    <a:lnTo>
                      <a:pt x="387427" y="83998"/>
                    </a:lnTo>
                    <a:lnTo>
                      <a:pt x="387427" y="84550"/>
                    </a:lnTo>
                    <a:lnTo>
                      <a:pt x="386768" y="84550"/>
                    </a:lnTo>
                    <a:lnTo>
                      <a:pt x="386768" y="84826"/>
                    </a:lnTo>
                    <a:lnTo>
                      <a:pt x="386768" y="85654"/>
                    </a:lnTo>
                    <a:lnTo>
                      <a:pt x="386768" y="86206"/>
                    </a:lnTo>
                    <a:lnTo>
                      <a:pt x="386768" y="87035"/>
                    </a:lnTo>
                    <a:lnTo>
                      <a:pt x="386439" y="87587"/>
                    </a:lnTo>
                    <a:lnTo>
                      <a:pt x="386439" y="87863"/>
                    </a:lnTo>
                    <a:lnTo>
                      <a:pt x="386439" y="88691"/>
                    </a:lnTo>
                    <a:lnTo>
                      <a:pt x="387756" y="90347"/>
                    </a:lnTo>
                    <a:lnTo>
                      <a:pt x="387756" y="90899"/>
                    </a:lnTo>
                    <a:lnTo>
                      <a:pt x="387756" y="91175"/>
                    </a:lnTo>
                    <a:lnTo>
                      <a:pt x="388414" y="91727"/>
                    </a:lnTo>
                    <a:lnTo>
                      <a:pt x="389072" y="94212"/>
                    </a:lnTo>
                    <a:lnTo>
                      <a:pt x="389072" y="95040"/>
                    </a:lnTo>
                    <a:lnTo>
                      <a:pt x="389072" y="95868"/>
                    </a:lnTo>
                    <a:lnTo>
                      <a:pt x="389072" y="96420"/>
                    </a:lnTo>
                    <a:lnTo>
                      <a:pt x="389072" y="96696"/>
                    </a:lnTo>
                    <a:lnTo>
                      <a:pt x="389401" y="98905"/>
                    </a:lnTo>
                    <a:lnTo>
                      <a:pt x="390059" y="101113"/>
                    </a:lnTo>
                    <a:lnTo>
                      <a:pt x="392033" y="104426"/>
                    </a:lnTo>
                    <a:lnTo>
                      <a:pt x="392033" y="105806"/>
                    </a:lnTo>
                    <a:lnTo>
                      <a:pt x="391375" y="108291"/>
                    </a:lnTo>
                    <a:lnTo>
                      <a:pt x="392033" y="109119"/>
                    </a:lnTo>
                    <a:lnTo>
                      <a:pt x="392033" y="109395"/>
                    </a:lnTo>
                    <a:lnTo>
                      <a:pt x="392362" y="110223"/>
                    </a:lnTo>
                    <a:lnTo>
                      <a:pt x="392362" y="110775"/>
                    </a:lnTo>
                    <a:lnTo>
                      <a:pt x="392362" y="111603"/>
                    </a:lnTo>
                    <a:lnTo>
                      <a:pt x="392362" y="112155"/>
                    </a:lnTo>
                    <a:lnTo>
                      <a:pt x="392033" y="113260"/>
                    </a:lnTo>
                    <a:lnTo>
                      <a:pt x="392033" y="113812"/>
                    </a:lnTo>
                    <a:lnTo>
                      <a:pt x="391375" y="114088"/>
                    </a:lnTo>
                    <a:lnTo>
                      <a:pt x="392033" y="114640"/>
                    </a:lnTo>
                    <a:lnTo>
                      <a:pt x="392362" y="115192"/>
                    </a:lnTo>
                    <a:lnTo>
                      <a:pt x="393020" y="115468"/>
                    </a:lnTo>
                    <a:lnTo>
                      <a:pt x="393349" y="116296"/>
                    </a:lnTo>
                    <a:lnTo>
                      <a:pt x="393349" y="116848"/>
                    </a:lnTo>
                    <a:lnTo>
                      <a:pt x="393349" y="117677"/>
                    </a:lnTo>
                    <a:lnTo>
                      <a:pt x="393349" y="117953"/>
                    </a:lnTo>
                    <a:lnTo>
                      <a:pt x="393020" y="117953"/>
                    </a:lnTo>
                    <a:lnTo>
                      <a:pt x="393020" y="118505"/>
                    </a:lnTo>
                    <a:lnTo>
                      <a:pt x="393349" y="119609"/>
                    </a:lnTo>
                    <a:lnTo>
                      <a:pt x="393349" y="120161"/>
                    </a:lnTo>
                    <a:lnTo>
                      <a:pt x="393349" y="120437"/>
                    </a:lnTo>
                    <a:lnTo>
                      <a:pt x="393020" y="120437"/>
                    </a:lnTo>
                    <a:lnTo>
                      <a:pt x="392362" y="120989"/>
                    </a:lnTo>
                    <a:lnTo>
                      <a:pt x="392362" y="121817"/>
                    </a:lnTo>
                    <a:lnTo>
                      <a:pt x="392033" y="122369"/>
                    </a:lnTo>
                    <a:lnTo>
                      <a:pt x="391375" y="122646"/>
                    </a:lnTo>
                    <a:lnTo>
                      <a:pt x="392033" y="123474"/>
                    </a:lnTo>
                    <a:lnTo>
                      <a:pt x="392033" y="124026"/>
                    </a:lnTo>
                    <a:lnTo>
                      <a:pt x="392362" y="124302"/>
                    </a:lnTo>
                    <a:lnTo>
                      <a:pt x="392362" y="124854"/>
                    </a:lnTo>
                    <a:lnTo>
                      <a:pt x="392362" y="125406"/>
                    </a:lnTo>
                    <a:lnTo>
                      <a:pt x="392362" y="125682"/>
                    </a:lnTo>
                    <a:lnTo>
                      <a:pt x="392362" y="126510"/>
                    </a:lnTo>
                    <a:lnTo>
                      <a:pt x="392362" y="127062"/>
                    </a:lnTo>
                    <a:lnTo>
                      <a:pt x="392362" y="127891"/>
                    </a:lnTo>
                    <a:lnTo>
                      <a:pt x="392033" y="127891"/>
                    </a:lnTo>
                    <a:lnTo>
                      <a:pt x="392033" y="128167"/>
                    </a:lnTo>
                    <a:lnTo>
                      <a:pt x="392362" y="128719"/>
                    </a:lnTo>
                    <a:lnTo>
                      <a:pt x="392362" y="128167"/>
                    </a:lnTo>
                    <a:lnTo>
                      <a:pt x="393020" y="128167"/>
                    </a:lnTo>
                    <a:lnTo>
                      <a:pt x="393020" y="128719"/>
                    </a:lnTo>
                    <a:lnTo>
                      <a:pt x="393020" y="128995"/>
                    </a:lnTo>
                    <a:lnTo>
                      <a:pt x="394007" y="129547"/>
                    </a:lnTo>
                    <a:lnTo>
                      <a:pt x="394336" y="129823"/>
                    </a:lnTo>
                    <a:lnTo>
                      <a:pt x="394336" y="130375"/>
                    </a:lnTo>
                    <a:lnTo>
                      <a:pt x="394007" y="130651"/>
                    </a:lnTo>
                    <a:lnTo>
                      <a:pt x="394007" y="131203"/>
                    </a:lnTo>
                    <a:lnTo>
                      <a:pt x="394007" y="131755"/>
                    </a:lnTo>
                    <a:lnTo>
                      <a:pt x="393349" y="132031"/>
                    </a:lnTo>
                    <a:lnTo>
                      <a:pt x="394007" y="132860"/>
                    </a:lnTo>
                    <a:lnTo>
                      <a:pt x="394994" y="133412"/>
                    </a:lnTo>
                    <a:lnTo>
                      <a:pt x="396639" y="134240"/>
                    </a:lnTo>
                    <a:lnTo>
                      <a:pt x="397627" y="135068"/>
                    </a:lnTo>
                    <a:lnTo>
                      <a:pt x="397956" y="135620"/>
                    </a:lnTo>
                    <a:lnTo>
                      <a:pt x="398614" y="135620"/>
                    </a:lnTo>
                    <a:lnTo>
                      <a:pt x="398943" y="135896"/>
                    </a:lnTo>
                    <a:lnTo>
                      <a:pt x="399601" y="135896"/>
                    </a:lnTo>
                    <a:lnTo>
                      <a:pt x="399930" y="135896"/>
                    </a:lnTo>
                    <a:lnTo>
                      <a:pt x="400588" y="135620"/>
                    </a:lnTo>
                    <a:lnTo>
                      <a:pt x="400917" y="135620"/>
                    </a:lnTo>
                    <a:lnTo>
                      <a:pt x="402233" y="135620"/>
                    </a:lnTo>
                    <a:lnTo>
                      <a:pt x="403220" y="135620"/>
                    </a:lnTo>
                    <a:lnTo>
                      <a:pt x="403549" y="135896"/>
                    </a:lnTo>
                    <a:lnTo>
                      <a:pt x="403549" y="136448"/>
                    </a:lnTo>
                    <a:lnTo>
                      <a:pt x="404207" y="136448"/>
                    </a:lnTo>
                    <a:lnTo>
                      <a:pt x="404536" y="137276"/>
                    </a:lnTo>
                    <a:lnTo>
                      <a:pt x="404536" y="137552"/>
                    </a:lnTo>
                    <a:lnTo>
                      <a:pt x="415394" y="142797"/>
                    </a:lnTo>
                    <a:lnTo>
                      <a:pt x="415394" y="143074"/>
                    </a:lnTo>
                    <a:lnTo>
                      <a:pt x="415394" y="143902"/>
                    </a:lnTo>
                    <a:lnTo>
                      <a:pt x="415723" y="144454"/>
                    </a:lnTo>
                    <a:lnTo>
                      <a:pt x="416381" y="144730"/>
                    </a:lnTo>
                    <a:lnTo>
                      <a:pt x="416710" y="144730"/>
                    </a:lnTo>
                    <a:lnTo>
                      <a:pt x="417141" y="144730"/>
                    </a:lnTo>
                    <a:lnTo>
                      <a:pt x="417154" y="144746"/>
                    </a:lnTo>
                    <a:cubicBezTo>
                      <a:pt x="419008" y="144746"/>
                      <a:pt x="420862" y="146600"/>
                      <a:pt x="422716" y="146600"/>
                    </a:cubicBezTo>
                    <a:lnTo>
                      <a:pt x="425923" y="146600"/>
                    </a:lnTo>
                    <a:lnTo>
                      <a:pt x="425923" y="146938"/>
                    </a:lnTo>
                    <a:lnTo>
                      <a:pt x="426252" y="148319"/>
                    </a:lnTo>
                    <a:lnTo>
                      <a:pt x="425923" y="149147"/>
                    </a:lnTo>
                    <a:lnTo>
                      <a:pt x="425923" y="149423"/>
                    </a:lnTo>
                    <a:lnTo>
                      <a:pt x="425265" y="150251"/>
                    </a:lnTo>
                    <a:lnTo>
                      <a:pt x="425265" y="150803"/>
                    </a:lnTo>
                    <a:lnTo>
                      <a:pt x="425265" y="151631"/>
                    </a:lnTo>
                    <a:lnTo>
                      <a:pt x="426252" y="154116"/>
                    </a:lnTo>
                    <a:lnTo>
                      <a:pt x="427239" y="154944"/>
                    </a:lnTo>
                    <a:lnTo>
                      <a:pt x="428556" y="155496"/>
                    </a:lnTo>
                    <a:lnTo>
                      <a:pt x="429543" y="155496"/>
                    </a:lnTo>
                    <a:lnTo>
                      <a:pt x="430005" y="155237"/>
                    </a:lnTo>
                    <a:lnTo>
                      <a:pt x="430132" y="155872"/>
                    </a:lnTo>
                    <a:cubicBezTo>
                      <a:pt x="431986" y="159580"/>
                      <a:pt x="437548" y="159580"/>
                      <a:pt x="441256" y="159580"/>
                    </a:cubicBezTo>
                    <a:cubicBezTo>
                      <a:pt x="442183" y="159580"/>
                      <a:pt x="444037" y="159580"/>
                      <a:pt x="445427" y="160276"/>
                    </a:cubicBezTo>
                    <a:lnTo>
                      <a:pt x="446719" y="164798"/>
                    </a:lnTo>
                    <a:lnTo>
                      <a:pt x="446652" y="164882"/>
                    </a:lnTo>
                    <a:lnTo>
                      <a:pt x="446652" y="165205"/>
                    </a:lnTo>
                    <a:lnTo>
                      <a:pt x="438573" y="168235"/>
                    </a:lnTo>
                    <a:lnTo>
                      <a:pt x="438426" y="168194"/>
                    </a:lnTo>
                    <a:lnTo>
                      <a:pt x="438097" y="168194"/>
                    </a:lnTo>
                    <a:lnTo>
                      <a:pt x="438097" y="168414"/>
                    </a:lnTo>
                    <a:lnTo>
                      <a:pt x="436473" y="169023"/>
                    </a:lnTo>
                    <a:lnTo>
                      <a:pt x="436452" y="169023"/>
                    </a:lnTo>
                    <a:lnTo>
                      <a:pt x="436452" y="169031"/>
                    </a:lnTo>
                    <a:lnTo>
                      <a:pt x="431986" y="170706"/>
                    </a:lnTo>
                    <a:lnTo>
                      <a:pt x="431888" y="170803"/>
                    </a:lnTo>
                    <a:lnTo>
                      <a:pt x="431517" y="170679"/>
                    </a:lnTo>
                    <a:lnTo>
                      <a:pt x="430859" y="171231"/>
                    </a:lnTo>
                    <a:lnTo>
                      <a:pt x="430859" y="171833"/>
                    </a:lnTo>
                    <a:lnTo>
                      <a:pt x="429037" y="173655"/>
                    </a:lnTo>
                    <a:lnTo>
                      <a:pt x="427239" y="173439"/>
                    </a:lnTo>
                    <a:lnTo>
                      <a:pt x="426252" y="175096"/>
                    </a:lnTo>
                    <a:lnTo>
                      <a:pt x="425923" y="175372"/>
                    </a:lnTo>
                    <a:lnTo>
                      <a:pt x="423291" y="177304"/>
                    </a:lnTo>
                    <a:lnTo>
                      <a:pt x="422962" y="177580"/>
                    </a:lnTo>
                    <a:lnTo>
                      <a:pt x="422304" y="178132"/>
                    </a:lnTo>
                    <a:lnTo>
                      <a:pt x="422304" y="178961"/>
                    </a:lnTo>
                    <a:lnTo>
                      <a:pt x="422304" y="179237"/>
                    </a:lnTo>
                    <a:lnTo>
                      <a:pt x="422304" y="179789"/>
                    </a:lnTo>
                    <a:lnTo>
                      <a:pt x="421975" y="180065"/>
                    </a:lnTo>
                    <a:lnTo>
                      <a:pt x="421975" y="180617"/>
                    </a:lnTo>
                    <a:lnTo>
                      <a:pt x="421317" y="180893"/>
                    </a:lnTo>
                    <a:lnTo>
                      <a:pt x="420988" y="181445"/>
                    </a:lnTo>
                    <a:lnTo>
                      <a:pt x="421317" y="181721"/>
                    </a:lnTo>
                    <a:lnTo>
                      <a:pt x="422716" y="184303"/>
                    </a:lnTo>
                    <a:lnTo>
                      <a:pt x="422716" y="194533"/>
                    </a:lnTo>
                    <a:lnTo>
                      <a:pt x="422304" y="195800"/>
                    </a:lnTo>
                    <a:lnTo>
                      <a:pt x="421975" y="196628"/>
                    </a:lnTo>
                    <a:lnTo>
                      <a:pt x="421975" y="198008"/>
                    </a:lnTo>
                    <a:lnTo>
                      <a:pt x="421317" y="199665"/>
                    </a:lnTo>
                    <a:lnTo>
                      <a:pt x="421317" y="199941"/>
                    </a:lnTo>
                    <a:lnTo>
                      <a:pt x="421317" y="201045"/>
                    </a:lnTo>
                    <a:lnTo>
                      <a:pt x="421975" y="201321"/>
                    </a:lnTo>
                    <a:lnTo>
                      <a:pt x="421975" y="201873"/>
                    </a:lnTo>
                    <a:lnTo>
                      <a:pt x="422135" y="202007"/>
                    </a:lnTo>
                    <a:lnTo>
                      <a:pt x="421191" y="207670"/>
                    </a:lnTo>
                    <a:lnTo>
                      <a:pt x="420330" y="207670"/>
                    </a:lnTo>
                    <a:lnTo>
                      <a:pt x="419672" y="207670"/>
                    </a:lnTo>
                    <a:lnTo>
                      <a:pt x="419343" y="208222"/>
                    </a:lnTo>
                    <a:lnTo>
                      <a:pt x="418685" y="208498"/>
                    </a:lnTo>
                    <a:lnTo>
                      <a:pt x="418356" y="209326"/>
                    </a:lnTo>
                    <a:lnTo>
                      <a:pt x="418356" y="209879"/>
                    </a:lnTo>
                    <a:lnTo>
                      <a:pt x="417697" y="209879"/>
                    </a:lnTo>
                    <a:lnTo>
                      <a:pt x="417368" y="209879"/>
                    </a:lnTo>
                    <a:lnTo>
                      <a:pt x="416381" y="209879"/>
                    </a:lnTo>
                    <a:lnTo>
                      <a:pt x="415723" y="209879"/>
                    </a:lnTo>
                    <a:lnTo>
                      <a:pt x="415394" y="209879"/>
                    </a:lnTo>
                    <a:lnTo>
                      <a:pt x="415394" y="210155"/>
                    </a:lnTo>
                    <a:lnTo>
                      <a:pt x="414736" y="210707"/>
                    </a:lnTo>
                    <a:lnTo>
                      <a:pt x="415394" y="211259"/>
                    </a:lnTo>
                    <a:lnTo>
                      <a:pt x="414736" y="212087"/>
                    </a:lnTo>
                    <a:lnTo>
                      <a:pt x="414078" y="212363"/>
                    </a:lnTo>
                    <a:lnTo>
                      <a:pt x="413749" y="212363"/>
                    </a:lnTo>
                    <a:lnTo>
                      <a:pt x="413091" y="212915"/>
                    </a:lnTo>
                    <a:lnTo>
                      <a:pt x="413749" y="213191"/>
                    </a:lnTo>
                    <a:lnTo>
                      <a:pt x="413749" y="213743"/>
                    </a:lnTo>
                    <a:lnTo>
                      <a:pt x="413091" y="214019"/>
                    </a:lnTo>
                    <a:lnTo>
                      <a:pt x="412762" y="214571"/>
                    </a:lnTo>
                    <a:lnTo>
                      <a:pt x="412104" y="215400"/>
                    </a:lnTo>
                    <a:lnTo>
                      <a:pt x="411775" y="215952"/>
                    </a:lnTo>
                    <a:lnTo>
                      <a:pt x="411117" y="216228"/>
                    </a:lnTo>
                    <a:lnTo>
                      <a:pt x="411117" y="216780"/>
                    </a:lnTo>
                    <a:lnTo>
                      <a:pt x="410788" y="217056"/>
                    </a:lnTo>
                    <a:lnTo>
                      <a:pt x="410788" y="217201"/>
                    </a:lnTo>
                    <a:lnTo>
                      <a:pt x="409142" y="218436"/>
                    </a:lnTo>
                    <a:lnTo>
                      <a:pt x="408814" y="218436"/>
                    </a:lnTo>
                    <a:lnTo>
                      <a:pt x="408156" y="218712"/>
                    </a:lnTo>
                    <a:lnTo>
                      <a:pt x="407497" y="219264"/>
                    </a:lnTo>
                    <a:lnTo>
                      <a:pt x="407168" y="219540"/>
                    </a:lnTo>
                    <a:lnTo>
                      <a:pt x="407168" y="219916"/>
                    </a:lnTo>
                    <a:lnTo>
                      <a:pt x="406029" y="220771"/>
                    </a:lnTo>
                    <a:lnTo>
                      <a:pt x="404399" y="224847"/>
                    </a:lnTo>
                    <a:lnTo>
                      <a:pt x="403220" y="226166"/>
                    </a:lnTo>
                    <a:lnTo>
                      <a:pt x="403220" y="226442"/>
                    </a:lnTo>
                    <a:lnTo>
                      <a:pt x="402562" y="226442"/>
                    </a:lnTo>
                    <a:lnTo>
                      <a:pt x="402233" y="226442"/>
                    </a:lnTo>
                    <a:lnTo>
                      <a:pt x="402233" y="226994"/>
                    </a:lnTo>
                    <a:lnTo>
                      <a:pt x="402233" y="227270"/>
                    </a:lnTo>
                    <a:lnTo>
                      <a:pt x="401575" y="227270"/>
                    </a:lnTo>
                    <a:lnTo>
                      <a:pt x="400917" y="227822"/>
                    </a:lnTo>
                    <a:lnTo>
                      <a:pt x="400588" y="228098"/>
                    </a:lnTo>
                    <a:lnTo>
                      <a:pt x="400588" y="228650"/>
                    </a:lnTo>
                    <a:lnTo>
                      <a:pt x="399930" y="228650"/>
                    </a:lnTo>
                    <a:lnTo>
                      <a:pt x="401575" y="229478"/>
                    </a:lnTo>
                    <a:lnTo>
                      <a:pt x="402305" y="230091"/>
                    </a:lnTo>
                    <a:lnTo>
                      <a:pt x="400467" y="235605"/>
                    </a:lnTo>
                    <a:cubicBezTo>
                      <a:pt x="398613" y="235605"/>
                      <a:pt x="398613" y="237459"/>
                      <a:pt x="396759" y="237459"/>
                    </a:cubicBezTo>
                    <a:lnTo>
                      <a:pt x="392045" y="240288"/>
                    </a:lnTo>
                    <a:lnTo>
                      <a:pt x="391046" y="240521"/>
                    </a:lnTo>
                    <a:lnTo>
                      <a:pt x="385781" y="243005"/>
                    </a:lnTo>
                    <a:lnTo>
                      <a:pt x="385452" y="243557"/>
                    </a:lnTo>
                    <a:lnTo>
                      <a:pt x="383807" y="247698"/>
                    </a:lnTo>
                    <a:lnTo>
                      <a:pt x="382162" y="251839"/>
                    </a:lnTo>
                    <a:lnTo>
                      <a:pt x="381936" y="252742"/>
                    </a:lnTo>
                    <a:lnTo>
                      <a:pt x="380073" y="256001"/>
                    </a:lnTo>
                    <a:lnTo>
                      <a:pt x="378658" y="260955"/>
                    </a:lnTo>
                    <a:lnTo>
                      <a:pt x="377227" y="263157"/>
                    </a:lnTo>
                    <a:lnTo>
                      <a:pt x="375252" y="267574"/>
                    </a:lnTo>
                    <a:lnTo>
                      <a:pt x="373278" y="270334"/>
                    </a:lnTo>
                    <a:lnTo>
                      <a:pt x="372291" y="271439"/>
                    </a:lnTo>
                    <a:lnTo>
                      <a:pt x="372236" y="271562"/>
                    </a:lnTo>
                    <a:lnTo>
                      <a:pt x="361533" y="278253"/>
                    </a:lnTo>
                    <a:lnTo>
                      <a:pt x="360488" y="279508"/>
                    </a:lnTo>
                    <a:lnTo>
                      <a:pt x="358472" y="280548"/>
                    </a:lnTo>
                    <a:lnTo>
                      <a:pt x="353865" y="283033"/>
                    </a:lnTo>
                    <a:lnTo>
                      <a:pt x="352878" y="283309"/>
                    </a:lnTo>
                    <a:lnTo>
                      <a:pt x="350575" y="286345"/>
                    </a:lnTo>
                    <a:lnTo>
                      <a:pt x="349917" y="287726"/>
                    </a:lnTo>
                    <a:lnTo>
                      <a:pt x="347943" y="294627"/>
                    </a:lnTo>
                    <a:lnTo>
                      <a:pt x="347285" y="296283"/>
                    </a:lnTo>
                    <a:lnTo>
                      <a:pt x="346298" y="297388"/>
                    </a:lnTo>
                    <a:lnTo>
                      <a:pt x="345310" y="298768"/>
                    </a:lnTo>
                    <a:lnTo>
                      <a:pt x="341362" y="302081"/>
                    </a:lnTo>
                    <a:lnTo>
                      <a:pt x="338730" y="305117"/>
                    </a:lnTo>
                    <a:lnTo>
                      <a:pt x="338401" y="305945"/>
                    </a:lnTo>
                    <a:lnTo>
                      <a:pt x="338401" y="306497"/>
                    </a:lnTo>
                    <a:lnTo>
                      <a:pt x="338188" y="307837"/>
                    </a:lnTo>
                    <a:lnTo>
                      <a:pt x="331869" y="311629"/>
                    </a:lnTo>
                    <a:lnTo>
                      <a:pt x="323249" y="314503"/>
                    </a:lnTo>
                    <a:lnTo>
                      <a:pt x="322607" y="314503"/>
                    </a:lnTo>
                    <a:lnTo>
                      <a:pt x="319317" y="314503"/>
                    </a:lnTo>
                    <a:lnTo>
                      <a:pt x="317014" y="315055"/>
                    </a:lnTo>
                    <a:lnTo>
                      <a:pt x="314382" y="315883"/>
                    </a:lnTo>
                    <a:lnTo>
                      <a:pt x="313116" y="316503"/>
                    </a:lnTo>
                    <a:lnTo>
                      <a:pt x="304059" y="313483"/>
                    </a:lnTo>
                    <a:cubicBezTo>
                      <a:pt x="302205" y="311629"/>
                      <a:pt x="299887" y="310238"/>
                      <a:pt x="297570" y="309775"/>
                    </a:cubicBezTo>
                    <a:lnTo>
                      <a:pt x="295997" y="310224"/>
                    </a:lnTo>
                    <a:lnTo>
                      <a:pt x="295627" y="309810"/>
                    </a:lnTo>
                    <a:lnTo>
                      <a:pt x="294640" y="309258"/>
                    </a:lnTo>
                    <a:lnTo>
                      <a:pt x="293982" y="308982"/>
                    </a:lnTo>
                    <a:lnTo>
                      <a:pt x="292994" y="308430"/>
                    </a:lnTo>
                    <a:lnTo>
                      <a:pt x="292665" y="308430"/>
                    </a:lnTo>
                    <a:lnTo>
                      <a:pt x="291678" y="308430"/>
                    </a:lnTo>
                    <a:lnTo>
                      <a:pt x="290691" y="308982"/>
                    </a:lnTo>
                    <a:lnTo>
                      <a:pt x="289046" y="309258"/>
                    </a:lnTo>
                    <a:lnTo>
                      <a:pt x="288717" y="309258"/>
                    </a:lnTo>
                    <a:lnTo>
                      <a:pt x="288059" y="309810"/>
                    </a:lnTo>
                    <a:lnTo>
                      <a:pt x="286414" y="311466"/>
                    </a:lnTo>
                    <a:lnTo>
                      <a:pt x="284111" y="313123"/>
                    </a:lnTo>
                    <a:lnTo>
                      <a:pt x="284111" y="313675"/>
                    </a:lnTo>
                    <a:lnTo>
                      <a:pt x="280820" y="316159"/>
                    </a:lnTo>
                    <a:lnTo>
                      <a:pt x="280820" y="316987"/>
                    </a:lnTo>
                    <a:lnTo>
                      <a:pt x="278517" y="323337"/>
                    </a:lnTo>
                    <a:lnTo>
                      <a:pt x="277530" y="324717"/>
                    </a:lnTo>
                    <a:lnTo>
                      <a:pt x="274898" y="326925"/>
                    </a:lnTo>
                    <a:lnTo>
                      <a:pt x="272923" y="329686"/>
                    </a:lnTo>
                    <a:lnTo>
                      <a:pt x="269304" y="333551"/>
                    </a:lnTo>
                    <a:lnTo>
                      <a:pt x="267330" y="334931"/>
                    </a:lnTo>
                    <a:lnTo>
                      <a:pt x="264369" y="337415"/>
                    </a:lnTo>
                    <a:lnTo>
                      <a:pt x="263382" y="339624"/>
                    </a:lnTo>
                    <a:lnTo>
                      <a:pt x="262065" y="342108"/>
                    </a:lnTo>
                    <a:lnTo>
                      <a:pt x="261736" y="346249"/>
                    </a:lnTo>
                    <a:lnTo>
                      <a:pt x="260749" y="350666"/>
                    </a:lnTo>
                    <a:lnTo>
                      <a:pt x="261078" y="351770"/>
                    </a:lnTo>
                    <a:lnTo>
                      <a:pt x="262065" y="353151"/>
                    </a:lnTo>
                    <a:lnTo>
                      <a:pt x="266672" y="354807"/>
                    </a:lnTo>
                    <a:lnTo>
                      <a:pt x="268317" y="355635"/>
                    </a:lnTo>
                    <a:lnTo>
                      <a:pt x="270949" y="357843"/>
                    </a:lnTo>
                    <a:lnTo>
                      <a:pt x="271936" y="358120"/>
                    </a:lnTo>
                    <a:lnTo>
                      <a:pt x="276222" y="357963"/>
                    </a:lnTo>
                    <a:lnTo>
                      <a:pt x="276248" y="357985"/>
                    </a:lnTo>
                    <a:cubicBezTo>
                      <a:pt x="278102" y="358913"/>
                      <a:pt x="280420" y="359376"/>
                      <a:pt x="282042" y="360303"/>
                    </a:cubicBezTo>
                    <a:lnTo>
                      <a:pt x="282794" y="362668"/>
                    </a:lnTo>
                    <a:lnTo>
                      <a:pt x="282794" y="364193"/>
                    </a:lnTo>
                    <a:lnTo>
                      <a:pt x="282794" y="365573"/>
                    </a:lnTo>
                    <a:lnTo>
                      <a:pt x="282794" y="365849"/>
                    </a:lnTo>
                    <a:lnTo>
                      <a:pt x="282465" y="366677"/>
                    </a:lnTo>
                    <a:lnTo>
                      <a:pt x="282465" y="367229"/>
                    </a:lnTo>
                    <a:lnTo>
                      <a:pt x="282465" y="368057"/>
                    </a:lnTo>
                    <a:lnTo>
                      <a:pt x="282465" y="369162"/>
                    </a:lnTo>
                    <a:lnTo>
                      <a:pt x="282465" y="370542"/>
                    </a:lnTo>
                    <a:lnTo>
                      <a:pt x="281807" y="371922"/>
                    </a:lnTo>
                    <a:lnTo>
                      <a:pt x="280491" y="374959"/>
                    </a:lnTo>
                    <a:lnTo>
                      <a:pt x="279833" y="375235"/>
                    </a:lnTo>
                    <a:lnTo>
                      <a:pt x="279833" y="376615"/>
                    </a:lnTo>
                    <a:lnTo>
                      <a:pt x="279833" y="378271"/>
                    </a:lnTo>
                    <a:lnTo>
                      <a:pt x="279833" y="378548"/>
                    </a:lnTo>
                    <a:lnTo>
                      <a:pt x="280491" y="380480"/>
                    </a:lnTo>
                    <a:lnTo>
                      <a:pt x="281478" y="382136"/>
                    </a:lnTo>
                    <a:lnTo>
                      <a:pt x="282794" y="383240"/>
                    </a:lnTo>
                    <a:lnTo>
                      <a:pt x="284111" y="384621"/>
                    </a:lnTo>
                    <a:lnTo>
                      <a:pt x="284440" y="385449"/>
                    </a:lnTo>
                    <a:lnTo>
                      <a:pt x="285427" y="387105"/>
                    </a:lnTo>
                    <a:lnTo>
                      <a:pt x="285427" y="387933"/>
                    </a:lnTo>
                    <a:lnTo>
                      <a:pt x="286085" y="388485"/>
                    </a:lnTo>
                    <a:lnTo>
                      <a:pt x="287730" y="388762"/>
                    </a:lnTo>
                    <a:lnTo>
                      <a:pt x="289046" y="389314"/>
                    </a:lnTo>
                    <a:lnTo>
                      <a:pt x="292355" y="388851"/>
                    </a:lnTo>
                    <a:lnTo>
                      <a:pt x="292935" y="389508"/>
                    </a:lnTo>
                    <a:lnTo>
                      <a:pt x="298588" y="390639"/>
                    </a:lnTo>
                    <a:lnTo>
                      <a:pt x="298588" y="390694"/>
                    </a:lnTo>
                    <a:lnTo>
                      <a:pt x="298588" y="393454"/>
                    </a:lnTo>
                    <a:lnTo>
                      <a:pt x="298259" y="397319"/>
                    </a:lnTo>
                    <a:lnTo>
                      <a:pt x="298588" y="398699"/>
                    </a:lnTo>
                    <a:lnTo>
                      <a:pt x="299246" y="398975"/>
                    </a:lnTo>
                    <a:lnTo>
                      <a:pt x="300233" y="400632"/>
                    </a:lnTo>
                    <a:lnTo>
                      <a:pt x="300891" y="401736"/>
                    </a:lnTo>
                    <a:lnTo>
                      <a:pt x="300891" y="402012"/>
                    </a:lnTo>
                    <a:lnTo>
                      <a:pt x="301220" y="402840"/>
                    </a:lnTo>
                    <a:lnTo>
                      <a:pt x="302207" y="404221"/>
                    </a:lnTo>
                    <a:lnTo>
                      <a:pt x="304182" y="405877"/>
                    </a:lnTo>
                    <a:lnTo>
                      <a:pt x="304840" y="406429"/>
                    </a:lnTo>
                    <a:lnTo>
                      <a:pt x="305169" y="407257"/>
                    </a:lnTo>
                    <a:lnTo>
                      <a:pt x="306156" y="411950"/>
                    </a:lnTo>
                    <a:lnTo>
                      <a:pt x="306814" y="413882"/>
                    </a:lnTo>
                    <a:lnTo>
                      <a:pt x="307801" y="415815"/>
                    </a:lnTo>
                    <a:lnTo>
                      <a:pt x="309775" y="418575"/>
                    </a:lnTo>
                    <a:lnTo>
                      <a:pt x="310762" y="421060"/>
                    </a:lnTo>
                    <a:lnTo>
                      <a:pt x="311420" y="422440"/>
                    </a:lnTo>
                    <a:lnTo>
                      <a:pt x="311749" y="422992"/>
                    </a:lnTo>
                    <a:lnTo>
                      <a:pt x="310762" y="423268"/>
                    </a:lnTo>
                    <a:lnTo>
                      <a:pt x="308788" y="424096"/>
                    </a:lnTo>
                    <a:lnTo>
                      <a:pt x="308459" y="424925"/>
                    </a:lnTo>
                    <a:lnTo>
                      <a:pt x="308459" y="425753"/>
                    </a:lnTo>
                    <a:lnTo>
                      <a:pt x="308459" y="427133"/>
                    </a:lnTo>
                    <a:lnTo>
                      <a:pt x="308788" y="427685"/>
                    </a:lnTo>
                    <a:lnTo>
                      <a:pt x="309446" y="427961"/>
                    </a:lnTo>
                    <a:lnTo>
                      <a:pt x="308788" y="427961"/>
                    </a:lnTo>
                    <a:lnTo>
                      <a:pt x="308788" y="428513"/>
                    </a:lnTo>
                    <a:lnTo>
                      <a:pt x="308788" y="428789"/>
                    </a:lnTo>
                    <a:lnTo>
                      <a:pt x="308788" y="429341"/>
                    </a:lnTo>
                    <a:lnTo>
                      <a:pt x="308788" y="429617"/>
                    </a:lnTo>
                    <a:lnTo>
                      <a:pt x="308788" y="430170"/>
                    </a:lnTo>
                    <a:lnTo>
                      <a:pt x="309775" y="430446"/>
                    </a:lnTo>
                    <a:lnTo>
                      <a:pt x="310762" y="430446"/>
                    </a:lnTo>
                    <a:lnTo>
                      <a:pt x="311749" y="430998"/>
                    </a:lnTo>
                    <a:lnTo>
                      <a:pt x="312407" y="431826"/>
                    </a:lnTo>
                    <a:lnTo>
                      <a:pt x="311749" y="432378"/>
                    </a:lnTo>
                    <a:lnTo>
                      <a:pt x="310433" y="432654"/>
                    </a:lnTo>
                    <a:lnTo>
                      <a:pt x="310433" y="433206"/>
                    </a:lnTo>
                    <a:lnTo>
                      <a:pt x="309775" y="433482"/>
                    </a:lnTo>
                    <a:lnTo>
                      <a:pt x="309446" y="433482"/>
                    </a:lnTo>
                    <a:lnTo>
                      <a:pt x="308788" y="433482"/>
                    </a:lnTo>
                    <a:lnTo>
                      <a:pt x="308459" y="433482"/>
                    </a:lnTo>
                    <a:lnTo>
                      <a:pt x="307801" y="433482"/>
                    </a:lnTo>
                    <a:lnTo>
                      <a:pt x="307143" y="433482"/>
                    </a:lnTo>
                    <a:lnTo>
                      <a:pt x="306485" y="433942"/>
                    </a:lnTo>
                    <a:lnTo>
                      <a:pt x="304059" y="430301"/>
                    </a:lnTo>
                    <a:cubicBezTo>
                      <a:pt x="300351" y="428447"/>
                      <a:pt x="296643" y="428447"/>
                      <a:pt x="294789" y="430301"/>
                    </a:cubicBezTo>
                    <a:lnTo>
                      <a:pt x="288428" y="433482"/>
                    </a:lnTo>
                    <a:lnTo>
                      <a:pt x="287730" y="433482"/>
                    </a:lnTo>
                    <a:lnTo>
                      <a:pt x="286414" y="434034"/>
                    </a:lnTo>
                    <a:lnTo>
                      <a:pt x="285427" y="434310"/>
                    </a:lnTo>
                    <a:lnTo>
                      <a:pt x="285098" y="434863"/>
                    </a:lnTo>
                    <a:lnTo>
                      <a:pt x="284440" y="434863"/>
                    </a:lnTo>
                    <a:lnTo>
                      <a:pt x="282465" y="435139"/>
                    </a:lnTo>
                    <a:lnTo>
                      <a:pt x="281582" y="435633"/>
                    </a:lnTo>
                    <a:lnTo>
                      <a:pt x="266978" y="434010"/>
                    </a:lnTo>
                    <a:cubicBezTo>
                      <a:pt x="261416" y="434010"/>
                      <a:pt x="255854" y="434010"/>
                      <a:pt x="248438" y="432156"/>
                    </a:cubicBezTo>
                    <a:cubicBezTo>
                      <a:pt x="246584" y="432156"/>
                      <a:pt x="242876" y="432156"/>
                      <a:pt x="241022" y="434010"/>
                    </a:cubicBezTo>
                    <a:lnTo>
                      <a:pt x="240289" y="436943"/>
                    </a:lnTo>
                    <a:lnTo>
                      <a:pt x="240020" y="435139"/>
                    </a:lnTo>
                    <a:lnTo>
                      <a:pt x="239362" y="434863"/>
                    </a:lnTo>
                    <a:lnTo>
                      <a:pt x="238046" y="434310"/>
                    </a:lnTo>
                    <a:lnTo>
                      <a:pt x="237388" y="435967"/>
                    </a:lnTo>
                    <a:lnTo>
                      <a:pt x="237388" y="438451"/>
                    </a:lnTo>
                    <a:lnTo>
                      <a:pt x="237388" y="442040"/>
                    </a:lnTo>
                    <a:lnTo>
                      <a:pt x="237388" y="442317"/>
                    </a:lnTo>
                    <a:lnTo>
                      <a:pt x="235460" y="443281"/>
                    </a:lnTo>
                    <a:lnTo>
                      <a:pt x="229708" y="446733"/>
                    </a:lnTo>
                    <a:lnTo>
                      <a:pt x="227846" y="446733"/>
                    </a:lnTo>
                    <a:lnTo>
                      <a:pt x="226201" y="447009"/>
                    </a:lnTo>
                    <a:lnTo>
                      <a:pt x="225214" y="447837"/>
                    </a:lnTo>
                    <a:lnTo>
                      <a:pt x="225214" y="447561"/>
                    </a:lnTo>
                    <a:lnTo>
                      <a:pt x="225214" y="447009"/>
                    </a:lnTo>
                    <a:lnTo>
                      <a:pt x="225214" y="446733"/>
                    </a:lnTo>
                    <a:lnTo>
                      <a:pt x="224556" y="446733"/>
                    </a:lnTo>
                    <a:lnTo>
                      <a:pt x="224556" y="447009"/>
                    </a:lnTo>
                    <a:lnTo>
                      <a:pt x="224556" y="447561"/>
                    </a:lnTo>
                    <a:lnTo>
                      <a:pt x="224556" y="447837"/>
                    </a:lnTo>
                    <a:lnTo>
                      <a:pt x="224227" y="448389"/>
                    </a:lnTo>
                    <a:lnTo>
                      <a:pt x="223569" y="448665"/>
                    </a:lnTo>
                    <a:lnTo>
                      <a:pt x="223240" y="448389"/>
                    </a:lnTo>
                    <a:lnTo>
                      <a:pt x="223240" y="447837"/>
                    </a:lnTo>
                    <a:lnTo>
                      <a:pt x="222582" y="447837"/>
                    </a:lnTo>
                    <a:lnTo>
                      <a:pt x="222253" y="447837"/>
                    </a:lnTo>
                    <a:lnTo>
                      <a:pt x="222253" y="448389"/>
                    </a:lnTo>
                    <a:lnTo>
                      <a:pt x="222253" y="448665"/>
                    </a:lnTo>
                    <a:lnTo>
                      <a:pt x="222253" y="448844"/>
                    </a:lnTo>
                    <a:lnTo>
                      <a:pt x="218774" y="448844"/>
                    </a:lnTo>
                    <a:cubicBezTo>
                      <a:pt x="215066" y="446990"/>
                      <a:pt x="215066" y="445135"/>
                      <a:pt x="211358" y="445135"/>
                    </a:cubicBezTo>
                    <a:cubicBezTo>
                      <a:pt x="207650" y="445135"/>
                      <a:pt x="203942" y="446990"/>
                      <a:pt x="200234" y="443281"/>
                    </a:cubicBezTo>
                    <a:cubicBezTo>
                      <a:pt x="198380" y="441427"/>
                      <a:pt x="196526" y="437718"/>
                      <a:pt x="196526" y="435864"/>
                    </a:cubicBezTo>
                    <a:cubicBezTo>
                      <a:pt x="196526" y="432156"/>
                      <a:pt x="196526" y="428447"/>
                      <a:pt x="194672" y="424739"/>
                    </a:cubicBezTo>
                    <a:cubicBezTo>
                      <a:pt x="192818" y="422884"/>
                      <a:pt x="189110" y="419176"/>
                      <a:pt x="185402" y="419176"/>
                    </a:cubicBezTo>
                    <a:cubicBezTo>
                      <a:pt x="183548" y="417322"/>
                      <a:pt x="179840" y="419176"/>
                      <a:pt x="179840" y="415467"/>
                    </a:cubicBezTo>
                    <a:cubicBezTo>
                      <a:pt x="177986" y="411759"/>
                      <a:pt x="179840" y="409905"/>
                      <a:pt x="177986" y="406196"/>
                    </a:cubicBezTo>
                    <a:cubicBezTo>
                      <a:pt x="177986" y="404342"/>
                      <a:pt x="176132" y="400633"/>
                      <a:pt x="176132" y="398779"/>
                    </a:cubicBezTo>
                    <a:cubicBezTo>
                      <a:pt x="174278" y="396925"/>
                      <a:pt x="174278" y="395071"/>
                      <a:pt x="174278" y="395071"/>
                    </a:cubicBezTo>
                    <a:cubicBezTo>
                      <a:pt x="172424" y="393216"/>
                      <a:pt x="170570" y="391362"/>
                      <a:pt x="170570" y="393216"/>
                    </a:cubicBezTo>
                    <a:cubicBezTo>
                      <a:pt x="168716" y="393216"/>
                      <a:pt x="168716" y="395071"/>
                      <a:pt x="168716" y="396925"/>
                    </a:cubicBezTo>
                    <a:cubicBezTo>
                      <a:pt x="168716" y="400633"/>
                      <a:pt x="165008" y="400633"/>
                      <a:pt x="161300" y="400633"/>
                    </a:cubicBezTo>
                    <a:cubicBezTo>
                      <a:pt x="157591" y="400633"/>
                      <a:pt x="152029" y="398779"/>
                      <a:pt x="146467" y="398779"/>
                    </a:cubicBezTo>
                    <a:cubicBezTo>
                      <a:pt x="140905" y="398779"/>
                      <a:pt x="135343" y="398779"/>
                      <a:pt x="129781" y="400633"/>
                    </a:cubicBezTo>
                    <a:cubicBezTo>
                      <a:pt x="126073" y="402488"/>
                      <a:pt x="122365" y="406196"/>
                      <a:pt x="118657" y="406196"/>
                    </a:cubicBezTo>
                    <a:cubicBezTo>
                      <a:pt x="113095" y="408050"/>
                      <a:pt x="109387" y="404342"/>
                      <a:pt x="103825" y="402488"/>
                    </a:cubicBezTo>
                    <a:cubicBezTo>
                      <a:pt x="101971" y="402488"/>
                      <a:pt x="100117" y="402488"/>
                      <a:pt x="100117" y="400633"/>
                    </a:cubicBezTo>
                    <a:cubicBezTo>
                      <a:pt x="98263" y="400633"/>
                      <a:pt x="98263" y="398779"/>
                      <a:pt x="98263" y="396925"/>
                    </a:cubicBezTo>
                    <a:cubicBezTo>
                      <a:pt x="96409" y="395071"/>
                      <a:pt x="94555" y="395071"/>
                      <a:pt x="92701" y="395071"/>
                    </a:cubicBezTo>
                    <a:cubicBezTo>
                      <a:pt x="92701" y="396925"/>
                      <a:pt x="92701" y="398779"/>
                      <a:pt x="90847" y="400633"/>
                    </a:cubicBezTo>
                    <a:cubicBezTo>
                      <a:pt x="90847" y="400633"/>
                      <a:pt x="88993" y="400633"/>
                      <a:pt x="87139" y="400633"/>
                    </a:cubicBezTo>
                    <a:cubicBezTo>
                      <a:pt x="85285" y="400633"/>
                      <a:pt x="83431" y="400633"/>
                      <a:pt x="81577" y="402488"/>
                    </a:cubicBezTo>
                    <a:cubicBezTo>
                      <a:pt x="81577" y="402488"/>
                      <a:pt x="79723" y="406196"/>
                      <a:pt x="77869" y="406196"/>
                    </a:cubicBezTo>
                    <a:cubicBezTo>
                      <a:pt x="76015" y="406196"/>
                      <a:pt x="74161" y="406196"/>
                      <a:pt x="72307" y="406196"/>
                    </a:cubicBezTo>
                    <a:cubicBezTo>
                      <a:pt x="68599" y="404342"/>
                      <a:pt x="64891" y="402488"/>
                      <a:pt x="59329" y="402488"/>
                    </a:cubicBezTo>
                    <a:cubicBezTo>
                      <a:pt x="57475" y="402488"/>
                      <a:pt x="53767" y="402488"/>
                      <a:pt x="51913" y="402488"/>
                    </a:cubicBezTo>
                    <a:cubicBezTo>
                      <a:pt x="50059" y="402488"/>
                      <a:pt x="48205" y="404342"/>
                      <a:pt x="48205" y="406196"/>
                    </a:cubicBezTo>
                    <a:cubicBezTo>
                      <a:pt x="44497" y="409905"/>
                      <a:pt x="40789" y="408050"/>
                      <a:pt x="37081" y="406196"/>
                    </a:cubicBezTo>
                    <a:cubicBezTo>
                      <a:pt x="33373" y="404342"/>
                      <a:pt x="27810" y="408050"/>
                      <a:pt x="25956" y="409905"/>
                    </a:cubicBezTo>
                    <a:cubicBezTo>
                      <a:pt x="20394" y="411759"/>
                      <a:pt x="20394" y="406196"/>
                      <a:pt x="20394" y="402488"/>
                    </a:cubicBezTo>
                    <a:cubicBezTo>
                      <a:pt x="22248" y="396925"/>
                      <a:pt x="24102" y="391362"/>
                      <a:pt x="24102" y="385799"/>
                    </a:cubicBezTo>
                    <a:cubicBezTo>
                      <a:pt x="25956" y="382091"/>
                      <a:pt x="25956" y="376528"/>
                      <a:pt x="27810" y="370965"/>
                    </a:cubicBezTo>
                    <a:cubicBezTo>
                      <a:pt x="29664" y="367257"/>
                      <a:pt x="37081" y="365402"/>
                      <a:pt x="40789" y="363548"/>
                    </a:cubicBezTo>
                    <a:cubicBezTo>
                      <a:pt x="44497" y="361694"/>
                      <a:pt x="51913" y="361694"/>
                      <a:pt x="55621" y="361694"/>
                    </a:cubicBezTo>
                    <a:cubicBezTo>
                      <a:pt x="59329" y="359840"/>
                      <a:pt x="63037" y="359840"/>
                      <a:pt x="66745" y="357985"/>
                    </a:cubicBezTo>
                    <a:cubicBezTo>
                      <a:pt x="68599" y="354277"/>
                      <a:pt x="70453" y="348714"/>
                      <a:pt x="70453" y="345006"/>
                    </a:cubicBezTo>
                    <a:cubicBezTo>
                      <a:pt x="70453" y="341297"/>
                      <a:pt x="72307" y="335734"/>
                      <a:pt x="68599" y="333880"/>
                    </a:cubicBezTo>
                    <a:cubicBezTo>
                      <a:pt x="66745" y="333880"/>
                      <a:pt x="63037" y="333880"/>
                      <a:pt x="59329" y="333880"/>
                    </a:cubicBezTo>
                    <a:cubicBezTo>
                      <a:pt x="55621" y="333880"/>
                      <a:pt x="55621" y="333880"/>
                      <a:pt x="55621" y="330172"/>
                    </a:cubicBezTo>
                    <a:cubicBezTo>
                      <a:pt x="55621" y="324609"/>
                      <a:pt x="55621" y="320900"/>
                      <a:pt x="55621" y="317192"/>
                    </a:cubicBezTo>
                    <a:cubicBezTo>
                      <a:pt x="55621" y="313483"/>
                      <a:pt x="57475" y="306066"/>
                      <a:pt x="55621" y="302358"/>
                    </a:cubicBezTo>
                    <a:cubicBezTo>
                      <a:pt x="53767" y="298649"/>
                      <a:pt x="48205" y="296795"/>
                      <a:pt x="42643" y="294941"/>
                    </a:cubicBezTo>
                    <a:cubicBezTo>
                      <a:pt x="38935" y="293087"/>
                      <a:pt x="33373" y="293087"/>
                      <a:pt x="29664" y="289378"/>
                    </a:cubicBezTo>
                    <a:cubicBezTo>
                      <a:pt x="25956" y="287524"/>
                      <a:pt x="22248" y="281961"/>
                      <a:pt x="20394" y="278253"/>
                    </a:cubicBezTo>
                    <a:cubicBezTo>
                      <a:pt x="12978" y="268981"/>
                      <a:pt x="5562" y="259710"/>
                      <a:pt x="0" y="250439"/>
                    </a:cubicBezTo>
                    <a:cubicBezTo>
                      <a:pt x="22248" y="257856"/>
                      <a:pt x="46351" y="265273"/>
                      <a:pt x="70453" y="261564"/>
                    </a:cubicBezTo>
                    <a:cubicBezTo>
                      <a:pt x="77869" y="261564"/>
                      <a:pt x="81577" y="261564"/>
                      <a:pt x="87139" y="263418"/>
                    </a:cubicBezTo>
                    <a:cubicBezTo>
                      <a:pt x="92701" y="265273"/>
                      <a:pt x="98263" y="265273"/>
                      <a:pt x="101971" y="261564"/>
                    </a:cubicBezTo>
                    <a:cubicBezTo>
                      <a:pt x="109387" y="256001"/>
                      <a:pt x="120511" y="257856"/>
                      <a:pt x="131635" y="257856"/>
                    </a:cubicBezTo>
                    <a:cubicBezTo>
                      <a:pt x="137197" y="257856"/>
                      <a:pt x="142759" y="256001"/>
                      <a:pt x="148321" y="254147"/>
                    </a:cubicBezTo>
                    <a:cubicBezTo>
                      <a:pt x="152029" y="252293"/>
                      <a:pt x="157591" y="252293"/>
                      <a:pt x="161300" y="250439"/>
                    </a:cubicBezTo>
                    <a:cubicBezTo>
                      <a:pt x="170570" y="244876"/>
                      <a:pt x="166862" y="231896"/>
                      <a:pt x="168716" y="224479"/>
                    </a:cubicBezTo>
                    <a:cubicBezTo>
                      <a:pt x="168716" y="220771"/>
                      <a:pt x="168716" y="217062"/>
                      <a:pt x="168716" y="215208"/>
                    </a:cubicBezTo>
                    <a:cubicBezTo>
                      <a:pt x="168716" y="213354"/>
                      <a:pt x="170570" y="211499"/>
                      <a:pt x="172424" y="209645"/>
                    </a:cubicBezTo>
                    <a:cubicBezTo>
                      <a:pt x="176132" y="205937"/>
                      <a:pt x="179840" y="202228"/>
                      <a:pt x="183548" y="200374"/>
                    </a:cubicBezTo>
                    <a:cubicBezTo>
                      <a:pt x="187256" y="198520"/>
                      <a:pt x="192818" y="202228"/>
                      <a:pt x="196526" y="204082"/>
                    </a:cubicBezTo>
                    <a:cubicBezTo>
                      <a:pt x="202088" y="204082"/>
                      <a:pt x="205796" y="200374"/>
                      <a:pt x="209504" y="196665"/>
                    </a:cubicBezTo>
                    <a:cubicBezTo>
                      <a:pt x="211358" y="196665"/>
                      <a:pt x="211358" y="194811"/>
                      <a:pt x="211358" y="192957"/>
                    </a:cubicBezTo>
                    <a:cubicBezTo>
                      <a:pt x="211358" y="192957"/>
                      <a:pt x="211358" y="191103"/>
                      <a:pt x="211358" y="191103"/>
                    </a:cubicBezTo>
                    <a:cubicBezTo>
                      <a:pt x="211358" y="189248"/>
                      <a:pt x="213212" y="187394"/>
                      <a:pt x="215066" y="187394"/>
                    </a:cubicBezTo>
                    <a:cubicBezTo>
                      <a:pt x="218774" y="185540"/>
                      <a:pt x="222482" y="185540"/>
                      <a:pt x="226190" y="183686"/>
                    </a:cubicBezTo>
                    <a:cubicBezTo>
                      <a:pt x="228044" y="181831"/>
                      <a:pt x="231752" y="179977"/>
                      <a:pt x="233606" y="181831"/>
                    </a:cubicBezTo>
                    <a:cubicBezTo>
                      <a:pt x="235460" y="181831"/>
                      <a:pt x="237314" y="183686"/>
                      <a:pt x="239168" y="185540"/>
                    </a:cubicBezTo>
                    <a:cubicBezTo>
                      <a:pt x="241022" y="187394"/>
                      <a:pt x="246584" y="187394"/>
                      <a:pt x="250292" y="185540"/>
                    </a:cubicBezTo>
                    <a:cubicBezTo>
                      <a:pt x="254000" y="183686"/>
                      <a:pt x="259562" y="178123"/>
                      <a:pt x="261416" y="174414"/>
                    </a:cubicBezTo>
                    <a:cubicBezTo>
                      <a:pt x="263270" y="170706"/>
                      <a:pt x="259562" y="165143"/>
                      <a:pt x="259562" y="161434"/>
                    </a:cubicBezTo>
                    <a:cubicBezTo>
                      <a:pt x="259562" y="157726"/>
                      <a:pt x="261416" y="155872"/>
                      <a:pt x="263270" y="154017"/>
                    </a:cubicBezTo>
                    <a:cubicBezTo>
                      <a:pt x="265124" y="152163"/>
                      <a:pt x="266978" y="152163"/>
                      <a:pt x="266978" y="148455"/>
                    </a:cubicBezTo>
                    <a:cubicBezTo>
                      <a:pt x="268832" y="146600"/>
                      <a:pt x="265124" y="139183"/>
                      <a:pt x="268832" y="137329"/>
                    </a:cubicBezTo>
                    <a:cubicBezTo>
                      <a:pt x="270686" y="135475"/>
                      <a:pt x="276248" y="137329"/>
                      <a:pt x="279956" y="135475"/>
                    </a:cubicBezTo>
                    <a:cubicBezTo>
                      <a:pt x="285518" y="135475"/>
                      <a:pt x="289227" y="131766"/>
                      <a:pt x="291081" y="128058"/>
                    </a:cubicBezTo>
                    <a:cubicBezTo>
                      <a:pt x="294789" y="120641"/>
                      <a:pt x="283664" y="113224"/>
                      <a:pt x="281810" y="105807"/>
                    </a:cubicBezTo>
                    <a:cubicBezTo>
                      <a:pt x="279956" y="102098"/>
                      <a:pt x="283664" y="102098"/>
                      <a:pt x="287372" y="102098"/>
                    </a:cubicBezTo>
                    <a:cubicBezTo>
                      <a:pt x="292935" y="103953"/>
                      <a:pt x="298497" y="105807"/>
                      <a:pt x="304059" y="105807"/>
                    </a:cubicBezTo>
                    <a:cubicBezTo>
                      <a:pt x="307767" y="105807"/>
                      <a:pt x="311475" y="103953"/>
                      <a:pt x="315183" y="100244"/>
                    </a:cubicBezTo>
                    <a:cubicBezTo>
                      <a:pt x="317037" y="98390"/>
                      <a:pt x="320745" y="94681"/>
                      <a:pt x="318891" y="90973"/>
                    </a:cubicBezTo>
                    <a:cubicBezTo>
                      <a:pt x="318891" y="87264"/>
                      <a:pt x="317037" y="85410"/>
                      <a:pt x="317037" y="83556"/>
                    </a:cubicBezTo>
                    <a:cubicBezTo>
                      <a:pt x="317037" y="81702"/>
                      <a:pt x="318891" y="79847"/>
                      <a:pt x="318891" y="77993"/>
                    </a:cubicBezTo>
                    <a:cubicBezTo>
                      <a:pt x="322599" y="74285"/>
                      <a:pt x="326307" y="72430"/>
                      <a:pt x="328161" y="68722"/>
                    </a:cubicBezTo>
                    <a:cubicBezTo>
                      <a:pt x="331869" y="65013"/>
                      <a:pt x="333723" y="59451"/>
                      <a:pt x="335577" y="55742"/>
                    </a:cubicBezTo>
                    <a:cubicBezTo>
                      <a:pt x="337431" y="50179"/>
                      <a:pt x="333723" y="44616"/>
                      <a:pt x="330015" y="40908"/>
                    </a:cubicBezTo>
                    <a:cubicBezTo>
                      <a:pt x="328161" y="37199"/>
                      <a:pt x="322599" y="31637"/>
                      <a:pt x="324453" y="27928"/>
                    </a:cubicBezTo>
                    <a:cubicBezTo>
                      <a:pt x="326307" y="24220"/>
                      <a:pt x="331869" y="20511"/>
                      <a:pt x="335577" y="18657"/>
                    </a:cubicBezTo>
                    <a:cubicBezTo>
                      <a:pt x="337431" y="18657"/>
                      <a:pt x="339285" y="18657"/>
                      <a:pt x="342993" y="18657"/>
                    </a:cubicBezTo>
                    <a:cubicBezTo>
                      <a:pt x="344847" y="16803"/>
                      <a:pt x="346701" y="16803"/>
                      <a:pt x="348555" y="14948"/>
                    </a:cubicBezTo>
                    <a:cubicBezTo>
                      <a:pt x="352263" y="13094"/>
                      <a:pt x="355971" y="9386"/>
                      <a:pt x="359679" y="7531"/>
                    </a:cubicBezTo>
                    <a:cubicBezTo>
                      <a:pt x="363387" y="5677"/>
                      <a:pt x="368949" y="5677"/>
                      <a:pt x="374511" y="3823"/>
                    </a:cubicBezTo>
                    <a:close/>
                    <a:moveTo>
                      <a:pt x="449614" y="0"/>
                    </a:moveTo>
                    <a:lnTo>
                      <a:pt x="450526" y="114"/>
                    </a:lnTo>
                    <a:lnTo>
                      <a:pt x="454660" y="3068"/>
                    </a:lnTo>
                    <a:lnTo>
                      <a:pt x="453233" y="3666"/>
                    </a:lnTo>
                    <a:lnTo>
                      <a:pt x="453233" y="4218"/>
                    </a:lnTo>
                    <a:lnTo>
                      <a:pt x="452575" y="4494"/>
                    </a:lnTo>
                    <a:lnTo>
                      <a:pt x="450601" y="4494"/>
                    </a:lnTo>
                    <a:lnTo>
                      <a:pt x="450272" y="3666"/>
                    </a:lnTo>
                    <a:lnTo>
                      <a:pt x="449614" y="2286"/>
                    </a:lnTo>
                    <a:lnTo>
                      <a:pt x="449614" y="630"/>
                    </a:ln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noAutofit/>
              </a:bodyPr>
              <a:lstStyle/>
              <a:p>
                <a:endParaRPr lang="en-US" sz="1200">
                  <a:solidFill>
                    <a:srgbClr val="000000"/>
                  </a:solidFill>
                </a:endParaRPr>
              </a:p>
            </p:txBody>
          </p:sp>
          <p:sp>
            <p:nvSpPr>
              <p:cNvPr id="264" name="Freeform 362">
                <a:extLst>
                  <a:ext uri="{FF2B5EF4-FFF2-40B4-BE49-F238E27FC236}">
                    <a16:creationId xmlns:a16="http://schemas.microsoft.com/office/drawing/2014/main" id="{B29F4E9E-AA88-9F0F-CA55-4F99C07DC9C7}"/>
                  </a:ext>
                </a:extLst>
              </p:cNvPr>
              <p:cNvSpPr/>
              <p:nvPr>
                <p:custDataLst>
                  <p:tags r:id="rId202"/>
                </p:custDataLst>
              </p:nvPr>
            </p:nvSpPr>
            <p:spPr bwMode="auto">
              <a:xfrm>
                <a:off x="8932354" y="2848083"/>
                <a:ext cx="10205" cy="8929"/>
              </a:xfrm>
              <a:custGeom>
                <a:avLst/>
                <a:gdLst>
                  <a:gd name="T0" fmla="*/ 4 w 7"/>
                  <a:gd name="T1" fmla="*/ 1 h 6"/>
                  <a:gd name="T2" fmla="*/ 3 w 7"/>
                  <a:gd name="T3" fmla="*/ 2 h 6"/>
                  <a:gd name="T4" fmla="*/ 1 w 7"/>
                  <a:gd name="T5" fmla="*/ 3 h 6"/>
                  <a:gd name="T6" fmla="*/ 1 w 7"/>
                  <a:gd name="T7" fmla="*/ 5 h 6"/>
                  <a:gd name="T8" fmla="*/ 3 w 7"/>
                  <a:gd name="T9" fmla="*/ 5 h 6"/>
                  <a:gd name="T10" fmla="*/ 5 w 7"/>
                  <a:gd name="T11" fmla="*/ 4 h 6"/>
                  <a:gd name="T12" fmla="*/ 6 w 7"/>
                  <a:gd name="T13" fmla="*/ 2 h 6"/>
                  <a:gd name="T14" fmla="*/ 4 w 7"/>
                  <a:gd name="T15" fmla="*/ 1 h 6"/>
                  <a:gd name="T16" fmla="*/ 4 w 7"/>
                  <a:gd name="T17" fmla="*/ 1 h 6"/>
                  <a:gd name="T18" fmla="*/ 4 w 7"/>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4" y="1"/>
                    </a:moveTo>
                    <a:cubicBezTo>
                      <a:pt x="4" y="2"/>
                      <a:pt x="4" y="2"/>
                      <a:pt x="3" y="2"/>
                    </a:cubicBezTo>
                    <a:cubicBezTo>
                      <a:pt x="1" y="2"/>
                      <a:pt x="1" y="2"/>
                      <a:pt x="1" y="3"/>
                    </a:cubicBezTo>
                    <a:cubicBezTo>
                      <a:pt x="0" y="4"/>
                      <a:pt x="0" y="4"/>
                      <a:pt x="1" y="5"/>
                    </a:cubicBezTo>
                    <a:cubicBezTo>
                      <a:pt x="1" y="6"/>
                      <a:pt x="2" y="6"/>
                      <a:pt x="3" y="5"/>
                    </a:cubicBezTo>
                    <a:cubicBezTo>
                      <a:pt x="4" y="5"/>
                      <a:pt x="4" y="5"/>
                      <a:pt x="5" y="4"/>
                    </a:cubicBezTo>
                    <a:cubicBezTo>
                      <a:pt x="6" y="4"/>
                      <a:pt x="6" y="3"/>
                      <a:pt x="6" y="2"/>
                    </a:cubicBezTo>
                    <a:cubicBezTo>
                      <a:pt x="7" y="1"/>
                      <a:pt x="5" y="0"/>
                      <a:pt x="4" y="1"/>
                    </a:cubicBezTo>
                    <a:cubicBezTo>
                      <a:pt x="4" y="1"/>
                      <a:pt x="4" y="1"/>
                      <a:pt x="4" y="1"/>
                    </a:cubicBezTo>
                    <a:cubicBezTo>
                      <a:pt x="4" y="1"/>
                      <a:pt x="4" y="1"/>
                      <a:pt x="4" y="1"/>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65" name="Freeform 363">
                <a:extLst>
                  <a:ext uri="{FF2B5EF4-FFF2-40B4-BE49-F238E27FC236}">
                    <a16:creationId xmlns:a16="http://schemas.microsoft.com/office/drawing/2014/main" id="{2BBDFEE1-B857-CA93-5A6E-ADE25B4C100B}"/>
                  </a:ext>
                </a:extLst>
              </p:cNvPr>
              <p:cNvSpPr/>
              <p:nvPr>
                <p:custDataLst>
                  <p:tags r:id="rId203"/>
                </p:custDataLst>
              </p:nvPr>
            </p:nvSpPr>
            <p:spPr bwMode="auto">
              <a:xfrm>
                <a:off x="8943835" y="2848083"/>
                <a:ext cx="24235" cy="19133"/>
              </a:xfrm>
              <a:custGeom>
                <a:avLst/>
                <a:gdLst>
                  <a:gd name="T0" fmla="*/ 6 w 16"/>
                  <a:gd name="T1" fmla="*/ 10 h 13"/>
                  <a:gd name="T2" fmla="*/ 10 w 16"/>
                  <a:gd name="T3" fmla="*/ 10 h 13"/>
                  <a:gd name="T4" fmla="*/ 13 w 16"/>
                  <a:gd name="T5" fmla="*/ 6 h 13"/>
                  <a:gd name="T6" fmla="*/ 15 w 16"/>
                  <a:gd name="T7" fmla="*/ 2 h 13"/>
                  <a:gd name="T8" fmla="*/ 12 w 16"/>
                  <a:gd name="T9" fmla="*/ 2 h 13"/>
                  <a:gd name="T10" fmla="*/ 9 w 16"/>
                  <a:gd name="T11" fmla="*/ 0 h 13"/>
                  <a:gd name="T12" fmla="*/ 6 w 16"/>
                  <a:gd name="T13" fmla="*/ 0 h 13"/>
                  <a:gd name="T14" fmla="*/ 4 w 16"/>
                  <a:gd name="T15" fmla="*/ 3 h 13"/>
                  <a:gd name="T16" fmla="*/ 2 w 16"/>
                  <a:gd name="T17" fmla="*/ 7 h 13"/>
                  <a:gd name="T18" fmla="*/ 5 w 16"/>
                  <a:gd name="T19" fmla="*/ 6 h 13"/>
                  <a:gd name="T20" fmla="*/ 6 w 16"/>
                  <a:gd name="T21" fmla="*/ 8 h 13"/>
                  <a:gd name="T22" fmla="*/ 7 w 16"/>
                  <a:gd name="T23" fmla="*/ 10 h 13"/>
                  <a:gd name="T24" fmla="*/ 6 w 16"/>
                  <a:gd name="T25" fmla="*/ 10 h 13"/>
                  <a:gd name="T26" fmla="*/ 6 w 16"/>
                  <a:gd name="T27"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3">
                    <a:moveTo>
                      <a:pt x="6" y="10"/>
                    </a:moveTo>
                    <a:cubicBezTo>
                      <a:pt x="8" y="11"/>
                      <a:pt x="9" y="13"/>
                      <a:pt x="10" y="10"/>
                    </a:cubicBezTo>
                    <a:cubicBezTo>
                      <a:pt x="10" y="8"/>
                      <a:pt x="12" y="8"/>
                      <a:pt x="13" y="6"/>
                    </a:cubicBezTo>
                    <a:cubicBezTo>
                      <a:pt x="13" y="5"/>
                      <a:pt x="16" y="3"/>
                      <a:pt x="15" y="2"/>
                    </a:cubicBezTo>
                    <a:cubicBezTo>
                      <a:pt x="15" y="2"/>
                      <a:pt x="13" y="2"/>
                      <a:pt x="12" y="2"/>
                    </a:cubicBezTo>
                    <a:cubicBezTo>
                      <a:pt x="11" y="2"/>
                      <a:pt x="10" y="1"/>
                      <a:pt x="9" y="0"/>
                    </a:cubicBezTo>
                    <a:cubicBezTo>
                      <a:pt x="8" y="0"/>
                      <a:pt x="7" y="0"/>
                      <a:pt x="6" y="0"/>
                    </a:cubicBezTo>
                    <a:cubicBezTo>
                      <a:pt x="5" y="1"/>
                      <a:pt x="5" y="2"/>
                      <a:pt x="4" y="3"/>
                    </a:cubicBezTo>
                    <a:cubicBezTo>
                      <a:pt x="4" y="3"/>
                      <a:pt x="0" y="6"/>
                      <a:pt x="2" y="7"/>
                    </a:cubicBezTo>
                    <a:cubicBezTo>
                      <a:pt x="3" y="7"/>
                      <a:pt x="4" y="6"/>
                      <a:pt x="5" y="6"/>
                    </a:cubicBezTo>
                    <a:cubicBezTo>
                      <a:pt x="6" y="6"/>
                      <a:pt x="7" y="8"/>
                      <a:pt x="6" y="8"/>
                    </a:cubicBezTo>
                    <a:cubicBezTo>
                      <a:pt x="6" y="9"/>
                      <a:pt x="6" y="9"/>
                      <a:pt x="7" y="10"/>
                    </a:cubicBezTo>
                    <a:cubicBezTo>
                      <a:pt x="7" y="10"/>
                      <a:pt x="7" y="10"/>
                      <a:pt x="6" y="10"/>
                    </a:cubicBezTo>
                    <a:cubicBezTo>
                      <a:pt x="7" y="10"/>
                      <a:pt x="6" y="10"/>
                      <a:pt x="6" y="10"/>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66" name="Freeform 365">
                <a:extLst>
                  <a:ext uri="{FF2B5EF4-FFF2-40B4-BE49-F238E27FC236}">
                    <a16:creationId xmlns:a16="http://schemas.microsoft.com/office/drawing/2014/main" id="{88CD61B3-83AD-0333-2FDE-B0B5AE3A7A48}"/>
                  </a:ext>
                </a:extLst>
              </p:cNvPr>
              <p:cNvSpPr>
                <a:spLocks noEditPoints="1"/>
              </p:cNvSpPr>
              <p:nvPr>
                <p:custDataLst>
                  <p:tags r:id="rId204"/>
                </p:custDataLst>
              </p:nvPr>
            </p:nvSpPr>
            <p:spPr bwMode="auto">
              <a:xfrm>
                <a:off x="6163142" y="1637588"/>
                <a:ext cx="4151907" cy="1663313"/>
              </a:xfrm>
              <a:custGeom>
                <a:avLst/>
                <a:gdLst>
                  <a:gd name="T0" fmla="*/ 2677 w 2789"/>
                  <a:gd name="T1" fmla="*/ 494 h 1116"/>
                  <a:gd name="T2" fmla="*/ 2378 w 2789"/>
                  <a:gd name="T3" fmla="*/ 427 h 1116"/>
                  <a:gd name="T4" fmla="*/ 2032 w 2789"/>
                  <a:gd name="T5" fmla="*/ 349 h 1116"/>
                  <a:gd name="T6" fmla="*/ 1900 w 2789"/>
                  <a:gd name="T7" fmla="*/ 369 h 1116"/>
                  <a:gd name="T8" fmla="*/ 1726 w 2789"/>
                  <a:gd name="T9" fmla="*/ 321 h 1116"/>
                  <a:gd name="T10" fmla="*/ 1454 w 2789"/>
                  <a:gd name="T11" fmla="*/ 295 h 1116"/>
                  <a:gd name="T12" fmla="*/ 1452 w 2789"/>
                  <a:gd name="T13" fmla="*/ 230 h 1116"/>
                  <a:gd name="T14" fmla="*/ 1327 w 2789"/>
                  <a:gd name="T15" fmla="*/ 181 h 1116"/>
                  <a:gd name="T16" fmla="*/ 1116 w 2789"/>
                  <a:gd name="T17" fmla="*/ 218 h 1116"/>
                  <a:gd name="T18" fmla="*/ 914 w 2789"/>
                  <a:gd name="T19" fmla="*/ 341 h 1116"/>
                  <a:gd name="T20" fmla="*/ 820 w 2789"/>
                  <a:gd name="T21" fmla="*/ 347 h 1116"/>
                  <a:gd name="T22" fmla="*/ 850 w 2789"/>
                  <a:gd name="T23" fmla="*/ 485 h 1116"/>
                  <a:gd name="T24" fmla="*/ 768 w 2789"/>
                  <a:gd name="T25" fmla="*/ 413 h 1116"/>
                  <a:gd name="T26" fmla="*/ 677 w 2789"/>
                  <a:gd name="T27" fmla="*/ 452 h 1116"/>
                  <a:gd name="T28" fmla="*/ 432 w 2789"/>
                  <a:gd name="T29" fmla="*/ 453 h 1116"/>
                  <a:gd name="T30" fmla="*/ 283 w 2789"/>
                  <a:gd name="T31" fmla="*/ 533 h 1116"/>
                  <a:gd name="T32" fmla="*/ 96 w 2789"/>
                  <a:gd name="T33" fmla="*/ 515 h 1116"/>
                  <a:gd name="T34" fmla="*/ 98 w 2789"/>
                  <a:gd name="T35" fmla="*/ 433 h 1116"/>
                  <a:gd name="T36" fmla="*/ 21 w 2789"/>
                  <a:gd name="T37" fmla="*/ 681 h 1116"/>
                  <a:gd name="T38" fmla="*/ 105 w 2789"/>
                  <a:gd name="T39" fmla="*/ 875 h 1116"/>
                  <a:gd name="T40" fmla="*/ 167 w 2789"/>
                  <a:gd name="T41" fmla="*/ 1031 h 1116"/>
                  <a:gd name="T42" fmla="*/ 358 w 2789"/>
                  <a:gd name="T43" fmla="*/ 1018 h 1116"/>
                  <a:gd name="T44" fmla="*/ 532 w 2789"/>
                  <a:gd name="T45" fmla="*/ 911 h 1116"/>
                  <a:gd name="T46" fmla="*/ 770 w 2789"/>
                  <a:gd name="T47" fmla="*/ 836 h 1116"/>
                  <a:gd name="T48" fmla="*/ 1072 w 2789"/>
                  <a:gd name="T49" fmla="*/ 925 h 1116"/>
                  <a:gd name="T50" fmla="*/ 1490 w 2789"/>
                  <a:gd name="T51" fmla="*/ 925 h 1116"/>
                  <a:gd name="T52" fmla="*/ 1762 w 2789"/>
                  <a:gd name="T53" fmla="*/ 976 h 1116"/>
                  <a:gd name="T54" fmla="*/ 1903 w 2789"/>
                  <a:gd name="T55" fmla="*/ 979 h 1116"/>
                  <a:gd name="T56" fmla="*/ 1843 w 2789"/>
                  <a:gd name="T57" fmla="*/ 822 h 1116"/>
                  <a:gd name="T58" fmla="*/ 2143 w 2789"/>
                  <a:gd name="T59" fmla="*/ 715 h 1116"/>
                  <a:gd name="T60" fmla="*/ 2317 w 2789"/>
                  <a:gd name="T61" fmla="*/ 624 h 1116"/>
                  <a:gd name="T62" fmla="*/ 2196 w 2789"/>
                  <a:gd name="T63" fmla="*/ 899 h 1116"/>
                  <a:gd name="T64" fmla="*/ 2290 w 2789"/>
                  <a:gd name="T65" fmla="*/ 743 h 1116"/>
                  <a:gd name="T66" fmla="*/ 2475 w 2789"/>
                  <a:gd name="T67" fmla="*/ 657 h 1116"/>
                  <a:gd name="T68" fmla="*/ 2544 w 2789"/>
                  <a:gd name="T69" fmla="*/ 560 h 1116"/>
                  <a:gd name="T70" fmla="*/ 2716 w 2789"/>
                  <a:gd name="T71" fmla="*/ 569 h 1116"/>
                  <a:gd name="T72" fmla="*/ 487 w 2789"/>
                  <a:gd name="T73" fmla="*/ 33 h 1116"/>
                  <a:gd name="T74" fmla="*/ 563 w 2789"/>
                  <a:gd name="T75" fmla="*/ 42 h 1116"/>
                  <a:gd name="T76" fmla="*/ 542 w 2789"/>
                  <a:gd name="T77" fmla="*/ 76 h 1116"/>
                  <a:gd name="T78" fmla="*/ 514 w 2789"/>
                  <a:gd name="T79" fmla="*/ 287 h 1116"/>
                  <a:gd name="T80" fmla="*/ 619 w 2789"/>
                  <a:gd name="T81" fmla="*/ 209 h 1116"/>
                  <a:gd name="T82" fmla="*/ 474 w 2789"/>
                  <a:gd name="T83" fmla="*/ 278 h 1116"/>
                  <a:gd name="T84" fmla="*/ 379 w 2789"/>
                  <a:gd name="T85" fmla="*/ 433 h 1116"/>
                  <a:gd name="T86" fmla="*/ 483 w 2789"/>
                  <a:gd name="T87" fmla="*/ 396 h 1116"/>
                  <a:gd name="T88" fmla="*/ 413 w 2789"/>
                  <a:gd name="T89" fmla="*/ 348 h 1116"/>
                  <a:gd name="T90" fmla="*/ 375 w 2789"/>
                  <a:gd name="T91" fmla="*/ 48 h 1116"/>
                  <a:gd name="T92" fmla="*/ 734 w 2789"/>
                  <a:gd name="T93" fmla="*/ 306 h 1116"/>
                  <a:gd name="T94" fmla="*/ 338 w 2789"/>
                  <a:gd name="T95" fmla="*/ 39 h 1116"/>
                  <a:gd name="T96" fmla="*/ 1069 w 2789"/>
                  <a:gd name="T97" fmla="*/ 30 h 1116"/>
                  <a:gd name="T98" fmla="*/ 1254 w 2789"/>
                  <a:gd name="T99" fmla="*/ 121 h 1116"/>
                  <a:gd name="T100" fmla="*/ 1091 w 2789"/>
                  <a:gd name="T101" fmla="*/ 61 h 1116"/>
                  <a:gd name="T102" fmla="*/ 1191 w 2789"/>
                  <a:gd name="T103" fmla="*/ 79 h 1116"/>
                  <a:gd name="T104" fmla="*/ 1933 w 2789"/>
                  <a:gd name="T105" fmla="*/ 257 h 1116"/>
                  <a:gd name="T106" fmla="*/ 1881 w 2789"/>
                  <a:gd name="T107" fmla="*/ 220 h 1116"/>
                  <a:gd name="T108" fmla="*/ 2026 w 2789"/>
                  <a:gd name="T109" fmla="*/ 349 h 1116"/>
                  <a:gd name="T110" fmla="*/ 2592 w 2789"/>
                  <a:gd name="T111" fmla="*/ 369 h 1116"/>
                  <a:gd name="T112" fmla="*/ 2295 w 2789"/>
                  <a:gd name="T113" fmla="*/ 395 h 1116"/>
                  <a:gd name="T114" fmla="*/ 1953 w 2789"/>
                  <a:gd name="T115" fmla="*/ 902 h 1116"/>
                  <a:gd name="T116" fmla="*/ 1969 w 2789"/>
                  <a:gd name="T117" fmla="*/ 891 h 1116"/>
                  <a:gd name="T118" fmla="*/ 2189 w 2789"/>
                  <a:gd name="T119" fmla="*/ 913 h 1116"/>
                  <a:gd name="T120" fmla="*/ 2061 w 2789"/>
                  <a:gd name="T121" fmla="*/ 1032 h 1116"/>
                  <a:gd name="T122" fmla="*/ 73 w 2789"/>
                  <a:gd name="T123" fmla="*/ 657 h 1116"/>
                  <a:gd name="T124" fmla="*/ 1383 w 2789"/>
                  <a:gd name="T125" fmla="*/ 845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89" h="1116">
                    <a:moveTo>
                      <a:pt x="2726" y="556"/>
                    </a:moveTo>
                    <a:cubicBezTo>
                      <a:pt x="2725" y="555"/>
                      <a:pt x="2721" y="556"/>
                      <a:pt x="2721" y="553"/>
                    </a:cubicBezTo>
                    <a:cubicBezTo>
                      <a:pt x="2721" y="551"/>
                      <a:pt x="2725" y="553"/>
                      <a:pt x="2726" y="552"/>
                    </a:cubicBezTo>
                    <a:cubicBezTo>
                      <a:pt x="2728" y="551"/>
                      <a:pt x="2728" y="549"/>
                      <a:pt x="2726" y="547"/>
                    </a:cubicBezTo>
                    <a:cubicBezTo>
                      <a:pt x="2724" y="546"/>
                      <a:pt x="2725" y="543"/>
                      <a:pt x="2722" y="542"/>
                    </a:cubicBezTo>
                    <a:cubicBezTo>
                      <a:pt x="2721" y="542"/>
                      <a:pt x="2719" y="543"/>
                      <a:pt x="2718" y="542"/>
                    </a:cubicBezTo>
                    <a:cubicBezTo>
                      <a:pt x="2717" y="540"/>
                      <a:pt x="2721" y="540"/>
                      <a:pt x="2722" y="540"/>
                    </a:cubicBezTo>
                    <a:cubicBezTo>
                      <a:pt x="2724" y="540"/>
                      <a:pt x="2726" y="540"/>
                      <a:pt x="2727" y="542"/>
                    </a:cubicBezTo>
                    <a:cubicBezTo>
                      <a:pt x="2729" y="545"/>
                      <a:pt x="2732" y="544"/>
                      <a:pt x="2734" y="545"/>
                    </a:cubicBezTo>
                    <a:cubicBezTo>
                      <a:pt x="2737" y="545"/>
                      <a:pt x="2740" y="545"/>
                      <a:pt x="2743" y="546"/>
                    </a:cubicBezTo>
                    <a:cubicBezTo>
                      <a:pt x="2744" y="546"/>
                      <a:pt x="2749" y="546"/>
                      <a:pt x="2748" y="544"/>
                    </a:cubicBezTo>
                    <a:cubicBezTo>
                      <a:pt x="2747" y="543"/>
                      <a:pt x="2746" y="542"/>
                      <a:pt x="2745" y="541"/>
                    </a:cubicBezTo>
                    <a:cubicBezTo>
                      <a:pt x="2744" y="540"/>
                      <a:pt x="2741" y="539"/>
                      <a:pt x="2741" y="537"/>
                    </a:cubicBezTo>
                    <a:cubicBezTo>
                      <a:pt x="2741" y="535"/>
                      <a:pt x="2744" y="538"/>
                      <a:pt x="2745" y="538"/>
                    </a:cubicBezTo>
                    <a:cubicBezTo>
                      <a:pt x="2747" y="540"/>
                      <a:pt x="2748" y="541"/>
                      <a:pt x="2751" y="542"/>
                    </a:cubicBezTo>
                    <a:cubicBezTo>
                      <a:pt x="2753" y="542"/>
                      <a:pt x="2756" y="544"/>
                      <a:pt x="2756" y="542"/>
                    </a:cubicBezTo>
                    <a:cubicBezTo>
                      <a:pt x="2757" y="541"/>
                      <a:pt x="2757" y="540"/>
                      <a:pt x="2757" y="539"/>
                    </a:cubicBezTo>
                    <a:cubicBezTo>
                      <a:pt x="2758" y="538"/>
                      <a:pt x="2759" y="538"/>
                      <a:pt x="2760" y="537"/>
                    </a:cubicBezTo>
                    <a:cubicBezTo>
                      <a:pt x="2763" y="535"/>
                      <a:pt x="2765" y="534"/>
                      <a:pt x="2768" y="532"/>
                    </a:cubicBezTo>
                    <a:cubicBezTo>
                      <a:pt x="2769" y="532"/>
                      <a:pt x="2772" y="531"/>
                      <a:pt x="2770" y="529"/>
                    </a:cubicBezTo>
                    <a:cubicBezTo>
                      <a:pt x="2769" y="528"/>
                      <a:pt x="2767" y="528"/>
                      <a:pt x="2766" y="528"/>
                    </a:cubicBezTo>
                    <a:cubicBezTo>
                      <a:pt x="2763" y="528"/>
                      <a:pt x="2762" y="527"/>
                      <a:pt x="2761" y="525"/>
                    </a:cubicBezTo>
                    <a:cubicBezTo>
                      <a:pt x="2760" y="523"/>
                      <a:pt x="2757" y="522"/>
                      <a:pt x="2755" y="521"/>
                    </a:cubicBezTo>
                    <a:cubicBezTo>
                      <a:pt x="2752" y="519"/>
                      <a:pt x="2750" y="518"/>
                      <a:pt x="2747" y="517"/>
                    </a:cubicBezTo>
                    <a:cubicBezTo>
                      <a:pt x="2743" y="514"/>
                      <a:pt x="2739" y="509"/>
                      <a:pt x="2734" y="506"/>
                    </a:cubicBezTo>
                    <a:cubicBezTo>
                      <a:pt x="2732" y="504"/>
                      <a:pt x="2731" y="504"/>
                      <a:pt x="2728" y="504"/>
                    </a:cubicBezTo>
                    <a:cubicBezTo>
                      <a:pt x="2727" y="505"/>
                      <a:pt x="2726" y="504"/>
                      <a:pt x="2725" y="505"/>
                    </a:cubicBezTo>
                    <a:cubicBezTo>
                      <a:pt x="2725" y="506"/>
                      <a:pt x="2725" y="507"/>
                      <a:pt x="2724" y="507"/>
                    </a:cubicBezTo>
                    <a:cubicBezTo>
                      <a:pt x="2721" y="506"/>
                      <a:pt x="2719" y="504"/>
                      <a:pt x="2716" y="504"/>
                    </a:cubicBezTo>
                    <a:cubicBezTo>
                      <a:pt x="2714" y="504"/>
                      <a:pt x="2712" y="506"/>
                      <a:pt x="2711" y="508"/>
                    </a:cubicBezTo>
                    <a:cubicBezTo>
                      <a:pt x="2710" y="508"/>
                      <a:pt x="2707" y="510"/>
                      <a:pt x="2708" y="508"/>
                    </a:cubicBezTo>
                    <a:cubicBezTo>
                      <a:pt x="2708" y="507"/>
                      <a:pt x="2708" y="507"/>
                      <a:pt x="2708" y="506"/>
                    </a:cubicBezTo>
                    <a:cubicBezTo>
                      <a:pt x="2708" y="505"/>
                      <a:pt x="2710" y="504"/>
                      <a:pt x="2710" y="504"/>
                    </a:cubicBezTo>
                    <a:cubicBezTo>
                      <a:pt x="2711" y="503"/>
                      <a:pt x="2711" y="502"/>
                      <a:pt x="2710" y="501"/>
                    </a:cubicBezTo>
                    <a:cubicBezTo>
                      <a:pt x="2710" y="501"/>
                      <a:pt x="2708" y="501"/>
                      <a:pt x="2707" y="501"/>
                    </a:cubicBezTo>
                    <a:cubicBezTo>
                      <a:pt x="2704" y="501"/>
                      <a:pt x="2701" y="501"/>
                      <a:pt x="2698" y="500"/>
                    </a:cubicBezTo>
                    <a:cubicBezTo>
                      <a:pt x="2696" y="500"/>
                      <a:pt x="2693" y="500"/>
                      <a:pt x="2692" y="502"/>
                    </a:cubicBezTo>
                    <a:cubicBezTo>
                      <a:pt x="2691" y="503"/>
                      <a:pt x="2696" y="505"/>
                      <a:pt x="2696" y="506"/>
                    </a:cubicBezTo>
                    <a:cubicBezTo>
                      <a:pt x="2699" y="508"/>
                      <a:pt x="2699" y="510"/>
                      <a:pt x="2698" y="512"/>
                    </a:cubicBezTo>
                    <a:cubicBezTo>
                      <a:pt x="2698" y="514"/>
                      <a:pt x="2696" y="514"/>
                      <a:pt x="2695" y="515"/>
                    </a:cubicBezTo>
                    <a:cubicBezTo>
                      <a:pt x="2694" y="516"/>
                      <a:pt x="2699" y="517"/>
                      <a:pt x="2699" y="518"/>
                    </a:cubicBezTo>
                    <a:cubicBezTo>
                      <a:pt x="2700" y="518"/>
                      <a:pt x="2702" y="519"/>
                      <a:pt x="2702" y="520"/>
                    </a:cubicBezTo>
                    <a:cubicBezTo>
                      <a:pt x="2702" y="522"/>
                      <a:pt x="2701" y="523"/>
                      <a:pt x="2700" y="524"/>
                    </a:cubicBezTo>
                    <a:cubicBezTo>
                      <a:pt x="2699" y="525"/>
                      <a:pt x="2698" y="528"/>
                      <a:pt x="2697" y="525"/>
                    </a:cubicBezTo>
                    <a:cubicBezTo>
                      <a:pt x="2696" y="524"/>
                      <a:pt x="2696" y="523"/>
                      <a:pt x="2696" y="521"/>
                    </a:cubicBezTo>
                    <a:cubicBezTo>
                      <a:pt x="2696" y="520"/>
                      <a:pt x="2696" y="518"/>
                      <a:pt x="2694" y="519"/>
                    </a:cubicBezTo>
                    <a:cubicBezTo>
                      <a:pt x="2693" y="520"/>
                      <a:pt x="2691" y="524"/>
                      <a:pt x="2690" y="523"/>
                    </a:cubicBezTo>
                    <a:cubicBezTo>
                      <a:pt x="2687" y="522"/>
                      <a:pt x="2690" y="518"/>
                      <a:pt x="2688" y="517"/>
                    </a:cubicBezTo>
                    <a:cubicBezTo>
                      <a:pt x="2687" y="516"/>
                      <a:pt x="2685" y="516"/>
                      <a:pt x="2684" y="515"/>
                    </a:cubicBezTo>
                    <a:cubicBezTo>
                      <a:pt x="2684" y="515"/>
                      <a:pt x="2681" y="514"/>
                      <a:pt x="2681" y="513"/>
                    </a:cubicBezTo>
                    <a:cubicBezTo>
                      <a:pt x="2682" y="512"/>
                      <a:pt x="2682" y="511"/>
                      <a:pt x="2683" y="510"/>
                    </a:cubicBezTo>
                    <a:cubicBezTo>
                      <a:pt x="2684" y="510"/>
                      <a:pt x="2685" y="509"/>
                      <a:pt x="2684" y="508"/>
                    </a:cubicBezTo>
                    <a:cubicBezTo>
                      <a:pt x="2684" y="505"/>
                      <a:pt x="2683" y="503"/>
                      <a:pt x="2682" y="501"/>
                    </a:cubicBezTo>
                    <a:cubicBezTo>
                      <a:pt x="2682" y="500"/>
                      <a:pt x="2682" y="498"/>
                      <a:pt x="2682" y="497"/>
                    </a:cubicBezTo>
                    <a:cubicBezTo>
                      <a:pt x="2682" y="496"/>
                      <a:pt x="2683" y="495"/>
                      <a:pt x="2683" y="494"/>
                    </a:cubicBezTo>
                    <a:cubicBezTo>
                      <a:pt x="2683" y="492"/>
                      <a:pt x="2681" y="489"/>
                      <a:pt x="2680" y="490"/>
                    </a:cubicBezTo>
                    <a:cubicBezTo>
                      <a:pt x="2678" y="490"/>
                      <a:pt x="2678" y="493"/>
                      <a:pt x="2677" y="494"/>
                    </a:cubicBezTo>
                    <a:cubicBezTo>
                      <a:pt x="2675" y="495"/>
                      <a:pt x="2674" y="493"/>
                      <a:pt x="2675" y="492"/>
                    </a:cubicBezTo>
                    <a:cubicBezTo>
                      <a:pt x="2675" y="491"/>
                      <a:pt x="2676" y="490"/>
                      <a:pt x="2676" y="489"/>
                    </a:cubicBezTo>
                    <a:cubicBezTo>
                      <a:pt x="2676" y="488"/>
                      <a:pt x="2675" y="486"/>
                      <a:pt x="2675" y="485"/>
                    </a:cubicBezTo>
                    <a:cubicBezTo>
                      <a:pt x="2674" y="483"/>
                      <a:pt x="2671" y="481"/>
                      <a:pt x="2669" y="480"/>
                    </a:cubicBezTo>
                    <a:cubicBezTo>
                      <a:pt x="2666" y="479"/>
                      <a:pt x="2663" y="479"/>
                      <a:pt x="2660" y="477"/>
                    </a:cubicBezTo>
                    <a:cubicBezTo>
                      <a:pt x="2658" y="476"/>
                      <a:pt x="2655" y="474"/>
                      <a:pt x="2653" y="473"/>
                    </a:cubicBezTo>
                    <a:cubicBezTo>
                      <a:pt x="2650" y="471"/>
                      <a:pt x="2647" y="470"/>
                      <a:pt x="2644" y="469"/>
                    </a:cubicBezTo>
                    <a:cubicBezTo>
                      <a:pt x="2641" y="468"/>
                      <a:pt x="2638" y="468"/>
                      <a:pt x="2636" y="466"/>
                    </a:cubicBezTo>
                    <a:cubicBezTo>
                      <a:pt x="2635" y="466"/>
                      <a:pt x="2634" y="465"/>
                      <a:pt x="2633" y="464"/>
                    </a:cubicBezTo>
                    <a:cubicBezTo>
                      <a:pt x="2633" y="463"/>
                      <a:pt x="2631" y="463"/>
                      <a:pt x="2630" y="462"/>
                    </a:cubicBezTo>
                    <a:cubicBezTo>
                      <a:pt x="2627" y="461"/>
                      <a:pt x="2625" y="461"/>
                      <a:pt x="2622" y="460"/>
                    </a:cubicBezTo>
                    <a:cubicBezTo>
                      <a:pt x="2620" y="460"/>
                      <a:pt x="2619" y="460"/>
                      <a:pt x="2618" y="459"/>
                    </a:cubicBezTo>
                    <a:cubicBezTo>
                      <a:pt x="2616" y="459"/>
                      <a:pt x="2615" y="457"/>
                      <a:pt x="2614" y="456"/>
                    </a:cubicBezTo>
                    <a:cubicBezTo>
                      <a:pt x="2612" y="454"/>
                      <a:pt x="2611" y="452"/>
                      <a:pt x="2609" y="450"/>
                    </a:cubicBezTo>
                    <a:cubicBezTo>
                      <a:pt x="2607" y="448"/>
                      <a:pt x="2604" y="447"/>
                      <a:pt x="2601" y="447"/>
                    </a:cubicBezTo>
                    <a:cubicBezTo>
                      <a:pt x="2598" y="446"/>
                      <a:pt x="2596" y="446"/>
                      <a:pt x="2593" y="445"/>
                    </a:cubicBezTo>
                    <a:cubicBezTo>
                      <a:pt x="2590" y="444"/>
                      <a:pt x="2588" y="442"/>
                      <a:pt x="2585" y="441"/>
                    </a:cubicBezTo>
                    <a:cubicBezTo>
                      <a:pt x="2580" y="438"/>
                      <a:pt x="2575" y="435"/>
                      <a:pt x="2570" y="432"/>
                    </a:cubicBezTo>
                    <a:cubicBezTo>
                      <a:pt x="2564" y="429"/>
                      <a:pt x="2559" y="429"/>
                      <a:pt x="2553" y="429"/>
                    </a:cubicBezTo>
                    <a:cubicBezTo>
                      <a:pt x="2551" y="428"/>
                      <a:pt x="2548" y="428"/>
                      <a:pt x="2545" y="427"/>
                    </a:cubicBezTo>
                    <a:cubicBezTo>
                      <a:pt x="2542" y="426"/>
                      <a:pt x="2540" y="425"/>
                      <a:pt x="2537" y="423"/>
                    </a:cubicBezTo>
                    <a:cubicBezTo>
                      <a:pt x="2534" y="422"/>
                      <a:pt x="2532" y="420"/>
                      <a:pt x="2529" y="419"/>
                    </a:cubicBezTo>
                    <a:cubicBezTo>
                      <a:pt x="2526" y="418"/>
                      <a:pt x="2523" y="419"/>
                      <a:pt x="2520" y="420"/>
                    </a:cubicBezTo>
                    <a:cubicBezTo>
                      <a:pt x="2514" y="420"/>
                      <a:pt x="2508" y="419"/>
                      <a:pt x="2501" y="418"/>
                    </a:cubicBezTo>
                    <a:cubicBezTo>
                      <a:pt x="2498" y="418"/>
                      <a:pt x="2495" y="418"/>
                      <a:pt x="2492" y="417"/>
                    </a:cubicBezTo>
                    <a:cubicBezTo>
                      <a:pt x="2491" y="417"/>
                      <a:pt x="2489" y="417"/>
                      <a:pt x="2488" y="417"/>
                    </a:cubicBezTo>
                    <a:cubicBezTo>
                      <a:pt x="2486" y="417"/>
                      <a:pt x="2485" y="416"/>
                      <a:pt x="2484" y="417"/>
                    </a:cubicBezTo>
                    <a:cubicBezTo>
                      <a:pt x="2482" y="417"/>
                      <a:pt x="2482" y="420"/>
                      <a:pt x="2482" y="421"/>
                    </a:cubicBezTo>
                    <a:cubicBezTo>
                      <a:pt x="2481" y="424"/>
                      <a:pt x="2477" y="421"/>
                      <a:pt x="2477" y="420"/>
                    </a:cubicBezTo>
                    <a:cubicBezTo>
                      <a:pt x="2475" y="418"/>
                      <a:pt x="2473" y="416"/>
                      <a:pt x="2470" y="416"/>
                    </a:cubicBezTo>
                    <a:cubicBezTo>
                      <a:pt x="2468" y="414"/>
                      <a:pt x="2464" y="415"/>
                      <a:pt x="2461" y="414"/>
                    </a:cubicBezTo>
                    <a:cubicBezTo>
                      <a:pt x="2458" y="414"/>
                      <a:pt x="2455" y="414"/>
                      <a:pt x="2452" y="414"/>
                    </a:cubicBezTo>
                    <a:cubicBezTo>
                      <a:pt x="2451" y="414"/>
                      <a:pt x="2449" y="414"/>
                      <a:pt x="2448" y="414"/>
                    </a:cubicBezTo>
                    <a:cubicBezTo>
                      <a:pt x="2446" y="414"/>
                      <a:pt x="2445" y="413"/>
                      <a:pt x="2444" y="413"/>
                    </a:cubicBezTo>
                    <a:cubicBezTo>
                      <a:pt x="2442" y="413"/>
                      <a:pt x="2441" y="413"/>
                      <a:pt x="2439" y="412"/>
                    </a:cubicBezTo>
                    <a:cubicBezTo>
                      <a:pt x="2438" y="412"/>
                      <a:pt x="2437" y="411"/>
                      <a:pt x="2436" y="411"/>
                    </a:cubicBezTo>
                    <a:cubicBezTo>
                      <a:pt x="2434" y="411"/>
                      <a:pt x="2434" y="412"/>
                      <a:pt x="2434" y="413"/>
                    </a:cubicBezTo>
                    <a:cubicBezTo>
                      <a:pt x="2435" y="414"/>
                      <a:pt x="2434" y="416"/>
                      <a:pt x="2435" y="417"/>
                    </a:cubicBezTo>
                    <a:cubicBezTo>
                      <a:pt x="2435" y="420"/>
                      <a:pt x="2435" y="421"/>
                      <a:pt x="2433" y="422"/>
                    </a:cubicBezTo>
                    <a:cubicBezTo>
                      <a:pt x="2432" y="423"/>
                      <a:pt x="2430" y="424"/>
                      <a:pt x="2429" y="425"/>
                    </a:cubicBezTo>
                    <a:cubicBezTo>
                      <a:pt x="2429" y="426"/>
                      <a:pt x="2427" y="427"/>
                      <a:pt x="2429" y="428"/>
                    </a:cubicBezTo>
                    <a:cubicBezTo>
                      <a:pt x="2430" y="429"/>
                      <a:pt x="2433" y="428"/>
                      <a:pt x="2434" y="428"/>
                    </a:cubicBezTo>
                    <a:cubicBezTo>
                      <a:pt x="2437" y="428"/>
                      <a:pt x="2437" y="430"/>
                      <a:pt x="2438" y="432"/>
                    </a:cubicBezTo>
                    <a:cubicBezTo>
                      <a:pt x="2439" y="435"/>
                      <a:pt x="2440" y="437"/>
                      <a:pt x="2442" y="439"/>
                    </a:cubicBezTo>
                    <a:cubicBezTo>
                      <a:pt x="2443" y="441"/>
                      <a:pt x="2443" y="443"/>
                      <a:pt x="2441" y="445"/>
                    </a:cubicBezTo>
                    <a:cubicBezTo>
                      <a:pt x="2440" y="445"/>
                      <a:pt x="2439" y="446"/>
                      <a:pt x="2439" y="446"/>
                    </a:cubicBezTo>
                    <a:cubicBezTo>
                      <a:pt x="2438" y="448"/>
                      <a:pt x="2438" y="449"/>
                      <a:pt x="2438" y="451"/>
                    </a:cubicBezTo>
                    <a:cubicBezTo>
                      <a:pt x="2437" y="454"/>
                      <a:pt x="2434" y="452"/>
                      <a:pt x="2432" y="451"/>
                    </a:cubicBezTo>
                    <a:cubicBezTo>
                      <a:pt x="2429" y="450"/>
                      <a:pt x="2426" y="451"/>
                      <a:pt x="2423" y="451"/>
                    </a:cubicBezTo>
                    <a:cubicBezTo>
                      <a:pt x="2421" y="451"/>
                      <a:pt x="2419" y="451"/>
                      <a:pt x="2417" y="449"/>
                    </a:cubicBezTo>
                    <a:cubicBezTo>
                      <a:pt x="2415" y="447"/>
                      <a:pt x="2415" y="445"/>
                      <a:pt x="2414" y="443"/>
                    </a:cubicBezTo>
                    <a:cubicBezTo>
                      <a:pt x="2413" y="441"/>
                      <a:pt x="2409" y="441"/>
                      <a:pt x="2407" y="441"/>
                    </a:cubicBezTo>
                    <a:cubicBezTo>
                      <a:pt x="2405" y="441"/>
                      <a:pt x="2401" y="441"/>
                      <a:pt x="2399" y="439"/>
                    </a:cubicBezTo>
                    <a:cubicBezTo>
                      <a:pt x="2396" y="438"/>
                      <a:pt x="2395" y="436"/>
                      <a:pt x="2395" y="433"/>
                    </a:cubicBezTo>
                    <a:cubicBezTo>
                      <a:pt x="2395" y="430"/>
                      <a:pt x="2395" y="428"/>
                      <a:pt x="2392" y="426"/>
                    </a:cubicBezTo>
                    <a:cubicBezTo>
                      <a:pt x="2391" y="425"/>
                      <a:pt x="2388" y="424"/>
                      <a:pt x="2386" y="424"/>
                    </a:cubicBezTo>
                    <a:cubicBezTo>
                      <a:pt x="2383" y="425"/>
                      <a:pt x="2381" y="427"/>
                      <a:pt x="2378" y="427"/>
                    </a:cubicBezTo>
                    <a:cubicBezTo>
                      <a:pt x="2376" y="428"/>
                      <a:pt x="2372" y="428"/>
                      <a:pt x="2370" y="428"/>
                    </a:cubicBezTo>
                    <a:cubicBezTo>
                      <a:pt x="2366" y="428"/>
                      <a:pt x="2363" y="428"/>
                      <a:pt x="2360" y="428"/>
                    </a:cubicBezTo>
                    <a:cubicBezTo>
                      <a:pt x="2357" y="427"/>
                      <a:pt x="2354" y="428"/>
                      <a:pt x="2351" y="428"/>
                    </a:cubicBezTo>
                    <a:cubicBezTo>
                      <a:pt x="2348" y="428"/>
                      <a:pt x="2345" y="428"/>
                      <a:pt x="2341" y="427"/>
                    </a:cubicBezTo>
                    <a:cubicBezTo>
                      <a:pt x="2335" y="426"/>
                      <a:pt x="2329" y="423"/>
                      <a:pt x="2323" y="422"/>
                    </a:cubicBezTo>
                    <a:cubicBezTo>
                      <a:pt x="2320" y="422"/>
                      <a:pt x="2317" y="423"/>
                      <a:pt x="2314" y="423"/>
                    </a:cubicBezTo>
                    <a:cubicBezTo>
                      <a:pt x="2310" y="423"/>
                      <a:pt x="2307" y="423"/>
                      <a:pt x="2304" y="424"/>
                    </a:cubicBezTo>
                    <a:cubicBezTo>
                      <a:pt x="2301" y="425"/>
                      <a:pt x="2298" y="426"/>
                      <a:pt x="2296" y="426"/>
                    </a:cubicBezTo>
                    <a:cubicBezTo>
                      <a:pt x="2292" y="426"/>
                      <a:pt x="2289" y="426"/>
                      <a:pt x="2286" y="426"/>
                    </a:cubicBezTo>
                    <a:cubicBezTo>
                      <a:pt x="2283" y="426"/>
                      <a:pt x="2280" y="427"/>
                      <a:pt x="2277" y="428"/>
                    </a:cubicBezTo>
                    <a:cubicBezTo>
                      <a:pt x="2274" y="428"/>
                      <a:pt x="2271" y="428"/>
                      <a:pt x="2268" y="427"/>
                    </a:cubicBezTo>
                    <a:cubicBezTo>
                      <a:pt x="2266" y="426"/>
                      <a:pt x="2263" y="425"/>
                      <a:pt x="2260" y="424"/>
                    </a:cubicBezTo>
                    <a:cubicBezTo>
                      <a:pt x="2258" y="424"/>
                      <a:pt x="2256" y="424"/>
                      <a:pt x="2253" y="423"/>
                    </a:cubicBezTo>
                    <a:cubicBezTo>
                      <a:pt x="2251" y="422"/>
                      <a:pt x="2250" y="420"/>
                      <a:pt x="2251" y="418"/>
                    </a:cubicBezTo>
                    <a:cubicBezTo>
                      <a:pt x="2252" y="416"/>
                      <a:pt x="2252" y="416"/>
                      <a:pt x="2252" y="414"/>
                    </a:cubicBezTo>
                    <a:cubicBezTo>
                      <a:pt x="2252" y="413"/>
                      <a:pt x="2252" y="412"/>
                      <a:pt x="2253" y="411"/>
                    </a:cubicBezTo>
                    <a:cubicBezTo>
                      <a:pt x="2255" y="411"/>
                      <a:pt x="2256" y="410"/>
                      <a:pt x="2256" y="408"/>
                    </a:cubicBezTo>
                    <a:cubicBezTo>
                      <a:pt x="2257" y="405"/>
                      <a:pt x="2255" y="403"/>
                      <a:pt x="2254" y="401"/>
                    </a:cubicBezTo>
                    <a:cubicBezTo>
                      <a:pt x="2253" y="398"/>
                      <a:pt x="2252" y="396"/>
                      <a:pt x="2250" y="394"/>
                    </a:cubicBezTo>
                    <a:cubicBezTo>
                      <a:pt x="2249" y="392"/>
                      <a:pt x="2246" y="391"/>
                      <a:pt x="2244" y="390"/>
                    </a:cubicBezTo>
                    <a:cubicBezTo>
                      <a:pt x="2238" y="388"/>
                      <a:pt x="2233" y="386"/>
                      <a:pt x="2227" y="384"/>
                    </a:cubicBezTo>
                    <a:cubicBezTo>
                      <a:pt x="2221" y="383"/>
                      <a:pt x="2215" y="383"/>
                      <a:pt x="2208" y="383"/>
                    </a:cubicBezTo>
                    <a:cubicBezTo>
                      <a:pt x="2202" y="382"/>
                      <a:pt x="2196" y="382"/>
                      <a:pt x="2189" y="382"/>
                    </a:cubicBezTo>
                    <a:cubicBezTo>
                      <a:pt x="2183" y="382"/>
                      <a:pt x="2176" y="383"/>
                      <a:pt x="2170" y="384"/>
                    </a:cubicBezTo>
                    <a:cubicBezTo>
                      <a:pt x="2164" y="385"/>
                      <a:pt x="2158" y="386"/>
                      <a:pt x="2152" y="387"/>
                    </a:cubicBezTo>
                    <a:cubicBezTo>
                      <a:pt x="2149" y="387"/>
                      <a:pt x="2146" y="389"/>
                      <a:pt x="2144" y="389"/>
                    </a:cubicBezTo>
                    <a:cubicBezTo>
                      <a:pt x="2141" y="390"/>
                      <a:pt x="2137" y="391"/>
                      <a:pt x="2134" y="391"/>
                    </a:cubicBezTo>
                    <a:cubicBezTo>
                      <a:pt x="2131" y="392"/>
                      <a:pt x="2129" y="391"/>
                      <a:pt x="2126" y="390"/>
                    </a:cubicBezTo>
                    <a:cubicBezTo>
                      <a:pt x="2124" y="389"/>
                      <a:pt x="2122" y="388"/>
                      <a:pt x="2119" y="387"/>
                    </a:cubicBezTo>
                    <a:cubicBezTo>
                      <a:pt x="2118" y="387"/>
                      <a:pt x="2114" y="386"/>
                      <a:pt x="2116" y="385"/>
                    </a:cubicBezTo>
                    <a:cubicBezTo>
                      <a:pt x="2116" y="385"/>
                      <a:pt x="2117" y="384"/>
                      <a:pt x="2117" y="384"/>
                    </a:cubicBezTo>
                    <a:cubicBezTo>
                      <a:pt x="2116" y="382"/>
                      <a:pt x="2115" y="381"/>
                      <a:pt x="2114" y="380"/>
                    </a:cubicBezTo>
                    <a:cubicBezTo>
                      <a:pt x="2113" y="379"/>
                      <a:pt x="2113" y="379"/>
                      <a:pt x="2112" y="377"/>
                    </a:cubicBezTo>
                    <a:cubicBezTo>
                      <a:pt x="2112" y="377"/>
                      <a:pt x="2112" y="376"/>
                      <a:pt x="2111" y="375"/>
                    </a:cubicBezTo>
                    <a:cubicBezTo>
                      <a:pt x="2110" y="374"/>
                      <a:pt x="2109" y="374"/>
                      <a:pt x="2108" y="374"/>
                    </a:cubicBezTo>
                    <a:cubicBezTo>
                      <a:pt x="2106" y="373"/>
                      <a:pt x="2105" y="373"/>
                      <a:pt x="2104" y="373"/>
                    </a:cubicBezTo>
                    <a:cubicBezTo>
                      <a:pt x="2102" y="373"/>
                      <a:pt x="2100" y="375"/>
                      <a:pt x="2098" y="375"/>
                    </a:cubicBezTo>
                    <a:cubicBezTo>
                      <a:pt x="2095" y="375"/>
                      <a:pt x="2098" y="371"/>
                      <a:pt x="2096" y="372"/>
                    </a:cubicBezTo>
                    <a:cubicBezTo>
                      <a:pt x="2094" y="372"/>
                      <a:pt x="2088" y="379"/>
                      <a:pt x="2087" y="378"/>
                    </a:cubicBezTo>
                    <a:cubicBezTo>
                      <a:pt x="2085" y="376"/>
                      <a:pt x="2089" y="374"/>
                      <a:pt x="2090" y="373"/>
                    </a:cubicBezTo>
                    <a:cubicBezTo>
                      <a:pt x="2092" y="372"/>
                      <a:pt x="2094" y="371"/>
                      <a:pt x="2095" y="370"/>
                    </a:cubicBezTo>
                    <a:cubicBezTo>
                      <a:pt x="2096" y="368"/>
                      <a:pt x="2092" y="368"/>
                      <a:pt x="2091" y="368"/>
                    </a:cubicBezTo>
                    <a:cubicBezTo>
                      <a:pt x="2089" y="369"/>
                      <a:pt x="2084" y="370"/>
                      <a:pt x="2084" y="367"/>
                    </a:cubicBezTo>
                    <a:cubicBezTo>
                      <a:pt x="2084" y="365"/>
                      <a:pt x="2085" y="364"/>
                      <a:pt x="2082" y="364"/>
                    </a:cubicBezTo>
                    <a:cubicBezTo>
                      <a:pt x="2080" y="363"/>
                      <a:pt x="2077" y="363"/>
                      <a:pt x="2074" y="363"/>
                    </a:cubicBezTo>
                    <a:cubicBezTo>
                      <a:pt x="2072" y="363"/>
                      <a:pt x="2068" y="365"/>
                      <a:pt x="2067" y="364"/>
                    </a:cubicBezTo>
                    <a:cubicBezTo>
                      <a:pt x="2065" y="363"/>
                      <a:pt x="2065" y="359"/>
                      <a:pt x="2067" y="359"/>
                    </a:cubicBezTo>
                    <a:cubicBezTo>
                      <a:pt x="2068" y="358"/>
                      <a:pt x="2070" y="361"/>
                      <a:pt x="2071" y="359"/>
                    </a:cubicBezTo>
                    <a:cubicBezTo>
                      <a:pt x="2073" y="357"/>
                      <a:pt x="2075" y="355"/>
                      <a:pt x="2077" y="357"/>
                    </a:cubicBezTo>
                    <a:cubicBezTo>
                      <a:pt x="2078" y="358"/>
                      <a:pt x="2080" y="361"/>
                      <a:pt x="2082" y="360"/>
                    </a:cubicBezTo>
                    <a:cubicBezTo>
                      <a:pt x="2083" y="359"/>
                      <a:pt x="2086" y="356"/>
                      <a:pt x="2085" y="354"/>
                    </a:cubicBezTo>
                    <a:cubicBezTo>
                      <a:pt x="2083" y="352"/>
                      <a:pt x="2081" y="350"/>
                      <a:pt x="2078" y="349"/>
                    </a:cubicBezTo>
                    <a:cubicBezTo>
                      <a:pt x="2076" y="347"/>
                      <a:pt x="2073" y="347"/>
                      <a:pt x="2070" y="346"/>
                    </a:cubicBezTo>
                    <a:cubicBezTo>
                      <a:pt x="2065" y="343"/>
                      <a:pt x="2059" y="344"/>
                      <a:pt x="2053" y="343"/>
                    </a:cubicBezTo>
                    <a:cubicBezTo>
                      <a:pt x="2050" y="343"/>
                      <a:pt x="2047" y="343"/>
                      <a:pt x="2044" y="342"/>
                    </a:cubicBezTo>
                    <a:cubicBezTo>
                      <a:pt x="2041" y="342"/>
                      <a:pt x="2038" y="341"/>
                      <a:pt x="2036" y="343"/>
                    </a:cubicBezTo>
                    <a:cubicBezTo>
                      <a:pt x="2034" y="344"/>
                      <a:pt x="2033" y="347"/>
                      <a:pt x="2032" y="349"/>
                    </a:cubicBezTo>
                    <a:cubicBezTo>
                      <a:pt x="2030" y="351"/>
                      <a:pt x="2027" y="352"/>
                      <a:pt x="2025" y="354"/>
                    </a:cubicBezTo>
                    <a:cubicBezTo>
                      <a:pt x="2023" y="355"/>
                      <a:pt x="2022" y="358"/>
                      <a:pt x="2020" y="359"/>
                    </a:cubicBezTo>
                    <a:cubicBezTo>
                      <a:pt x="2019" y="360"/>
                      <a:pt x="2018" y="360"/>
                      <a:pt x="2017" y="360"/>
                    </a:cubicBezTo>
                    <a:cubicBezTo>
                      <a:pt x="2015" y="360"/>
                      <a:pt x="2014" y="361"/>
                      <a:pt x="2013" y="361"/>
                    </a:cubicBezTo>
                    <a:cubicBezTo>
                      <a:pt x="2010" y="362"/>
                      <a:pt x="2008" y="361"/>
                      <a:pt x="2005" y="362"/>
                    </a:cubicBezTo>
                    <a:cubicBezTo>
                      <a:pt x="2004" y="362"/>
                      <a:pt x="2000" y="365"/>
                      <a:pt x="1999" y="363"/>
                    </a:cubicBezTo>
                    <a:cubicBezTo>
                      <a:pt x="1998" y="362"/>
                      <a:pt x="1999" y="360"/>
                      <a:pt x="2000" y="360"/>
                    </a:cubicBezTo>
                    <a:cubicBezTo>
                      <a:pt x="2001" y="360"/>
                      <a:pt x="2003" y="359"/>
                      <a:pt x="2002" y="358"/>
                    </a:cubicBezTo>
                    <a:cubicBezTo>
                      <a:pt x="2001" y="357"/>
                      <a:pt x="1999" y="355"/>
                      <a:pt x="2001" y="355"/>
                    </a:cubicBezTo>
                    <a:cubicBezTo>
                      <a:pt x="2003" y="354"/>
                      <a:pt x="2005" y="357"/>
                      <a:pt x="2007" y="357"/>
                    </a:cubicBezTo>
                    <a:cubicBezTo>
                      <a:pt x="2008" y="357"/>
                      <a:pt x="2013" y="357"/>
                      <a:pt x="2013" y="355"/>
                    </a:cubicBezTo>
                    <a:cubicBezTo>
                      <a:pt x="2013" y="353"/>
                      <a:pt x="2011" y="352"/>
                      <a:pt x="2011" y="350"/>
                    </a:cubicBezTo>
                    <a:cubicBezTo>
                      <a:pt x="2010" y="349"/>
                      <a:pt x="2011" y="348"/>
                      <a:pt x="2012" y="347"/>
                    </a:cubicBezTo>
                    <a:cubicBezTo>
                      <a:pt x="2012" y="346"/>
                      <a:pt x="2013" y="345"/>
                      <a:pt x="2012" y="345"/>
                    </a:cubicBezTo>
                    <a:cubicBezTo>
                      <a:pt x="2009" y="344"/>
                      <a:pt x="2006" y="344"/>
                      <a:pt x="2004" y="345"/>
                    </a:cubicBezTo>
                    <a:cubicBezTo>
                      <a:pt x="2001" y="345"/>
                      <a:pt x="1998" y="346"/>
                      <a:pt x="1995" y="346"/>
                    </a:cubicBezTo>
                    <a:cubicBezTo>
                      <a:pt x="1994" y="346"/>
                      <a:pt x="1989" y="347"/>
                      <a:pt x="1991" y="344"/>
                    </a:cubicBezTo>
                    <a:cubicBezTo>
                      <a:pt x="1992" y="343"/>
                      <a:pt x="1995" y="342"/>
                      <a:pt x="1996" y="341"/>
                    </a:cubicBezTo>
                    <a:cubicBezTo>
                      <a:pt x="1997" y="340"/>
                      <a:pt x="1999" y="339"/>
                      <a:pt x="2000" y="339"/>
                    </a:cubicBezTo>
                    <a:cubicBezTo>
                      <a:pt x="2001" y="339"/>
                      <a:pt x="2002" y="340"/>
                      <a:pt x="2004" y="341"/>
                    </a:cubicBezTo>
                    <a:cubicBezTo>
                      <a:pt x="2009" y="344"/>
                      <a:pt x="2015" y="341"/>
                      <a:pt x="2021" y="341"/>
                    </a:cubicBezTo>
                    <a:cubicBezTo>
                      <a:pt x="2023" y="342"/>
                      <a:pt x="2024" y="342"/>
                      <a:pt x="2026" y="342"/>
                    </a:cubicBezTo>
                    <a:cubicBezTo>
                      <a:pt x="2027" y="342"/>
                      <a:pt x="2029" y="341"/>
                      <a:pt x="2027" y="340"/>
                    </a:cubicBezTo>
                    <a:cubicBezTo>
                      <a:pt x="2024" y="339"/>
                      <a:pt x="2020" y="339"/>
                      <a:pt x="2017" y="338"/>
                    </a:cubicBezTo>
                    <a:cubicBezTo>
                      <a:pt x="2014" y="337"/>
                      <a:pt x="2011" y="336"/>
                      <a:pt x="2009" y="336"/>
                    </a:cubicBezTo>
                    <a:cubicBezTo>
                      <a:pt x="2005" y="335"/>
                      <a:pt x="2002" y="334"/>
                      <a:pt x="1999" y="334"/>
                    </a:cubicBezTo>
                    <a:cubicBezTo>
                      <a:pt x="1996" y="334"/>
                      <a:pt x="1993" y="334"/>
                      <a:pt x="1990" y="333"/>
                    </a:cubicBezTo>
                    <a:cubicBezTo>
                      <a:pt x="1987" y="333"/>
                      <a:pt x="1984" y="332"/>
                      <a:pt x="1980" y="332"/>
                    </a:cubicBezTo>
                    <a:cubicBezTo>
                      <a:pt x="1977" y="332"/>
                      <a:pt x="1974" y="332"/>
                      <a:pt x="1971" y="332"/>
                    </a:cubicBezTo>
                    <a:cubicBezTo>
                      <a:pt x="1968" y="332"/>
                      <a:pt x="1965" y="331"/>
                      <a:pt x="1961" y="331"/>
                    </a:cubicBezTo>
                    <a:cubicBezTo>
                      <a:pt x="1958" y="331"/>
                      <a:pt x="1955" y="331"/>
                      <a:pt x="1952" y="331"/>
                    </a:cubicBezTo>
                    <a:cubicBezTo>
                      <a:pt x="1949" y="330"/>
                      <a:pt x="1947" y="329"/>
                      <a:pt x="1944" y="328"/>
                    </a:cubicBezTo>
                    <a:cubicBezTo>
                      <a:pt x="1941" y="327"/>
                      <a:pt x="1939" y="326"/>
                      <a:pt x="1936" y="326"/>
                    </a:cubicBezTo>
                    <a:cubicBezTo>
                      <a:pt x="1933" y="326"/>
                      <a:pt x="1930" y="325"/>
                      <a:pt x="1927" y="325"/>
                    </a:cubicBezTo>
                    <a:cubicBezTo>
                      <a:pt x="1925" y="326"/>
                      <a:pt x="1928" y="328"/>
                      <a:pt x="1928" y="328"/>
                    </a:cubicBezTo>
                    <a:cubicBezTo>
                      <a:pt x="1929" y="330"/>
                      <a:pt x="1929" y="330"/>
                      <a:pt x="1930" y="331"/>
                    </a:cubicBezTo>
                    <a:cubicBezTo>
                      <a:pt x="1931" y="332"/>
                      <a:pt x="1932" y="333"/>
                      <a:pt x="1933" y="334"/>
                    </a:cubicBezTo>
                    <a:cubicBezTo>
                      <a:pt x="1934" y="336"/>
                      <a:pt x="1929" y="336"/>
                      <a:pt x="1928" y="336"/>
                    </a:cubicBezTo>
                    <a:cubicBezTo>
                      <a:pt x="1926" y="338"/>
                      <a:pt x="1923" y="338"/>
                      <a:pt x="1920" y="337"/>
                    </a:cubicBezTo>
                    <a:cubicBezTo>
                      <a:pt x="1918" y="337"/>
                      <a:pt x="1915" y="337"/>
                      <a:pt x="1913" y="339"/>
                    </a:cubicBezTo>
                    <a:cubicBezTo>
                      <a:pt x="1910" y="340"/>
                      <a:pt x="1908" y="342"/>
                      <a:pt x="1905" y="343"/>
                    </a:cubicBezTo>
                    <a:cubicBezTo>
                      <a:pt x="1904" y="344"/>
                      <a:pt x="1900" y="345"/>
                      <a:pt x="1901" y="347"/>
                    </a:cubicBezTo>
                    <a:cubicBezTo>
                      <a:pt x="1902" y="349"/>
                      <a:pt x="1906" y="347"/>
                      <a:pt x="1907" y="346"/>
                    </a:cubicBezTo>
                    <a:cubicBezTo>
                      <a:pt x="1909" y="344"/>
                      <a:pt x="1912" y="345"/>
                      <a:pt x="1914" y="345"/>
                    </a:cubicBezTo>
                    <a:cubicBezTo>
                      <a:pt x="1915" y="345"/>
                      <a:pt x="1916" y="345"/>
                      <a:pt x="1917" y="346"/>
                    </a:cubicBezTo>
                    <a:cubicBezTo>
                      <a:pt x="1917" y="346"/>
                      <a:pt x="1918" y="348"/>
                      <a:pt x="1917" y="348"/>
                    </a:cubicBezTo>
                    <a:cubicBezTo>
                      <a:pt x="1915" y="349"/>
                      <a:pt x="1915" y="348"/>
                      <a:pt x="1914" y="349"/>
                    </a:cubicBezTo>
                    <a:cubicBezTo>
                      <a:pt x="1913" y="350"/>
                      <a:pt x="1912" y="351"/>
                      <a:pt x="1911" y="352"/>
                    </a:cubicBezTo>
                    <a:cubicBezTo>
                      <a:pt x="1910" y="352"/>
                      <a:pt x="1910" y="353"/>
                      <a:pt x="1909" y="354"/>
                    </a:cubicBezTo>
                    <a:cubicBezTo>
                      <a:pt x="1908" y="354"/>
                      <a:pt x="1907" y="354"/>
                      <a:pt x="1906" y="354"/>
                    </a:cubicBezTo>
                    <a:cubicBezTo>
                      <a:pt x="1904" y="354"/>
                      <a:pt x="1904" y="355"/>
                      <a:pt x="1906" y="355"/>
                    </a:cubicBezTo>
                    <a:cubicBezTo>
                      <a:pt x="1908" y="356"/>
                      <a:pt x="1909" y="356"/>
                      <a:pt x="1909" y="359"/>
                    </a:cubicBezTo>
                    <a:cubicBezTo>
                      <a:pt x="1910" y="361"/>
                      <a:pt x="1911" y="364"/>
                      <a:pt x="1912" y="365"/>
                    </a:cubicBezTo>
                    <a:cubicBezTo>
                      <a:pt x="1913" y="366"/>
                      <a:pt x="1916" y="369"/>
                      <a:pt x="1914" y="370"/>
                    </a:cubicBezTo>
                    <a:cubicBezTo>
                      <a:pt x="1911" y="370"/>
                      <a:pt x="1909" y="369"/>
                      <a:pt x="1907" y="369"/>
                    </a:cubicBezTo>
                    <a:cubicBezTo>
                      <a:pt x="1905" y="369"/>
                      <a:pt x="1903" y="373"/>
                      <a:pt x="1901" y="371"/>
                    </a:cubicBezTo>
                    <a:cubicBezTo>
                      <a:pt x="1900" y="371"/>
                      <a:pt x="1900" y="370"/>
                      <a:pt x="1900" y="369"/>
                    </a:cubicBezTo>
                    <a:cubicBezTo>
                      <a:pt x="1900" y="367"/>
                      <a:pt x="1899" y="367"/>
                      <a:pt x="1898" y="366"/>
                    </a:cubicBezTo>
                    <a:cubicBezTo>
                      <a:pt x="1896" y="365"/>
                      <a:pt x="1894" y="366"/>
                      <a:pt x="1892" y="367"/>
                    </a:cubicBezTo>
                    <a:cubicBezTo>
                      <a:pt x="1890" y="368"/>
                      <a:pt x="1890" y="367"/>
                      <a:pt x="1889" y="366"/>
                    </a:cubicBezTo>
                    <a:cubicBezTo>
                      <a:pt x="1888" y="366"/>
                      <a:pt x="1886" y="366"/>
                      <a:pt x="1885" y="366"/>
                    </a:cubicBezTo>
                    <a:cubicBezTo>
                      <a:pt x="1883" y="367"/>
                      <a:pt x="1881" y="369"/>
                      <a:pt x="1881" y="371"/>
                    </a:cubicBezTo>
                    <a:cubicBezTo>
                      <a:pt x="1881" y="373"/>
                      <a:pt x="1883" y="373"/>
                      <a:pt x="1884" y="375"/>
                    </a:cubicBezTo>
                    <a:cubicBezTo>
                      <a:pt x="1886" y="376"/>
                      <a:pt x="1882" y="377"/>
                      <a:pt x="1881" y="378"/>
                    </a:cubicBezTo>
                    <a:cubicBezTo>
                      <a:pt x="1879" y="379"/>
                      <a:pt x="1880" y="381"/>
                      <a:pt x="1877" y="380"/>
                    </a:cubicBezTo>
                    <a:cubicBezTo>
                      <a:pt x="1875" y="380"/>
                      <a:pt x="1874" y="378"/>
                      <a:pt x="1873" y="376"/>
                    </a:cubicBezTo>
                    <a:cubicBezTo>
                      <a:pt x="1872" y="375"/>
                      <a:pt x="1870" y="373"/>
                      <a:pt x="1868" y="372"/>
                    </a:cubicBezTo>
                    <a:cubicBezTo>
                      <a:pt x="1865" y="370"/>
                      <a:pt x="1863" y="371"/>
                      <a:pt x="1860" y="370"/>
                    </a:cubicBezTo>
                    <a:cubicBezTo>
                      <a:pt x="1857" y="369"/>
                      <a:pt x="1855" y="367"/>
                      <a:pt x="1853" y="366"/>
                    </a:cubicBezTo>
                    <a:cubicBezTo>
                      <a:pt x="1850" y="365"/>
                      <a:pt x="1847" y="365"/>
                      <a:pt x="1844" y="365"/>
                    </a:cubicBezTo>
                    <a:cubicBezTo>
                      <a:pt x="1841" y="365"/>
                      <a:pt x="1839" y="367"/>
                      <a:pt x="1836" y="368"/>
                    </a:cubicBezTo>
                    <a:cubicBezTo>
                      <a:pt x="1834" y="368"/>
                      <a:pt x="1830" y="368"/>
                      <a:pt x="1828" y="370"/>
                    </a:cubicBezTo>
                    <a:cubicBezTo>
                      <a:pt x="1826" y="371"/>
                      <a:pt x="1826" y="372"/>
                      <a:pt x="1826" y="374"/>
                    </a:cubicBezTo>
                    <a:cubicBezTo>
                      <a:pt x="1826" y="375"/>
                      <a:pt x="1825" y="375"/>
                      <a:pt x="1825" y="375"/>
                    </a:cubicBezTo>
                    <a:cubicBezTo>
                      <a:pt x="1824" y="375"/>
                      <a:pt x="1824" y="374"/>
                      <a:pt x="1823" y="373"/>
                    </a:cubicBezTo>
                    <a:cubicBezTo>
                      <a:pt x="1823" y="372"/>
                      <a:pt x="1821" y="373"/>
                      <a:pt x="1820" y="373"/>
                    </a:cubicBezTo>
                    <a:cubicBezTo>
                      <a:pt x="1819" y="373"/>
                      <a:pt x="1817" y="373"/>
                      <a:pt x="1816" y="373"/>
                    </a:cubicBezTo>
                    <a:cubicBezTo>
                      <a:pt x="1813" y="372"/>
                      <a:pt x="1810" y="372"/>
                      <a:pt x="1807" y="371"/>
                    </a:cubicBezTo>
                    <a:cubicBezTo>
                      <a:pt x="1803" y="369"/>
                      <a:pt x="1797" y="366"/>
                      <a:pt x="1794" y="362"/>
                    </a:cubicBezTo>
                    <a:cubicBezTo>
                      <a:pt x="1792" y="361"/>
                      <a:pt x="1792" y="357"/>
                      <a:pt x="1790" y="357"/>
                    </a:cubicBezTo>
                    <a:cubicBezTo>
                      <a:pt x="1788" y="356"/>
                      <a:pt x="1786" y="359"/>
                      <a:pt x="1785" y="361"/>
                    </a:cubicBezTo>
                    <a:cubicBezTo>
                      <a:pt x="1782" y="365"/>
                      <a:pt x="1780" y="370"/>
                      <a:pt x="1778" y="375"/>
                    </a:cubicBezTo>
                    <a:cubicBezTo>
                      <a:pt x="1777" y="378"/>
                      <a:pt x="1776" y="380"/>
                      <a:pt x="1774" y="382"/>
                    </a:cubicBezTo>
                    <a:cubicBezTo>
                      <a:pt x="1772" y="384"/>
                      <a:pt x="1770" y="387"/>
                      <a:pt x="1768" y="389"/>
                    </a:cubicBezTo>
                    <a:cubicBezTo>
                      <a:pt x="1767" y="390"/>
                      <a:pt x="1764" y="393"/>
                      <a:pt x="1762" y="393"/>
                    </a:cubicBezTo>
                    <a:cubicBezTo>
                      <a:pt x="1759" y="393"/>
                      <a:pt x="1761" y="390"/>
                      <a:pt x="1759" y="388"/>
                    </a:cubicBezTo>
                    <a:cubicBezTo>
                      <a:pt x="1758" y="388"/>
                      <a:pt x="1757" y="388"/>
                      <a:pt x="1756" y="388"/>
                    </a:cubicBezTo>
                    <a:cubicBezTo>
                      <a:pt x="1754" y="388"/>
                      <a:pt x="1753" y="388"/>
                      <a:pt x="1752" y="388"/>
                    </a:cubicBezTo>
                    <a:cubicBezTo>
                      <a:pt x="1749" y="387"/>
                      <a:pt x="1747" y="386"/>
                      <a:pt x="1745" y="385"/>
                    </a:cubicBezTo>
                    <a:cubicBezTo>
                      <a:pt x="1743" y="384"/>
                      <a:pt x="1742" y="384"/>
                      <a:pt x="1741" y="383"/>
                    </a:cubicBezTo>
                    <a:cubicBezTo>
                      <a:pt x="1739" y="382"/>
                      <a:pt x="1741" y="380"/>
                      <a:pt x="1740" y="378"/>
                    </a:cubicBezTo>
                    <a:cubicBezTo>
                      <a:pt x="1740" y="376"/>
                      <a:pt x="1737" y="375"/>
                      <a:pt x="1735" y="374"/>
                    </a:cubicBezTo>
                    <a:cubicBezTo>
                      <a:pt x="1733" y="371"/>
                      <a:pt x="1731" y="369"/>
                      <a:pt x="1728" y="368"/>
                    </a:cubicBezTo>
                    <a:cubicBezTo>
                      <a:pt x="1728" y="367"/>
                      <a:pt x="1725" y="366"/>
                      <a:pt x="1726" y="364"/>
                    </a:cubicBezTo>
                    <a:cubicBezTo>
                      <a:pt x="1727" y="363"/>
                      <a:pt x="1730" y="362"/>
                      <a:pt x="1731" y="362"/>
                    </a:cubicBezTo>
                    <a:cubicBezTo>
                      <a:pt x="1733" y="361"/>
                      <a:pt x="1735" y="363"/>
                      <a:pt x="1737" y="362"/>
                    </a:cubicBezTo>
                    <a:cubicBezTo>
                      <a:pt x="1738" y="361"/>
                      <a:pt x="1735" y="359"/>
                      <a:pt x="1734" y="358"/>
                    </a:cubicBezTo>
                    <a:cubicBezTo>
                      <a:pt x="1733" y="357"/>
                      <a:pt x="1732" y="354"/>
                      <a:pt x="1730" y="354"/>
                    </a:cubicBezTo>
                    <a:cubicBezTo>
                      <a:pt x="1729" y="354"/>
                      <a:pt x="1730" y="358"/>
                      <a:pt x="1730" y="359"/>
                    </a:cubicBezTo>
                    <a:cubicBezTo>
                      <a:pt x="1729" y="361"/>
                      <a:pt x="1725" y="360"/>
                      <a:pt x="1723" y="360"/>
                    </a:cubicBezTo>
                    <a:cubicBezTo>
                      <a:pt x="1721" y="359"/>
                      <a:pt x="1719" y="356"/>
                      <a:pt x="1718" y="354"/>
                    </a:cubicBezTo>
                    <a:cubicBezTo>
                      <a:pt x="1717" y="352"/>
                      <a:pt x="1714" y="349"/>
                      <a:pt x="1715" y="347"/>
                    </a:cubicBezTo>
                    <a:cubicBezTo>
                      <a:pt x="1715" y="344"/>
                      <a:pt x="1720" y="347"/>
                      <a:pt x="1721" y="348"/>
                    </a:cubicBezTo>
                    <a:cubicBezTo>
                      <a:pt x="1725" y="350"/>
                      <a:pt x="1731" y="353"/>
                      <a:pt x="1736" y="349"/>
                    </a:cubicBezTo>
                    <a:cubicBezTo>
                      <a:pt x="1739" y="346"/>
                      <a:pt x="1736" y="339"/>
                      <a:pt x="1732" y="339"/>
                    </a:cubicBezTo>
                    <a:cubicBezTo>
                      <a:pt x="1729" y="338"/>
                      <a:pt x="1726" y="338"/>
                      <a:pt x="1723" y="338"/>
                    </a:cubicBezTo>
                    <a:cubicBezTo>
                      <a:pt x="1723" y="338"/>
                      <a:pt x="1717" y="338"/>
                      <a:pt x="1719" y="336"/>
                    </a:cubicBezTo>
                    <a:cubicBezTo>
                      <a:pt x="1721" y="335"/>
                      <a:pt x="1723" y="337"/>
                      <a:pt x="1725" y="335"/>
                    </a:cubicBezTo>
                    <a:cubicBezTo>
                      <a:pt x="1725" y="335"/>
                      <a:pt x="1725" y="334"/>
                      <a:pt x="1726" y="333"/>
                    </a:cubicBezTo>
                    <a:cubicBezTo>
                      <a:pt x="1727" y="332"/>
                      <a:pt x="1729" y="332"/>
                      <a:pt x="1730" y="332"/>
                    </a:cubicBezTo>
                    <a:cubicBezTo>
                      <a:pt x="1732" y="331"/>
                      <a:pt x="1732" y="331"/>
                      <a:pt x="1730" y="330"/>
                    </a:cubicBezTo>
                    <a:cubicBezTo>
                      <a:pt x="1728" y="329"/>
                      <a:pt x="1726" y="327"/>
                      <a:pt x="1724" y="326"/>
                    </a:cubicBezTo>
                    <a:cubicBezTo>
                      <a:pt x="1722" y="326"/>
                      <a:pt x="1718" y="325"/>
                      <a:pt x="1720" y="323"/>
                    </a:cubicBezTo>
                    <a:cubicBezTo>
                      <a:pt x="1721" y="322"/>
                      <a:pt x="1724" y="322"/>
                      <a:pt x="1726" y="321"/>
                    </a:cubicBezTo>
                    <a:cubicBezTo>
                      <a:pt x="1727" y="321"/>
                      <a:pt x="1729" y="320"/>
                      <a:pt x="1729" y="318"/>
                    </a:cubicBezTo>
                    <a:cubicBezTo>
                      <a:pt x="1730" y="316"/>
                      <a:pt x="1726" y="315"/>
                      <a:pt x="1725" y="314"/>
                    </a:cubicBezTo>
                    <a:cubicBezTo>
                      <a:pt x="1722" y="313"/>
                      <a:pt x="1720" y="311"/>
                      <a:pt x="1717" y="310"/>
                    </a:cubicBezTo>
                    <a:cubicBezTo>
                      <a:pt x="1714" y="309"/>
                      <a:pt x="1712" y="307"/>
                      <a:pt x="1709" y="306"/>
                    </a:cubicBezTo>
                    <a:cubicBezTo>
                      <a:pt x="1706" y="305"/>
                      <a:pt x="1704" y="304"/>
                      <a:pt x="1701" y="304"/>
                    </a:cubicBezTo>
                    <a:cubicBezTo>
                      <a:pt x="1698" y="304"/>
                      <a:pt x="1696" y="303"/>
                      <a:pt x="1694" y="304"/>
                    </a:cubicBezTo>
                    <a:cubicBezTo>
                      <a:pt x="1692" y="305"/>
                      <a:pt x="1691" y="308"/>
                      <a:pt x="1689" y="309"/>
                    </a:cubicBezTo>
                    <a:cubicBezTo>
                      <a:pt x="1688" y="309"/>
                      <a:pt x="1687" y="308"/>
                      <a:pt x="1686" y="309"/>
                    </a:cubicBezTo>
                    <a:cubicBezTo>
                      <a:pt x="1685" y="309"/>
                      <a:pt x="1684" y="309"/>
                      <a:pt x="1683" y="309"/>
                    </a:cubicBezTo>
                    <a:cubicBezTo>
                      <a:pt x="1682" y="308"/>
                      <a:pt x="1681" y="307"/>
                      <a:pt x="1682" y="306"/>
                    </a:cubicBezTo>
                    <a:cubicBezTo>
                      <a:pt x="1682" y="305"/>
                      <a:pt x="1683" y="305"/>
                      <a:pt x="1683" y="304"/>
                    </a:cubicBezTo>
                    <a:cubicBezTo>
                      <a:pt x="1682" y="302"/>
                      <a:pt x="1677" y="303"/>
                      <a:pt x="1676" y="303"/>
                    </a:cubicBezTo>
                    <a:cubicBezTo>
                      <a:pt x="1673" y="303"/>
                      <a:pt x="1670" y="303"/>
                      <a:pt x="1667" y="303"/>
                    </a:cubicBezTo>
                    <a:cubicBezTo>
                      <a:pt x="1664" y="303"/>
                      <a:pt x="1663" y="301"/>
                      <a:pt x="1661" y="299"/>
                    </a:cubicBezTo>
                    <a:cubicBezTo>
                      <a:pt x="1659" y="297"/>
                      <a:pt x="1657" y="296"/>
                      <a:pt x="1654" y="296"/>
                    </a:cubicBezTo>
                    <a:cubicBezTo>
                      <a:pt x="1652" y="296"/>
                      <a:pt x="1651" y="294"/>
                      <a:pt x="1652" y="293"/>
                    </a:cubicBezTo>
                    <a:cubicBezTo>
                      <a:pt x="1653" y="292"/>
                      <a:pt x="1653" y="291"/>
                      <a:pt x="1652" y="290"/>
                    </a:cubicBezTo>
                    <a:cubicBezTo>
                      <a:pt x="1651" y="290"/>
                      <a:pt x="1650" y="291"/>
                      <a:pt x="1649" y="292"/>
                    </a:cubicBezTo>
                    <a:cubicBezTo>
                      <a:pt x="1649" y="292"/>
                      <a:pt x="1649" y="293"/>
                      <a:pt x="1649" y="294"/>
                    </a:cubicBezTo>
                    <a:cubicBezTo>
                      <a:pt x="1649" y="296"/>
                      <a:pt x="1648" y="296"/>
                      <a:pt x="1647" y="296"/>
                    </a:cubicBezTo>
                    <a:cubicBezTo>
                      <a:pt x="1646" y="297"/>
                      <a:pt x="1644" y="297"/>
                      <a:pt x="1643" y="298"/>
                    </a:cubicBezTo>
                    <a:cubicBezTo>
                      <a:pt x="1642" y="298"/>
                      <a:pt x="1642" y="299"/>
                      <a:pt x="1642" y="300"/>
                    </a:cubicBezTo>
                    <a:cubicBezTo>
                      <a:pt x="1642" y="302"/>
                      <a:pt x="1639" y="301"/>
                      <a:pt x="1637" y="301"/>
                    </a:cubicBezTo>
                    <a:cubicBezTo>
                      <a:pt x="1636" y="300"/>
                      <a:pt x="1637" y="297"/>
                      <a:pt x="1635" y="298"/>
                    </a:cubicBezTo>
                    <a:cubicBezTo>
                      <a:pt x="1633" y="299"/>
                      <a:pt x="1632" y="300"/>
                      <a:pt x="1632" y="302"/>
                    </a:cubicBezTo>
                    <a:cubicBezTo>
                      <a:pt x="1632" y="304"/>
                      <a:pt x="1632" y="304"/>
                      <a:pt x="1632" y="306"/>
                    </a:cubicBezTo>
                    <a:cubicBezTo>
                      <a:pt x="1631" y="307"/>
                      <a:pt x="1631" y="307"/>
                      <a:pt x="1632" y="309"/>
                    </a:cubicBezTo>
                    <a:cubicBezTo>
                      <a:pt x="1633" y="311"/>
                      <a:pt x="1636" y="312"/>
                      <a:pt x="1635" y="315"/>
                    </a:cubicBezTo>
                    <a:cubicBezTo>
                      <a:pt x="1635" y="316"/>
                      <a:pt x="1635" y="316"/>
                      <a:pt x="1634" y="316"/>
                    </a:cubicBezTo>
                    <a:cubicBezTo>
                      <a:pt x="1632" y="316"/>
                      <a:pt x="1632" y="317"/>
                      <a:pt x="1632" y="318"/>
                    </a:cubicBezTo>
                    <a:cubicBezTo>
                      <a:pt x="1632" y="321"/>
                      <a:pt x="1629" y="323"/>
                      <a:pt x="1627" y="323"/>
                    </a:cubicBezTo>
                    <a:cubicBezTo>
                      <a:pt x="1624" y="323"/>
                      <a:pt x="1622" y="323"/>
                      <a:pt x="1619" y="322"/>
                    </a:cubicBezTo>
                    <a:cubicBezTo>
                      <a:pt x="1616" y="321"/>
                      <a:pt x="1613" y="321"/>
                      <a:pt x="1610" y="321"/>
                    </a:cubicBezTo>
                    <a:cubicBezTo>
                      <a:pt x="1607" y="321"/>
                      <a:pt x="1604" y="322"/>
                      <a:pt x="1601" y="322"/>
                    </a:cubicBezTo>
                    <a:cubicBezTo>
                      <a:pt x="1597" y="322"/>
                      <a:pt x="1594" y="322"/>
                      <a:pt x="1591" y="321"/>
                    </a:cubicBezTo>
                    <a:cubicBezTo>
                      <a:pt x="1588" y="321"/>
                      <a:pt x="1585" y="321"/>
                      <a:pt x="1582" y="321"/>
                    </a:cubicBezTo>
                    <a:cubicBezTo>
                      <a:pt x="1579" y="321"/>
                      <a:pt x="1575" y="322"/>
                      <a:pt x="1572" y="321"/>
                    </a:cubicBezTo>
                    <a:cubicBezTo>
                      <a:pt x="1566" y="319"/>
                      <a:pt x="1561" y="317"/>
                      <a:pt x="1555" y="316"/>
                    </a:cubicBezTo>
                    <a:cubicBezTo>
                      <a:pt x="1553" y="315"/>
                      <a:pt x="1550" y="315"/>
                      <a:pt x="1548" y="313"/>
                    </a:cubicBezTo>
                    <a:cubicBezTo>
                      <a:pt x="1547" y="311"/>
                      <a:pt x="1547" y="308"/>
                      <a:pt x="1549" y="307"/>
                    </a:cubicBezTo>
                    <a:cubicBezTo>
                      <a:pt x="1551" y="306"/>
                      <a:pt x="1552" y="305"/>
                      <a:pt x="1554" y="305"/>
                    </a:cubicBezTo>
                    <a:cubicBezTo>
                      <a:pt x="1557" y="305"/>
                      <a:pt x="1557" y="304"/>
                      <a:pt x="1555" y="303"/>
                    </a:cubicBezTo>
                    <a:cubicBezTo>
                      <a:pt x="1549" y="300"/>
                      <a:pt x="1543" y="302"/>
                      <a:pt x="1537" y="302"/>
                    </a:cubicBezTo>
                    <a:cubicBezTo>
                      <a:pt x="1531" y="302"/>
                      <a:pt x="1524" y="301"/>
                      <a:pt x="1518" y="300"/>
                    </a:cubicBezTo>
                    <a:cubicBezTo>
                      <a:pt x="1512" y="300"/>
                      <a:pt x="1506" y="299"/>
                      <a:pt x="1499" y="299"/>
                    </a:cubicBezTo>
                    <a:cubicBezTo>
                      <a:pt x="1496" y="298"/>
                      <a:pt x="1494" y="299"/>
                      <a:pt x="1491" y="300"/>
                    </a:cubicBezTo>
                    <a:cubicBezTo>
                      <a:pt x="1488" y="301"/>
                      <a:pt x="1486" y="302"/>
                      <a:pt x="1482" y="303"/>
                    </a:cubicBezTo>
                    <a:cubicBezTo>
                      <a:pt x="1478" y="304"/>
                      <a:pt x="1473" y="303"/>
                      <a:pt x="1468" y="304"/>
                    </a:cubicBezTo>
                    <a:cubicBezTo>
                      <a:pt x="1467" y="304"/>
                      <a:pt x="1465" y="305"/>
                      <a:pt x="1466" y="306"/>
                    </a:cubicBezTo>
                    <a:cubicBezTo>
                      <a:pt x="1467" y="308"/>
                      <a:pt x="1469" y="309"/>
                      <a:pt x="1467" y="311"/>
                    </a:cubicBezTo>
                    <a:cubicBezTo>
                      <a:pt x="1465" y="312"/>
                      <a:pt x="1464" y="312"/>
                      <a:pt x="1463" y="310"/>
                    </a:cubicBezTo>
                    <a:cubicBezTo>
                      <a:pt x="1462" y="310"/>
                      <a:pt x="1462" y="309"/>
                      <a:pt x="1461" y="308"/>
                    </a:cubicBezTo>
                    <a:cubicBezTo>
                      <a:pt x="1461" y="307"/>
                      <a:pt x="1460" y="306"/>
                      <a:pt x="1459" y="305"/>
                    </a:cubicBezTo>
                    <a:cubicBezTo>
                      <a:pt x="1457" y="301"/>
                      <a:pt x="1464" y="301"/>
                      <a:pt x="1462" y="297"/>
                    </a:cubicBezTo>
                    <a:cubicBezTo>
                      <a:pt x="1461" y="295"/>
                      <a:pt x="1459" y="294"/>
                      <a:pt x="1458" y="292"/>
                    </a:cubicBezTo>
                    <a:cubicBezTo>
                      <a:pt x="1457" y="292"/>
                      <a:pt x="1455" y="289"/>
                      <a:pt x="1454" y="291"/>
                    </a:cubicBezTo>
                    <a:cubicBezTo>
                      <a:pt x="1454" y="292"/>
                      <a:pt x="1454" y="293"/>
                      <a:pt x="1454" y="295"/>
                    </a:cubicBezTo>
                    <a:cubicBezTo>
                      <a:pt x="1454" y="296"/>
                      <a:pt x="1452" y="297"/>
                      <a:pt x="1451" y="298"/>
                    </a:cubicBezTo>
                    <a:cubicBezTo>
                      <a:pt x="1448" y="298"/>
                      <a:pt x="1445" y="298"/>
                      <a:pt x="1443" y="297"/>
                    </a:cubicBezTo>
                    <a:cubicBezTo>
                      <a:pt x="1440" y="296"/>
                      <a:pt x="1437" y="296"/>
                      <a:pt x="1434" y="295"/>
                    </a:cubicBezTo>
                    <a:cubicBezTo>
                      <a:pt x="1432" y="294"/>
                      <a:pt x="1430" y="293"/>
                      <a:pt x="1428" y="291"/>
                    </a:cubicBezTo>
                    <a:cubicBezTo>
                      <a:pt x="1427" y="290"/>
                      <a:pt x="1429" y="286"/>
                      <a:pt x="1426" y="287"/>
                    </a:cubicBezTo>
                    <a:cubicBezTo>
                      <a:pt x="1425" y="287"/>
                      <a:pt x="1424" y="288"/>
                      <a:pt x="1422" y="288"/>
                    </a:cubicBezTo>
                    <a:cubicBezTo>
                      <a:pt x="1421" y="289"/>
                      <a:pt x="1419" y="289"/>
                      <a:pt x="1418" y="289"/>
                    </a:cubicBezTo>
                    <a:cubicBezTo>
                      <a:pt x="1415" y="289"/>
                      <a:pt x="1412" y="288"/>
                      <a:pt x="1408" y="288"/>
                    </a:cubicBezTo>
                    <a:cubicBezTo>
                      <a:pt x="1406" y="288"/>
                      <a:pt x="1403" y="288"/>
                      <a:pt x="1401" y="290"/>
                    </a:cubicBezTo>
                    <a:cubicBezTo>
                      <a:pt x="1400" y="292"/>
                      <a:pt x="1397" y="292"/>
                      <a:pt x="1397" y="295"/>
                    </a:cubicBezTo>
                    <a:cubicBezTo>
                      <a:pt x="1396" y="297"/>
                      <a:pt x="1398" y="299"/>
                      <a:pt x="1401" y="299"/>
                    </a:cubicBezTo>
                    <a:cubicBezTo>
                      <a:pt x="1404" y="298"/>
                      <a:pt x="1407" y="298"/>
                      <a:pt x="1410" y="298"/>
                    </a:cubicBezTo>
                    <a:cubicBezTo>
                      <a:pt x="1412" y="297"/>
                      <a:pt x="1415" y="296"/>
                      <a:pt x="1417" y="296"/>
                    </a:cubicBezTo>
                    <a:cubicBezTo>
                      <a:pt x="1421" y="296"/>
                      <a:pt x="1417" y="299"/>
                      <a:pt x="1416" y="300"/>
                    </a:cubicBezTo>
                    <a:cubicBezTo>
                      <a:pt x="1413" y="301"/>
                      <a:pt x="1411" y="303"/>
                      <a:pt x="1409" y="303"/>
                    </a:cubicBezTo>
                    <a:cubicBezTo>
                      <a:pt x="1406" y="304"/>
                      <a:pt x="1403" y="304"/>
                      <a:pt x="1401" y="304"/>
                    </a:cubicBezTo>
                    <a:cubicBezTo>
                      <a:pt x="1398" y="304"/>
                      <a:pt x="1396" y="304"/>
                      <a:pt x="1393" y="304"/>
                    </a:cubicBezTo>
                    <a:cubicBezTo>
                      <a:pt x="1390" y="304"/>
                      <a:pt x="1392" y="307"/>
                      <a:pt x="1389" y="309"/>
                    </a:cubicBezTo>
                    <a:cubicBezTo>
                      <a:pt x="1385" y="311"/>
                      <a:pt x="1379" y="309"/>
                      <a:pt x="1374" y="312"/>
                    </a:cubicBezTo>
                    <a:cubicBezTo>
                      <a:pt x="1372" y="313"/>
                      <a:pt x="1369" y="314"/>
                      <a:pt x="1367" y="315"/>
                    </a:cubicBezTo>
                    <a:cubicBezTo>
                      <a:pt x="1364" y="315"/>
                      <a:pt x="1361" y="315"/>
                      <a:pt x="1358" y="315"/>
                    </a:cubicBezTo>
                    <a:cubicBezTo>
                      <a:pt x="1355" y="315"/>
                      <a:pt x="1352" y="316"/>
                      <a:pt x="1349" y="317"/>
                    </a:cubicBezTo>
                    <a:cubicBezTo>
                      <a:pt x="1347" y="318"/>
                      <a:pt x="1344" y="318"/>
                      <a:pt x="1341" y="318"/>
                    </a:cubicBezTo>
                    <a:cubicBezTo>
                      <a:pt x="1339" y="319"/>
                      <a:pt x="1338" y="319"/>
                      <a:pt x="1339" y="322"/>
                    </a:cubicBezTo>
                    <a:cubicBezTo>
                      <a:pt x="1340" y="325"/>
                      <a:pt x="1335" y="324"/>
                      <a:pt x="1333" y="324"/>
                    </a:cubicBezTo>
                    <a:cubicBezTo>
                      <a:pt x="1332" y="324"/>
                      <a:pt x="1331" y="325"/>
                      <a:pt x="1330" y="325"/>
                    </a:cubicBezTo>
                    <a:cubicBezTo>
                      <a:pt x="1329" y="326"/>
                      <a:pt x="1327" y="326"/>
                      <a:pt x="1326" y="327"/>
                    </a:cubicBezTo>
                    <a:cubicBezTo>
                      <a:pt x="1325" y="327"/>
                      <a:pt x="1321" y="331"/>
                      <a:pt x="1320" y="329"/>
                    </a:cubicBezTo>
                    <a:cubicBezTo>
                      <a:pt x="1318" y="327"/>
                      <a:pt x="1330" y="323"/>
                      <a:pt x="1331" y="321"/>
                    </a:cubicBezTo>
                    <a:cubicBezTo>
                      <a:pt x="1333" y="320"/>
                      <a:pt x="1334" y="316"/>
                      <a:pt x="1335" y="314"/>
                    </a:cubicBezTo>
                    <a:cubicBezTo>
                      <a:pt x="1336" y="312"/>
                      <a:pt x="1338" y="310"/>
                      <a:pt x="1341" y="310"/>
                    </a:cubicBezTo>
                    <a:cubicBezTo>
                      <a:pt x="1343" y="310"/>
                      <a:pt x="1345" y="311"/>
                      <a:pt x="1347" y="310"/>
                    </a:cubicBezTo>
                    <a:cubicBezTo>
                      <a:pt x="1350" y="309"/>
                      <a:pt x="1351" y="309"/>
                      <a:pt x="1352" y="306"/>
                    </a:cubicBezTo>
                    <a:cubicBezTo>
                      <a:pt x="1352" y="305"/>
                      <a:pt x="1353" y="304"/>
                      <a:pt x="1354" y="303"/>
                    </a:cubicBezTo>
                    <a:cubicBezTo>
                      <a:pt x="1354" y="303"/>
                      <a:pt x="1355" y="302"/>
                      <a:pt x="1356" y="301"/>
                    </a:cubicBezTo>
                    <a:cubicBezTo>
                      <a:pt x="1358" y="299"/>
                      <a:pt x="1361" y="301"/>
                      <a:pt x="1363" y="300"/>
                    </a:cubicBezTo>
                    <a:cubicBezTo>
                      <a:pt x="1366" y="300"/>
                      <a:pt x="1368" y="298"/>
                      <a:pt x="1371" y="297"/>
                    </a:cubicBezTo>
                    <a:cubicBezTo>
                      <a:pt x="1373" y="295"/>
                      <a:pt x="1376" y="293"/>
                      <a:pt x="1379" y="292"/>
                    </a:cubicBezTo>
                    <a:cubicBezTo>
                      <a:pt x="1381" y="291"/>
                      <a:pt x="1384" y="291"/>
                      <a:pt x="1386" y="290"/>
                    </a:cubicBezTo>
                    <a:cubicBezTo>
                      <a:pt x="1389" y="289"/>
                      <a:pt x="1391" y="287"/>
                      <a:pt x="1394" y="286"/>
                    </a:cubicBezTo>
                    <a:cubicBezTo>
                      <a:pt x="1396" y="284"/>
                      <a:pt x="1398" y="284"/>
                      <a:pt x="1401" y="283"/>
                    </a:cubicBezTo>
                    <a:cubicBezTo>
                      <a:pt x="1403" y="282"/>
                      <a:pt x="1404" y="279"/>
                      <a:pt x="1401" y="278"/>
                    </a:cubicBezTo>
                    <a:cubicBezTo>
                      <a:pt x="1400" y="278"/>
                      <a:pt x="1397" y="277"/>
                      <a:pt x="1399" y="276"/>
                    </a:cubicBezTo>
                    <a:cubicBezTo>
                      <a:pt x="1400" y="275"/>
                      <a:pt x="1402" y="275"/>
                      <a:pt x="1404" y="274"/>
                    </a:cubicBezTo>
                    <a:cubicBezTo>
                      <a:pt x="1406" y="273"/>
                      <a:pt x="1408" y="272"/>
                      <a:pt x="1411" y="272"/>
                    </a:cubicBezTo>
                    <a:cubicBezTo>
                      <a:pt x="1412" y="272"/>
                      <a:pt x="1414" y="272"/>
                      <a:pt x="1415" y="272"/>
                    </a:cubicBezTo>
                    <a:cubicBezTo>
                      <a:pt x="1416" y="272"/>
                      <a:pt x="1418" y="271"/>
                      <a:pt x="1419" y="270"/>
                    </a:cubicBezTo>
                    <a:cubicBezTo>
                      <a:pt x="1424" y="267"/>
                      <a:pt x="1429" y="264"/>
                      <a:pt x="1434" y="261"/>
                    </a:cubicBezTo>
                    <a:cubicBezTo>
                      <a:pt x="1439" y="258"/>
                      <a:pt x="1445" y="256"/>
                      <a:pt x="1450" y="253"/>
                    </a:cubicBezTo>
                    <a:cubicBezTo>
                      <a:pt x="1452" y="252"/>
                      <a:pt x="1455" y="251"/>
                      <a:pt x="1457" y="249"/>
                    </a:cubicBezTo>
                    <a:cubicBezTo>
                      <a:pt x="1460" y="248"/>
                      <a:pt x="1463" y="247"/>
                      <a:pt x="1465" y="245"/>
                    </a:cubicBezTo>
                    <a:cubicBezTo>
                      <a:pt x="1466" y="244"/>
                      <a:pt x="1468" y="241"/>
                      <a:pt x="1467" y="239"/>
                    </a:cubicBezTo>
                    <a:cubicBezTo>
                      <a:pt x="1467" y="238"/>
                      <a:pt x="1466" y="237"/>
                      <a:pt x="1465" y="237"/>
                    </a:cubicBezTo>
                    <a:cubicBezTo>
                      <a:pt x="1464" y="236"/>
                      <a:pt x="1463" y="237"/>
                      <a:pt x="1462" y="237"/>
                    </a:cubicBezTo>
                    <a:cubicBezTo>
                      <a:pt x="1460" y="236"/>
                      <a:pt x="1461" y="233"/>
                      <a:pt x="1458" y="234"/>
                    </a:cubicBezTo>
                    <a:cubicBezTo>
                      <a:pt x="1457" y="234"/>
                      <a:pt x="1455" y="238"/>
                      <a:pt x="1453" y="235"/>
                    </a:cubicBezTo>
                    <a:cubicBezTo>
                      <a:pt x="1452" y="234"/>
                      <a:pt x="1453" y="232"/>
                      <a:pt x="1452" y="230"/>
                    </a:cubicBezTo>
                    <a:cubicBezTo>
                      <a:pt x="1452" y="229"/>
                      <a:pt x="1449" y="229"/>
                      <a:pt x="1448" y="228"/>
                    </a:cubicBezTo>
                    <a:cubicBezTo>
                      <a:pt x="1447" y="228"/>
                      <a:pt x="1445" y="227"/>
                      <a:pt x="1445" y="226"/>
                    </a:cubicBezTo>
                    <a:cubicBezTo>
                      <a:pt x="1444" y="226"/>
                      <a:pt x="1445" y="225"/>
                      <a:pt x="1445" y="224"/>
                    </a:cubicBezTo>
                    <a:cubicBezTo>
                      <a:pt x="1447" y="224"/>
                      <a:pt x="1448" y="225"/>
                      <a:pt x="1449" y="226"/>
                    </a:cubicBezTo>
                    <a:cubicBezTo>
                      <a:pt x="1450" y="226"/>
                      <a:pt x="1452" y="227"/>
                      <a:pt x="1453" y="228"/>
                    </a:cubicBezTo>
                    <a:cubicBezTo>
                      <a:pt x="1454" y="228"/>
                      <a:pt x="1456" y="228"/>
                      <a:pt x="1457" y="229"/>
                    </a:cubicBezTo>
                    <a:cubicBezTo>
                      <a:pt x="1458" y="230"/>
                      <a:pt x="1459" y="231"/>
                      <a:pt x="1460" y="231"/>
                    </a:cubicBezTo>
                    <a:cubicBezTo>
                      <a:pt x="1461" y="232"/>
                      <a:pt x="1462" y="231"/>
                      <a:pt x="1463" y="232"/>
                    </a:cubicBezTo>
                    <a:cubicBezTo>
                      <a:pt x="1464" y="232"/>
                      <a:pt x="1466" y="232"/>
                      <a:pt x="1466" y="233"/>
                    </a:cubicBezTo>
                    <a:cubicBezTo>
                      <a:pt x="1466" y="234"/>
                      <a:pt x="1466" y="235"/>
                      <a:pt x="1467" y="234"/>
                    </a:cubicBezTo>
                    <a:cubicBezTo>
                      <a:pt x="1469" y="233"/>
                      <a:pt x="1469" y="230"/>
                      <a:pt x="1469" y="228"/>
                    </a:cubicBezTo>
                    <a:cubicBezTo>
                      <a:pt x="1470" y="227"/>
                      <a:pt x="1472" y="224"/>
                      <a:pt x="1469" y="223"/>
                    </a:cubicBezTo>
                    <a:cubicBezTo>
                      <a:pt x="1468" y="223"/>
                      <a:pt x="1468" y="223"/>
                      <a:pt x="1467" y="224"/>
                    </a:cubicBezTo>
                    <a:cubicBezTo>
                      <a:pt x="1466" y="225"/>
                      <a:pt x="1465" y="225"/>
                      <a:pt x="1465" y="223"/>
                    </a:cubicBezTo>
                    <a:cubicBezTo>
                      <a:pt x="1465" y="223"/>
                      <a:pt x="1465" y="222"/>
                      <a:pt x="1465" y="222"/>
                    </a:cubicBezTo>
                    <a:cubicBezTo>
                      <a:pt x="1465" y="221"/>
                      <a:pt x="1465" y="221"/>
                      <a:pt x="1465" y="221"/>
                    </a:cubicBezTo>
                    <a:cubicBezTo>
                      <a:pt x="1464" y="220"/>
                      <a:pt x="1464" y="219"/>
                      <a:pt x="1464" y="218"/>
                    </a:cubicBezTo>
                    <a:cubicBezTo>
                      <a:pt x="1464" y="217"/>
                      <a:pt x="1464" y="216"/>
                      <a:pt x="1463" y="215"/>
                    </a:cubicBezTo>
                    <a:cubicBezTo>
                      <a:pt x="1462" y="214"/>
                      <a:pt x="1461" y="214"/>
                      <a:pt x="1460" y="213"/>
                    </a:cubicBezTo>
                    <a:cubicBezTo>
                      <a:pt x="1460" y="212"/>
                      <a:pt x="1459" y="211"/>
                      <a:pt x="1459" y="211"/>
                    </a:cubicBezTo>
                    <a:cubicBezTo>
                      <a:pt x="1458" y="211"/>
                      <a:pt x="1456" y="211"/>
                      <a:pt x="1457" y="212"/>
                    </a:cubicBezTo>
                    <a:cubicBezTo>
                      <a:pt x="1457" y="213"/>
                      <a:pt x="1457" y="214"/>
                      <a:pt x="1457" y="215"/>
                    </a:cubicBezTo>
                    <a:cubicBezTo>
                      <a:pt x="1457" y="216"/>
                      <a:pt x="1456" y="217"/>
                      <a:pt x="1455" y="217"/>
                    </a:cubicBezTo>
                    <a:cubicBezTo>
                      <a:pt x="1452" y="219"/>
                      <a:pt x="1453" y="216"/>
                      <a:pt x="1452" y="214"/>
                    </a:cubicBezTo>
                    <a:cubicBezTo>
                      <a:pt x="1452" y="213"/>
                      <a:pt x="1452" y="212"/>
                      <a:pt x="1452" y="211"/>
                    </a:cubicBezTo>
                    <a:cubicBezTo>
                      <a:pt x="1451" y="209"/>
                      <a:pt x="1450" y="208"/>
                      <a:pt x="1449" y="208"/>
                    </a:cubicBezTo>
                    <a:cubicBezTo>
                      <a:pt x="1447" y="206"/>
                      <a:pt x="1444" y="204"/>
                      <a:pt x="1442" y="203"/>
                    </a:cubicBezTo>
                    <a:cubicBezTo>
                      <a:pt x="1439" y="202"/>
                      <a:pt x="1437" y="201"/>
                      <a:pt x="1434" y="199"/>
                    </a:cubicBezTo>
                    <a:cubicBezTo>
                      <a:pt x="1433" y="199"/>
                      <a:pt x="1432" y="198"/>
                      <a:pt x="1431" y="197"/>
                    </a:cubicBezTo>
                    <a:cubicBezTo>
                      <a:pt x="1430" y="197"/>
                      <a:pt x="1429" y="196"/>
                      <a:pt x="1428" y="196"/>
                    </a:cubicBezTo>
                    <a:cubicBezTo>
                      <a:pt x="1427" y="195"/>
                      <a:pt x="1426" y="196"/>
                      <a:pt x="1425" y="195"/>
                    </a:cubicBezTo>
                    <a:cubicBezTo>
                      <a:pt x="1423" y="195"/>
                      <a:pt x="1422" y="194"/>
                      <a:pt x="1421" y="193"/>
                    </a:cubicBezTo>
                    <a:cubicBezTo>
                      <a:pt x="1419" y="193"/>
                      <a:pt x="1415" y="193"/>
                      <a:pt x="1413" y="193"/>
                    </a:cubicBezTo>
                    <a:cubicBezTo>
                      <a:pt x="1410" y="194"/>
                      <a:pt x="1408" y="195"/>
                      <a:pt x="1405" y="195"/>
                    </a:cubicBezTo>
                    <a:cubicBezTo>
                      <a:pt x="1402" y="196"/>
                      <a:pt x="1400" y="194"/>
                      <a:pt x="1397" y="194"/>
                    </a:cubicBezTo>
                    <a:cubicBezTo>
                      <a:pt x="1395" y="194"/>
                      <a:pt x="1394" y="194"/>
                      <a:pt x="1392" y="194"/>
                    </a:cubicBezTo>
                    <a:cubicBezTo>
                      <a:pt x="1391" y="194"/>
                      <a:pt x="1389" y="194"/>
                      <a:pt x="1387" y="194"/>
                    </a:cubicBezTo>
                    <a:cubicBezTo>
                      <a:pt x="1384" y="193"/>
                      <a:pt x="1382" y="194"/>
                      <a:pt x="1379" y="194"/>
                    </a:cubicBezTo>
                    <a:cubicBezTo>
                      <a:pt x="1376" y="194"/>
                      <a:pt x="1374" y="194"/>
                      <a:pt x="1372" y="194"/>
                    </a:cubicBezTo>
                    <a:cubicBezTo>
                      <a:pt x="1369" y="195"/>
                      <a:pt x="1369" y="196"/>
                      <a:pt x="1369" y="199"/>
                    </a:cubicBezTo>
                    <a:cubicBezTo>
                      <a:pt x="1369" y="202"/>
                      <a:pt x="1366" y="202"/>
                      <a:pt x="1363" y="202"/>
                    </a:cubicBezTo>
                    <a:cubicBezTo>
                      <a:pt x="1360" y="202"/>
                      <a:pt x="1358" y="201"/>
                      <a:pt x="1356" y="202"/>
                    </a:cubicBezTo>
                    <a:cubicBezTo>
                      <a:pt x="1353" y="202"/>
                      <a:pt x="1351" y="204"/>
                      <a:pt x="1348" y="203"/>
                    </a:cubicBezTo>
                    <a:cubicBezTo>
                      <a:pt x="1347" y="203"/>
                      <a:pt x="1345" y="202"/>
                      <a:pt x="1344" y="201"/>
                    </a:cubicBezTo>
                    <a:cubicBezTo>
                      <a:pt x="1342" y="200"/>
                      <a:pt x="1346" y="197"/>
                      <a:pt x="1347" y="197"/>
                    </a:cubicBezTo>
                    <a:cubicBezTo>
                      <a:pt x="1348" y="196"/>
                      <a:pt x="1349" y="196"/>
                      <a:pt x="1350" y="195"/>
                    </a:cubicBezTo>
                    <a:cubicBezTo>
                      <a:pt x="1352" y="194"/>
                      <a:pt x="1352" y="193"/>
                      <a:pt x="1353" y="193"/>
                    </a:cubicBezTo>
                    <a:cubicBezTo>
                      <a:pt x="1355" y="191"/>
                      <a:pt x="1358" y="191"/>
                      <a:pt x="1360" y="189"/>
                    </a:cubicBezTo>
                    <a:cubicBezTo>
                      <a:pt x="1362" y="186"/>
                      <a:pt x="1358" y="186"/>
                      <a:pt x="1357" y="185"/>
                    </a:cubicBezTo>
                    <a:cubicBezTo>
                      <a:pt x="1354" y="184"/>
                      <a:pt x="1352" y="182"/>
                      <a:pt x="1349" y="184"/>
                    </a:cubicBezTo>
                    <a:cubicBezTo>
                      <a:pt x="1348" y="184"/>
                      <a:pt x="1347" y="185"/>
                      <a:pt x="1346" y="185"/>
                    </a:cubicBezTo>
                    <a:cubicBezTo>
                      <a:pt x="1345" y="185"/>
                      <a:pt x="1344" y="184"/>
                      <a:pt x="1343" y="183"/>
                    </a:cubicBezTo>
                    <a:cubicBezTo>
                      <a:pt x="1341" y="183"/>
                      <a:pt x="1340" y="182"/>
                      <a:pt x="1339" y="183"/>
                    </a:cubicBezTo>
                    <a:cubicBezTo>
                      <a:pt x="1338" y="183"/>
                      <a:pt x="1337" y="184"/>
                      <a:pt x="1335" y="184"/>
                    </a:cubicBezTo>
                    <a:cubicBezTo>
                      <a:pt x="1335" y="185"/>
                      <a:pt x="1329" y="186"/>
                      <a:pt x="1330" y="184"/>
                    </a:cubicBezTo>
                    <a:cubicBezTo>
                      <a:pt x="1330" y="183"/>
                      <a:pt x="1334" y="182"/>
                      <a:pt x="1332" y="180"/>
                    </a:cubicBezTo>
                    <a:cubicBezTo>
                      <a:pt x="1331" y="179"/>
                      <a:pt x="1328" y="180"/>
                      <a:pt x="1327" y="181"/>
                    </a:cubicBezTo>
                    <a:cubicBezTo>
                      <a:pt x="1324" y="182"/>
                      <a:pt x="1321" y="181"/>
                      <a:pt x="1318" y="182"/>
                    </a:cubicBezTo>
                    <a:cubicBezTo>
                      <a:pt x="1315" y="182"/>
                      <a:pt x="1312" y="182"/>
                      <a:pt x="1310" y="182"/>
                    </a:cubicBezTo>
                    <a:cubicBezTo>
                      <a:pt x="1309" y="183"/>
                      <a:pt x="1307" y="182"/>
                      <a:pt x="1306" y="182"/>
                    </a:cubicBezTo>
                    <a:cubicBezTo>
                      <a:pt x="1305" y="181"/>
                      <a:pt x="1305" y="180"/>
                      <a:pt x="1307" y="180"/>
                    </a:cubicBezTo>
                    <a:cubicBezTo>
                      <a:pt x="1310" y="179"/>
                      <a:pt x="1312" y="179"/>
                      <a:pt x="1315" y="178"/>
                    </a:cubicBezTo>
                    <a:cubicBezTo>
                      <a:pt x="1318" y="178"/>
                      <a:pt x="1321" y="177"/>
                      <a:pt x="1324" y="176"/>
                    </a:cubicBezTo>
                    <a:cubicBezTo>
                      <a:pt x="1327" y="175"/>
                      <a:pt x="1329" y="173"/>
                      <a:pt x="1331" y="172"/>
                    </a:cubicBezTo>
                    <a:cubicBezTo>
                      <a:pt x="1332" y="171"/>
                      <a:pt x="1334" y="171"/>
                      <a:pt x="1335" y="171"/>
                    </a:cubicBezTo>
                    <a:cubicBezTo>
                      <a:pt x="1336" y="171"/>
                      <a:pt x="1338" y="172"/>
                      <a:pt x="1338" y="171"/>
                    </a:cubicBezTo>
                    <a:cubicBezTo>
                      <a:pt x="1339" y="170"/>
                      <a:pt x="1335" y="167"/>
                      <a:pt x="1334" y="166"/>
                    </a:cubicBezTo>
                    <a:cubicBezTo>
                      <a:pt x="1332" y="164"/>
                      <a:pt x="1330" y="163"/>
                      <a:pt x="1327" y="163"/>
                    </a:cubicBezTo>
                    <a:cubicBezTo>
                      <a:pt x="1324" y="162"/>
                      <a:pt x="1322" y="162"/>
                      <a:pt x="1319" y="161"/>
                    </a:cubicBezTo>
                    <a:cubicBezTo>
                      <a:pt x="1316" y="161"/>
                      <a:pt x="1313" y="160"/>
                      <a:pt x="1309" y="159"/>
                    </a:cubicBezTo>
                    <a:cubicBezTo>
                      <a:pt x="1303" y="158"/>
                      <a:pt x="1297" y="160"/>
                      <a:pt x="1291" y="161"/>
                    </a:cubicBezTo>
                    <a:cubicBezTo>
                      <a:pt x="1285" y="163"/>
                      <a:pt x="1279" y="165"/>
                      <a:pt x="1274" y="168"/>
                    </a:cubicBezTo>
                    <a:cubicBezTo>
                      <a:pt x="1272" y="168"/>
                      <a:pt x="1269" y="169"/>
                      <a:pt x="1268" y="170"/>
                    </a:cubicBezTo>
                    <a:cubicBezTo>
                      <a:pt x="1267" y="171"/>
                      <a:pt x="1265" y="171"/>
                      <a:pt x="1266" y="172"/>
                    </a:cubicBezTo>
                    <a:cubicBezTo>
                      <a:pt x="1266" y="173"/>
                      <a:pt x="1267" y="174"/>
                      <a:pt x="1266" y="175"/>
                    </a:cubicBezTo>
                    <a:cubicBezTo>
                      <a:pt x="1264" y="176"/>
                      <a:pt x="1262" y="177"/>
                      <a:pt x="1260" y="178"/>
                    </a:cubicBezTo>
                    <a:cubicBezTo>
                      <a:pt x="1258" y="180"/>
                      <a:pt x="1256" y="182"/>
                      <a:pt x="1254" y="183"/>
                    </a:cubicBezTo>
                    <a:cubicBezTo>
                      <a:pt x="1252" y="185"/>
                      <a:pt x="1250" y="186"/>
                      <a:pt x="1250" y="189"/>
                    </a:cubicBezTo>
                    <a:cubicBezTo>
                      <a:pt x="1249" y="190"/>
                      <a:pt x="1250" y="191"/>
                      <a:pt x="1251" y="191"/>
                    </a:cubicBezTo>
                    <a:cubicBezTo>
                      <a:pt x="1252" y="192"/>
                      <a:pt x="1254" y="193"/>
                      <a:pt x="1255" y="194"/>
                    </a:cubicBezTo>
                    <a:cubicBezTo>
                      <a:pt x="1255" y="195"/>
                      <a:pt x="1253" y="197"/>
                      <a:pt x="1252" y="198"/>
                    </a:cubicBezTo>
                    <a:cubicBezTo>
                      <a:pt x="1250" y="200"/>
                      <a:pt x="1253" y="202"/>
                      <a:pt x="1255" y="202"/>
                    </a:cubicBezTo>
                    <a:cubicBezTo>
                      <a:pt x="1258" y="203"/>
                      <a:pt x="1261" y="202"/>
                      <a:pt x="1263" y="203"/>
                    </a:cubicBezTo>
                    <a:cubicBezTo>
                      <a:pt x="1265" y="203"/>
                      <a:pt x="1266" y="204"/>
                      <a:pt x="1267" y="205"/>
                    </a:cubicBezTo>
                    <a:cubicBezTo>
                      <a:pt x="1269" y="205"/>
                      <a:pt x="1270" y="205"/>
                      <a:pt x="1271" y="206"/>
                    </a:cubicBezTo>
                    <a:cubicBezTo>
                      <a:pt x="1272" y="206"/>
                      <a:pt x="1272" y="207"/>
                      <a:pt x="1271" y="207"/>
                    </a:cubicBezTo>
                    <a:cubicBezTo>
                      <a:pt x="1270" y="207"/>
                      <a:pt x="1269" y="207"/>
                      <a:pt x="1267" y="207"/>
                    </a:cubicBezTo>
                    <a:cubicBezTo>
                      <a:pt x="1265" y="206"/>
                      <a:pt x="1262" y="204"/>
                      <a:pt x="1259" y="204"/>
                    </a:cubicBezTo>
                    <a:cubicBezTo>
                      <a:pt x="1256" y="204"/>
                      <a:pt x="1253" y="205"/>
                      <a:pt x="1250" y="204"/>
                    </a:cubicBezTo>
                    <a:cubicBezTo>
                      <a:pt x="1248" y="203"/>
                      <a:pt x="1245" y="203"/>
                      <a:pt x="1242" y="203"/>
                    </a:cubicBezTo>
                    <a:cubicBezTo>
                      <a:pt x="1235" y="203"/>
                      <a:pt x="1229" y="204"/>
                      <a:pt x="1223" y="204"/>
                    </a:cubicBezTo>
                    <a:cubicBezTo>
                      <a:pt x="1221" y="203"/>
                      <a:pt x="1216" y="202"/>
                      <a:pt x="1215" y="204"/>
                    </a:cubicBezTo>
                    <a:cubicBezTo>
                      <a:pt x="1215" y="205"/>
                      <a:pt x="1218" y="207"/>
                      <a:pt x="1219" y="208"/>
                    </a:cubicBezTo>
                    <a:cubicBezTo>
                      <a:pt x="1221" y="209"/>
                      <a:pt x="1224" y="209"/>
                      <a:pt x="1226" y="210"/>
                    </a:cubicBezTo>
                    <a:cubicBezTo>
                      <a:pt x="1228" y="212"/>
                      <a:pt x="1230" y="214"/>
                      <a:pt x="1231" y="216"/>
                    </a:cubicBezTo>
                    <a:cubicBezTo>
                      <a:pt x="1231" y="217"/>
                      <a:pt x="1232" y="219"/>
                      <a:pt x="1230" y="219"/>
                    </a:cubicBezTo>
                    <a:cubicBezTo>
                      <a:pt x="1228" y="219"/>
                      <a:pt x="1227" y="218"/>
                      <a:pt x="1226" y="217"/>
                    </a:cubicBezTo>
                    <a:cubicBezTo>
                      <a:pt x="1224" y="216"/>
                      <a:pt x="1222" y="215"/>
                      <a:pt x="1220" y="214"/>
                    </a:cubicBezTo>
                    <a:cubicBezTo>
                      <a:pt x="1217" y="213"/>
                      <a:pt x="1214" y="211"/>
                      <a:pt x="1212" y="212"/>
                    </a:cubicBezTo>
                    <a:cubicBezTo>
                      <a:pt x="1209" y="212"/>
                      <a:pt x="1206" y="214"/>
                      <a:pt x="1203" y="215"/>
                    </a:cubicBezTo>
                    <a:cubicBezTo>
                      <a:pt x="1201" y="215"/>
                      <a:pt x="1198" y="216"/>
                      <a:pt x="1195" y="217"/>
                    </a:cubicBezTo>
                    <a:cubicBezTo>
                      <a:pt x="1193" y="219"/>
                      <a:pt x="1192" y="221"/>
                      <a:pt x="1189" y="222"/>
                    </a:cubicBezTo>
                    <a:cubicBezTo>
                      <a:pt x="1186" y="223"/>
                      <a:pt x="1190" y="218"/>
                      <a:pt x="1187" y="219"/>
                    </a:cubicBezTo>
                    <a:cubicBezTo>
                      <a:pt x="1185" y="220"/>
                      <a:pt x="1182" y="220"/>
                      <a:pt x="1180" y="221"/>
                    </a:cubicBezTo>
                    <a:cubicBezTo>
                      <a:pt x="1179" y="222"/>
                      <a:pt x="1175" y="226"/>
                      <a:pt x="1174" y="224"/>
                    </a:cubicBezTo>
                    <a:cubicBezTo>
                      <a:pt x="1174" y="222"/>
                      <a:pt x="1175" y="219"/>
                      <a:pt x="1172" y="220"/>
                    </a:cubicBezTo>
                    <a:cubicBezTo>
                      <a:pt x="1169" y="220"/>
                      <a:pt x="1167" y="223"/>
                      <a:pt x="1165" y="225"/>
                    </a:cubicBezTo>
                    <a:cubicBezTo>
                      <a:pt x="1163" y="225"/>
                      <a:pt x="1159" y="226"/>
                      <a:pt x="1161" y="223"/>
                    </a:cubicBezTo>
                    <a:cubicBezTo>
                      <a:pt x="1161" y="223"/>
                      <a:pt x="1163" y="222"/>
                      <a:pt x="1162" y="221"/>
                    </a:cubicBezTo>
                    <a:cubicBezTo>
                      <a:pt x="1162" y="220"/>
                      <a:pt x="1159" y="220"/>
                      <a:pt x="1158" y="220"/>
                    </a:cubicBezTo>
                    <a:cubicBezTo>
                      <a:pt x="1155" y="220"/>
                      <a:pt x="1152" y="220"/>
                      <a:pt x="1149" y="219"/>
                    </a:cubicBezTo>
                    <a:cubicBezTo>
                      <a:pt x="1146" y="219"/>
                      <a:pt x="1143" y="219"/>
                      <a:pt x="1139" y="219"/>
                    </a:cubicBezTo>
                    <a:cubicBezTo>
                      <a:pt x="1133" y="218"/>
                      <a:pt x="1128" y="217"/>
                      <a:pt x="1122" y="217"/>
                    </a:cubicBezTo>
                    <a:cubicBezTo>
                      <a:pt x="1120" y="217"/>
                      <a:pt x="1118" y="217"/>
                      <a:pt x="1116" y="218"/>
                    </a:cubicBezTo>
                    <a:cubicBezTo>
                      <a:pt x="1114" y="219"/>
                      <a:pt x="1112" y="222"/>
                      <a:pt x="1115" y="222"/>
                    </a:cubicBezTo>
                    <a:cubicBezTo>
                      <a:pt x="1118" y="222"/>
                      <a:pt x="1121" y="222"/>
                      <a:pt x="1124" y="222"/>
                    </a:cubicBezTo>
                    <a:cubicBezTo>
                      <a:pt x="1126" y="222"/>
                      <a:pt x="1130" y="221"/>
                      <a:pt x="1133" y="222"/>
                    </a:cubicBezTo>
                    <a:cubicBezTo>
                      <a:pt x="1134" y="222"/>
                      <a:pt x="1134" y="223"/>
                      <a:pt x="1132" y="223"/>
                    </a:cubicBezTo>
                    <a:cubicBezTo>
                      <a:pt x="1131" y="224"/>
                      <a:pt x="1130" y="224"/>
                      <a:pt x="1128" y="224"/>
                    </a:cubicBezTo>
                    <a:cubicBezTo>
                      <a:pt x="1125" y="224"/>
                      <a:pt x="1122" y="225"/>
                      <a:pt x="1118" y="226"/>
                    </a:cubicBezTo>
                    <a:cubicBezTo>
                      <a:pt x="1112" y="227"/>
                      <a:pt x="1106" y="228"/>
                      <a:pt x="1099" y="229"/>
                    </a:cubicBezTo>
                    <a:cubicBezTo>
                      <a:pt x="1093" y="230"/>
                      <a:pt x="1087" y="231"/>
                      <a:pt x="1080" y="232"/>
                    </a:cubicBezTo>
                    <a:cubicBezTo>
                      <a:pt x="1074" y="233"/>
                      <a:pt x="1068" y="235"/>
                      <a:pt x="1062" y="235"/>
                    </a:cubicBezTo>
                    <a:cubicBezTo>
                      <a:pt x="1055" y="236"/>
                      <a:pt x="1050" y="238"/>
                      <a:pt x="1044" y="242"/>
                    </a:cubicBezTo>
                    <a:cubicBezTo>
                      <a:pt x="1042" y="243"/>
                      <a:pt x="1039" y="245"/>
                      <a:pt x="1037" y="246"/>
                    </a:cubicBezTo>
                    <a:cubicBezTo>
                      <a:pt x="1034" y="248"/>
                      <a:pt x="1032" y="250"/>
                      <a:pt x="1029" y="251"/>
                    </a:cubicBezTo>
                    <a:cubicBezTo>
                      <a:pt x="1026" y="252"/>
                      <a:pt x="1023" y="251"/>
                      <a:pt x="1021" y="250"/>
                    </a:cubicBezTo>
                    <a:cubicBezTo>
                      <a:pt x="1020" y="250"/>
                      <a:pt x="1014" y="249"/>
                      <a:pt x="1014" y="251"/>
                    </a:cubicBezTo>
                    <a:cubicBezTo>
                      <a:pt x="1014" y="252"/>
                      <a:pt x="1015" y="252"/>
                      <a:pt x="1016" y="252"/>
                    </a:cubicBezTo>
                    <a:cubicBezTo>
                      <a:pt x="1017" y="252"/>
                      <a:pt x="1019" y="253"/>
                      <a:pt x="1020" y="253"/>
                    </a:cubicBezTo>
                    <a:cubicBezTo>
                      <a:pt x="1021" y="254"/>
                      <a:pt x="1020" y="254"/>
                      <a:pt x="1020" y="255"/>
                    </a:cubicBezTo>
                    <a:cubicBezTo>
                      <a:pt x="1019" y="256"/>
                      <a:pt x="1019" y="256"/>
                      <a:pt x="1019" y="257"/>
                    </a:cubicBezTo>
                    <a:cubicBezTo>
                      <a:pt x="1018" y="260"/>
                      <a:pt x="1015" y="261"/>
                      <a:pt x="1013" y="262"/>
                    </a:cubicBezTo>
                    <a:cubicBezTo>
                      <a:pt x="1012" y="263"/>
                      <a:pt x="1011" y="263"/>
                      <a:pt x="1011" y="265"/>
                    </a:cubicBezTo>
                    <a:cubicBezTo>
                      <a:pt x="1011" y="266"/>
                      <a:pt x="1012" y="267"/>
                      <a:pt x="1012" y="268"/>
                    </a:cubicBezTo>
                    <a:cubicBezTo>
                      <a:pt x="1012" y="269"/>
                      <a:pt x="1010" y="268"/>
                      <a:pt x="1009" y="268"/>
                    </a:cubicBezTo>
                    <a:cubicBezTo>
                      <a:pt x="1009" y="269"/>
                      <a:pt x="1008" y="270"/>
                      <a:pt x="1008" y="271"/>
                    </a:cubicBezTo>
                    <a:cubicBezTo>
                      <a:pt x="1007" y="273"/>
                      <a:pt x="1011" y="274"/>
                      <a:pt x="1013" y="274"/>
                    </a:cubicBezTo>
                    <a:cubicBezTo>
                      <a:pt x="1015" y="273"/>
                      <a:pt x="1015" y="275"/>
                      <a:pt x="1014" y="277"/>
                    </a:cubicBezTo>
                    <a:cubicBezTo>
                      <a:pt x="1014" y="279"/>
                      <a:pt x="1011" y="280"/>
                      <a:pt x="1010" y="278"/>
                    </a:cubicBezTo>
                    <a:cubicBezTo>
                      <a:pt x="1009" y="278"/>
                      <a:pt x="1009" y="277"/>
                      <a:pt x="1009" y="276"/>
                    </a:cubicBezTo>
                    <a:cubicBezTo>
                      <a:pt x="1008" y="275"/>
                      <a:pt x="1007" y="275"/>
                      <a:pt x="1006" y="275"/>
                    </a:cubicBezTo>
                    <a:cubicBezTo>
                      <a:pt x="1004" y="275"/>
                      <a:pt x="1001" y="274"/>
                      <a:pt x="998" y="275"/>
                    </a:cubicBezTo>
                    <a:cubicBezTo>
                      <a:pt x="995" y="275"/>
                      <a:pt x="995" y="278"/>
                      <a:pt x="997" y="279"/>
                    </a:cubicBezTo>
                    <a:cubicBezTo>
                      <a:pt x="998" y="280"/>
                      <a:pt x="1000" y="280"/>
                      <a:pt x="1001" y="280"/>
                    </a:cubicBezTo>
                    <a:cubicBezTo>
                      <a:pt x="1002" y="280"/>
                      <a:pt x="1004" y="280"/>
                      <a:pt x="1006" y="280"/>
                    </a:cubicBezTo>
                    <a:cubicBezTo>
                      <a:pt x="1008" y="280"/>
                      <a:pt x="1011" y="280"/>
                      <a:pt x="1011" y="283"/>
                    </a:cubicBezTo>
                    <a:cubicBezTo>
                      <a:pt x="1010" y="286"/>
                      <a:pt x="1013" y="286"/>
                      <a:pt x="1014" y="286"/>
                    </a:cubicBezTo>
                    <a:cubicBezTo>
                      <a:pt x="1015" y="286"/>
                      <a:pt x="1018" y="287"/>
                      <a:pt x="1016" y="288"/>
                    </a:cubicBezTo>
                    <a:cubicBezTo>
                      <a:pt x="1013" y="289"/>
                      <a:pt x="1016" y="290"/>
                      <a:pt x="1016" y="292"/>
                    </a:cubicBezTo>
                    <a:cubicBezTo>
                      <a:pt x="1017" y="293"/>
                      <a:pt x="1013" y="293"/>
                      <a:pt x="1012" y="293"/>
                    </a:cubicBezTo>
                    <a:cubicBezTo>
                      <a:pt x="1009" y="294"/>
                      <a:pt x="1006" y="294"/>
                      <a:pt x="1002" y="294"/>
                    </a:cubicBezTo>
                    <a:cubicBezTo>
                      <a:pt x="989" y="295"/>
                      <a:pt x="976" y="296"/>
                      <a:pt x="963" y="297"/>
                    </a:cubicBezTo>
                    <a:cubicBezTo>
                      <a:pt x="957" y="297"/>
                      <a:pt x="951" y="299"/>
                      <a:pt x="944" y="299"/>
                    </a:cubicBezTo>
                    <a:cubicBezTo>
                      <a:pt x="938" y="299"/>
                      <a:pt x="931" y="300"/>
                      <a:pt x="925" y="300"/>
                    </a:cubicBezTo>
                    <a:cubicBezTo>
                      <a:pt x="921" y="301"/>
                      <a:pt x="918" y="301"/>
                      <a:pt x="915" y="301"/>
                    </a:cubicBezTo>
                    <a:cubicBezTo>
                      <a:pt x="912" y="301"/>
                      <a:pt x="909" y="301"/>
                      <a:pt x="906" y="302"/>
                    </a:cubicBezTo>
                    <a:cubicBezTo>
                      <a:pt x="905" y="302"/>
                      <a:pt x="903" y="302"/>
                      <a:pt x="903" y="304"/>
                    </a:cubicBezTo>
                    <a:cubicBezTo>
                      <a:pt x="903" y="305"/>
                      <a:pt x="904" y="306"/>
                      <a:pt x="903" y="307"/>
                    </a:cubicBezTo>
                    <a:cubicBezTo>
                      <a:pt x="903" y="308"/>
                      <a:pt x="899" y="309"/>
                      <a:pt x="900" y="311"/>
                    </a:cubicBezTo>
                    <a:cubicBezTo>
                      <a:pt x="900" y="311"/>
                      <a:pt x="902" y="312"/>
                      <a:pt x="902" y="313"/>
                    </a:cubicBezTo>
                    <a:cubicBezTo>
                      <a:pt x="901" y="314"/>
                      <a:pt x="900" y="314"/>
                      <a:pt x="900" y="315"/>
                    </a:cubicBezTo>
                    <a:cubicBezTo>
                      <a:pt x="900" y="316"/>
                      <a:pt x="901" y="317"/>
                      <a:pt x="902" y="316"/>
                    </a:cubicBezTo>
                    <a:cubicBezTo>
                      <a:pt x="903" y="316"/>
                      <a:pt x="903" y="318"/>
                      <a:pt x="904" y="318"/>
                    </a:cubicBezTo>
                    <a:cubicBezTo>
                      <a:pt x="905" y="319"/>
                      <a:pt x="906" y="319"/>
                      <a:pt x="907" y="320"/>
                    </a:cubicBezTo>
                    <a:cubicBezTo>
                      <a:pt x="907" y="321"/>
                      <a:pt x="908" y="322"/>
                      <a:pt x="908" y="323"/>
                    </a:cubicBezTo>
                    <a:cubicBezTo>
                      <a:pt x="909" y="324"/>
                      <a:pt x="908" y="325"/>
                      <a:pt x="908" y="327"/>
                    </a:cubicBezTo>
                    <a:cubicBezTo>
                      <a:pt x="907" y="328"/>
                      <a:pt x="906" y="330"/>
                      <a:pt x="906" y="331"/>
                    </a:cubicBezTo>
                    <a:cubicBezTo>
                      <a:pt x="906" y="332"/>
                      <a:pt x="907" y="332"/>
                      <a:pt x="908" y="333"/>
                    </a:cubicBezTo>
                    <a:cubicBezTo>
                      <a:pt x="908" y="335"/>
                      <a:pt x="907" y="336"/>
                      <a:pt x="907" y="337"/>
                    </a:cubicBezTo>
                    <a:cubicBezTo>
                      <a:pt x="908" y="339"/>
                      <a:pt x="912" y="340"/>
                      <a:pt x="914" y="341"/>
                    </a:cubicBezTo>
                    <a:cubicBezTo>
                      <a:pt x="917" y="341"/>
                      <a:pt x="920" y="341"/>
                      <a:pt x="922" y="342"/>
                    </a:cubicBezTo>
                    <a:cubicBezTo>
                      <a:pt x="924" y="342"/>
                      <a:pt x="926" y="343"/>
                      <a:pt x="929" y="343"/>
                    </a:cubicBezTo>
                    <a:cubicBezTo>
                      <a:pt x="930" y="343"/>
                      <a:pt x="932" y="344"/>
                      <a:pt x="932" y="346"/>
                    </a:cubicBezTo>
                    <a:cubicBezTo>
                      <a:pt x="933" y="347"/>
                      <a:pt x="933" y="348"/>
                      <a:pt x="933" y="350"/>
                    </a:cubicBezTo>
                    <a:cubicBezTo>
                      <a:pt x="933" y="351"/>
                      <a:pt x="934" y="352"/>
                      <a:pt x="935" y="353"/>
                    </a:cubicBezTo>
                    <a:cubicBezTo>
                      <a:pt x="936" y="354"/>
                      <a:pt x="939" y="356"/>
                      <a:pt x="940" y="358"/>
                    </a:cubicBezTo>
                    <a:cubicBezTo>
                      <a:pt x="941" y="359"/>
                      <a:pt x="940" y="359"/>
                      <a:pt x="940" y="360"/>
                    </a:cubicBezTo>
                    <a:cubicBezTo>
                      <a:pt x="939" y="361"/>
                      <a:pt x="938" y="361"/>
                      <a:pt x="936" y="361"/>
                    </a:cubicBezTo>
                    <a:cubicBezTo>
                      <a:pt x="933" y="361"/>
                      <a:pt x="931" y="361"/>
                      <a:pt x="928" y="362"/>
                    </a:cubicBezTo>
                    <a:cubicBezTo>
                      <a:pt x="926" y="363"/>
                      <a:pt x="923" y="362"/>
                      <a:pt x="921" y="361"/>
                    </a:cubicBezTo>
                    <a:cubicBezTo>
                      <a:pt x="918" y="359"/>
                      <a:pt x="916" y="357"/>
                      <a:pt x="914" y="356"/>
                    </a:cubicBezTo>
                    <a:cubicBezTo>
                      <a:pt x="912" y="354"/>
                      <a:pt x="910" y="352"/>
                      <a:pt x="907" y="350"/>
                    </a:cubicBezTo>
                    <a:cubicBezTo>
                      <a:pt x="904" y="349"/>
                      <a:pt x="902" y="348"/>
                      <a:pt x="899" y="347"/>
                    </a:cubicBezTo>
                    <a:cubicBezTo>
                      <a:pt x="896" y="346"/>
                      <a:pt x="893" y="346"/>
                      <a:pt x="890" y="346"/>
                    </a:cubicBezTo>
                    <a:cubicBezTo>
                      <a:pt x="883" y="345"/>
                      <a:pt x="878" y="343"/>
                      <a:pt x="871" y="342"/>
                    </a:cubicBezTo>
                    <a:cubicBezTo>
                      <a:pt x="868" y="341"/>
                      <a:pt x="866" y="342"/>
                      <a:pt x="863" y="343"/>
                    </a:cubicBezTo>
                    <a:cubicBezTo>
                      <a:pt x="860" y="344"/>
                      <a:pt x="857" y="344"/>
                      <a:pt x="855" y="345"/>
                    </a:cubicBezTo>
                    <a:cubicBezTo>
                      <a:pt x="853" y="346"/>
                      <a:pt x="849" y="348"/>
                      <a:pt x="851" y="350"/>
                    </a:cubicBezTo>
                    <a:cubicBezTo>
                      <a:pt x="854" y="351"/>
                      <a:pt x="857" y="350"/>
                      <a:pt x="859" y="350"/>
                    </a:cubicBezTo>
                    <a:cubicBezTo>
                      <a:pt x="863" y="350"/>
                      <a:pt x="863" y="357"/>
                      <a:pt x="860" y="358"/>
                    </a:cubicBezTo>
                    <a:cubicBezTo>
                      <a:pt x="857" y="358"/>
                      <a:pt x="854" y="358"/>
                      <a:pt x="852" y="357"/>
                    </a:cubicBezTo>
                    <a:cubicBezTo>
                      <a:pt x="849" y="357"/>
                      <a:pt x="847" y="354"/>
                      <a:pt x="844" y="353"/>
                    </a:cubicBezTo>
                    <a:cubicBezTo>
                      <a:pt x="842" y="353"/>
                      <a:pt x="839" y="353"/>
                      <a:pt x="837" y="354"/>
                    </a:cubicBezTo>
                    <a:cubicBezTo>
                      <a:pt x="834" y="355"/>
                      <a:pt x="832" y="355"/>
                      <a:pt x="829" y="355"/>
                    </a:cubicBezTo>
                    <a:cubicBezTo>
                      <a:pt x="827" y="355"/>
                      <a:pt x="825" y="356"/>
                      <a:pt x="827" y="359"/>
                    </a:cubicBezTo>
                    <a:cubicBezTo>
                      <a:pt x="828" y="361"/>
                      <a:pt x="829" y="364"/>
                      <a:pt x="831" y="366"/>
                    </a:cubicBezTo>
                    <a:cubicBezTo>
                      <a:pt x="834" y="370"/>
                      <a:pt x="841" y="369"/>
                      <a:pt x="845" y="372"/>
                    </a:cubicBezTo>
                    <a:cubicBezTo>
                      <a:pt x="847" y="373"/>
                      <a:pt x="849" y="375"/>
                      <a:pt x="852" y="375"/>
                    </a:cubicBezTo>
                    <a:cubicBezTo>
                      <a:pt x="853" y="376"/>
                      <a:pt x="855" y="376"/>
                      <a:pt x="856" y="376"/>
                    </a:cubicBezTo>
                    <a:cubicBezTo>
                      <a:pt x="857" y="376"/>
                      <a:pt x="858" y="374"/>
                      <a:pt x="859" y="374"/>
                    </a:cubicBezTo>
                    <a:cubicBezTo>
                      <a:pt x="860" y="375"/>
                      <a:pt x="860" y="377"/>
                      <a:pt x="861" y="377"/>
                    </a:cubicBezTo>
                    <a:cubicBezTo>
                      <a:pt x="863" y="378"/>
                      <a:pt x="865" y="377"/>
                      <a:pt x="865" y="380"/>
                    </a:cubicBezTo>
                    <a:cubicBezTo>
                      <a:pt x="865" y="382"/>
                      <a:pt x="865" y="383"/>
                      <a:pt x="867" y="383"/>
                    </a:cubicBezTo>
                    <a:cubicBezTo>
                      <a:pt x="868" y="383"/>
                      <a:pt x="869" y="383"/>
                      <a:pt x="869" y="384"/>
                    </a:cubicBezTo>
                    <a:cubicBezTo>
                      <a:pt x="868" y="385"/>
                      <a:pt x="869" y="386"/>
                      <a:pt x="870" y="386"/>
                    </a:cubicBezTo>
                    <a:cubicBezTo>
                      <a:pt x="872" y="386"/>
                      <a:pt x="873" y="385"/>
                      <a:pt x="875" y="385"/>
                    </a:cubicBezTo>
                    <a:cubicBezTo>
                      <a:pt x="877" y="385"/>
                      <a:pt x="873" y="387"/>
                      <a:pt x="872" y="387"/>
                    </a:cubicBezTo>
                    <a:cubicBezTo>
                      <a:pt x="870" y="388"/>
                      <a:pt x="867" y="389"/>
                      <a:pt x="865" y="388"/>
                    </a:cubicBezTo>
                    <a:cubicBezTo>
                      <a:pt x="863" y="387"/>
                      <a:pt x="860" y="386"/>
                      <a:pt x="858" y="384"/>
                    </a:cubicBezTo>
                    <a:cubicBezTo>
                      <a:pt x="857" y="382"/>
                      <a:pt x="857" y="380"/>
                      <a:pt x="855" y="380"/>
                    </a:cubicBezTo>
                    <a:cubicBezTo>
                      <a:pt x="853" y="379"/>
                      <a:pt x="850" y="379"/>
                      <a:pt x="848" y="379"/>
                    </a:cubicBezTo>
                    <a:cubicBezTo>
                      <a:pt x="847" y="379"/>
                      <a:pt x="846" y="379"/>
                      <a:pt x="845" y="380"/>
                    </a:cubicBezTo>
                    <a:cubicBezTo>
                      <a:pt x="844" y="380"/>
                      <a:pt x="843" y="382"/>
                      <a:pt x="842" y="382"/>
                    </a:cubicBezTo>
                    <a:cubicBezTo>
                      <a:pt x="841" y="383"/>
                      <a:pt x="841" y="381"/>
                      <a:pt x="841" y="380"/>
                    </a:cubicBezTo>
                    <a:cubicBezTo>
                      <a:pt x="841" y="379"/>
                      <a:pt x="840" y="379"/>
                      <a:pt x="839" y="379"/>
                    </a:cubicBezTo>
                    <a:cubicBezTo>
                      <a:pt x="836" y="378"/>
                      <a:pt x="833" y="379"/>
                      <a:pt x="830" y="378"/>
                    </a:cubicBezTo>
                    <a:cubicBezTo>
                      <a:pt x="829" y="378"/>
                      <a:pt x="827" y="378"/>
                      <a:pt x="826" y="378"/>
                    </a:cubicBezTo>
                    <a:cubicBezTo>
                      <a:pt x="824" y="377"/>
                      <a:pt x="823" y="376"/>
                      <a:pt x="822" y="376"/>
                    </a:cubicBezTo>
                    <a:cubicBezTo>
                      <a:pt x="820" y="376"/>
                      <a:pt x="816" y="376"/>
                      <a:pt x="815" y="374"/>
                    </a:cubicBezTo>
                    <a:cubicBezTo>
                      <a:pt x="813" y="372"/>
                      <a:pt x="817" y="371"/>
                      <a:pt x="817" y="370"/>
                    </a:cubicBezTo>
                    <a:cubicBezTo>
                      <a:pt x="818" y="369"/>
                      <a:pt x="817" y="367"/>
                      <a:pt x="817" y="366"/>
                    </a:cubicBezTo>
                    <a:cubicBezTo>
                      <a:pt x="816" y="365"/>
                      <a:pt x="817" y="364"/>
                      <a:pt x="816" y="363"/>
                    </a:cubicBezTo>
                    <a:cubicBezTo>
                      <a:pt x="815" y="361"/>
                      <a:pt x="813" y="361"/>
                      <a:pt x="813" y="358"/>
                    </a:cubicBezTo>
                    <a:cubicBezTo>
                      <a:pt x="814" y="357"/>
                      <a:pt x="814" y="356"/>
                      <a:pt x="815" y="355"/>
                    </a:cubicBezTo>
                    <a:cubicBezTo>
                      <a:pt x="816" y="355"/>
                      <a:pt x="817" y="354"/>
                      <a:pt x="817" y="353"/>
                    </a:cubicBezTo>
                    <a:cubicBezTo>
                      <a:pt x="818" y="352"/>
                      <a:pt x="817" y="351"/>
                      <a:pt x="818" y="349"/>
                    </a:cubicBezTo>
                    <a:cubicBezTo>
                      <a:pt x="818" y="348"/>
                      <a:pt x="819" y="348"/>
                      <a:pt x="820" y="347"/>
                    </a:cubicBezTo>
                    <a:cubicBezTo>
                      <a:pt x="821" y="346"/>
                      <a:pt x="822" y="344"/>
                      <a:pt x="821" y="343"/>
                    </a:cubicBezTo>
                    <a:cubicBezTo>
                      <a:pt x="821" y="341"/>
                      <a:pt x="820" y="341"/>
                      <a:pt x="820" y="339"/>
                    </a:cubicBezTo>
                    <a:cubicBezTo>
                      <a:pt x="819" y="338"/>
                      <a:pt x="819" y="337"/>
                      <a:pt x="818" y="335"/>
                    </a:cubicBezTo>
                    <a:cubicBezTo>
                      <a:pt x="816" y="333"/>
                      <a:pt x="814" y="332"/>
                      <a:pt x="813" y="330"/>
                    </a:cubicBezTo>
                    <a:cubicBezTo>
                      <a:pt x="811" y="328"/>
                      <a:pt x="809" y="324"/>
                      <a:pt x="807" y="325"/>
                    </a:cubicBezTo>
                    <a:cubicBezTo>
                      <a:pt x="804" y="326"/>
                      <a:pt x="805" y="328"/>
                      <a:pt x="806" y="330"/>
                    </a:cubicBezTo>
                    <a:cubicBezTo>
                      <a:pt x="807" y="332"/>
                      <a:pt x="810" y="333"/>
                      <a:pt x="810" y="336"/>
                    </a:cubicBezTo>
                    <a:cubicBezTo>
                      <a:pt x="811" y="337"/>
                      <a:pt x="810" y="338"/>
                      <a:pt x="810" y="340"/>
                    </a:cubicBezTo>
                    <a:cubicBezTo>
                      <a:pt x="810" y="341"/>
                      <a:pt x="811" y="342"/>
                      <a:pt x="811" y="344"/>
                    </a:cubicBezTo>
                    <a:cubicBezTo>
                      <a:pt x="811" y="347"/>
                      <a:pt x="809" y="349"/>
                      <a:pt x="806" y="350"/>
                    </a:cubicBezTo>
                    <a:cubicBezTo>
                      <a:pt x="801" y="352"/>
                      <a:pt x="796" y="355"/>
                      <a:pt x="791" y="356"/>
                    </a:cubicBezTo>
                    <a:cubicBezTo>
                      <a:pt x="789" y="356"/>
                      <a:pt x="786" y="357"/>
                      <a:pt x="785" y="359"/>
                    </a:cubicBezTo>
                    <a:cubicBezTo>
                      <a:pt x="784" y="361"/>
                      <a:pt x="785" y="364"/>
                      <a:pt x="782" y="366"/>
                    </a:cubicBezTo>
                    <a:cubicBezTo>
                      <a:pt x="780" y="368"/>
                      <a:pt x="777" y="369"/>
                      <a:pt x="777" y="371"/>
                    </a:cubicBezTo>
                    <a:cubicBezTo>
                      <a:pt x="776" y="374"/>
                      <a:pt x="779" y="374"/>
                      <a:pt x="781" y="374"/>
                    </a:cubicBezTo>
                    <a:cubicBezTo>
                      <a:pt x="785" y="377"/>
                      <a:pt x="790" y="382"/>
                      <a:pt x="791" y="387"/>
                    </a:cubicBezTo>
                    <a:cubicBezTo>
                      <a:pt x="791" y="390"/>
                      <a:pt x="792" y="391"/>
                      <a:pt x="794" y="392"/>
                    </a:cubicBezTo>
                    <a:cubicBezTo>
                      <a:pt x="796" y="393"/>
                      <a:pt x="797" y="394"/>
                      <a:pt x="797" y="397"/>
                    </a:cubicBezTo>
                    <a:cubicBezTo>
                      <a:pt x="797" y="400"/>
                      <a:pt x="795" y="401"/>
                      <a:pt x="793" y="403"/>
                    </a:cubicBezTo>
                    <a:cubicBezTo>
                      <a:pt x="791" y="405"/>
                      <a:pt x="790" y="407"/>
                      <a:pt x="788" y="409"/>
                    </a:cubicBezTo>
                    <a:cubicBezTo>
                      <a:pt x="786" y="411"/>
                      <a:pt x="788" y="414"/>
                      <a:pt x="787" y="416"/>
                    </a:cubicBezTo>
                    <a:cubicBezTo>
                      <a:pt x="786" y="419"/>
                      <a:pt x="784" y="421"/>
                      <a:pt x="784" y="423"/>
                    </a:cubicBezTo>
                    <a:cubicBezTo>
                      <a:pt x="784" y="426"/>
                      <a:pt x="786" y="427"/>
                      <a:pt x="788" y="429"/>
                    </a:cubicBezTo>
                    <a:cubicBezTo>
                      <a:pt x="791" y="430"/>
                      <a:pt x="790" y="433"/>
                      <a:pt x="789" y="435"/>
                    </a:cubicBezTo>
                    <a:cubicBezTo>
                      <a:pt x="788" y="437"/>
                      <a:pt x="787" y="440"/>
                      <a:pt x="789" y="442"/>
                    </a:cubicBezTo>
                    <a:cubicBezTo>
                      <a:pt x="791" y="444"/>
                      <a:pt x="793" y="443"/>
                      <a:pt x="795" y="442"/>
                    </a:cubicBezTo>
                    <a:cubicBezTo>
                      <a:pt x="797" y="442"/>
                      <a:pt x="799" y="441"/>
                      <a:pt x="802" y="442"/>
                    </a:cubicBezTo>
                    <a:cubicBezTo>
                      <a:pt x="804" y="443"/>
                      <a:pt x="807" y="443"/>
                      <a:pt x="809" y="443"/>
                    </a:cubicBezTo>
                    <a:cubicBezTo>
                      <a:pt x="812" y="443"/>
                      <a:pt x="813" y="441"/>
                      <a:pt x="815" y="440"/>
                    </a:cubicBezTo>
                    <a:cubicBezTo>
                      <a:pt x="817" y="438"/>
                      <a:pt x="820" y="438"/>
                      <a:pt x="823" y="438"/>
                    </a:cubicBezTo>
                    <a:cubicBezTo>
                      <a:pt x="824" y="438"/>
                      <a:pt x="825" y="438"/>
                      <a:pt x="827" y="438"/>
                    </a:cubicBezTo>
                    <a:cubicBezTo>
                      <a:pt x="828" y="439"/>
                      <a:pt x="829" y="439"/>
                      <a:pt x="830" y="440"/>
                    </a:cubicBezTo>
                    <a:cubicBezTo>
                      <a:pt x="833" y="440"/>
                      <a:pt x="836" y="441"/>
                      <a:pt x="839" y="442"/>
                    </a:cubicBezTo>
                    <a:cubicBezTo>
                      <a:pt x="841" y="443"/>
                      <a:pt x="842" y="445"/>
                      <a:pt x="844" y="446"/>
                    </a:cubicBezTo>
                    <a:cubicBezTo>
                      <a:pt x="846" y="447"/>
                      <a:pt x="849" y="446"/>
                      <a:pt x="851" y="448"/>
                    </a:cubicBezTo>
                    <a:cubicBezTo>
                      <a:pt x="852" y="448"/>
                      <a:pt x="853" y="449"/>
                      <a:pt x="853" y="450"/>
                    </a:cubicBezTo>
                    <a:cubicBezTo>
                      <a:pt x="853" y="451"/>
                      <a:pt x="854" y="452"/>
                      <a:pt x="854" y="453"/>
                    </a:cubicBezTo>
                    <a:cubicBezTo>
                      <a:pt x="855" y="455"/>
                      <a:pt x="855" y="456"/>
                      <a:pt x="855" y="457"/>
                    </a:cubicBezTo>
                    <a:cubicBezTo>
                      <a:pt x="855" y="459"/>
                      <a:pt x="856" y="460"/>
                      <a:pt x="857" y="462"/>
                    </a:cubicBezTo>
                    <a:cubicBezTo>
                      <a:pt x="858" y="463"/>
                      <a:pt x="860" y="464"/>
                      <a:pt x="861" y="465"/>
                    </a:cubicBezTo>
                    <a:cubicBezTo>
                      <a:pt x="861" y="466"/>
                      <a:pt x="862" y="467"/>
                      <a:pt x="862" y="467"/>
                    </a:cubicBezTo>
                    <a:cubicBezTo>
                      <a:pt x="862" y="468"/>
                      <a:pt x="859" y="469"/>
                      <a:pt x="859" y="469"/>
                    </a:cubicBezTo>
                    <a:cubicBezTo>
                      <a:pt x="857" y="469"/>
                      <a:pt x="853" y="469"/>
                      <a:pt x="852" y="472"/>
                    </a:cubicBezTo>
                    <a:cubicBezTo>
                      <a:pt x="852" y="473"/>
                      <a:pt x="852" y="474"/>
                      <a:pt x="852" y="475"/>
                    </a:cubicBezTo>
                    <a:cubicBezTo>
                      <a:pt x="852" y="475"/>
                      <a:pt x="852" y="476"/>
                      <a:pt x="852" y="477"/>
                    </a:cubicBezTo>
                    <a:cubicBezTo>
                      <a:pt x="851" y="479"/>
                      <a:pt x="851" y="481"/>
                      <a:pt x="853" y="482"/>
                    </a:cubicBezTo>
                    <a:cubicBezTo>
                      <a:pt x="854" y="483"/>
                      <a:pt x="855" y="483"/>
                      <a:pt x="856" y="482"/>
                    </a:cubicBezTo>
                    <a:cubicBezTo>
                      <a:pt x="856" y="481"/>
                      <a:pt x="857" y="481"/>
                      <a:pt x="858" y="482"/>
                    </a:cubicBezTo>
                    <a:cubicBezTo>
                      <a:pt x="858" y="483"/>
                      <a:pt x="859" y="484"/>
                      <a:pt x="859" y="484"/>
                    </a:cubicBezTo>
                    <a:cubicBezTo>
                      <a:pt x="861" y="484"/>
                      <a:pt x="862" y="484"/>
                      <a:pt x="864" y="484"/>
                    </a:cubicBezTo>
                    <a:cubicBezTo>
                      <a:pt x="865" y="485"/>
                      <a:pt x="866" y="484"/>
                      <a:pt x="868" y="484"/>
                    </a:cubicBezTo>
                    <a:cubicBezTo>
                      <a:pt x="869" y="483"/>
                      <a:pt x="869" y="484"/>
                      <a:pt x="870" y="485"/>
                    </a:cubicBezTo>
                    <a:cubicBezTo>
                      <a:pt x="871" y="486"/>
                      <a:pt x="871" y="485"/>
                      <a:pt x="872" y="485"/>
                    </a:cubicBezTo>
                    <a:cubicBezTo>
                      <a:pt x="873" y="485"/>
                      <a:pt x="874" y="486"/>
                      <a:pt x="875" y="486"/>
                    </a:cubicBezTo>
                    <a:cubicBezTo>
                      <a:pt x="877" y="487"/>
                      <a:pt x="876" y="488"/>
                      <a:pt x="874" y="488"/>
                    </a:cubicBezTo>
                    <a:cubicBezTo>
                      <a:pt x="868" y="487"/>
                      <a:pt x="862" y="489"/>
                      <a:pt x="856" y="488"/>
                    </a:cubicBezTo>
                    <a:cubicBezTo>
                      <a:pt x="854" y="488"/>
                      <a:pt x="852" y="486"/>
                      <a:pt x="850" y="485"/>
                    </a:cubicBezTo>
                    <a:cubicBezTo>
                      <a:pt x="849" y="484"/>
                      <a:pt x="845" y="482"/>
                      <a:pt x="846" y="480"/>
                    </a:cubicBezTo>
                    <a:cubicBezTo>
                      <a:pt x="846" y="479"/>
                      <a:pt x="847" y="479"/>
                      <a:pt x="847" y="479"/>
                    </a:cubicBezTo>
                    <a:cubicBezTo>
                      <a:pt x="848" y="478"/>
                      <a:pt x="848" y="477"/>
                      <a:pt x="848" y="476"/>
                    </a:cubicBezTo>
                    <a:cubicBezTo>
                      <a:pt x="848" y="475"/>
                      <a:pt x="847" y="474"/>
                      <a:pt x="847" y="472"/>
                    </a:cubicBezTo>
                    <a:cubicBezTo>
                      <a:pt x="847" y="471"/>
                      <a:pt x="848" y="470"/>
                      <a:pt x="848" y="469"/>
                    </a:cubicBezTo>
                    <a:cubicBezTo>
                      <a:pt x="849" y="467"/>
                      <a:pt x="846" y="466"/>
                      <a:pt x="846" y="465"/>
                    </a:cubicBezTo>
                    <a:cubicBezTo>
                      <a:pt x="847" y="462"/>
                      <a:pt x="850" y="461"/>
                      <a:pt x="847" y="458"/>
                    </a:cubicBezTo>
                    <a:cubicBezTo>
                      <a:pt x="846" y="457"/>
                      <a:pt x="843" y="456"/>
                      <a:pt x="841" y="454"/>
                    </a:cubicBezTo>
                    <a:cubicBezTo>
                      <a:pt x="839" y="452"/>
                      <a:pt x="839" y="449"/>
                      <a:pt x="837" y="447"/>
                    </a:cubicBezTo>
                    <a:cubicBezTo>
                      <a:pt x="835" y="446"/>
                      <a:pt x="832" y="447"/>
                      <a:pt x="829" y="447"/>
                    </a:cubicBezTo>
                    <a:cubicBezTo>
                      <a:pt x="826" y="447"/>
                      <a:pt x="823" y="448"/>
                      <a:pt x="820" y="449"/>
                    </a:cubicBezTo>
                    <a:cubicBezTo>
                      <a:pt x="817" y="450"/>
                      <a:pt x="814" y="450"/>
                      <a:pt x="811" y="451"/>
                    </a:cubicBezTo>
                    <a:cubicBezTo>
                      <a:pt x="809" y="452"/>
                      <a:pt x="806" y="452"/>
                      <a:pt x="803" y="453"/>
                    </a:cubicBezTo>
                    <a:cubicBezTo>
                      <a:pt x="801" y="454"/>
                      <a:pt x="800" y="456"/>
                      <a:pt x="800" y="459"/>
                    </a:cubicBezTo>
                    <a:cubicBezTo>
                      <a:pt x="800" y="461"/>
                      <a:pt x="797" y="463"/>
                      <a:pt x="799" y="466"/>
                    </a:cubicBezTo>
                    <a:cubicBezTo>
                      <a:pt x="800" y="468"/>
                      <a:pt x="803" y="469"/>
                      <a:pt x="804" y="471"/>
                    </a:cubicBezTo>
                    <a:cubicBezTo>
                      <a:pt x="806" y="473"/>
                      <a:pt x="806" y="477"/>
                      <a:pt x="805" y="479"/>
                    </a:cubicBezTo>
                    <a:cubicBezTo>
                      <a:pt x="804" y="485"/>
                      <a:pt x="800" y="489"/>
                      <a:pt x="795" y="492"/>
                    </a:cubicBezTo>
                    <a:cubicBezTo>
                      <a:pt x="793" y="493"/>
                      <a:pt x="791" y="494"/>
                      <a:pt x="791" y="497"/>
                    </a:cubicBezTo>
                    <a:cubicBezTo>
                      <a:pt x="790" y="499"/>
                      <a:pt x="790" y="501"/>
                      <a:pt x="789" y="504"/>
                    </a:cubicBezTo>
                    <a:cubicBezTo>
                      <a:pt x="787" y="508"/>
                      <a:pt x="782" y="509"/>
                      <a:pt x="779" y="511"/>
                    </a:cubicBezTo>
                    <a:cubicBezTo>
                      <a:pt x="776" y="512"/>
                      <a:pt x="774" y="513"/>
                      <a:pt x="772" y="514"/>
                    </a:cubicBezTo>
                    <a:cubicBezTo>
                      <a:pt x="771" y="515"/>
                      <a:pt x="769" y="515"/>
                      <a:pt x="768" y="516"/>
                    </a:cubicBezTo>
                    <a:cubicBezTo>
                      <a:pt x="767" y="516"/>
                      <a:pt x="766" y="516"/>
                      <a:pt x="765" y="517"/>
                    </a:cubicBezTo>
                    <a:cubicBezTo>
                      <a:pt x="763" y="519"/>
                      <a:pt x="764" y="521"/>
                      <a:pt x="762" y="523"/>
                    </a:cubicBezTo>
                    <a:cubicBezTo>
                      <a:pt x="761" y="525"/>
                      <a:pt x="758" y="525"/>
                      <a:pt x="755" y="524"/>
                    </a:cubicBezTo>
                    <a:cubicBezTo>
                      <a:pt x="753" y="524"/>
                      <a:pt x="751" y="522"/>
                      <a:pt x="748" y="522"/>
                    </a:cubicBezTo>
                    <a:cubicBezTo>
                      <a:pt x="745" y="521"/>
                      <a:pt x="742" y="521"/>
                      <a:pt x="739" y="522"/>
                    </a:cubicBezTo>
                    <a:cubicBezTo>
                      <a:pt x="736" y="522"/>
                      <a:pt x="734" y="523"/>
                      <a:pt x="731" y="522"/>
                    </a:cubicBezTo>
                    <a:cubicBezTo>
                      <a:pt x="729" y="522"/>
                      <a:pt x="728" y="522"/>
                      <a:pt x="727" y="521"/>
                    </a:cubicBezTo>
                    <a:cubicBezTo>
                      <a:pt x="726" y="520"/>
                      <a:pt x="724" y="519"/>
                      <a:pt x="723" y="519"/>
                    </a:cubicBezTo>
                    <a:cubicBezTo>
                      <a:pt x="718" y="518"/>
                      <a:pt x="712" y="517"/>
                      <a:pt x="709" y="513"/>
                    </a:cubicBezTo>
                    <a:cubicBezTo>
                      <a:pt x="705" y="509"/>
                      <a:pt x="711" y="510"/>
                      <a:pt x="713" y="509"/>
                    </a:cubicBezTo>
                    <a:cubicBezTo>
                      <a:pt x="716" y="509"/>
                      <a:pt x="718" y="508"/>
                      <a:pt x="721" y="508"/>
                    </a:cubicBezTo>
                    <a:cubicBezTo>
                      <a:pt x="724" y="508"/>
                      <a:pt x="726" y="510"/>
                      <a:pt x="729" y="512"/>
                    </a:cubicBezTo>
                    <a:cubicBezTo>
                      <a:pt x="731" y="513"/>
                      <a:pt x="733" y="514"/>
                      <a:pt x="736" y="512"/>
                    </a:cubicBezTo>
                    <a:cubicBezTo>
                      <a:pt x="738" y="511"/>
                      <a:pt x="741" y="510"/>
                      <a:pt x="743" y="509"/>
                    </a:cubicBezTo>
                    <a:cubicBezTo>
                      <a:pt x="746" y="508"/>
                      <a:pt x="749" y="508"/>
                      <a:pt x="751" y="507"/>
                    </a:cubicBezTo>
                    <a:cubicBezTo>
                      <a:pt x="754" y="507"/>
                      <a:pt x="756" y="504"/>
                      <a:pt x="758" y="503"/>
                    </a:cubicBezTo>
                    <a:cubicBezTo>
                      <a:pt x="759" y="501"/>
                      <a:pt x="761" y="500"/>
                      <a:pt x="763" y="498"/>
                    </a:cubicBezTo>
                    <a:cubicBezTo>
                      <a:pt x="765" y="496"/>
                      <a:pt x="765" y="494"/>
                      <a:pt x="767" y="492"/>
                    </a:cubicBezTo>
                    <a:cubicBezTo>
                      <a:pt x="769" y="490"/>
                      <a:pt x="771" y="488"/>
                      <a:pt x="774" y="487"/>
                    </a:cubicBezTo>
                    <a:cubicBezTo>
                      <a:pt x="775" y="486"/>
                      <a:pt x="776" y="485"/>
                      <a:pt x="777" y="484"/>
                    </a:cubicBezTo>
                    <a:cubicBezTo>
                      <a:pt x="778" y="484"/>
                      <a:pt x="777" y="482"/>
                      <a:pt x="777" y="481"/>
                    </a:cubicBezTo>
                    <a:cubicBezTo>
                      <a:pt x="777" y="479"/>
                      <a:pt x="779" y="478"/>
                      <a:pt x="778" y="475"/>
                    </a:cubicBezTo>
                    <a:cubicBezTo>
                      <a:pt x="778" y="474"/>
                      <a:pt x="777" y="473"/>
                      <a:pt x="777" y="471"/>
                    </a:cubicBezTo>
                    <a:cubicBezTo>
                      <a:pt x="777" y="470"/>
                      <a:pt x="779" y="469"/>
                      <a:pt x="780" y="468"/>
                    </a:cubicBezTo>
                    <a:cubicBezTo>
                      <a:pt x="783" y="465"/>
                      <a:pt x="789" y="460"/>
                      <a:pt x="783" y="457"/>
                    </a:cubicBezTo>
                    <a:cubicBezTo>
                      <a:pt x="781" y="456"/>
                      <a:pt x="779" y="455"/>
                      <a:pt x="776" y="453"/>
                    </a:cubicBezTo>
                    <a:cubicBezTo>
                      <a:pt x="774" y="452"/>
                      <a:pt x="772" y="451"/>
                      <a:pt x="770" y="449"/>
                    </a:cubicBezTo>
                    <a:cubicBezTo>
                      <a:pt x="768" y="448"/>
                      <a:pt x="767" y="445"/>
                      <a:pt x="768" y="443"/>
                    </a:cubicBezTo>
                    <a:cubicBezTo>
                      <a:pt x="768" y="442"/>
                      <a:pt x="769" y="440"/>
                      <a:pt x="769" y="439"/>
                    </a:cubicBezTo>
                    <a:cubicBezTo>
                      <a:pt x="769" y="437"/>
                      <a:pt x="769" y="436"/>
                      <a:pt x="769" y="434"/>
                    </a:cubicBezTo>
                    <a:cubicBezTo>
                      <a:pt x="768" y="431"/>
                      <a:pt x="767" y="428"/>
                      <a:pt x="768" y="425"/>
                    </a:cubicBezTo>
                    <a:cubicBezTo>
                      <a:pt x="769" y="423"/>
                      <a:pt x="771" y="421"/>
                      <a:pt x="769" y="418"/>
                    </a:cubicBezTo>
                    <a:cubicBezTo>
                      <a:pt x="768" y="418"/>
                      <a:pt x="768" y="417"/>
                      <a:pt x="768" y="416"/>
                    </a:cubicBezTo>
                    <a:cubicBezTo>
                      <a:pt x="767" y="415"/>
                      <a:pt x="768" y="414"/>
                      <a:pt x="768" y="413"/>
                    </a:cubicBezTo>
                    <a:cubicBezTo>
                      <a:pt x="769" y="411"/>
                      <a:pt x="767" y="408"/>
                      <a:pt x="768" y="405"/>
                    </a:cubicBezTo>
                    <a:cubicBezTo>
                      <a:pt x="769" y="404"/>
                      <a:pt x="771" y="403"/>
                      <a:pt x="771" y="401"/>
                    </a:cubicBezTo>
                    <a:cubicBezTo>
                      <a:pt x="771" y="398"/>
                      <a:pt x="770" y="396"/>
                      <a:pt x="771" y="393"/>
                    </a:cubicBezTo>
                    <a:cubicBezTo>
                      <a:pt x="772" y="392"/>
                      <a:pt x="772" y="391"/>
                      <a:pt x="772" y="390"/>
                    </a:cubicBezTo>
                    <a:cubicBezTo>
                      <a:pt x="772" y="389"/>
                      <a:pt x="772" y="388"/>
                      <a:pt x="771" y="387"/>
                    </a:cubicBezTo>
                    <a:cubicBezTo>
                      <a:pt x="770" y="385"/>
                      <a:pt x="770" y="382"/>
                      <a:pt x="768" y="380"/>
                    </a:cubicBezTo>
                    <a:cubicBezTo>
                      <a:pt x="767" y="379"/>
                      <a:pt x="764" y="378"/>
                      <a:pt x="762" y="377"/>
                    </a:cubicBezTo>
                    <a:cubicBezTo>
                      <a:pt x="760" y="376"/>
                      <a:pt x="758" y="373"/>
                      <a:pt x="756" y="371"/>
                    </a:cubicBezTo>
                    <a:cubicBezTo>
                      <a:pt x="755" y="369"/>
                      <a:pt x="757" y="367"/>
                      <a:pt x="759" y="367"/>
                    </a:cubicBezTo>
                    <a:cubicBezTo>
                      <a:pt x="762" y="366"/>
                      <a:pt x="762" y="363"/>
                      <a:pt x="763" y="361"/>
                    </a:cubicBezTo>
                    <a:cubicBezTo>
                      <a:pt x="763" y="358"/>
                      <a:pt x="765" y="356"/>
                      <a:pt x="766" y="354"/>
                    </a:cubicBezTo>
                    <a:cubicBezTo>
                      <a:pt x="768" y="351"/>
                      <a:pt x="770" y="349"/>
                      <a:pt x="771" y="347"/>
                    </a:cubicBezTo>
                    <a:cubicBezTo>
                      <a:pt x="772" y="346"/>
                      <a:pt x="773" y="345"/>
                      <a:pt x="773" y="344"/>
                    </a:cubicBezTo>
                    <a:cubicBezTo>
                      <a:pt x="773" y="343"/>
                      <a:pt x="773" y="341"/>
                      <a:pt x="773" y="340"/>
                    </a:cubicBezTo>
                    <a:cubicBezTo>
                      <a:pt x="772" y="338"/>
                      <a:pt x="773" y="335"/>
                      <a:pt x="772" y="333"/>
                    </a:cubicBezTo>
                    <a:cubicBezTo>
                      <a:pt x="772" y="331"/>
                      <a:pt x="770" y="330"/>
                      <a:pt x="768" y="329"/>
                    </a:cubicBezTo>
                    <a:cubicBezTo>
                      <a:pt x="765" y="328"/>
                      <a:pt x="762" y="327"/>
                      <a:pt x="759" y="326"/>
                    </a:cubicBezTo>
                    <a:cubicBezTo>
                      <a:pt x="757" y="326"/>
                      <a:pt x="755" y="325"/>
                      <a:pt x="752" y="324"/>
                    </a:cubicBezTo>
                    <a:cubicBezTo>
                      <a:pt x="749" y="324"/>
                      <a:pt x="746" y="324"/>
                      <a:pt x="743" y="324"/>
                    </a:cubicBezTo>
                    <a:cubicBezTo>
                      <a:pt x="740" y="325"/>
                      <a:pt x="737" y="324"/>
                      <a:pt x="734" y="325"/>
                    </a:cubicBezTo>
                    <a:cubicBezTo>
                      <a:pt x="731" y="325"/>
                      <a:pt x="727" y="325"/>
                      <a:pt x="724" y="325"/>
                    </a:cubicBezTo>
                    <a:cubicBezTo>
                      <a:pt x="723" y="325"/>
                      <a:pt x="721" y="325"/>
                      <a:pt x="720" y="325"/>
                    </a:cubicBezTo>
                    <a:cubicBezTo>
                      <a:pt x="719" y="324"/>
                      <a:pt x="718" y="324"/>
                      <a:pt x="718" y="323"/>
                    </a:cubicBezTo>
                    <a:cubicBezTo>
                      <a:pt x="717" y="321"/>
                      <a:pt x="714" y="322"/>
                      <a:pt x="713" y="323"/>
                    </a:cubicBezTo>
                    <a:cubicBezTo>
                      <a:pt x="711" y="325"/>
                      <a:pt x="710" y="327"/>
                      <a:pt x="709" y="329"/>
                    </a:cubicBezTo>
                    <a:cubicBezTo>
                      <a:pt x="708" y="331"/>
                      <a:pt x="706" y="333"/>
                      <a:pt x="705" y="336"/>
                    </a:cubicBezTo>
                    <a:cubicBezTo>
                      <a:pt x="703" y="341"/>
                      <a:pt x="703" y="347"/>
                      <a:pt x="701" y="353"/>
                    </a:cubicBezTo>
                    <a:cubicBezTo>
                      <a:pt x="700" y="356"/>
                      <a:pt x="699" y="358"/>
                      <a:pt x="698" y="361"/>
                    </a:cubicBezTo>
                    <a:cubicBezTo>
                      <a:pt x="696" y="363"/>
                      <a:pt x="695" y="365"/>
                      <a:pt x="692" y="366"/>
                    </a:cubicBezTo>
                    <a:cubicBezTo>
                      <a:pt x="687" y="369"/>
                      <a:pt x="682" y="372"/>
                      <a:pt x="677" y="373"/>
                    </a:cubicBezTo>
                    <a:cubicBezTo>
                      <a:pt x="674" y="374"/>
                      <a:pt x="672" y="375"/>
                      <a:pt x="670" y="378"/>
                    </a:cubicBezTo>
                    <a:cubicBezTo>
                      <a:pt x="669" y="378"/>
                      <a:pt x="666" y="383"/>
                      <a:pt x="668" y="383"/>
                    </a:cubicBezTo>
                    <a:cubicBezTo>
                      <a:pt x="671" y="384"/>
                      <a:pt x="668" y="386"/>
                      <a:pt x="667" y="387"/>
                    </a:cubicBezTo>
                    <a:cubicBezTo>
                      <a:pt x="666" y="389"/>
                      <a:pt x="668" y="392"/>
                      <a:pt x="670" y="391"/>
                    </a:cubicBezTo>
                    <a:cubicBezTo>
                      <a:pt x="673" y="391"/>
                      <a:pt x="675" y="389"/>
                      <a:pt x="677" y="391"/>
                    </a:cubicBezTo>
                    <a:cubicBezTo>
                      <a:pt x="679" y="393"/>
                      <a:pt x="678" y="396"/>
                      <a:pt x="678" y="398"/>
                    </a:cubicBezTo>
                    <a:cubicBezTo>
                      <a:pt x="677" y="401"/>
                      <a:pt x="678" y="403"/>
                      <a:pt x="676" y="405"/>
                    </a:cubicBezTo>
                    <a:cubicBezTo>
                      <a:pt x="675" y="407"/>
                      <a:pt x="675" y="409"/>
                      <a:pt x="677" y="410"/>
                    </a:cubicBezTo>
                    <a:cubicBezTo>
                      <a:pt x="678" y="412"/>
                      <a:pt x="679" y="414"/>
                      <a:pt x="677" y="415"/>
                    </a:cubicBezTo>
                    <a:cubicBezTo>
                      <a:pt x="675" y="416"/>
                      <a:pt x="673" y="412"/>
                      <a:pt x="671" y="415"/>
                    </a:cubicBezTo>
                    <a:cubicBezTo>
                      <a:pt x="670" y="417"/>
                      <a:pt x="671" y="420"/>
                      <a:pt x="670" y="422"/>
                    </a:cubicBezTo>
                    <a:cubicBezTo>
                      <a:pt x="670" y="423"/>
                      <a:pt x="669" y="429"/>
                      <a:pt x="672" y="426"/>
                    </a:cubicBezTo>
                    <a:cubicBezTo>
                      <a:pt x="674" y="424"/>
                      <a:pt x="676" y="425"/>
                      <a:pt x="678" y="426"/>
                    </a:cubicBezTo>
                    <a:cubicBezTo>
                      <a:pt x="681" y="427"/>
                      <a:pt x="683" y="429"/>
                      <a:pt x="686" y="429"/>
                    </a:cubicBezTo>
                    <a:cubicBezTo>
                      <a:pt x="687" y="430"/>
                      <a:pt x="688" y="430"/>
                      <a:pt x="690" y="430"/>
                    </a:cubicBezTo>
                    <a:cubicBezTo>
                      <a:pt x="690" y="430"/>
                      <a:pt x="691" y="430"/>
                      <a:pt x="692" y="430"/>
                    </a:cubicBezTo>
                    <a:cubicBezTo>
                      <a:pt x="692" y="433"/>
                      <a:pt x="691" y="435"/>
                      <a:pt x="692" y="438"/>
                    </a:cubicBezTo>
                    <a:cubicBezTo>
                      <a:pt x="693" y="440"/>
                      <a:pt x="695" y="442"/>
                      <a:pt x="696" y="444"/>
                    </a:cubicBezTo>
                    <a:cubicBezTo>
                      <a:pt x="698" y="445"/>
                      <a:pt x="699" y="447"/>
                      <a:pt x="702" y="448"/>
                    </a:cubicBezTo>
                    <a:cubicBezTo>
                      <a:pt x="703" y="448"/>
                      <a:pt x="708" y="446"/>
                      <a:pt x="709" y="448"/>
                    </a:cubicBezTo>
                    <a:cubicBezTo>
                      <a:pt x="710" y="449"/>
                      <a:pt x="707" y="453"/>
                      <a:pt x="707" y="454"/>
                    </a:cubicBezTo>
                    <a:cubicBezTo>
                      <a:pt x="705" y="457"/>
                      <a:pt x="703" y="459"/>
                      <a:pt x="702" y="462"/>
                    </a:cubicBezTo>
                    <a:cubicBezTo>
                      <a:pt x="701" y="463"/>
                      <a:pt x="701" y="464"/>
                      <a:pt x="700" y="465"/>
                    </a:cubicBezTo>
                    <a:cubicBezTo>
                      <a:pt x="700" y="466"/>
                      <a:pt x="698" y="467"/>
                      <a:pt x="697" y="468"/>
                    </a:cubicBezTo>
                    <a:cubicBezTo>
                      <a:pt x="695" y="469"/>
                      <a:pt x="693" y="466"/>
                      <a:pt x="691" y="464"/>
                    </a:cubicBezTo>
                    <a:cubicBezTo>
                      <a:pt x="689" y="462"/>
                      <a:pt x="687" y="459"/>
                      <a:pt x="684" y="457"/>
                    </a:cubicBezTo>
                    <a:cubicBezTo>
                      <a:pt x="682" y="455"/>
                      <a:pt x="680" y="453"/>
                      <a:pt x="677" y="452"/>
                    </a:cubicBezTo>
                    <a:cubicBezTo>
                      <a:pt x="675" y="450"/>
                      <a:pt x="672" y="449"/>
                      <a:pt x="670" y="448"/>
                    </a:cubicBezTo>
                    <a:cubicBezTo>
                      <a:pt x="664" y="447"/>
                      <a:pt x="658" y="446"/>
                      <a:pt x="654" y="442"/>
                    </a:cubicBezTo>
                    <a:cubicBezTo>
                      <a:pt x="650" y="439"/>
                      <a:pt x="644" y="439"/>
                      <a:pt x="639" y="436"/>
                    </a:cubicBezTo>
                    <a:cubicBezTo>
                      <a:pt x="636" y="435"/>
                      <a:pt x="634" y="433"/>
                      <a:pt x="631" y="432"/>
                    </a:cubicBezTo>
                    <a:cubicBezTo>
                      <a:pt x="629" y="430"/>
                      <a:pt x="626" y="429"/>
                      <a:pt x="623" y="428"/>
                    </a:cubicBezTo>
                    <a:cubicBezTo>
                      <a:pt x="617" y="426"/>
                      <a:pt x="611" y="425"/>
                      <a:pt x="605" y="424"/>
                    </a:cubicBezTo>
                    <a:cubicBezTo>
                      <a:pt x="598" y="423"/>
                      <a:pt x="592" y="422"/>
                      <a:pt x="586" y="422"/>
                    </a:cubicBezTo>
                    <a:cubicBezTo>
                      <a:pt x="582" y="421"/>
                      <a:pt x="579" y="421"/>
                      <a:pt x="576" y="420"/>
                    </a:cubicBezTo>
                    <a:cubicBezTo>
                      <a:pt x="573" y="420"/>
                      <a:pt x="571" y="421"/>
                      <a:pt x="568" y="422"/>
                    </a:cubicBezTo>
                    <a:cubicBezTo>
                      <a:pt x="567" y="423"/>
                      <a:pt x="564" y="425"/>
                      <a:pt x="562" y="425"/>
                    </a:cubicBezTo>
                    <a:cubicBezTo>
                      <a:pt x="561" y="425"/>
                      <a:pt x="558" y="425"/>
                      <a:pt x="558" y="427"/>
                    </a:cubicBezTo>
                    <a:cubicBezTo>
                      <a:pt x="557" y="429"/>
                      <a:pt x="560" y="431"/>
                      <a:pt x="561" y="433"/>
                    </a:cubicBezTo>
                    <a:cubicBezTo>
                      <a:pt x="562" y="434"/>
                      <a:pt x="564" y="437"/>
                      <a:pt x="564" y="440"/>
                    </a:cubicBezTo>
                    <a:cubicBezTo>
                      <a:pt x="564" y="442"/>
                      <a:pt x="564" y="443"/>
                      <a:pt x="566" y="442"/>
                    </a:cubicBezTo>
                    <a:cubicBezTo>
                      <a:pt x="566" y="442"/>
                      <a:pt x="567" y="442"/>
                      <a:pt x="568" y="442"/>
                    </a:cubicBezTo>
                    <a:cubicBezTo>
                      <a:pt x="569" y="440"/>
                      <a:pt x="569" y="441"/>
                      <a:pt x="570" y="443"/>
                    </a:cubicBezTo>
                    <a:cubicBezTo>
                      <a:pt x="570" y="445"/>
                      <a:pt x="570" y="448"/>
                      <a:pt x="568" y="449"/>
                    </a:cubicBezTo>
                    <a:cubicBezTo>
                      <a:pt x="566" y="450"/>
                      <a:pt x="564" y="450"/>
                      <a:pt x="562" y="451"/>
                    </a:cubicBezTo>
                    <a:cubicBezTo>
                      <a:pt x="561" y="452"/>
                      <a:pt x="560" y="452"/>
                      <a:pt x="559" y="453"/>
                    </a:cubicBezTo>
                    <a:cubicBezTo>
                      <a:pt x="557" y="453"/>
                      <a:pt x="556" y="453"/>
                      <a:pt x="555" y="454"/>
                    </a:cubicBezTo>
                    <a:cubicBezTo>
                      <a:pt x="553" y="455"/>
                      <a:pt x="551" y="458"/>
                      <a:pt x="553" y="459"/>
                    </a:cubicBezTo>
                    <a:cubicBezTo>
                      <a:pt x="555" y="461"/>
                      <a:pt x="553" y="463"/>
                      <a:pt x="551" y="464"/>
                    </a:cubicBezTo>
                    <a:cubicBezTo>
                      <a:pt x="550" y="465"/>
                      <a:pt x="549" y="465"/>
                      <a:pt x="548" y="465"/>
                    </a:cubicBezTo>
                    <a:cubicBezTo>
                      <a:pt x="546" y="465"/>
                      <a:pt x="545" y="464"/>
                      <a:pt x="543" y="464"/>
                    </a:cubicBezTo>
                    <a:cubicBezTo>
                      <a:pt x="542" y="463"/>
                      <a:pt x="538" y="464"/>
                      <a:pt x="537" y="461"/>
                    </a:cubicBezTo>
                    <a:cubicBezTo>
                      <a:pt x="537" y="460"/>
                      <a:pt x="538" y="457"/>
                      <a:pt x="539" y="456"/>
                    </a:cubicBezTo>
                    <a:cubicBezTo>
                      <a:pt x="541" y="455"/>
                      <a:pt x="543" y="455"/>
                      <a:pt x="543" y="453"/>
                    </a:cubicBezTo>
                    <a:cubicBezTo>
                      <a:pt x="544" y="452"/>
                      <a:pt x="542" y="451"/>
                      <a:pt x="541" y="451"/>
                    </a:cubicBezTo>
                    <a:cubicBezTo>
                      <a:pt x="540" y="450"/>
                      <a:pt x="538" y="450"/>
                      <a:pt x="538" y="448"/>
                    </a:cubicBezTo>
                    <a:cubicBezTo>
                      <a:pt x="538" y="447"/>
                      <a:pt x="538" y="447"/>
                      <a:pt x="538" y="446"/>
                    </a:cubicBezTo>
                    <a:cubicBezTo>
                      <a:pt x="538" y="445"/>
                      <a:pt x="535" y="446"/>
                      <a:pt x="535" y="446"/>
                    </a:cubicBezTo>
                    <a:cubicBezTo>
                      <a:pt x="532" y="447"/>
                      <a:pt x="530" y="448"/>
                      <a:pt x="529" y="450"/>
                    </a:cubicBezTo>
                    <a:cubicBezTo>
                      <a:pt x="528" y="451"/>
                      <a:pt x="528" y="452"/>
                      <a:pt x="527" y="453"/>
                    </a:cubicBezTo>
                    <a:cubicBezTo>
                      <a:pt x="526" y="454"/>
                      <a:pt x="525" y="452"/>
                      <a:pt x="524" y="451"/>
                    </a:cubicBezTo>
                    <a:cubicBezTo>
                      <a:pt x="524" y="450"/>
                      <a:pt x="523" y="449"/>
                      <a:pt x="522" y="449"/>
                    </a:cubicBezTo>
                    <a:cubicBezTo>
                      <a:pt x="521" y="449"/>
                      <a:pt x="520" y="450"/>
                      <a:pt x="519" y="450"/>
                    </a:cubicBezTo>
                    <a:cubicBezTo>
                      <a:pt x="518" y="451"/>
                      <a:pt x="517" y="451"/>
                      <a:pt x="516" y="452"/>
                    </a:cubicBezTo>
                    <a:cubicBezTo>
                      <a:pt x="515" y="453"/>
                      <a:pt x="513" y="454"/>
                      <a:pt x="512" y="455"/>
                    </a:cubicBezTo>
                    <a:cubicBezTo>
                      <a:pt x="508" y="460"/>
                      <a:pt x="503" y="458"/>
                      <a:pt x="497" y="457"/>
                    </a:cubicBezTo>
                    <a:cubicBezTo>
                      <a:pt x="492" y="456"/>
                      <a:pt x="485" y="455"/>
                      <a:pt x="481" y="458"/>
                    </a:cubicBezTo>
                    <a:cubicBezTo>
                      <a:pt x="478" y="460"/>
                      <a:pt x="476" y="461"/>
                      <a:pt x="473" y="463"/>
                    </a:cubicBezTo>
                    <a:cubicBezTo>
                      <a:pt x="472" y="463"/>
                      <a:pt x="471" y="464"/>
                      <a:pt x="470" y="465"/>
                    </a:cubicBezTo>
                    <a:cubicBezTo>
                      <a:pt x="469" y="466"/>
                      <a:pt x="468" y="467"/>
                      <a:pt x="467" y="468"/>
                    </a:cubicBezTo>
                    <a:cubicBezTo>
                      <a:pt x="466" y="470"/>
                      <a:pt x="464" y="469"/>
                      <a:pt x="463" y="468"/>
                    </a:cubicBezTo>
                    <a:cubicBezTo>
                      <a:pt x="461" y="466"/>
                      <a:pt x="458" y="468"/>
                      <a:pt x="456" y="468"/>
                    </a:cubicBezTo>
                    <a:cubicBezTo>
                      <a:pt x="455" y="468"/>
                      <a:pt x="454" y="467"/>
                      <a:pt x="453" y="467"/>
                    </a:cubicBezTo>
                    <a:cubicBezTo>
                      <a:pt x="452" y="468"/>
                      <a:pt x="451" y="468"/>
                      <a:pt x="450" y="468"/>
                    </a:cubicBezTo>
                    <a:cubicBezTo>
                      <a:pt x="448" y="468"/>
                      <a:pt x="445" y="467"/>
                      <a:pt x="444" y="466"/>
                    </a:cubicBezTo>
                    <a:cubicBezTo>
                      <a:pt x="443" y="464"/>
                      <a:pt x="448" y="464"/>
                      <a:pt x="449" y="464"/>
                    </a:cubicBezTo>
                    <a:cubicBezTo>
                      <a:pt x="452" y="462"/>
                      <a:pt x="449" y="459"/>
                      <a:pt x="448" y="457"/>
                    </a:cubicBezTo>
                    <a:cubicBezTo>
                      <a:pt x="447" y="455"/>
                      <a:pt x="450" y="454"/>
                      <a:pt x="451" y="452"/>
                    </a:cubicBezTo>
                    <a:cubicBezTo>
                      <a:pt x="452" y="451"/>
                      <a:pt x="451" y="449"/>
                      <a:pt x="453" y="448"/>
                    </a:cubicBezTo>
                    <a:cubicBezTo>
                      <a:pt x="453" y="448"/>
                      <a:pt x="457" y="447"/>
                      <a:pt x="456" y="446"/>
                    </a:cubicBezTo>
                    <a:cubicBezTo>
                      <a:pt x="455" y="446"/>
                      <a:pt x="454" y="447"/>
                      <a:pt x="453" y="447"/>
                    </a:cubicBezTo>
                    <a:cubicBezTo>
                      <a:pt x="452" y="447"/>
                      <a:pt x="450" y="447"/>
                      <a:pt x="449" y="448"/>
                    </a:cubicBezTo>
                    <a:cubicBezTo>
                      <a:pt x="446" y="448"/>
                      <a:pt x="443" y="448"/>
                      <a:pt x="440" y="449"/>
                    </a:cubicBezTo>
                    <a:cubicBezTo>
                      <a:pt x="437" y="450"/>
                      <a:pt x="435" y="452"/>
                      <a:pt x="432" y="453"/>
                    </a:cubicBezTo>
                    <a:cubicBezTo>
                      <a:pt x="430" y="454"/>
                      <a:pt x="428" y="455"/>
                      <a:pt x="426" y="455"/>
                    </a:cubicBezTo>
                    <a:cubicBezTo>
                      <a:pt x="425" y="456"/>
                      <a:pt x="423" y="456"/>
                      <a:pt x="425" y="458"/>
                    </a:cubicBezTo>
                    <a:cubicBezTo>
                      <a:pt x="426" y="458"/>
                      <a:pt x="431" y="460"/>
                      <a:pt x="429" y="462"/>
                    </a:cubicBezTo>
                    <a:cubicBezTo>
                      <a:pt x="429" y="462"/>
                      <a:pt x="424" y="466"/>
                      <a:pt x="423" y="465"/>
                    </a:cubicBezTo>
                    <a:cubicBezTo>
                      <a:pt x="423" y="463"/>
                      <a:pt x="424" y="461"/>
                      <a:pt x="422" y="461"/>
                    </a:cubicBezTo>
                    <a:cubicBezTo>
                      <a:pt x="421" y="461"/>
                      <a:pt x="420" y="461"/>
                      <a:pt x="419" y="460"/>
                    </a:cubicBezTo>
                    <a:cubicBezTo>
                      <a:pt x="418" y="459"/>
                      <a:pt x="417" y="459"/>
                      <a:pt x="416" y="459"/>
                    </a:cubicBezTo>
                    <a:cubicBezTo>
                      <a:pt x="413" y="459"/>
                      <a:pt x="412" y="460"/>
                      <a:pt x="410" y="462"/>
                    </a:cubicBezTo>
                    <a:cubicBezTo>
                      <a:pt x="408" y="463"/>
                      <a:pt x="405" y="464"/>
                      <a:pt x="403" y="464"/>
                    </a:cubicBezTo>
                    <a:cubicBezTo>
                      <a:pt x="401" y="464"/>
                      <a:pt x="398" y="465"/>
                      <a:pt x="395" y="466"/>
                    </a:cubicBezTo>
                    <a:cubicBezTo>
                      <a:pt x="393" y="467"/>
                      <a:pt x="390" y="469"/>
                      <a:pt x="387" y="471"/>
                    </a:cubicBezTo>
                    <a:cubicBezTo>
                      <a:pt x="382" y="474"/>
                      <a:pt x="377" y="476"/>
                      <a:pt x="371" y="478"/>
                    </a:cubicBezTo>
                    <a:cubicBezTo>
                      <a:pt x="369" y="479"/>
                      <a:pt x="365" y="479"/>
                      <a:pt x="364" y="480"/>
                    </a:cubicBezTo>
                    <a:cubicBezTo>
                      <a:pt x="361" y="483"/>
                      <a:pt x="366" y="483"/>
                      <a:pt x="367" y="485"/>
                    </a:cubicBezTo>
                    <a:cubicBezTo>
                      <a:pt x="368" y="487"/>
                      <a:pt x="361" y="485"/>
                      <a:pt x="360" y="485"/>
                    </a:cubicBezTo>
                    <a:cubicBezTo>
                      <a:pt x="357" y="484"/>
                      <a:pt x="354" y="485"/>
                      <a:pt x="350" y="485"/>
                    </a:cubicBezTo>
                    <a:cubicBezTo>
                      <a:pt x="349" y="486"/>
                      <a:pt x="348" y="486"/>
                      <a:pt x="348" y="487"/>
                    </a:cubicBezTo>
                    <a:cubicBezTo>
                      <a:pt x="348" y="488"/>
                      <a:pt x="348" y="489"/>
                      <a:pt x="348" y="490"/>
                    </a:cubicBezTo>
                    <a:cubicBezTo>
                      <a:pt x="349" y="491"/>
                      <a:pt x="348" y="492"/>
                      <a:pt x="347" y="493"/>
                    </a:cubicBezTo>
                    <a:cubicBezTo>
                      <a:pt x="346" y="494"/>
                      <a:pt x="345" y="496"/>
                      <a:pt x="345" y="497"/>
                    </a:cubicBezTo>
                    <a:cubicBezTo>
                      <a:pt x="344" y="499"/>
                      <a:pt x="346" y="502"/>
                      <a:pt x="345" y="504"/>
                    </a:cubicBezTo>
                    <a:cubicBezTo>
                      <a:pt x="345" y="507"/>
                      <a:pt x="342" y="508"/>
                      <a:pt x="339" y="507"/>
                    </a:cubicBezTo>
                    <a:cubicBezTo>
                      <a:pt x="336" y="507"/>
                      <a:pt x="333" y="507"/>
                      <a:pt x="331" y="508"/>
                    </a:cubicBezTo>
                    <a:cubicBezTo>
                      <a:pt x="329" y="509"/>
                      <a:pt x="326" y="512"/>
                      <a:pt x="324" y="511"/>
                    </a:cubicBezTo>
                    <a:cubicBezTo>
                      <a:pt x="323" y="511"/>
                      <a:pt x="324" y="509"/>
                      <a:pt x="324" y="509"/>
                    </a:cubicBezTo>
                    <a:cubicBezTo>
                      <a:pt x="323" y="509"/>
                      <a:pt x="322" y="509"/>
                      <a:pt x="321" y="509"/>
                    </a:cubicBezTo>
                    <a:cubicBezTo>
                      <a:pt x="320" y="509"/>
                      <a:pt x="317" y="509"/>
                      <a:pt x="316" y="509"/>
                    </a:cubicBezTo>
                    <a:cubicBezTo>
                      <a:pt x="313" y="508"/>
                      <a:pt x="312" y="505"/>
                      <a:pt x="311" y="503"/>
                    </a:cubicBezTo>
                    <a:cubicBezTo>
                      <a:pt x="309" y="501"/>
                      <a:pt x="307" y="499"/>
                      <a:pt x="304" y="497"/>
                    </a:cubicBezTo>
                    <a:cubicBezTo>
                      <a:pt x="303" y="496"/>
                      <a:pt x="301" y="495"/>
                      <a:pt x="300" y="494"/>
                    </a:cubicBezTo>
                    <a:cubicBezTo>
                      <a:pt x="298" y="493"/>
                      <a:pt x="298" y="490"/>
                      <a:pt x="299" y="489"/>
                    </a:cubicBezTo>
                    <a:cubicBezTo>
                      <a:pt x="301" y="488"/>
                      <a:pt x="303" y="488"/>
                      <a:pt x="304" y="486"/>
                    </a:cubicBezTo>
                    <a:cubicBezTo>
                      <a:pt x="306" y="484"/>
                      <a:pt x="306" y="483"/>
                      <a:pt x="309" y="482"/>
                    </a:cubicBezTo>
                    <a:cubicBezTo>
                      <a:pt x="311" y="482"/>
                      <a:pt x="314" y="482"/>
                      <a:pt x="316" y="481"/>
                    </a:cubicBezTo>
                    <a:cubicBezTo>
                      <a:pt x="319" y="481"/>
                      <a:pt x="322" y="481"/>
                      <a:pt x="325" y="481"/>
                    </a:cubicBezTo>
                    <a:cubicBezTo>
                      <a:pt x="327" y="481"/>
                      <a:pt x="328" y="481"/>
                      <a:pt x="327" y="478"/>
                    </a:cubicBezTo>
                    <a:cubicBezTo>
                      <a:pt x="327" y="476"/>
                      <a:pt x="326" y="473"/>
                      <a:pt x="325" y="471"/>
                    </a:cubicBezTo>
                    <a:cubicBezTo>
                      <a:pt x="323" y="470"/>
                      <a:pt x="322" y="469"/>
                      <a:pt x="320" y="468"/>
                    </a:cubicBezTo>
                    <a:cubicBezTo>
                      <a:pt x="318" y="467"/>
                      <a:pt x="316" y="466"/>
                      <a:pt x="316" y="464"/>
                    </a:cubicBezTo>
                    <a:cubicBezTo>
                      <a:pt x="316" y="463"/>
                      <a:pt x="316" y="462"/>
                      <a:pt x="316" y="461"/>
                    </a:cubicBezTo>
                    <a:cubicBezTo>
                      <a:pt x="315" y="461"/>
                      <a:pt x="314" y="461"/>
                      <a:pt x="313" y="461"/>
                    </a:cubicBezTo>
                    <a:cubicBezTo>
                      <a:pt x="310" y="461"/>
                      <a:pt x="306" y="460"/>
                      <a:pt x="303" y="460"/>
                    </a:cubicBezTo>
                    <a:cubicBezTo>
                      <a:pt x="297" y="459"/>
                      <a:pt x="290" y="458"/>
                      <a:pt x="284" y="457"/>
                    </a:cubicBezTo>
                    <a:cubicBezTo>
                      <a:pt x="281" y="457"/>
                      <a:pt x="278" y="456"/>
                      <a:pt x="275" y="456"/>
                    </a:cubicBezTo>
                    <a:cubicBezTo>
                      <a:pt x="273" y="456"/>
                      <a:pt x="271" y="456"/>
                      <a:pt x="273" y="458"/>
                    </a:cubicBezTo>
                    <a:cubicBezTo>
                      <a:pt x="276" y="461"/>
                      <a:pt x="280" y="463"/>
                      <a:pt x="283" y="465"/>
                    </a:cubicBezTo>
                    <a:cubicBezTo>
                      <a:pt x="285" y="466"/>
                      <a:pt x="287" y="468"/>
                      <a:pt x="287" y="471"/>
                    </a:cubicBezTo>
                    <a:cubicBezTo>
                      <a:pt x="287" y="472"/>
                      <a:pt x="288" y="473"/>
                      <a:pt x="287" y="474"/>
                    </a:cubicBezTo>
                    <a:cubicBezTo>
                      <a:pt x="286" y="475"/>
                      <a:pt x="285" y="475"/>
                      <a:pt x="284" y="476"/>
                    </a:cubicBezTo>
                    <a:cubicBezTo>
                      <a:pt x="283" y="478"/>
                      <a:pt x="283" y="481"/>
                      <a:pt x="283" y="484"/>
                    </a:cubicBezTo>
                    <a:cubicBezTo>
                      <a:pt x="282" y="486"/>
                      <a:pt x="280" y="489"/>
                      <a:pt x="279" y="491"/>
                    </a:cubicBezTo>
                    <a:cubicBezTo>
                      <a:pt x="278" y="494"/>
                      <a:pt x="278" y="496"/>
                      <a:pt x="280" y="497"/>
                    </a:cubicBezTo>
                    <a:cubicBezTo>
                      <a:pt x="283" y="499"/>
                      <a:pt x="285" y="499"/>
                      <a:pt x="287" y="501"/>
                    </a:cubicBezTo>
                    <a:cubicBezTo>
                      <a:pt x="291" y="504"/>
                      <a:pt x="292" y="511"/>
                      <a:pt x="290" y="515"/>
                    </a:cubicBezTo>
                    <a:cubicBezTo>
                      <a:pt x="287" y="520"/>
                      <a:pt x="282" y="522"/>
                      <a:pt x="283" y="528"/>
                    </a:cubicBezTo>
                    <a:cubicBezTo>
                      <a:pt x="284" y="530"/>
                      <a:pt x="285" y="532"/>
                      <a:pt x="285" y="534"/>
                    </a:cubicBezTo>
                    <a:cubicBezTo>
                      <a:pt x="285" y="536"/>
                      <a:pt x="283" y="533"/>
                      <a:pt x="283" y="533"/>
                    </a:cubicBezTo>
                    <a:cubicBezTo>
                      <a:pt x="282" y="531"/>
                      <a:pt x="282" y="530"/>
                      <a:pt x="281" y="528"/>
                    </a:cubicBezTo>
                    <a:cubicBezTo>
                      <a:pt x="279" y="527"/>
                      <a:pt x="277" y="528"/>
                      <a:pt x="275" y="529"/>
                    </a:cubicBezTo>
                    <a:cubicBezTo>
                      <a:pt x="274" y="530"/>
                      <a:pt x="274" y="533"/>
                      <a:pt x="272" y="533"/>
                    </a:cubicBezTo>
                    <a:cubicBezTo>
                      <a:pt x="271" y="533"/>
                      <a:pt x="270" y="530"/>
                      <a:pt x="271" y="529"/>
                    </a:cubicBezTo>
                    <a:cubicBezTo>
                      <a:pt x="272" y="528"/>
                      <a:pt x="275" y="528"/>
                      <a:pt x="276" y="526"/>
                    </a:cubicBezTo>
                    <a:cubicBezTo>
                      <a:pt x="276" y="525"/>
                      <a:pt x="275" y="524"/>
                      <a:pt x="274" y="523"/>
                    </a:cubicBezTo>
                    <a:cubicBezTo>
                      <a:pt x="273" y="523"/>
                      <a:pt x="272" y="522"/>
                      <a:pt x="271" y="521"/>
                    </a:cubicBezTo>
                    <a:cubicBezTo>
                      <a:pt x="266" y="518"/>
                      <a:pt x="261" y="522"/>
                      <a:pt x="256" y="519"/>
                    </a:cubicBezTo>
                    <a:cubicBezTo>
                      <a:pt x="254" y="518"/>
                      <a:pt x="252" y="518"/>
                      <a:pt x="250" y="519"/>
                    </a:cubicBezTo>
                    <a:cubicBezTo>
                      <a:pt x="248" y="521"/>
                      <a:pt x="246" y="523"/>
                      <a:pt x="244" y="526"/>
                    </a:cubicBezTo>
                    <a:cubicBezTo>
                      <a:pt x="242" y="528"/>
                      <a:pt x="239" y="528"/>
                      <a:pt x="237" y="529"/>
                    </a:cubicBezTo>
                    <a:cubicBezTo>
                      <a:pt x="234" y="530"/>
                      <a:pt x="231" y="531"/>
                      <a:pt x="228" y="533"/>
                    </a:cubicBezTo>
                    <a:cubicBezTo>
                      <a:pt x="223" y="535"/>
                      <a:pt x="218" y="539"/>
                      <a:pt x="213" y="542"/>
                    </a:cubicBezTo>
                    <a:cubicBezTo>
                      <a:pt x="212" y="543"/>
                      <a:pt x="209" y="545"/>
                      <a:pt x="209" y="547"/>
                    </a:cubicBezTo>
                    <a:cubicBezTo>
                      <a:pt x="209" y="550"/>
                      <a:pt x="212" y="552"/>
                      <a:pt x="213" y="554"/>
                    </a:cubicBezTo>
                    <a:cubicBezTo>
                      <a:pt x="217" y="558"/>
                      <a:pt x="220" y="562"/>
                      <a:pt x="222" y="567"/>
                    </a:cubicBezTo>
                    <a:cubicBezTo>
                      <a:pt x="222" y="569"/>
                      <a:pt x="223" y="570"/>
                      <a:pt x="223" y="572"/>
                    </a:cubicBezTo>
                    <a:cubicBezTo>
                      <a:pt x="222" y="574"/>
                      <a:pt x="217" y="572"/>
                      <a:pt x="215" y="572"/>
                    </a:cubicBezTo>
                    <a:cubicBezTo>
                      <a:pt x="209" y="572"/>
                      <a:pt x="203" y="571"/>
                      <a:pt x="197" y="570"/>
                    </a:cubicBezTo>
                    <a:cubicBezTo>
                      <a:pt x="193" y="569"/>
                      <a:pt x="185" y="566"/>
                      <a:pt x="182" y="570"/>
                    </a:cubicBezTo>
                    <a:cubicBezTo>
                      <a:pt x="182" y="570"/>
                      <a:pt x="181" y="571"/>
                      <a:pt x="181" y="571"/>
                    </a:cubicBezTo>
                    <a:cubicBezTo>
                      <a:pt x="180" y="570"/>
                      <a:pt x="181" y="569"/>
                      <a:pt x="181" y="568"/>
                    </a:cubicBezTo>
                    <a:cubicBezTo>
                      <a:pt x="181" y="566"/>
                      <a:pt x="183" y="566"/>
                      <a:pt x="185" y="566"/>
                    </a:cubicBezTo>
                    <a:cubicBezTo>
                      <a:pt x="187" y="565"/>
                      <a:pt x="185" y="563"/>
                      <a:pt x="183" y="563"/>
                    </a:cubicBezTo>
                    <a:cubicBezTo>
                      <a:pt x="181" y="562"/>
                      <a:pt x="179" y="561"/>
                      <a:pt x="176" y="560"/>
                    </a:cubicBezTo>
                    <a:cubicBezTo>
                      <a:pt x="174" y="559"/>
                      <a:pt x="171" y="558"/>
                      <a:pt x="169" y="557"/>
                    </a:cubicBezTo>
                    <a:cubicBezTo>
                      <a:pt x="167" y="555"/>
                      <a:pt x="164" y="554"/>
                      <a:pt x="162" y="554"/>
                    </a:cubicBezTo>
                    <a:cubicBezTo>
                      <a:pt x="160" y="555"/>
                      <a:pt x="160" y="558"/>
                      <a:pt x="160" y="560"/>
                    </a:cubicBezTo>
                    <a:cubicBezTo>
                      <a:pt x="159" y="563"/>
                      <a:pt x="156" y="561"/>
                      <a:pt x="154" y="562"/>
                    </a:cubicBezTo>
                    <a:cubicBezTo>
                      <a:pt x="152" y="563"/>
                      <a:pt x="162" y="572"/>
                      <a:pt x="164" y="573"/>
                    </a:cubicBezTo>
                    <a:cubicBezTo>
                      <a:pt x="165" y="575"/>
                      <a:pt x="167" y="578"/>
                      <a:pt x="169" y="578"/>
                    </a:cubicBezTo>
                    <a:cubicBezTo>
                      <a:pt x="170" y="579"/>
                      <a:pt x="171" y="579"/>
                      <a:pt x="173" y="578"/>
                    </a:cubicBezTo>
                    <a:cubicBezTo>
                      <a:pt x="174" y="578"/>
                      <a:pt x="174" y="576"/>
                      <a:pt x="175" y="576"/>
                    </a:cubicBezTo>
                    <a:cubicBezTo>
                      <a:pt x="177" y="575"/>
                      <a:pt x="178" y="578"/>
                      <a:pt x="179" y="579"/>
                    </a:cubicBezTo>
                    <a:cubicBezTo>
                      <a:pt x="181" y="580"/>
                      <a:pt x="181" y="583"/>
                      <a:pt x="181" y="585"/>
                    </a:cubicBezTo>
                    <a:cubicBezTo>
                      <a:pt x="180" y="587"/>
                      <a:pt x="178" y="588"/>
                      <a:pt x="176" y="589"/>
                    </a:cubicBezTo>
                    <a:cubicBezTo>
                      <a:pt x="174" y="590"/>
                      <a:pt x="172" y="593"/>
                      <a:pt x="169" y="592"/>
                    </a:cubicBezTo>
                    <a:cubicBezTo>
                      <a:pt x="166" y="592"/>
                      <a:pt x="164" y="591"/>
                      <a:pt x="161" y="590"/>
                    </a:cubicBezTo>
                    <a:cubicBezTo>
                      <a:pt x="158" y="590"/>
                      <a:pt x="155" y="589"/>
                      <a:pt x="153" y="587"/>
                    </a:cubicBezTo>
                    <a:cubicBezTo>
                      <a:pt x="148" y="584"/>
                      <a:pt x="145" y="578"/>
                      <a:pt x="140" y="578"/>
                    </a:cubicBezTo>
                    <a:cubicBezTo>
                      <a:pt x="136" y="577"/>
                      <a:pt x="129" y="577"/>
                      <a:pt x="126" y="574"/>
                    </a:cubicBezTo>
                    <a:cubicBezTo>
                      <a:pt x="125" y="572"/>
                      <a:pt x="125" y="569"/>
                      <a:pt x="126" y="567"/>
                    </a:cubicBezTo>
                    <a:cubicBezTo>
                      <a:pt x="126" y="566"/>
                      <a:pt x="127" y="566"/>
                      <a:pt x="127" y="565"/>
                    </a:cubicBezTo>
                    <a:cubicBezTo>
                      <a:pt x="127" y="564"/>
                      <a:pt x="126" y="562"/>
                      <a:pt x="125" y="562"/>
                    </a:cubicBezTo>
                    <a:cubicBezTo>
                      <a:pt x="124" y="560"/>
                      <a:pt x="122" y="559"/>
                      <a:pt x="122" y="557"/>
                    </a:cubicBezTo>
                    <a:cubicBezTo>
                      <a:pt x="122" y="555"/>
                      <a:pt x="122" y="554"/>
                      <a:pt x="121" y="553"/>
                    </a:cubicBezTo>
                    <a:cubicBezTo>
                      <a:pt x="120" y="552"/>
                      <a:pt x="119" y="551"/>
                      <a:pt x="119" y="550"/>
                    </a:cubicBezTo>
                    <a:cubicBezTo>
                      <a:pt x="119" y="549"/>
                      <a:pt x="120" y="549"/>
                      <a:pt x="120" y="548"/>
                    </a:cubicBezTo>
                    <a:cubicBezTo>
                      <a:pt x="121" y="548"/>
                      <a:pt x="122" y="547"/>
                      <a:pt x="122" y="546"/>
                    </a:cubicBezTo>
                    <a:cubicBezTo>
                      <a:pt x="123" y="545"/>
                      <a:pt x="122" y="540"/>
                      <a:pt x="123" y="539"/>
                    </a:cubicBezTo>
                    <a:cubicBezTo>
                      <a:pt x="124" y="538"/>
                      <a:pt x="128" y="540"/>
                      <a:pt x="127" y="537"/>
                    </a:cubicBezTo>
                    <a:cubicBezTo>
                      <a:pt x="127" y="535"/>
                      <a:pt x="124" y="533"/>
                      <a:pt x="123" y="531"/>
                    </a:cubicBezTo>
                    <a:cubicBezTo>
                      <a:pt x="119" y="528"/>
                      <a:pt x="112" y="526"/>
                      <a:pt x="107" y="525"/>
                    </a:cubicBezTo>
                    <a:cubicBezTo>
                      <a:pt x="106" y="525"/>
                      <a:pt x="101" y="524"/>
                      <a:pt x="102" y="523"/>
                    </a:cubicBezTo>
                    <a:cubicBezTo>
                      <a:pt x="103" y="522"/>
                      <a:pt x="107" y="521"/>
                      <a:pt x="106" y="520"/>
                    </a:cubicBezTo>
                    <a:cubicBezTo>
                      <a:pt x="104" y="518"/>
                      <a:pt x="101" y="518"/>
                      <a:pt x="100" y="518"/>
                    </a:cubicBezTo>
                    <a:cubicBezTo>
                      <a:pt x="99" y="518"/>
                      <a:pt x="94" y="518"/>
                      <a:pt x="96" y="515"/>
                    </a:cubicBezTo>
                    <a:cubicBezTo>
                      <a:pt x="97" y="514"/>
                      <a:pt x="99" y="513"/>
                      <a:pt x="96" y="513"/>
                    </a:cubicBezTo>
                    <a:cubicBezTo>
                      <a:pt x="94" y="512"/>
                      <a:pt x="93" y="512"/>
                      <a:pt x="92" y="511"/>
                    </a:cubicBezTo>
                    <a:cubicBezTo>
                      <a:pt x="90" y="509"/>
                      <a:pt x="88" y="509"/>
                      <a:pt x="86" y="508"/>
                    </a:cubicBezTo>
                    <a:cubicBezTo>
                      <a:pt x="85" y="507"/>
                      <a:pt x="85" y="506"/>
                      <a:pt x="85" y="505"/>
                    </a:cubicBezTo>
                    <a:cubicBezTo>
                      <a:pt x="85" y="504"/>
                      <a:pt x="85" y="503"/>
                      <a:pt x="84" y="503"/>
                    </a:cubicBezTo>
                    <a:cubicBezTo>
                      <a:pt x="82" y="502"/>
                      <a:pt x="80" y="502"/>
                      <a:pt x="78" y="501"/>
                    </a:cubicBezTo>
                    <a:cubicBezTo>
                      <a:pt x="75" y="500"/>
                      <a:pt x="76" y="499"/>
                      <a:pt x="78" y="499"/>
                    </a:cubicBezTo>
                    <a:cubicBezTo>
                      <a:pt x="81" y="500"/>
                      <a:pt x="83" y="500"/>
                      <a:pt x="85" y="500"/>
                    </a:cubicBezTo>
                    <a:cubicBezTo>
                      <a:pt x="86" y="500"/>
                      <a:pt x="92" y="500"/>
                      <a:pt x="92" y="502"/>
                    </a:cubicBezTo>
                    <a:cubicBezTo>
                      <a:pt x="92" y="503"/>
                      <a:pt x="91" y="503"/>
                      <a:pt x="92" y="504"/>
                    </a:cubicBezTo>
                    <a:cubicBezTo>
                      <a:pt x="93" y="505"/>
                      <a:pt x="94" y="506"/>
                      <a:pt x="95" y="506"/>
                    </a:cubicBezTo>
                    <a:cubicBezTo>
                      <a:pt x="97" y="508"/>
                      <a:pt x="99" y="510"/>
                      <a:pt x="102" y="511"/>
                    </a:cubicBezTo>
                    <a:cubicBezTo>
                      <a:pt x="104" y="512"/>
                      <a:pt x="106" y="512"/>
                      <a:pt x="108" y="513"/>
                    </a:cubicBezTo>
                    <a:cubicBezTo>
                      <a:pt x="110" y="513"/>
                      <a:pt x="112" y="514"/>
                      <a:pt x="114" y="512"/>
                    </a:cubicBezTo>
                    <a:cubicBezTo>
                      <a:pt x="115" y="511"/>
                      <a:pt x="115" y="510"/>
                      <a:pt x="117" y="511"/>
                    </a:cubicBezTo>
                    <a:cubicBezTo>
                      <a:pt x="119" y="512"/>
                      <a:pt x="120" y="514"/>
                      <a:pt x="120" y="515"/>
                    </a:cubicBezTo>
                    <a:cubicBezTo>
                      <a:pt x="120" y="518"/>
                      <a:pt x="123" y="517"/>
                      <a:pt x="125" y="517"/>
                    </a:cubicBezTo>
                    <a:cubicBezTo>
                      <a:pt x="128" y="517"/>
                      <a:pt x="132" y="517"/>
                      <a:pt x="135" y="518"/>
                    </a:cubicBezTo>
                    <a:cubicBezTo>
                      <a:pt x="141" y="518"/>
                      <a:pt x="147" y="520"/>
                      <a:pt x="153" y="522"/>
                    </a:cubicBezTo>
                    <a:cubicBezTo>
                      <a:pt x="159" y="524"/>
                      <a:pt x="165" y="525"/>
                      <a:pt x="171" y="526"/>
                    </a:cubicBezTo>
                    <a:cubicBezTo>
                      <a:pt x="177" y="527"/>
                      <a:pt x="183" y="530"/>
                      <a:pt x="189" y="531"/>
                    </a:cubicBezTo>
                    <a:cubicBezTo>
                      <a:pt x="195" y="531"/>
                      <a:pt x="201" y="529"/>
                      <a:pt x="207" y="527"/>
                    </a:cubicBezTo>
                    <a:cubicBezTo>
                      <a:pt x="210" y="526"/>
                      <a:pt x="212" y="524"/>
                      <a:pt x="215" y="523"/>
                    </a:cubicBezTo>
                    <a:cubicBezTo>
                      <a:pt x="218" y="522"/>
                      <a:pt x="220" y="521"/>
                      <a:pt x="223" y="519"/>
                    </a:cubicBezTo>
                    <a:cubicBezTo>
                      <a:pt x="225" y="517"/>
                      <a:pt x="226" y="515"/>
                      <a:pt x="228" y="513"/>
                    </a:cubicBezTo>
                    <a:cubicBezTo>
                      <a:pt x="229" y="511"/>
                      <a:pt x="231" y="509"/>
                      <a:pt x="233" y="507"/>
                    </a:cubicBezTo>
                    <a:cubicBezTo>
                      <a:pt x="235" y="506"/>
                      <a:pt x="237" y="505"/>
                      <a:pt x="237" y="503"/>
                    </a:cubicBezTo>
                    <a:cubicBezTo>
                      <a:pt x="237" y="501"/>
                      <a:pt x="237" y="500"/>
                      <a:pt x="237" y="499"/>
                    </a:cubicBezTo>
                    <a:cubicBezTo>
                      <a:pt x="236" y="498"/>
                      <a:pt x="234" y="498"/>
                      <a:pt x="234" y="497"/>
                    </a:cubicBezTo>
                    <a:cubicBezTo>
                      <a:pt x="233" y="495"/>
                      <a:pt x="234" y="493"/>
                      <a:pt x="232" y="492"/>
                    </a:cubicBezTo>
                    <a:cubicBezTo>
                      <a:pt x="230" y="491"/>
                      <a:pt x="230" y="489"/>
                      <a:pt x="230" y="487"/>
                    </a:cubicBezTo>
                    <a:cubicBezTo>
                      <a:pt x="230" y="485"/>
                      <a:pt x="231" y="483"/>
                      <a:pt x="229" y="482"/>
                    </a:cubicBezTo>
                    <a:cubicBezTo>
                      <a:pt x="228" y="482"/>
                      <a:pt x="227" y="482"/>
                      <a:pt x="226" y="482"/>
                    </a:cubicBezTo>
                    <a:cubicBezTo>
                      <a:pt x="224" y="482"/>
                      <a:pt x="223" y="482"/>
                      <a:pt x="221" y="481"/>
                    </a:cubicBezTo>
                    <a:cubicBezTo>
                      <a:pt x="219" y="480"/>
                      <a:pt x="217" y="479"/>
                      <a:pt x="216" y="477"/>
                    </a:cubicBezTo>
                    <a:cubicBezTo>
                      <a:pt x="215" y="475"/>
                      <a:pt x="213" y="472"/>
                      <a:pt x="211" y="472"/>
                    </a:cubicBezTo>
                    <a:cubicBezTo>
                      <a:pt x="210" y="472"/>
                      <a:pt x="208" y="472"/>
                      <a:pt x="207" y="471"/>
                    </a:cubicBezTo>
                    <a:cubicBezTo>
                      <a:pt x="206" y="471"/>
                      <a:pt x="205" y="471"/>
                      <a:pt x="203" y="470"/>
                    </a:cubicBezTo>
                    <a:cubicBezTo>
                      <a:pt x="200" y="469"/>
                      <a:pt x="197" y="469"/>
                      <a:pt x="194" y="468"/>
                    </a:cubicBezTo>
                    <a:cubicBezTo>
                      <a:pt x="192" y="467"/>
                      <a:pt x="189" y="466"/>
                      <a:pt x="187" y="465"/>
                    </a:cubicBezTo>
                    <a:cubicBezTo>
                      <a:pt x="184" y="463"/>
                      <a:pt x="182" y="462"/>
                      <a:pt x="180" y="459"/>
                    </a:cubicBezTo>
                    <a:cubicBezTo>
                      <a:pt x="176" y="454"/>
                      <a:pt x="171" y="454"/>
                      <a:pt x="166" y="452"/>
                    </a:cubicBezTo>
                    <a:cubicBezTo>
                      <a:pt x="160" y="449"/>
                      <a:pt x="154" y="447"/>
                      <a:pt x="148" y="444"/>
                    </a:cubicBezTo>
                    <a:cubicBezTo>
                      <a:pt x="143" y="441"/>
                      <a:pt x="138" y="438"/>
                      <a:pt x="132" y="437"/>
                    </a:cubicBezTo>
                    <a:cubicBezTo>
                      <a:pt x="126" y="437"/>
                      <a:pt x="119" y="437"/>
                      <a:pt x="113" y="436"/>
                    </a:cubicBezTo>
                    <a:cubicBezTo>
                      <a:pt x="112" y="436"/>
                      <a:pt x="109" y="436"/>
                      <a:pt x="108" y="436"/>
                    </a:cubicBezTo>
                    <a:cubicBezTo>
                      <a:pt x="108" y="437"/>
                      <a:pt x="107" y="435"/>
                      <a:pt x="106" y="436"/>
                    </a:cubicBezTo>
                    <a:cubicBezTo>
                      <a:pt x="105" y="436"/>
                      <a:pt x="104" y="438"/>
                      <a:pt x="104" y="439"/>
                    </a:cubicBezTo>
                    <a:cubicBezTo>
                      <a:pt x="103" y="442"/>
                      <a:pt x="102" y="443"/>
                      <a:pt x="100" y="444"/>
                    </a:cubicBezTo>
                    <a:cubicBezTo>
                      <a:pt x="99" y="444"/>
                      <a:pt x="98" y="444"/>
                      <a:pt x="97" y="445"/>
                    </a:cubicBezTo>
                    <a:cubicBezTo>
                      <a:pt x="96" y="445"/>
                      <a:pt x="96" y="446"/>
                      <a:pt x="95" y="446"/>
                    </a:cubicBezTo>
                    <a:cubicBezTo>
                      <a:pt x="93" y="447"/>
                      <a:pt x="94" y="443"/>
                      <a:pt x="95" y="443"/>
                    </a:cubicBezTo>
                    <a:cubicBezTo>
                      <a:pt x="96" y="441"/>
                      <a:pt x="99" y="441"/>
                      <a:pt x="101" y="440"/>
                    </a:cubicBezTo>
                    <a:cubicBezTo>
                      <a:pt x="102" y="439"/>
                      <a:pt x="100" y="438"/>
                      <a:pt x="99" y="438"/>
                    </a:cubicBezTo>
                    <a:cubicBezTo>
                      <a:pt x="99" y="437"/>
                      <a:pt x="101" y="436"/>
                      <a:pt x="101" y="436"/>
                    </a:cubicBezTo>
                    <a:cubicBezTo>
                      <a:pt x="101" y="435"/>
                      <a:pt x="102" y="434"/>
                      <a:pt x="102" y="433"/>
                    </a:cubicBezTo>
                    <a:cubicBezTo>
                      <a:pt x="101" y="432"/>
                      <a:pt x="99" y="433"/>
                      <a:pt x="98" y="433"/>
                    </a:cubicBezTo>
                    <a:cubicBezTo>
                      <a:pt x="96" y="435"/>
                      <a:pt x="94" y="437"/>
                      <a:pt x="91" y="435"/>
                    </a:cubicBezTo>
                    <a:cubicBezTo>
                      <a:pt x="90" y="434"/>
                      <a:pt x="89" y="434"/>
                      <a:pt x="87" y="434"/>
                    </a:cubicBezTo>
                    <a:cubicBezTo>
                      <a:pt x="85" y="434"/>
                      <a:pt x="84" y="434"/>
                      <a:pt x="82" y="433"/>
                    </a:cubicBezTo>
                    <a:cubicBezTo>
                      <a:pt x="81" y="432"/>
                      <a:pt x="80" y="432"/>
                      <a:pt x="79" y="431"/>
                    </a:cubicBezTo>
                    <a:cubicBezTo>
                      <a:pt x="78" y="430"/>
                      <a:pt x="77" y="428"/>
                      <a:pt x="77" y="427"/>
                    </a:cubicBezTo>
                    <a:cubicBezTo>
                      <a:pt x="78" y="426"/>
                      <a:pt x="79" y="426"/>
                      <a:pt x="79" y="424"/>
                    </a:cubicBezTo>
                    <a:cubicBezTo>
                      <a:pt x="79" y="423"/>
                      <a:pt x="78" y="422"/>
                      <a:pt x="77" y="421"/>
                    </a:cubicBezTo>
                    <a:cubicBezTo>
                      <a:pt x="75" y="421"/>
                      <a:pt x="75" y="420"/>
                      <a:pt x="74" y="421"/>
                    </a:cubicBezTo>
                    <a:cubicBezTo>
                      <a:pt x="73" y="423"/>
                      <a:pt x="71" y="423"/>
                      <a:pt x="70" y="424"/>
                    </a:cubicBezTo>
                    <a:cubicBezTo>
                      <a:pt x="68" y="424"/>
                      <a:pt x="67" y="424"/>
                      <a:pt x="65" y="423"/>
                    </a:cubicBezTo>
                    <a:cubicBezTo>
                      <a:pt x="63" y="421"/>
                      <a:pt x="62" y="421"/>
                      <a:pt x="60" y="421"/>
                    </a:cubicBezTo>
                    <a:cubicBezTo>
                      <a:pt x="60" y="423"/>
                      <a:pt x="60" y="424"/>
                      <a:pt x="60" y="426"/>
                    </a:cubicBezTo>
                    <a:cubicBezTo>
                      <a:pt x="60" y="427"/>
                      <a:pt x="60" y="428"/>
                      <a:pt x="60" y="429"/>
                    </a:cubicBezTo>
                    <a:cubicBezTo>
                      <a:pt x="58" y="432"/>
                      <a:pt x="55" y="431"/>
                      <a:pt x="53" y="430"/>
                    </a:cubicBezTo>
                    <a:cubicBezTo>
                      <a:pt x="52" y="430"/>
                      <a:pt x="49" y="428"/>
                      <a:pt x="48" y="429"/>
                    </a:cubicBezTo>
                    <a:cubicBezTo>
                      <a:pt x="46" y="431"/>
                      <a:pt x="46" y="434"/>
                      <a:pt x="44" y="435"/>
                    </a:cubicBezTo>
                    <a:cubicBezTo>
                      <a:pt x="41" y="437"/>
                      <a:pt x="38" y="437"/>
                      <a:pt x="36" y="437"/>
                    </a:cubicBezTo>
                    <a:cubicBezTo>
                      <a:pt x="33" y="438"/>
                      <a:pt x="32" y="440"/>
                      <a:pt x="31" y="442"/>
                    </a:cubicBezTo>
                    <a:cubicBezTo>
                      <a:pt x="29" y="444"/>
                      <a:pt x="28" y="446"/>
                      <a:pt x="26" y="447"/>
                    </a:cubicBezTo>
                    <a:cubicBezTo>
                      <a:pt x="25" y="447"/>
                      <a:pt x="18" y="448"/>
                      <a:pt x="19" y="449"/>
                    </a:cubicBezTo>
                    <a:cubicBezTo>
                      <a:pt x="19" y="450"/>
                      <a:pt x="20" y="451"/>
                      <a:pt x="20" y="452"/>
                    </a:cubicBezTo>
                    <a:cubicBezTo>
                      <a:pt x="21" y="453"/>
                      <a:pt x="20" y="455"/>
                      <a:pt x="20" y="456"/>
                    </a:cubicBezTo>
                    <a:cubicBezTo>
                      <a:pt x="19" y="459"/>
                      <a:pt x="18" y="461"/>
                      <a:pt x="19" y="464"/>
                    </a:cubicBezTo>
                    <a:cubicBezTo>
                      <a:pt x="21" y="470"/>
                      <a:pt x="26" y="469"/>
                      <a:pt x="31" y="471"/>
                    </a:cubicBezTo>
                    <a:cubicBezTo>
                      <a:pt x="33" y="472"/>
                      <a:pt x="35" y="474"/>
                      <a:pt x="36" y="476"/>
                    </a:cubicBezTo>
                    <a:cubicBezTo>
                      <a:pt x="38" y="478"/>
                      <a:pt x="40" y="480"/>
                      <a:pt x="42" y="482"/>
                    </a:cubicBezTo>
                    <a:cubicBezTo>
                      <a:pt x="43" y="485"/>
                      <a:pt x="42" y="487"/>
                      <a:pt x="40" y="489"/>
                    </a:cubicBezTo>
                    <a:cubicBezTo>
                      <a:pt x="38" y="492"/>
                      <a:pt x="36" y="494"/>
                      <a:pt x="34" y="496"/>
                    </a:cubicBezTo>
                    <a:cubicBezTo>
                      <a:pt x="33" y="499"/>
                      <a:pt x="30" y="501"/>
                      <a:pt x="30" y="504"/>
                    </a:cubicBezTo>
                    <a:cubicBezTo>
                      <a:pt x="29" y="506"/>
                      <a:pt x="30" y="509"/>
                      <a:pt x="32" y="511"/>
                    </a:cubicBezTo>
                    <a:cubicBezTo>
                      <a:pt x="33" y="514"/>
                      <a:pt x="35" y="516"/>
                      <a:pt x="36" y="518"/>
                    </a:cubicBezTo>
                    <a:cubicBezTo>
                      <a:pt x="38" y="521"/>
                      <a:pt x="39" y="523"/>
                      <a:pt x="40" y="526"/>
                    </a:cubicBezTo>
                    <a:cubicBezTo>
                      <a:pt x="41" y="529"/>
                      <a:pt x="43" y="532"/>
                      <a:pt x="44" y="534"/>
                    </a:cubicBezTo>
                    <a:cubicBezTo>
                      <a:pt x="45" y="536"/>
                      <a:pt x="47" y="540"/>
                      <a:pt x="46" y="542"/>
                    </a:cubicBezTo>
                    <a:cubicBezTo>
                      <a:pt x="45" y="544"/>
                      <a:pt x="42" y="542"/>
                      <a:pt x="41" y="544"/>
                    </a:cubicBezTo>
                    <a:cubicBezTo>
                      <a:pt x="39" y="545"/>
                      <a:pt x="40" y="547"/>
                      <a:pt x="39" y="549"/>
                    </a:cubicBezTo>
                    <a:cubicBezTo>
                      <a:pt x="39" y="551"/>
                      <a:pt x="36" y="552"/>
                      <a:pt x="38" y="554"/>
                    </a:cubicBezTo>
                    <a:cubicBezTo>
                      <a:pt x="40" y="556"/>
                      <a:pt x="42" y="557"/>
                      <a:pt x="40" y="559"/>
                    </a:cubicBezTo>
                    <a:cubicBezTo>
                      <a:pt x="40" y="560"/>
                      <a:pt x="38" y="561"/>
                      <a:pt x="38" y="563"/>
                    </a:cubicBezTo>
                    <a:cubicBezTo>
                      <a:pt x="39" y="564"/>
                      <a:pt x="41" y="565"/>
                      <a:pt x="42" y="565"/>
                    </a:cubicBezTo>
                    <a:cubicBezTo>
                      <a:pt x="43" y="565"/>
                      <a:pt x="44" y="566"/>
                      <a:pt x="46" y="566"/>
                    </a:cubicBezTo>
                    <a:cubicBezTo>
                      <a:pt x="48" y="568"/>
                      <a:pt x="47" y="571"/>
                      <a:pt x="46" y="573"/>
                    </a:cubicBezTo>
                    <a:cubicBezTo>
                      <a:pt x="46" y="575"/>
                      <a:pt x="47" y="577"/>
                      <a:pt x="49" y="579"/>
                    </a:cubicBezTo>
                    <a:cubicBezTo>
                      <a:pt x="51" y="580"/>
                      <a:pt x="54" y="582"/>
                      <a:pt x="54" y="584"/>
                    </a:cubicBezTo>
                    <a:cubicBezTo>
                      <a:pt x="55" y="586"/>
                      <a:pt x="52" y="589"/>
                      <a:pt x="50" y="590"/>
                    </a:cubicBezTo>
                    <a:cubicBezTo>
                      <a:pt x="49" y="591"/>
                      <a:pt x="46" y="594"/>
                      <a:pt x="47" y="596"/>
                    </a:cubicBezTo>
                    <a:cubicBezTo>
                      <a:pt x="47" y="597"/>
                      <a:pt x="50" y="599"/>
                      <a:pt x="51" y="600"/>
                    </a:cubicBezTo>
                    <a:cubicBezTo>
                      <a:pt x="54" y="601"/>
                      <a:pt x="57" y="603"/>
                      <a:pt x="60" y="605"/>
                    </a:cubicBezTo>
                    <a:cubicBezTo>
                      <a:pt x="62" y="606"/>
                      <a:pt x="64" y="608"/>
                      <a:pt x="66" y="610"/>
                    </a:cubicBezTo>
                    <a:cubicBezTo>
                      <a:pt x="68" y="611"/>
                      <a:pt x="70" y="614"/>
                      <a:pt x="70" y="617"/>
                    </a:cubicBezTo>
                    <a:cubicBezTo>
                      <a:pt x="70" y="622"/>
                      <a:pt x="65" y="627"/>
                      <a:pt x="61" y="631"/>
                    </a:cubicBezTo>
                    <a:cubicBezTo>
                      <a:pt x="53" y="641"/>
                      <a:pt x="43" y="649"/>
                      <a:pt x="34" y="659"/>
                    </a:cubicBezTo>
                    <a:cubicBezTo>
                      <a:pt x="26" y="667"/>
                      <a:pt x="14" y="670"/>
                      <a:pt x="7" y="679"/>
                    </a:cubicBezTo>
                    <a:cubicBezTo>
                      <a:pt x="9" y="679"/>
                      <a:pt x="12" y="678"/>
                      <a:pt x="14" y="677"/>
                    </a:cubicBezTo>
                    <a:cubicBezTo>
                      <a:pt x="16" y="676"/>
                      <a:pt x="18" y="674"/>
                      <a:pt x="20" y="674"/>
                    </a:cubicBezTo>
                    <a:cubicBezTo>
                      <a:pt x="23" y="673"/>
                      <a:pt x="21" y="677"/>
                      <a:pt x="21" y="678"/>
                    </a:cubicBezTo>
                    <a:cubicBezTo>
                      <a:pt x="21" y="679"/>
                      <a:pt x="21" y="680"/>
                      <a:pt x="21" y="681"/>
                    </a:cubicBezTo>
                    <a:cubicBezTo>
                      <a:pt x="20" y="682"/>
                      <a:pt x="22" y="683"/>
                      <a:pt x="23" y="684"/>
                    </a:cubicBezTo>
                    <a:cubicBezTo>
                      <a:pt x="25" y="685"/>
                      <a:pt x="28" y="685"/>
                      <a:pt x="30" y="686"/>
                    </a:cubicBezTo>
                    <a:cubicBezTo>
                      <a:pt x="33" y="687"/>
                      <a:pt x="35" y="688"/>
                      <a:pt x="38" y="689"/>
                    </a:cubicBezTo>
                    <a:cubicBezTo>
                      <a:pt x="40" y="690"/>
                      <a:pt x="42" y="690"/>
                      <a:pt x="44" y="692"/>
                    </a:cubicBezTo>
                    <a:cubicBezTo>
                      <a:pt x="46" y="693"/>
                      <a:pt x="45" y="695"/>
                      <a:pt x="43" y="695"/>
                    </a:cubicBezTo>
                    <a:cubicBezTo>
                      <a:pt x="41" y="696"/>
                      <a:pt x="40" y="693"/>
                      <a:pt x="38" y="693"/>
                    </a:cubicBezTo>
                    <a:cubicBezTo>
                      <a:pt x="35" y="692"/>
                      <a:pt x="32" y="692"/>
                      <a:pt x="30" y="694"/>
                    </a:cubicBezTo>
                    <a:cubicBezTo>
                      <a:pt x="29" y="694"/>
                      <a:pt x="27" y="694"/>
                      <a:pt x="27" y="695"/>
                    </a:cubicBezTo>
                    <a:cubicBezTo>
                      <a:pt x="26" y="696"/>
                      <a:pt x="26" y="697"/>
                      <a:pt x="25" y="698"/>
                    </a:cubicBezTo>
                    <a:cubicBezTo>
                      <a:pt x="24" y="698"/>
                      <a:pt x="22" y="698"/>
                      <a:pt x="21" y="697"/>
                    </a:cubicBezTo>
                    <a:cubicBezTo>
                      <a:pt x="20" y="697"/>
                      <a:pt x="20" y="696"/>
                      <a:pt x="18" y="697"/>
                    </a:cubicBezTo>
                    <a:cubicBezTo>
                      <a:pt x="16" y="698"/>
                      <a:pt x="15" y="699"/>
                      <a:pt x="12" y="699"/>
                    </a:cubicBezTo>
                    <a:cubicBezTo>
                      <a:pt x="10" y="699"/>
                      <a:pt x="9" y="702"/>
                      <a:pt x="10" y="704"/>
                    </a:cubicBezTo>
                    <a:cubicBezTo>
                      <a:pt x="11" y="706"/>
                      <a:pt x="12" y="708"/>
                      <a:pt x="11" y="711"/>
                    </a:cubicBezTo>
                    <a:cubicBezTo>
                      <a:pt x="10" y="713"/>
                      <a:pt x="8" y="716"/>
                      <a:pt x="6" y="717"/>
                    </a:cubicBezTo>
                    <a:cubicBezTo>
                      <a:pt x="4" y="719"/>
                      <a:pt x="2" y="721"/>
                      <a:pt x="1" y="724"/>
                    </a:cubicBezTo>
                    <a:cubicBezTo>
                      <a:pt x="1" y="726"/>
                      <a:pt x="1" y="729"/>
                      <a:pt x="1" y="732"/>
                    </a:cubicBezTo>
                    <a:cubicBezTo>
                      <a:pt x="1" y="735"/>
                      <a:pt x="2" y="737"/>
                      <a:pt x="4" y="739"/>
                    </a:cubicBezTo>
                    <a:cubicBezTo>
                      <a:pt x="5" y="741"/>
                      <a:pt x="7" y="742"/>
                      <a:pt x="7" y="744"/>
                    </a:cubicBezTo>
                    <a:cubicBezTo>
                      <a:pt x="7" y="747"/>
                      <a:pt x="5" y="748"/>
                      <a:pt x="3" y="748"/>
                    </a:cubicBezTo>
                    <a:cubicBezTo>
                      <a:pt x="1" y="749"/>
                      <a:pt x="0" y="752"/>
                      <a:pt x="1" y="754"/>
                    </a:cubicBezTo>
                    <a:cubicBezTo>
                      <a:pt x="3" y="756"/>
                      <a:pt x="6" y="757"/>
                      <a:pt x="7" y="759"/>
                    </a:cubicBezTo>
                    <a:cubicBezTo>
                      <a:pt x="8" y="761"/>
                      <a:pt x="6" y="763"/>
                      <a:pt x="6" y="766"/>
                    </a:cubicBezTo>
                    <a:cubicBezTo>
                      <a:pt x="6" y="767"/>
                      <a:pt x="5" y="768"/>
                      <a:pt x="6" y="769"/>
                    </a:cubicBezTo>
                    <a:cubicBezTo>
                      <a:pt x="6" y="770"/>
                      <a:pt x="7" y="770"/>
                      <a:pt x="8" y="771"/>
                    </a:cubicBezTo>
                    <a:cubicBezTo>
                      <a:pt x="10" y="772"/>
                      <a:pt x="11" y="775"/>
                      <a:pt x="12" y="777"/>
                    </a:cubicBezTo>
                    <a:cubicBezTo>
                      <a:pt x="13" y="781"/>
                      <a:pt x="13" y="787"/>
                      <a:pt x="17" y="790"/>
                    </a:cubicBezTo>
                    <a:cubicBezTo>
                      <a:pt x="19" y="791"/>
                      <a:pt x="22" y="791"/>
                      <a:pt x="24" y="791"/>
                    </a:cubicBezTo>
                    <a:cubicBezTo>
                      <a:pt x="27" y="791"/>
                      <a:pt x="29" y="791"/>
                      <a:pt x="32" y="793"/>
                    </a:cubicBezTo>
                    <a:cubicBezTo>
                      <a:pt x="34" y="794"/>
                      <a:pt x="36" y="796"/>
                      <a:pt x="38" y="796"/>
                    </a:cubicBezTo>
                    <a:cubicBezTo>
                      <a:pt x="41" y="796"/>
                      <a:pt x="44" y="794"/>
                      <a:pt x="47" y="794"/>
                    </a:cubicBezTo>
                    <a:cubicBezTo>
                      <a:pt x="51" y="794"/>
                      <a:pt x="56" y="797"/>
                      <a:pt x="59" y="801"/>
                    </a:cubicBezTo>
                    <a:cubicBezTo>
                      <a:pt x="60" y="802"/>
                      <a:pt x="61" y="804"/>
                      <a:pt x="60" y="805"/>
                    </a:cubicBezTo>
                    <a:cubicBezTo>
                      <a:pt x="59" y="806"/>
                      <a:pt x="58" y="807"/>
                      <a:pt x="58" y="808"/>
                    </a:cubicBezTo>
                    <a:cubicBezTo>
                      <a:pt x="59" y="810"/>
                      <a:pt x="59" y="811"/>
                      <a:pt x="60" y="812"/>
                    </a:cubicBezTo>
                    <a:cubicBezTo>
                      <a:pt x="61" y="814"/>
                      <a:pt x="62" y="815"/>
                      <a:pt x="60" y="817"/>
                    </a:cubicBezTo>
                    <a:cubicBezTo>
                      <a:pt x="58" y="818"/>
                      <a:pt x="59" y="820"/>
                      <a:pt x="61" y="821"/>
                    </a:cubicBezTo>
                    <a:cubicBezTo>
                      <a:pt x="63" y="821"/>
                      <a:pt x="65" y="822"/>
                      <a:pt x="65" y="825"/>
                    </a:cubicBezTo>
                    <a:cubicBezTo>
                      <a:pt x="65" y="826"/>
                      <a:pt x="64" y="827"/>
                      <a:pt x="65" y="828"/>
                    </a:cubicBezTo>
                    <a:cubicBezTo>
                      <a:pt x="65" y="830"/>
                      <a:pt x="67" y="831"/>
                      <a:pt x="68" y="831"/>
                    </a:cubicBezTo>
                    <a:cubicBezTo>
                      <a:pt x="70" y="833"/>
                      <a:pt x="73" y="834"/>
                      <a:pt x="75" y="836"/>
                    </a:cubicBezTo>
                    <a:cubicBezTo>
                      <a:pt x="75" y="837"/>
                      <a:pt x="76" y="838"/>
                      <a:pt x="76" y="839"/>
                    </a:cubicBezTo>
                    <a:cubicBezTo>
                      <a:pt x="76" y="840"/>
                      <a:pt x="75" y="842"/>
                      <a:pt x="75" y="842"/>
                    </a:cubicBezTo>
                    <a:cubicBezTo>
                      <a:pt x="76" y="843"/>
                      <a:pt x="78" y="843"/>
                      <a:pt x="79" y="843"/>
                    </a:cubicBezTo>
                    <a:cubicBezTo>
                      <a:pt x="81" y="844"/>
                      <a:pt x="83" y="843"/>
                      <a:pt x="85" y="845"/>
                    </a:cubicBezTo>
                    <a:cubicBezTo>
                      <a:pt x="86" y="845"/>
                      <a:pt x="85" y="846"/>
                      <a:pt x="86" y="847"/>
                    </a:cubicBezTo>
                    <a:cubicBezTo>
                      <a:pt x="86" y="849"/>
                      <a:pt x="87" y="849"/>
                      <a:pt x="88" y="849"/>
                    </a:cubicBezTo>
                    <a:cubicBezTo>
                      <a:pt x="91" y="850"/>
                      <a:pt x="91" y="853"/>
                      <a:pt x="89" y="855"/>
                    </a:cubicBezTo>
                    <a:cubicBezTo>
                      <a:pt x="86" y="860"/>
                      <a:pt x="79" y="860"/>
                      <a:pt x="74" y="860"/>
                    </a:cubicBezTo>
                    <a:cubicBezTo>
                      <a:pt x="73" y="860"/>
                      <a:pt x="66" y="860"/>
                      <a:pt x="67" y="861"/>
                    </a:cubicBezTo>
                    <a:cubicBezTo>
                      <a:pt x="69" y="863"/>
                      <a:pt x="70" y="866"/>
                      <a:pt x="71" y="868"/>
                    </a:cubicBezTo>
                    <a:cubicBezTo>
                      <a:pt x="72" y="871"/>
                      <a:pt x="71" y="873"/>
                      <a:pt x="71" y="876"/>
                    </a:cubicBezTo>
                    <a:cubicBezTo>
                      <a:pt x="71" y="878"/>
                      <a:pt x="74" y="880"/>
                      <a:pt x="75" y="881"/>
                    </a:cubicBezTo>
                    <a:cubicBezTo>
                      <a:pt x="78" y="883"/>
                      <a:pt x="80" y="882"/>
                      <a:pt x="82" y="880"/>
                    </a:cubicBezTo>
                    <a:cubicBezTo>
                      <a:pt x="84" y="878"/>
                      <a:pt x="85" y="877"/>
                      <a:pt x="88" y="877"/>
                    </a:cubicBezTo>
                    <a:cubicBezTo>
                      <a:pt x="91" y="877"/>
                      <a:pt x="93" y="877"/>
                      <a:pt x="96" y="877"/>
                    </a:cubicBezTo>
                    <a:cubicBezTo>
                      <a:pt x="99" y="876"/>
                      <a:pt x="102" y="874"/>
                      <a:pt x="105" y="875"/>
                    </a:cubicBezTo>
                    <a:cubicBezTo>
                      <a:pt x="107" y="875"/>
                      <a:pt x="110" y="877"/>
                      <a:pt x="112" y="878"/>
                    </a:cubicBezTo>
                    <a:cubicBezTo>
                      <a:pt x="114" y="880"/>
                      <a:pt x="113" y="883"/>
                      <a:pt x="115" y="885"/>
                    </a:cubicBezTo>
                    <a:cubicBezTo>
                      <a:pt x="117" y="886"/>
                      <a:pt x="120" y="888"/>
                      <a:pt x="119" y="890"/>
                    </a:cubicBezTo>
                    <a:cubicBezTo>
                      <a:pt x="118" y="892"/>
                      <a:pt x="115" y="892"/>
                      <a:pt x="116" y="895"/>
                    </a:cubicBezTo>
                    <a:cubicBezTo>
                      <a:pt x="117" y="896"/>
                      <a:pt x="117" y="898"/>
                      <a:pt x="118" y="899"/>
                    </a:cubicBezTo>
                    <a:cubicBezTo>
                      <a:pt x="118" y="900"/>
                      <a:pt x="118" y="901"/>
                      <a:pt x="119" y="901"/>
                    </a:cubicBezTo>
                    <a:cubicBezTo>
                      <a:pt x="120" y="902"/>
                      <a:pt x="122" y="902"/>
                      <a:pt x="124" y="902"/>
                    </a:cubicBezTo>
                    <a:cubicBezTo>
                      <a:pt x="127" y="902"/>
                      <a:pt x="131" y="902"/>
                      <a:pt x="134" y="904"/>
                    </a:cubicBezTo>
                    <a:cubicBezTo>
                      <a:pt x="136" y="906"/>
                      <a:pt x="136" y="908"/>
                      <a:pt x="136" y="910"/>
                    </a:cubicBezTo>
                    <a:cubicBezTo>
                      <a:pt x="136" y="911"/>
                      <a:pt x="136" y="912"/>
                      <a:pt x="137" y="914"/>
                    </a:cubicBezTo>
                    <a:cubicBezTo>
                      <a:pt x="137" y="915"/>
                      <a:pt x="137" y="917"/>
                      <a:pt x="138" y="918"/>
                    </a:cubicBezTo>
                    <a:cubicBezTo>
                      <a:pt x="139" y="922"/>
                      <a:pt x="144" y="920"/>
                      <a:pt x="147" y="920"/>
                    </a:cubicBezTo>
                    <a:cubicBezTo>
                      <a:pt x="149" y="920"/>
                      <a:pt x="151" y="922"/>
                      <a:pt x="154" y="922"/>
                    </a:cubicBezTo>
                    <a:cubicBezTo>
                      <a:pt x="157" y="922"/>
                      <a:pt x="160" y="921"/>
                      <a:pt x="162" y="920"/>
                    </a:cubicBezTo>
                    <a:cubicBezTo>
                      <a:pt x="165" y="919"/>
                      <a:pt x="168" y="918"/>
                      <a:pt x="170" y="919"/>
                    </a:cubicBezTo>
                    <a:cubicBezTo>
                      <a:pt x="172" y="920"/>
                      <a:pt x="174" y="923"/>
                      <a:pt x="176" y="925"/>
                    </a:cubicBezTo>
                    <a:cubicBezTo>
                      <a:pt x="177" y="927"/>
                      <a:pt x="178" y="929"/>
                      <a:pt x="181" y="929"/>
                    </a:cubicBezTo>
                    <a:cubicBezTo>
                      <a:pt x="184" y="929"/>
                      <a:pt x="187" y="928"/>
                      <a:pt x="190" y="929"/>
                    </a:cubicBezTo>
                    <a:cubicBezTo>
                      <a:pt x="193" y="929"/>
                      <a:pt x="194" y="931"/>
                      <a:pt x="197" y="932"/>
                    </a:cubicBezTo>
                    <a:cubicBezTo>
                      <a:pt x="199" y="932"/>
                      <a:pt x="202" y="932"/>
                      <a:pt x="204" y="933"/>
                    </a:cubicBezTo>
                    <a:cubicBezTo>
                      <a:pt x="206" y="935"/>
                      <a:pt x="207" y="938"/>
                      <a:pt x="209" y="938"/>
                    </a:cubicBezTo>
                    <a:cubicBezTo>
                      <a:pt x="211" y="938"/>
                      <a:pt x="214" y="936"/>
                      <a:pt x="216" y="938"/>
                    </a:cubicBezTo>
                    <a:cubicBezTo>
                      <a:pt x="218" y="940"/>
                      <a:pt x="218" y="943"/>
                      <a:pt x="217" y="946"/>
                    </a:cubicBezTo>
                    <a:cubicBezTo>
                      <a:pt x="217" y="948"/>
                      <a:pt x="214" y="949"/>
                      <a:pt x="212" y="951"/>
                    </a:cubicBezTo>
                    <a:cubicBezTo>
                      <a:pt x="210" y="952"/>
                      <a:pt x="216" y="954"/>
                      <a:pt x="214" y="957"/>
                    </a:cubicBezTo>
                    <a:cubicBezTo>
                      <a:pt x="213" y="958"/>
                      <a:pt x="208" y="959"/>
                      <a:pt x="210" y="961"/>
                    </a:cubicBezTo>
                    <a:cubicBezTo>
                      <a:pt x="212" y="963"/>
                      <a:pt x="214" y="965"/>
                      <a:pt x="213" y="968"/>
                    </a:cubicBezTo>
                    <a:cubicBezTo>
                      <a:pt x="213" y="970"/>
                      <a:pt x="212" y="973"/>
                      <a:pt x="211" y="976"/>
                    </a:cubicBezTo>
                    <a:cubicBezTo>
                      <a:pt x="209" y="978"/>
                      <a:pt x="207" y="978"/>
                      <a:pt x="204" y="978"/>
                    </a:cubicBezTo>
                    <a:cubicBezTo>
                      <a:pt x="200" y="978"/>
                      <a:pt x="197" y="977"/>
                      <a:pt x="194" y="978"/>
                    </a:cubicBezTo>
                    <a:cubicBezTo>
                      <a:pt x="192" y="979"/>
                      <a:pt x="189" y="980"/>
                      <a:pt x="188" y="982"/>
                    </a:cubicBezTo>
                    <a:cubicBezTo>
                      <a:pt x="185" y="985"/>
                      <a:pt x="185" y="989"/>
                      <a:pt x="184" y="992"/>
                    </a:cubicBezTo>
                    <a:cubicBezTo>
                      <a:pt x="186" y="992"/>
                      <a:pt x="188" y="990"/>
                      <a:pt x="191" y="991"/>
                    </a:cubicBezTo>
                    <a:cubicBezTo>
                      <a:pt x="193" y="991"/>
                      <a:pt x="193" y="991"/>
                      <a:pt x="195" y="991"/>
                    </a:cubicBezTo>
                    <a:cubicBezTo>
                      <a:pt x="196" y="990"/>
                      <a:pt x="197" y="990"/>
                      <a:pt x="198" y="990"/>
                    </a:cubicBezTo>
                    <a:cubicBezTo>
                      <a:pt x="200" y="990"/>
                      <a:pt x="203" y="991"/>
                      <a:pt x="202" y="994"/>
                    </a:cubicBezTo>
                    <a:cubicBezTo>
                      <a:pt x="201" y="994"/>
                      <a:pt x="200" y="995"/>
                      <a:pt x="200" y="995"/>
                    </a:cubicBezTo>
                    <a:cubicBezTo>
                      <a:pt x="198" y="996"/>
                      <a:pt x="197" y="996"/>
                      <a:pt x="195" y="997"/>
                    </a:cubicBezTo>
                    <a:cubicBezTo>
                      <a:pt x="194" y="997"/>
                      <a:pt x="192" y="998"/>
                      <a:pt x="191" y="998"/>
                    </a:cubicBezTo>
                    <a:cubicBezTo>
                      <a:pt x="190" y="999"/>
                      <a:pt x="189" y="999"/>
                      <a:pt x="188" y="999"/>
                    </a:cubicBezTo>
                    <a:cubicBezTo>
                      <a:pt x="186" y="1000"/>
                      <a:pt x="190" y="1003"/>
                      <a:pt x="186" y="1003"/>
                    </a:cubicBezTo>
                    <a:cubicBezTo>
                      <a:pt x="185" y="1003"/>
                      <a:pt x="184" y="1002"/>
                      <a:pt x="183" y="1002"/>
                    </a:cubicBezTo>
                    <a:cubicBezTo>
                      <a:pt x="182" y="1003"/>
                      <a:pt x="180" y="1003"/>
                      <a:pt x="179" y="1003"/>
                    </a:cubicBezTo>
                    <a:cubicBezTo>
                      <a:pt x="178" y="1003"/>
                      <a:pt x="175" y="1002"/>
                      <a:pt x="175" y="1003"/>
                    </a:cubicBezTo>
                    <a:cubicBezTo>
                      <a:pt x="175" y="1005"/>
                      <a:pt x="178" y="1007"/>
                      <a:pt x="180" y="1008"/>
                    </a:cubicBezTo>
                    <a:cubicBezTo>
                      <a:pt x="182" y="1010"/>
                      <a:pt x="185" y="1011"/>
                      <a:pt x="188" y="1013"/>
                    </a:cubicBezTo>
                    <a:cubicBezTo>
                      <a:pt x="188" y="1013"/>
                      <a:pt x="189" y="1014"/>
                      <a:pt x="190" y="1015"/>
                    </a:cubicBezTo>
                    <a:cubicBezTo>
                      <a:pt x="190" y="1015"/>
                      <a:pt x="189" y="1016"/>
                      <a:pt x="188" y="1016"/>
                    </a:cubicBezTo>
                    <a:cubicBezTo>
                      <a:pt x="187" y="1015"/>
                      <a:pt x="185" y="1014"/>
                      <a:pt x="184" y="1015"/>
                    </a:cubicBezTo>
                    <a:cubicBezTo>
                      <a:pt x="182" y="1016"/>
                      <a:pt x="184" y="1019"/>
                      <a:pt x="181" y="1019"/>
                    </a:cubicBezTo>
                    <a:cubicBezTo>
                      <a:pt x="180" y="1020"/>
                      <a:pt x="180" y="1019"/>
                      <a:pt x="180" y="1018"/>
                    </a:cubicBezTo>
                    <a:cubicBezTo>
                      <a:pt x="179" y="1018"/>
                      <a:pt x="178" y="1019"/>
                      <a:pt x="178" y="1020"/>
                    </a:cubicBezTo>
                    <a:cubicBezTo>
                      <a:pt x="177" y="1020"/>
                      <a:pt x="177" y="1021"/>
                      <a:pt x="176" y="1022"/>
                    </a:cubicBezTo>
                    <a:cubicBezTo>
                      <a:pt x="176" y="1022"/>
                      <a:pt x="175" y="1023"/>
                      <a:pt x="174" y="1024"/>
                    </a:cubicBezTo>
                    <a:cubicBezTo>
                      <a:pt x="172" y="1026"/>
                      <a:pt x="176" y="1027"/>
                      <a:pt x="176" y="1029"/>
                    </a:cubicBezTo>
                    <a:cubicBezTo>
                      <a:pt x="176" y="1031"/>
                      <a:pt x="174" y="1032"/>
                      <a:pt x="173" y="1032"/>
                    </a:cubicBezTo>
                    <a:cubicBezTo>
                      <a:pt x="171" y="1031"/>
                      <a:pt x="169" y="1031"/>
                      <a:pt x="167" y="1031"/>
                    </a:cubicBezTo>
                    <a:cubicBezTo>
                      <a:pt x="165" y="1030"/>
                      <a:pt x="163" y="1030"/>
                      <a:pt x="162" y="1031"/>
                    </a:cubicBezTo>
                    <a:cubicBezTo>
                      <a:pt x="160" y="1031"/>
                      <a:pt x="159" y="1032"/>
                      <a:pt x="158" y="1032"/>
                    </a:cubicBezTo>
                    <a:cubicBezTo>
                      <a:pt x="156" y="1033"/>
                      <a:pt x="157" y="1035"/>
                      <a:pt x="158" y="1035"/>
                    </a:cubicBezTo>
                    <a:cubicBezTo>
                      <a:pt x="160" y="1036"/>
                      <a:pt x="161" y="1037"/>
                      <a:pt x="163" y="1038"/>
                    </a:cubicBezTo>
                    <a:cubicBezTo>
                      <a:pt x="165" y="1038"/>
                      <a:pt x="166" y="1039"/>
                      <a:pt x="167" y="1041"/>
                    </a:cubicBezTo>
                    <a:cubicBezTo>
                      <a:pt x="168" y="1043"/>
                      <a:pt x="169" y="1044"/>
                      <a:pt x="171" y="1044"/>
                    </a:cubicBezTo>
                    <a:cubicBezTo>
                      <a:pt x="173" y="1044"/>
                      <a:pt x="175" y="1043"/>
                      <a:pt x="177" y="1044"/>
                    </a:cubicBezTo>
                    <a:cubicBezTo>
                      <a:pt x="178" y="1045"/>
                      <a:pt x="179" y="1046"/>
                      <a:pt x="180" y="1048"/>
                    </a:cubicBezTo>
                    <a:cubicBezTo>
                      <a:pt x="181" y="1049"/>
                      <a:pt x="182" y="1051"/>
                      <a:pt x="184" y="1051"/>
                    </a:cubicBezTo>
                    <a:cubicBezTo>
                      <a:pt x="186" y="1051"/>
                      <a:pt x="189" y="1051"/>
                      <a:pt x="191" y="1052"/>
                    </a:cubicBezTo>
                    <a:cubicBezTo>
                      <a:pt x="192" y="1053"/>
                      <a:pt x="194" y="1054"/>
                      <a:pt x="195" y="1055"/>
                    </a:cubicBezTo>
                    <a:cubicBezTo>
                      <a:pt x="197" y="1057"/>
                      <a:pt x="199" y="1059"/>
                      <a:pt x="201" y="1060"/>
                    </a:cubicBezTo>
                    <a:cubicBezTo>
                      <a:pt x="205" y="1064"/>
                      <a:pt x="208" y="1067"/>
                      <a:pt x="213" y="1070"/>
                    </a:cubicBezTo>
                    <a:cubicBezTo>
                      <a:pt x="213" y="1068"/>
                      <a:pt x="215" y="1067"/>
                      <a:pt x="217" y="1067"/>
                    </a:cubicBezTo>
                    <a:cubicBezTo>
                      <a:pt x="220" y="1066"/>
                      <a:pt x="223" y="1068"/>
                      <a:pt x="225" y="1067"/>
                    </a:cubicBezTo>
                    <a:cubicBezTo>
                      <a:pt x="230" y="1066"/>
                      <a:pt x="235" y="1072"/>
                      <a:pt x="239" y="1073"/>
                    </a:cubicBezTo>
                    <a:cubicBezTo>
                      <a:pt x="245" y="1075"/>
                      <a:pt x="252" y="1073"/>
                      <a:pt x="258" y="1073"/>
                    </a:cubicBezTo>
                    <a:cubicBezTo>
                      <a:pt x="261" y="1073"/>
                      <a:pt x="262" y="1075"/>
                      <a:pt x="265" y="1077"/>
                    </a:cubicBezTo>
                    <a:cubicBezTo>
                      <a:pt x="267" y="1078"/>
                      <a:pt x="269" y="1079"/>
                      <a:pt x="272" y="1080"/>
                    </a:cubicBezTo>
                    <a:cubicBezTo>
                      <a:pt x="274" y="1080"/>
                      <a:pt x="277" y="1081"/>
                      <a:pt x="278" y="1083"/>
                    </a:cubicBezTo>
                    <a:cubicBezTo>
                      <a:pt x="279" y="1086"/>
                      <a:pt x="280" y="1087"/>
                      <a:pt x="283" y="1087"/>
                    </a:cubicBezTo>
                    <a:cubicBezTo>
                      <a:pt x="286" y="1086"/>
                      <a:pt x="287" y="1084"/>
                      <a:pt x="290" y="1084"/>
                    </a:cubicBezTo>
                    <a:cubicBezTo>
                      <a:pt x="291" y="1083"/>
                      <a:pt x="292" y="1084"/>
                      <a:pt x="293" y="1084"/>
                    </a:cubicBezTo>
                    <a:cubicBezTo>
                      <a:pt x="295" y="1085"/>
                      <a:pt x="296" y="1085"/>
                      <a:pt x="298" y="1085"/>
                    </a:cubicBezTo>
                    <a:cubicBezTo>
                      <a:pt x="302" y="1085"/>
                      <a:pt x="307" y="1086"/>
                      <a:pt x="310" y="1089"/>
                    </a:cubicBezTo>
                    <a:cubicBezTo>
                      <a:pt x="311" y="1090"/>
                      <a:pt x="311" y="1092"/>
                      <a:pt x="311" y="1094"/>
                    </a:cubicBezTo>
                    <a:cubicBezTo>
                      <a:pt x="310" y="1096"/>
                      <a:pt x="315" y="1098"/>
                      <a:pt x="317" y="1098"/>
                    </a:cubicBezTo>
                    <a:cubicBezTo>
                      <a:pt x="319" y="1099"/>
                      <a:pt x="321" y="1100"/>
                      <a:pt x="323" y="1100"/>
                    </a:cubicBezTo>
                    <a:cubicBezTo>
                      <a:pt x="325" y="1101"/>
                      <a:pt x="328" y="1101"/>
                      <a:pt x="330" y="1102"/>
                    </a:cubicBezTo>
                    <a:cubicBezTo>
                      <a:pt x="333" y="1104"/>
                      <a:pt x="335" y="1108"/>
                      <a:pt x="338" y="1110"/>
                    </a:cubicBezTo>
                    <a:cubicBezTo>
                      <a:pt x="340" y="1112"/>
                      <a:pt x="345" y="1116"/>
                      <a:pt x="348" y="1114"/>
                    </a:cubicBezTo>
                    <a:cubicBezTo>
                      <a:pt x="351" y="1110"/>
                      <a:pt x="354" y="1107"/>
                      <a:pt x="358" y="1103"/>
                    </a:cubicBezTo>
                    <a:cubicBezTo>
                      <a:pt x="356" y="1102"/>
                      <a:pt x="354" y="1100"/>
                      <a:pt x="353" y="1098"/>
                    </a:cubicBezTo>
                    <a:cubicBezTo>
                      <a:pt x="352" y="1095"/>
                      <a:pt x="352" y="1093"/>
                      <a:pt x="350" y="1090"/>
                    </a:cubicBezTo>
                    <a:cubicBezTo>
                      <a:pt x="349" y="1089"/>
                      <a:pt x="348" y="1089"/>
                      <a:pt x="347" y="1088"/>
                    </a:cubicBezTo>
                    <a:cubicBezTo>
                      <a:pt x="347" y="1087"/>
                      <a:pt x="346" y="1085"/>
                      <a:pt x="345" y="1084"/>
                    </a:cubicBezTo>
                    <a:cubicBezTo>
                      <a:pt x="344" y="1082"/>
                      <a:pt x="341" y="1081"/>
                      <a:pt x="342" y="1078"/>
                    </a:cubicBezTo>
                    <a:cubicBezTo>
                      <a:pt x="343" y="1076"/>
                      <a:pt x="344" y="1073"/>
                      <a:pt x="344" y="1070"/>
                    </a:cubicBezTo>
                    <a:cubicBezTo>
                      <a:pt x="344" y="1069"/>
                      <a:pt x="347" y="1063"/>
                      <a:pt x="344" y="1062"/>
                    </a:cubicBezTo>
                    <a:cubicBezTo>
                      <a:pt x="343" y="1062"/>
                      <a:pt x="342" y="1066"/>
                      <a:pt x="341" y="1067"/>
                    </a:cubicBezTo>
                    <a:cubicBezTo>
                      <a:pt x="341" y="1067"/>
                      <a:pt x="340" y="1069"/>
                      <a:pt x="339" y="1069"/>
                    </a:cubicBezTo>
                    <a:cubicBezTo>
                      <a:pt x="339" y="1068"/>
                      <a:pt x="339" y="1066"/>
                      <a:pt x="339" y="1066"/>
                    </a:cubicBezTo>
                    <a:cubicBezTo>
                      <a:pt x="339" y="1064"/>
                      <a:pt x="340" y="1064"/>
                      <a:pt x="340" y="1062"/>
                    </a:cubicBezTo>
                    <a:cubicBezTo>
                      <a:pt x="340" y="1061"/>
                      <a:pt x="340" y="1060"/>
                      <a:pt x="339" y="1059"/>
                    </a:cubicBezTo>
                    <a:cubicBezTo>
                      <a:pt x="338" y="1056"/>
                      <a:pt x="337" y="1054"/>
                      <a:pt x="335" y="1052"/>
                    </a:cubicBezTo>
                    <a:cubicBezTo>
                      <a:pt x="333" y="1051"/>
                      <a:pt x="332" y="1051"/>
                      <a:pt x="330" y="1051"/>
                    </a:cubicBezTo>
                    <a:cubicBezTo>
                      <a:pt x="328" y="1050"/>
                      <a:pt x="326" y="1049"/>
                      <a:pt x="327" y="1047"/>
                    </a:cubicBezTo>
                    <a:cubicBezTo>
                      <a:pt x="328" y="1045"/>
                      <a:pt x="331" y="1043"/>
                      <a:pt x="332" y="1042"/>
                    </a:cubicBezTo>
                    <a:cubicBezTo>
                      <a:pt x="335" y="1040"/>
                      <a:pt x="336" y="1038"/>
                      <a:pt x="338" y="1035"/>
                    </a:cubicBezTo>
                    <a:cubicBezTo>
                      <a:pt x="339" y="1033"/>
                      <a:pt x="339" y="1030"/>
                      <a:pt x="339" y="1028"/>
                    </a:cubicBezTo>
                    <a:cubicBezTo>
                      <a:pt x="339" y="1027"/>
                      <a:pt x="339" y="1025"/>
                      <a:pt x="340" y="1025"/>
                    </a:cubicBezTo>
                    <a:cubicBezTo>
                      <a:pt x="341" y="1025"/>
                      <a:pt x="342" y="1026"/>
                      <a:pt x="342" y="1025"/>
                    </a:cubicBezTo>
                    <a:cubicBezTo>
                      <a:pt x="343" y="1024"/>
                      <a:pt x="341" y="1022"/>
                      <a:pt x="343" y="1021"/>
                    </a:cubicBezTo>
                    <a:cubicBezTo>
                      <a:pt x="344" y="1021"/>
                      <a:pt x="345" y="1021"/>
                      <a:pt x="346" y="1022"/>
                    </a:cubicBezTo>
                    <a:cubicBezTo>
                      <a:pt x="347" y="1022"/>
                      <a:pt x="349" y="1023"/>
                      <a:pt x="350" y="1023"/>
                    </a:cubicBezTo>
                    <a:cubicBezTo>
                      <a:pt x="352" y="1023"/>
                      <a:pt x="355" y="1023"/>
                      <a:pt x="357" y="1020"/>
                    </a:cubicBezTo>
                    <a:cubicBezTo>
                      <a:pt x="357" y="1020"/>
                      <a:pt x="358" y="1018"/>
                      <a:pt x="358" y="1018"/>
                    </a:cubicBezTo>
                    <a:cubicBezTo>
                      <a:pt x="359" y="1018"/>
                      <a:pt x="360" y="1019"/>
                      <a:pt x="361" y="1019"/>
                    </a:cubicBezTo>
                    <a:cubicBezTo>
                      <a:pt x="363" y="1020"/>
                      <a:pt x="362" y="1017"/>
                      <a:pt x="362" y="1016"/>
                    </a:cubicBezTo>
                    <a:cubicBezTo>
                      <a:pt x="362" y="1013"/>
                      <a:pt x="366" y="1015"/>
                      <a:pt x="368" y="1015"/>
                    </a:cubicBezTo>
                    <a:cubicBezTo>
                      <a:pt x="369" y="1014"/>
                      <a:pt x="371" y="1012"/>
                      <a:pt x="370" y="1011"/>
                    </a:cubicBezTo>
                    <a:cubicBezTo>
                      <a:pt x="367" y="1010"/>
                      <a:pt x="365" y="1009"/>
                      <a:pt x="362" y="1007"/>
                    </a:cubicBezTo>
                    <a:cubicBezTo>
                      <a:pt x="361" y="1006"/>
                      <a:pt x="359" y="1003"/>
                      <a:pt x="360" y="1001"/>
                    </a:cubicBezTo>
                    <a:cubicBezTo>
                      <a:pt x="361" y="1000"/>
                      <a:pt x="364" y="1000"/>
                      <a:pt x="365" y="999"/>
                    </a:cubicBezTo>
                    <a:cubicBezTo>
                      <a:pt x="365" y="997"/>
                      <a:pt x="362" y="995"/>
                      <a:pt x="360" y="993"/>
                    </a:cubicBezTo>
                    <a:cubicBezTo>
                      <a:pt x="359" y="991"/>
                      <a:pt x="357" y="988"/>
                      <a:pt x="355" y="986"/>
                    </a:cubicBezTo>
                    <a:cubicBezTo>
                      <a:pt x="354" y="984"/>
                      <a:pt x="353" y="981"/>
                      <a:pt x="351" y="981"/>
                    </a:cubicBezTo>
                    <a:cubicBezTo>
                      <a:pt x="348" y="980"/>
                      <a:pt x="346" y="981"/>
                      <a:pt x="343" y="981"/>
                    </a:cubicBezTo>
                    <a:cubicBezTo>
                      <a:pt x="342" y="981"/>
                      <a:pt x="339" y="982"/>
                      <a:pt x="338" y="981"/>
                    </a:cubicBezTo>
                    <a:cubicBezTo>
                      <a:pt x="335" y="979"/>
                      <a:pt x="335" y="977"/>
                      <a:pt x="334" y="974"/>
                    </a:cubicBezTo>
                    <a:cubicBezTo>
                      <a:pt x="334" y="972"/>
                      <a:pt x="333" y="970"/>
                      <a:pt x="331" y="969"/>
                    </a:cubicBezTo>
                    <a:cubicBezTo>
                      <a:pt x="329" y="968"/>
                      <a:pt x="326" y="967"/>
                      <a:pt x="325" y="964"/>
                    </a:cubicBezTo>
                    <a:cubicBezTo>
                      <a:pt x="323" y="959"/>
                      <a:pt x="328" y="955"/>
                      <a:pt x="330" y="952"/>
                    </a:cubicBezTo>
                    <a:cubicBezTo>
                      <a:pt x="331" y="951"/>
                      <a:pt x="331" y="950"/>
                      <a:pt x="331" y="949"/>
                    </a:cubicBezTo>
                    <a:cubicBezTo>
                      <a:pt x="331" y="948"/>
                      <a:pt x="331" y="947"/>
                      <a:pt x="330" y="946"/>
                    </a:cubicBezTo>
                    <a:cubicBezTo>
                      <a:pt x="330" y="944"/>
                      <a:pt x="330" y="941"/>
                      <a:pt x="330" y="938"/>
                    </a:cubicBezTo>
                    <a:cubicBezTo>
                      <a:pt x="331" y="937"/>
                      <a:pt x="331" y="935"/>
                      <a:pt x="331" y="933"/>
                    </a:cubicBezTo>
                    <a:cubicBezTo>
                      <a:pt x="332" y="931"/>
                      <a:pt x="335" y="931"/>
                      <a:pt x="336" y="929"/>
                    </a:cubicBezTo>
                    <a:cubicBezTo>
                      <a:pt x="338" y="927"/>
                      <a:pt x="337" y="925"/>
                      <a:pt x="338" y="923"/>
                    </a:cubicBezTo>
                    <a:cubicBezTo>
                      <a:pt x="339" y="921"/>
                      <a:pt x="341" y="920"/>
                      <a:pt x="343" y="920"/>
                    </a:cubicBezTo>
                    <a:cubicBezTo>
                      <a:pt x="348" y="919"/>
                      <a:pt x="352" y="925"/>
                      <a:pt x="354" y="928"/>
                    </a:cubicBezTo>
                    <a:cubicBezTo>
                      <a:pt x="356" y="930"/>
                      <a:pt x="357" y="933"/>
                      <a:pt x="359" y="932"/>
                    </a:cubicBezTo>
                    <a:cubicBezTo>
                      <a:pt x="362" y="931"/>
                      <a:pt x="364" y="929"/>
                      <a:pt x="363" y="926"/>
                    </a:cubicBezTo>
                    <a:cubicBezTo>
                      <a:pt x="362" y="922"/>
                      <a:pt x="357" y="915"/>
                      <a:pt x="363" y="913"/>
                    </a:cubicBezTo>
                    <a:cubicBezTo>
                      <a:pt x="366" y="912"/>
                      <a:pt x="368" y="912"/>
                      <a:pt x="371" y="911"/>
                    </a:cubicBezTo>
                    <a:cubicBezTo>
                      <a:pt x="373" y="910"/>
                      <a:pt x="372" y="907"/>
                      <a:pt x="374" y="906"/>
                    </a:cubicBezTo>
                    <a:cubicBezTo>
                      <a:pt x="376" y="904"/>
                      <a:pt x="379" y="904"/>
                      <a:pt x="381" y="903"/>
                    </a:cubicBezTo>
                    <a:cubicBezTo>
                      <a:pt x="384" y="902"/>
                      <a:pt x="386" y="900"/>
                      <a:pt x="388" y="898"/>
                    </a:cubicBezTo>
                    <a:cubicBezTo>
                      <a:pt x="389" y="897"/>
                      <a:pt x="390" y="896"/>
                      <a:pt x="392" y="895"/>
                    </a:cubicBezTo>
                    <a:cubicBezTo>
                      <a:pt x="393" y="895"/>
                      <a:pt x="394" y="895"/>
                      <a:pt x="395" y="894"/>
                    </a:cubicBezTo>
                    <a:cubicBezTo>
                      <a:pt x="396" y="892"/>
                      <a:pt x="395" y="889"/>
                      <a:pt x="399" y="889"/>
                    </a:cubicBezTo>
                    <a:cubicBezTo>
                      <a:pt x="401" y="889"/>
                      <a:pt x="404" y="891"/>
                      <a:pt x="406" y="892"/>
                    </a:cubicBezTo>
                    <a:cubicBezTo>
                      <a:pt x="408" y="893"/>
                      <a:pt x="411" y="896"/>
                      <a:pt x="413" y="895"/>
                    </a:cubicBezTo>
                    <a:cubicBezTo>
                      <a:pt x="415" y="894"/>
                      <a:pt x="416" y="891"/>
                      <a:pt x="418" y="890"/>
                    </a:cubicBezTo>
                    <a:cubicBezTo>
                      <a:pt x="420" y="889"/>
                      <a:pt x="422" y="889"/>
                      <a:pt x="424" y="889"/>
                    </a:cubicBezTo>
                    <a:cubicBezTo>
                      <a:pt x="426" y="890"/>
                      <a:pt x="427" y="891"/>
                      <a:pt x="428" y="893"/>
                    </a:cubicBezTo>
                    <a:cubicBezTo>
                      <a:pt x="429" y="896"/>
                      <a:pt x="431" y="896"/>
                      <a:pt x="434" y="895"/>
                    </a:cubicBezTo>
                    <a:cubicBezTo>
                      <a:pt x="437" y="895"/>
                      <a:pt x="440" y="894"/>
                      <a:pt x="443" y="895"/>
                    </a:cubicBezTo>
                    <a:cubicBezTo>
                      <a:pt x="445" y="896"/>
                      <a:pt x="448" y="898"/>
                      <a:pt x="450" y="900"/>
                    </a:cubicBezTo>
                    <a:cubicBezTo>
                      <a:pt x="452" y="902"/>
                      <a:pt x="454" y="904"/>
                      <a:pt x="456" y="907"/>
                    </a:cubicBezTo>
                    <a:cubicBezTo>
                      <a:pt x="457" y="908"/>
                      <a:pt x="458" y="909"/>
                      <a:pt x="459" y="910"/>
                    </a:cubicBezTo>
                    <a:cubicBezTo>
                      <a:pt x="459" y="911"/>
                      <a:pt x="460" y="912"/>
                      <a:pt x="461" y="913"/>
                    </a:cubicBezTo>
                    <a:cubicBezTo>
                      <a:pt x="463" y="914"/>
                      <a:pt x="462" y="911"/>
                      <a:pt x="462" y="910"/>
                    </a:cubicBezTo>
                    <a:cubicBezTo>
                      <a:pt x="462" y="908"/>
                      <a:pt x="463" y="906"/>
                      <a:pt x="466" y="906"/>
                    </a:cubicBezTo>
                    <a:cubicBezTo>
                      <a:pt x="471" y="907"/>
                      <a:pt x="475" y="912"/>
                      <a:pt x="479" y="915"/>
                    </a:cubicBezTo>
                    <a:cubicBezTo>
                      <a:pt x="482" y="917"/>
                      <a:pt x="483" y="915"/>
                      <a:pt x="485" y="913"/>
                    </a:cubicBezTo>
                    <a:cubicBezTo>
                      <a:pt x="487" y="912"/>
                      <a:pt x="490" y="911"/>
                      <a:pt x="491" y="908"/>
                    </a:cubicBezTo>
                    <a:cubicBezTo>
                      <a:pt x="493" y="906"/>
                      <a:pt x="495" y="906"/>
                      <a:pt x="497" y="905"/>
                    </a:cubicBezTo>
                    <a:cubicBezTo>
                      <a:pt x="500" y="905"/>
                      <a:pt x="502" y="904"/>
                      <a:pt x="505" y="905"/>
                    </a:cubicBezTo>
                    <a:cubicBezTo>
                      <a:pt x="507" y="905"/>
                      <a:pt x="509" y="906"/>
                      <a:pt x="511" y="908"/>
                    </a:cubicBezTo>
                    <a:cubicBezTo>
                      <a:pt x="511" y="908"/>
                      <a:pt x="512" y="909"/>
                      <a:pt x="513" y="909"/>
                    </a:cubicBezTo>
                    <a:cubicBezTo>
                      <a:pt x="514" y="909"/>
                      <a:pt x="514" y="907"/>
                      <a:pt x="515" y="906"/>
                    </a:cubicBezTo>
                    <a:cubicBezTo>
                      <a:pt x="518" y="903"/>
                      <a:pt x="524" y="904"/>
                      <a:pt x="528" y="906"/>
                    </a:cubicBezTo>
                    <a:cubicBezTo>
                      <a:pt x="530" y="907"/>
                      <a:pt x="531" y="908"/>
                      <a:pt x="532" y="911"/>
                    </a:cubicBezTo>
                    <a:cubicBezTo>
                      <a:pt x="533" y="913"/>
                      <a:pt x="536" y="914"/>
                      <a:pt x="538" y="914"/>
                    </a:cubicBezTo>
                    <a:cubicBezTo>
                      <a:pt x="541" y="915"/>
                      <a:pt x="543" y="915"/>
                      <a:pt x="545" y="916"/>
                    </a:cubicBezTo>
                    <a:cubicBezTo>
                      <a:pt x="548" y="917"/>
                      <a:pt x="550" y="916"/>
                      <a:pt x="551" y="914"/>
                    </a:cubicBezTo>
                    <a:cubicBezTo>
                      <a:pt x="554" y="909"/>
                      <a:pt x="560" y="912"/>
                      <a:pt x="564" y="913"/>
                    </a:cubicBezTo>
                    <a:cubicBezTo>
                      <a:pt x="566" y="914"/>
                      <a:pt x="569" y="913"/>
                      <a:pt x="572" y="913"/>
                    </a:cubicBezTo>
                    <a:cubicBezTo>
                      <a:pt x="574" y="912"/>
                      <a:pt x="577" y="911"/>
                      <a:pt x="578" y="909"/>
                    </a:cubicBezTo>
                    <a:cubicBezTo>
                      <a:pt x="579" y="907"/>
                      <a:pt x="580" y="905"/>
                      <a:pt x="581" y="902"/>
                    </a:cubicBezTo>
                    <a:cubicBezTo>
                      <a:pt x="581" y="901"/>
                      <a:pt x="578" y="900"/>
                      <a:pt x="577" y="900"/>
                    </a:cubicBezTo>
                    <a:cubicBezTo>
                      <a:pt x="572" y="898"/>
                      <a:pt x="567" y="895"/>
                      <a:pt x="562" y="893"/>
                    </a:cubicBezTo>
                    <a:cubicBezTo>
                      <a:pt x="560" y="891"/>
                      <a:pt x="557" y="890"/>
                      <a:pt x="555" y="888"/>
                    </a:cubicBezTo>
                    <a:cubicBezTo>
                      <a:pt x="553" y="886"/>
                      <a:pt x="554" y="884"/>
                      <a:pt x="557" y="883"/>
                    </a:cubicBezTo>
                    <a:cubicBezTo>
                      <a:pt x="559" y="882"/>
                      <a:pt x="561" y="881"/>
                      <a:pt x="563" y="881"/>
                    </a:cubicBezTo>
                    <a:cubicBezTo>
                      <a:pt x="565" y="880"/>
                      <a:pt x="568" y="879"/>
                      <a:pt x="569" y="877"/>
                    </a:cubicBezTo>
                    <a:cubicBezTo>
                      <a:pt x="569" y="875"/>
                      <a:pt x="567" y="873"/>
                      <a:pt x="566" y="870"/>
                    </a:cubicBezTo>
                    <a:cubicBezTo>
                      <a:pt x="566" y="868"/>
                      <a:pt x="568" y="865"/>
                      <a:pt x="570" y="864"/>
                    </a:cubicBezTo>
                    <a:cubicBezTo>
                      <a:pt x="575" y="860"/>
                      <a:pt x="581" y="862"/>
                      <a:pt x="587" y="862"/>
                    </a:cubicBezTo>
                    <a:cubicBezTo>
                      <a:pt x="589" y="862"/>
                      <a:pt x="588" y="861"/>
                      <a:pt x="586" y="861"/>
                    </a:cubicBezTo>
                    <a:cubicBezTo>
                      <a:pt x="584" y="860"/>
                      <a:pt x="582" y="859"/>
                      <a:pt x="579" y="858"/>
                    </a:cubicBezTo>
                    <a:cubicBezTo>
                      <a:pt x="578" y="857"/>
                      <a:pt x="574" y="857"/>
                      <a:pt x="574" y="855"/>
                    </a:cubicBezTo>
                    <a:cubicBezTo>
                      <a:pt x="573" y="852"/>
                      <a:pt x="577" y="852"/>
                      <a:pt x="577" y="850"/>
                    </a:cubicBezTo>
                    <a:cubicBezTo>
                      <a:pt x="576" y="849"/>
                      <a:pt x="574" y="850"/>
                      <a:pt x="572" y="849"/>
                    </a:cubicBezTo>
                    <a:cubicBezTo>
                      <a:pt x="570" y="847"/>
                      <a:pt x="570" y="845"/>
                      <a:pt x="572" y="844"/>
                    </a:cubicBezTo>
                    <a:cubicBezTo>
                      <a:pt x="573" y="844"/>
                      <a:pt x="572" y="843"/>
                      <a:pt x="572" y="843"/>
                    </a:cubicBezTo>
                    <a:cubicBezTo>
                      <a:pt x="571" y="842"/>
                      <a:pt x="571" y="841"/>
                      <a:pt x="571" y="840"/>
                    </a:cubicBezTo>
                    <a:cubicBezTo>
                      <a:pt x="572" y="838"/>
                      <a:pt x="574" y="838"/>
                      <a:pt x="575" y="837"/>
                    </a:cubicBezTo>
                    <a:cubicBezTo>
                      <a:pt x="577" y="836"/>
                      <a:pt x="580" y="836"/>
                      <a:pt x="582" y="837"/>
                    </a:cubicBezTo>
                    <a:cubicBezTo>
                      <a:pt x="584" y="838"/>
                      <a:pt x="586" y="837"/>
                      <a:pt x="588" y="837"/>
                    </a:cubicBezTo>
                    <a:cubicBezTo>
                      <a:pt x="591" y="837"/>
                      <a:pt x="596" y="836"/>
                      <a:pt x="597" y="840"/>
                    </a:cubicBezTo>
                    <a:cubicBezTo>
                      <a:pt x="599" y="838"/>
                      <a:pt x="599" y="836"/>
                      <a:pt x="601" y="835"/>
                    </a:cubicBezTo>
                    <a:cubicBezTo>
                      <a:pt x="604" y="835"/>
                      <a:pt x="607" y="834"/>
                      <a:pt x="610" y="834"/>
                    </a:cubicBezTo>
                    <a:cubicBezTo>
                      <a:pt x="613" y="833"/>
                      <a:pt x="616" y="833"/>
                      <a:pt x="619" y="832"/>
                    </a:cubicBezTo>
                    <a:cubicBezTo>
                      <a:pt x="622" y="831"/>
                      <a:pt x="625" y="830"/>
                      <a:pt x="628" y="830"/>
                    </a:cubicBezTo>
                    <a:cubicBezTo>
                      <a:pt x="632" y="829"/>
                      <a:pt x="636" y="831"/>
                      <a:pt x="640" y="830"/>
                    </a:cubicBezTo>
                    <a:cubicBezTo>
                      <a:pt x="642" y="830"/>
                      <a:pt x="642" y="828"/>
                      <a:pt x="642" y="827"/>
                    </a:cubicBezTo>
                    <a:cubicBezTo>
                      <a:pt x="642" y="825"/>
                      <a:pt x="644" y="824"/>
                      <a:pt x="646" y="823"/>
                    </a:cubicBezTo>
                    <a:cubicBezTo>
                      <a:pt x="652" y="822"/>
                      <a:pt x="657" y="823"/>
                      <a:pt x="663" y="822"/>
                    </a:cubicBezTo>
                    <a:cubicBezTo>
                      <a:pt x="669" y="820"/>
                      <a:pt x="675" y="818"/>
                      <a:pt x="681" y="817"/>
                    </a:cubicBezTo>
                    <a:cubicBezTo>
                      <a:pt x="687" y="815"/>
                      <a:pt x="693" y="815"/>
                      <a:pt x="697" y="811"/>
                    </a:cubicBezTo>
                    <a:cubicBezTo>
                      <a:pt x="699" y="810"/>
                      <a:pt x="701" y="808"/>
                      <a:pt x="703" y="806"/>
                    </a:cubicBezTo>
                    <a:cubicBezTo>
                      <a:pt x="704" y="806"/>
                      <a:pt x="706" y="806"/>
                      <a:pt x="707" y="806"/>
                    </a:cubicBezTo>
                    <a:cubicBezTo>
                      <a:pt x="709" y="806"/>
                      <a:pt x="711" y="806"/>
                      <a:pt x="712" y="806"/>
                    </a:cubicBezTo>
                    <a:cubicBezTo>
                      <a:pt x="715" y="806"/>
                      <a:pt x="718" y="806"/>
                      <a:pt x="721" y="807"/>
                    </a:cubicBezTo>
                    <a:cubicBezTo>
                      <a:pt x="722" y="807"/>
                      <a:pt x="723" y="808"/>
                      <a:pt x="725" y="809"/>
                    </a:cubicBezTo>
                    <a:cubicBezTo>
                      <a:pt x="725" y="810"/>
                      <a:pt x="727" y="811"/>
                      <a:pt x="728" y="811"/>
                    </a:cubicBezTo>
                    <a:cubicBezTo>
                      <a:pt x="730" y="810"/>
                      <a:pt x="730" y="808"/>
                      <a:pt x="732" y="807"/>
                    </a:cubicBezTo>
                    <a:cubicBezTo>
                      <a:pt x="734" y="807"/>
                      <a:pt x="737" y="807"/>
                      <a:pt x="739" y="808"/>
                    </a:cubicBezTo>
                    <a:cubicBezTo>
                      <a:pt x="741" y="809"/>
                      <a:pt x="742" y="811"/>
                      <a:pt x="743" y="814"/>
                    </a:cubicBezTo>
                    <a:cubicBezTo>
                      <a:pt x="744" y="816"/>
                      <a:pt x="745" y="818"/>
                      <a:pt x="746" y="820"/>
                    </a:cubicBezTo>
                    <a:cubicBezTo>
                      <a:pt x="746" y="822"/>
                      <a:pt x="746" y="823"/>
                      <a:pt x="746" y="824"/>
                    </a:cubicBezTo>
                    <a:cubicBezTo>
                      <a:pt x="745" y="825"/>
                      <a:pt x="745" y="826"/>
                      <a:pt x="745" y="828"/>
                    </a:cubicBezTo>
                    <a:cubicBezTo>
                      <a:pt x="745" y="829"/>
                      <a:pt x="745" y="830"/>
                      <a:pt x="745" y="831"/>
                    </a:cubicBezTo>
                    <a:cubicBezTo>
                      <a:pt x="744" y="832"/>
                      <a:pt x="744" y="833"/>
                      <a:pt x="745" y="834"/>
                    </a:cubicBezTo>
                    <a:cubicBezTo>
                      <a:pt x="747" y="835"/>
                      <a:pt x="751" y="834"/>
                      <a:pt x="753" y="834"/>
                    </a:cubicBezTo>
                    <a:cubicBezTo>
                      <a:pt x="756" y="834"/>
                      <a:pt x="759" y="832"/>
                      <a:pt x="762" y="833"/>
                    </a:cubicBezTo>
                    <a:cubicBezTo>
                      <a:pt x="764" y="833"/>
                      <a:pt x="764" y="835"/>
                      <a:pt x="765" y="836"/>
                    </a:cubicBezTo>
                    <a:cubicBezTo>
                      <a:pt x="766" y="836"/>
                      <a:pt x="766" y="837"/>
                      <a:pt x="766" y="837"/>
                    </a:cubicBezTo>
                    <a:cubicBezTo>
                      <a:pt x="768" y="837"/>
                      <a:pt x="769" y="836"/>
                      <a:pt x="770" y="836"/>
                    </a:cubicBezTo>
                    <a:cubicBezTo>
                      <a:pt x="773" y="835"/>
                      <a:pt x="776" y="837"/>
                      <a:pt x="778" y="837"/>
                    </a:cubicBezTo>
                    <a:cubicBezTo>
                      <a:pt x="780" y="837"/>
                      <a:pt x="782" y="837"/>
                      <a:pt x="784" y="836"/>
                    </a:cubicBezTo>
                    <a:cubicBezTo>
                      <a:pt x="785" y="836"/>
                      <a:pt x="787" y="836"/>
                      <a:pt x="788" y="837"/>
                    </a:cubicBezTo>
                    <a:cubicBezTo>
                      <a:pt x="790" y="837"/>
                      <a:pt x="788" y="840"/>
                      <a:pt x="788" y="841"/>
                    </a:cubicBezTo>
                    <a:cubicBezTo>
                      <a:pt x="786" y="842"/>
                      <a:pt x="784" y="844"/>
                      <a:pt x="783" y="845"/>
                    </a:cubicBezTo>
                    <a:cubicBezTo>
                      <a:pt x="781" y="847"/>
                      <a:pt x="781" y="850"/>
                      <a:pt x="784" y="851"/>
                    </a:cubicBezTo>
                    <a:cubicBezTo>
                      <a:pt x="786" y="852"/>
                      <a:pt x="787" y="849"/>
                      <a:pt x="789" y="848"/>
                    </a:cubicBezTo>
                    <a:cubicBezTo>
                      <a:pt x="791" y="847"/>
                      <a:pt x="793" y="848"/>
                      <a:pt x="795" y="850"/>
                    </a:cubicBezTo>
                    <a:cubicBezTo>
                      <a:pt x="797" y="851"/>
                      <a:pt x="798" y="850"/>
                      <a:pt x="798" y="848"/>
                    </a:cubicBezTo>
                    <a:cubicBezTo>
                      <a:pt x="798" y="845"/>
                      <a:pt x="801" y="844"/>
                      <a:pt x="804" y="843"/>
                    </a:cubicBezTo>
                    <a:cubicBezTo>
                      <a:pt x="809" y="840"/>
                      <a:pt x="815" y="838"/>
                      <a:pt x="821" y="835"/>
                    </a:cubicBezTo>
                    <a:cubicBezTo>
                      <a:pt x="827" y="832"/>
                      <a:pt x="832" y="829"/>
                      <a:pt x="838" y="827"/>
                    </a:cubicBezTo>
                    <a:cubicBezTo>
                      <a:pt x="840" y="826"/>
                      <a:pt x="843" y="824"/>
                      <a:pt x="843" y="827"/>
                    </a:cubicBezTo>
                    <a:cubicBezTo>
                      <a:pt x="844" y="829"/>
                      <a:pt x="842" y="831"/>
                      <a:pt x="841" y="832"/>
                    </a:cubicBezTo>
                    <a:cubicBezTo>
                      <a:pt x="840" y="833"/>
                      <a:pt x="838" y="835"/>
                      <a:pt x="838" y="837"/>
                    </a:cubicBezTo>
                    <a:cubicBezTo>
                      <a:pt x="838" y="838"/>
                      <a:pt x="839" y="839"/>
                      <a:pt x="840" y="839"/>
                    </a:cubicBezTo>
                    <a:cubicBezTo>
                      <a:pt x="841" y="840"/>
                      <a:pt x="843" y="841"/>
                      <a:pt x="844" y="842"/>
                    </a:cubicBezTo>
                    <a:cubicBezTo>
                      <a:pt x="849" y="846"/>
                      <a:pt x="854" y="850"/>
                      <a:pt x="858" y="854"/>
                    </a:cubicBezTo>
                    <a:cubicBezTo>
                      <a:pt x="863" y="859"/>
                      <a:pt x="866" y="864"/>
                      <a:pt x="870" y="869"/>
                    </a:cubicBezTo>
                    <a:cubicBezTo>
                      <a:pt x="873" y="874"/>
                      <a:pt x="877" y="879"/>
                      <a:pt x="880" y="885"/>
                    </a:cubicBezTo>
                    <a:cubicBezTo>
                      <a:pt x="883" y="890"/>
                      <a:pt x="887" y="896"/>
                      <a:pt x="890" y="901"/>
                    </a:cubicBezTo>
                    <a:cubicBezTo>
                      <a:pt x="892" y="903"/>
                      <a:pt x="893" y="906"/>
                      <a:pt x="894" y="908"/>
                    </a:cubicBezTo>
                    <a:cubicBezTo>
                      <a:pt x="895" y="909"/>
                      <a:pt x="895" y="911"/>
                      <a:pt x="896" y="911"/>
                    </a:cubicBezTo>
                    <a:cubicBezTo>
                      <a:pt x="898" y="911"/>
                      <a:pt x="899" y="910"/>
                      <a:pt x="899" y="909"/>
                    </a:cubicBezTo>
                    <a:cubicBezTo>
                      <a:pt x="901" y="907"/>
                      <a:pt x="901" y="906"/>
                      <a:pt x="902" y="904"/>
                    </a:cubicBezTo>
                    <a:cubicBezTo>
                      <a:pt x="903" y="902"/>
                      <a:pt x="905" y="900"/>
                      <a:pt x="907" y="900"/>
                    </a:cubicBezTo>
                    <a:cubicBezTo>
                      <a:pt x="909" y="900"/>
                      <a:pt x="911" y="900"/>
                      <a:pt x="912" y="902"/>
                    </a:cubicBezTo>
                    <a:cubicBezTo>
                      <a:pt x="915" y="904"/>
                      <a:pt x="914" y="906"/>
                      <a:pt x="915" y="909"/>
                    </a:cubicBezTo>
                    <a:cubicBezTo>
                      <a:pt x="915" y="911"/>
                      <a:pt x="918" y="912"/>
                      <a:pt x="920" y="912"/>
                    </a:cubicBezTo>
                    <a:cubicBezTo>
                      <a:pt x="921" y="913"/>
                      <a:pt x="922" y="912"/>
                      <a:pt x="923" y="912"/>
                    </a:cubicBezTo>
                    <a:cubicBezTo>
                      <a:pt x="925" y="911"/>
                      <a:pt x="926" y="911"/>
                      <a:pt x="928" y="911"/>
                    </a:cubicBezTo>
                    <a:cubicBezTo>
                      <a:pt x="931" y="911"/>
                      <a:pt x="934" y="912"/>
                      <a:pt x="937" y="912"/>
                    </a:cubicBezTo>
                    <a:cubicBezTo>
                      <a:pt x="939" y="911"/>
                      <a:pt x="941" y="909"/>
                      <a:pt x="943" y="908"/>
                    </a:cubicBezTo>
                    <a:cubicBezTo>
                      <a:pt x="947" y="906"/>
                      <a:pt x="953" y="907"/>
                      <a:pt x="957" y="908"/>
                    </a:cubicBezTo>
                    <a:cubicBezTo>
                      <a:pt x="960" y="909"/>
                      <a:pt x="962" y="910"/>
                      <a:pt x="963" y="913"/>
                    </a:cubicBezTo>
                    <a:cubicBezTo>
                      <a:pt x="965" y="915"/>
                      <a:pt x="966" y="918"/>
                      <a:pt x="967" y="921"/>
                    </a:cubicBezTo>
                    <a:cubicBezTo>
                      <a:pt x="968" y="923"/>
                      <a:pt x="970" y="923"/>
                      <a:pt x="972" y="924"/>
                    </a:cubicBezTo>
                    <a:cubicBezTo>
                      <a:pt x="975" y="925"/>
                      <a:pt x="978" y="926"/>
                      <a:pt x="979" y="928"/>
                    </a:cubicBezTo>
                    <a:cubicBezTo>
                      <a:pt x="981" y="930"/>
                      <a:pt x="981" y="933"/>
                      <a:pt x="982" y="935"/>
                    </a:cubicBezTo>
                    <a:cubicBezTo>
                      <a:pt x="984" y="937"/>
                      <a:pt x="985" y="938"/>
                      <a:pt x="988" y="938"/>
                    </a:cubicBezTo>
                    <a:cubicBezTo>
                      <a:pt x="991" y="939"/>
                      <a:pt x="994" y="939"/>
                      <a:pt x="996" y="940"/>
                    </a:cubicBezTo>
                    <a:cubicBezTo>
                      <a:pt x="999" y="940"/>
                      <a:pt x="1001" y="938"/>
                      <a:pt x="1003" y="936"/>
                    </a:cubicBezTo>
                    <a:cubicBezTo>
                      <a:pt x="1004" y="935"/>
                      <a:pt x="1006" y="932"/>
                      <a:pt x="1008" y="933"/>
                    </a:cubicBezTo>
                    <a:cubicBezTo>
                      <a:pt x="1010" y="935"/>
                      <a:pt x="1009" y="937"/>
                      <a:pt x="1009" y="939"/>
                    </a:cubicBezTo>
                    <a:cubicBezTo>
                      <a:pt x="1010" y="942"/>
                      <a:pt x="1012" y="943"/>
                      <a:pt x="1014" y="944"/>
                    </a:cubicBezTo>
                    <a:cubicBezTo>
                      <a:pt x="1015" y="945"/>
                      <a:pt x="1016" y="946"/>
                      <a:pt x="1017" y="946"/>
                    </a:cubicBezTo>
                    <a:cubicBezTo>
                      <a:pt x="1018" y="947"/>
                      <a:pt x="1018" y="948"/>
                      <a:pt x="1019" y="949"/>
                    </a:cubicBezTo>
                    <a:cubicBezTo>
                      <a:pt x="1022" y="949"/>
                      <a:pt x="1024" y="949"/>
                      <a:pt x="1027" y="948"/>
                    </a:cubicBezTo>
                    <a:cubicBezTo>
                      <a:pt x="1029" y="948"/>
                      <a:pt x="1031" y="946"/>
                      <a:pt x="1032" y="944"/>
                    </a:cubicBezTo>
                    <a:cubicBezTo>
                      <a:pt x="1032" y="943"/>
                      <a:pt x="1032" y="942"/>
                      <a:pt x="1033" y="941"/>
                    </a:cubicBezTo>
                    <a:cubicBezTo>
                      <a:pt x="1034" y="941"/>
                      <a:pt x="1035" y="941"/>
                      <a:pt x="1036" y="940"/>
                    </a:cubicBezTo>
                    <a:cubicBezTo>
                      <a:pt x="1039" y="940"/>
                      <a:pt x="1042" y="940"/>
                      <a:pt x="1045" y="940"/>
                    </a:cubicBezTo>
                    <a:cubicBezTo>
                      <a:pt x="1048" y="940"/>
                      <a:pt x="1050" y="939"/>
                      <a:pt x="1053" y="937"/>
                    </a:cubicBezTo>
                    <a:cubicBezTo>
                      <a:pt x="1054" y="937"/>
                      <a:pt x="1055" y="936"/>
                      <a:pt x="1056" y="936"/>
                    </a:cubicBezTo>
                    <a:cubicBezTo>
                      <a:pt x="1057" y="935"/>
                      <a:pt x="1057" y="935"/>
                      <a:pt x="1058" y="933"/>
                    </a:cubicBezTo>
                    <a:cubicBezTo>
                      <a:pt x="1058" y="931"/>
                      <a:pt x="1061" y="930"/>
                      <a:pt x="1063" y="929"/>
                    </a:cubicBezTo>
                    <a:cubicBezTo>
                      <a:pt x="1066" y="927"/>
                      <a:pt x="1069" y="926"/>
                      <a:pt x="1072" y="925"/>
                    </a:cubicBezTo>
                    <a:cubicBezTo>
                      <a:pt x="1077" y="922"/>
                      <a:pt x="1083" y="919"/>
                      <a:pt x="1089" y="916"/>
                    </a:cubicBezTo>
                    <a:cubicBezTo>
                      <a:pt x="1090" y="915"/>
                      <a:pt x="1091" y="915"/>
                      <a:pt x="1093" y="915"/>
                    </a:cubicBezTo>
                    <a:cubicBezTo>
                      <a:pt x="1094" y="914"/>
                      <a:pt x="1095" y="915"/>
                      <a:pt x="1097" y="915"/>
                    </a:cubicBezTo>
                    <a:cubicBezTo>
                      <a:pt x="1100" y="915"/>
                      <a:pt x="1102" y="913"/>
                      <a:pt x="1104" y="911"/>
                    </a:cubicBezTo>
                    <a:cubicBezTo>
                      <a:pt x="1108" y="907"/>
                      <a:pt x="1114" y="910"/>
                      <a:pt x="1118" y="913"/>
                    </a:cubicBezTo>
                    <a:cubicBezTo>
                      <a:pt x="1120" y="914"/>
                      <a:pt x="1123" y="915"/>
                      <a:pt x="1125" y="915"/>
                    </a:cubicBezTo>
                    <a:cubicBezTo>
                      <a:pt x="1128" y="916"/>
                      <a:pt x="1132" y="915"/>
                      <a:pt x="1135" y="916"/>
                    </a:cubicBezTo>
                    <a:cubicBezTo>
                      <a:pt x="1139" y="916"/>
                      <a:pt x="1140" y="922"/>
                      <a:pt x="1141" y="926"/>
                    </a:cubicBezTo>
                    <a:cubicBezTo>
                      <a:pt x="1142" y="928"/>
                      <a:pt x="1144" y="928"/>
                      <a:pt x="1147" y="929"/>
                    </a:cubicBezTo>
                    <a:cubicBezTo>
                      <a:pt x="1150" y="929"/>
                      <a:pt x="1152" y="930"/>
                      <a:pt x="1155" y="930"/>
                    </a:cubicBezTo>
                    <a:cubicBezTo>
                      <a:pt x="1156" y="931"/>
                      <a:pt x="1157" y="931"/>
                      <a:pt x="1158" y="931"/>
                    </a:cubicBezTo>
                    <a:cubicBezTo>
                      <a:pt x="1159" y="930"/>
                      <a:pt x="1160" y="929"/>
                      <a:pt x="1161" y="929"/>
                    </a:cubicBezTo>
                    <a:cubicBezTo>
                      <a:pt x="1163" y="927"/>
                      <a:pt x="1166" y="928"/>
                      <a:pt x="1168" y="928"/>
                    </a:cubicBezTo>
                    <a:cubicBezTo>
                      <a:pt x="1174" y="929"/>
                      <a:pt x="1179" y="932"/>
                      <a:pt x="1185" y="933"/>
                    </a:cubicBezTo>
                    <a:cubicBezTo>
                      <a:pt x="1187" y="933"/>
                      <a:pt x="1190" y="934"/>
                      <a:pt x="1192" y="932"/>
                    </a:cubicBezTo>
                    <a:cubicBezTo>
                      <a:pt x="1192" y="931"/>
                      <a:pt x="1193" y="931"/>
                      <a:pt x="1194" y="930"/>
                    </a:cubicBezTo>
                    <a:cubicBezTo>
                      <a:pt x="1196" y="929"/>
                      <a:pt x="1197" y="930"/>
                      <a:pt x="1199" y="929"/>
                    </a:cubicBezTo>
                    <a:cubicBezTo>
                      <a:pt x="1201" y="929"/>
                      <a:pt x="1202" y="927"/>
                      <a:pt x="1203" y="925"/>
                    </a:cubicBezTo>
                    <a:cubicBezTo>
                      <a:pt x="1204" y="923"/>
                      <a:pt x="1205" y="920"/>
                      <a:pt x="1204" y="918"/>
                    </a:cubicBezTo>
                    <a:cubicBezTo>
                      <a:pt x="1203" y="917"/>
                      <a:pt x="1202" y="917"/>
                      <a:pt x="1201" y="916"/>
                    </a:cubicBezTo>
                    <a:cubicBezTo>
                      <a:pt x="1200" y="915"/>
                      <a:pt x="1200" y="914"/>
                      <a:pt x="1200" y="913"/>
                    </a:cubicBezTo>
                    <a:cubicBezTo>
                      <a:pt x="1199" y="910"/>
                      <a:pt x="1198" y="907"/>
                      <a:pt x="1198" y="904"/>
                    </a:cubicBezTo>
                    <a:cubicBezTo>
                      <a:pt x="1198" y="902"/>
                      <a:pt x="1199" y="899"/>
                      <a:pt x="1201" y="897"/>
                    </a:cubicBezTo>
                    <a:cubicBezTo>
                      <a:pt x="1202" y="896"/>
                      <a:pt x="1203" y="896"/>
                      <a:pt x="1203" y="895"/>
                    </a:cubicBezTo>
                    <a:cubicBezTo>
                      <a:pt x="1204" y="894"/>
                      <a:pt x="1204" y="892"/>
                      <a:pt x="1205" y="891"/>
                    </a:cubicBezTo>
                    <a:cubicBezTo>
                      <a:pt x="1206" y="889"/>
                      <a:pt x="1208" y="887"/>
                      <a:pt x="1210" y="886"/>
                    </a:cubicBezTo>
                    <a:cubicBezTo>
                      <a:pt x="1212" y="884"/>
                      <a:pt x="1215" y="882"/>
                      <a:pt x="1217" y="881"/>
                    </a:cubicBezTo>
                    <a:cubicBezTo>
                      <a:pt x="1220" y="881"/>
                      <a:pt x="1222" y="883"/>
                      <a:pt x="1224" y="885"/>
                    </a:cubicBezTo>
                    <a:cubicBezTo>
                      <a:pt x="1227" y="886"/>
                      <a:pt x="1229" y="888"/>
                      <a:pt x="1232" y="889"/>
                    </a:cubicBezTo>
                    <a:cubicBezTo>
                      <a:pt x="1235" y="890"/>
                      <a:pt x="1238" y="890"/>
                      <a:pt x="1241" y="890"/>
                    </a:cubicBezTo>
                    <a:cubicBezTo>
                      <a:pt x="1244" y="890"/>
                      <a:pt x="1247" y="891"/>
                      <a:pt x="1250" y="892"/>
                    </a:cubicBezTo>
                    <a:cubicBezTo>
                      <a:pt x="1256" y="894"/>
                      <a:pt x="1262" y="895"/>
                      <a:pt x="1268" y="897"/>
                    </a:cubicBezTo>
                    <a:cubicBezTo>
                      <a:pt x="1270" y="898"/>
                      <a:pt x="1272" y="899"/>
                      <a:pt x="1273" y="901"/>
                    </a:cubicBezTo>
                    <a:cubicBezTo>
                      <a:pt x="1274" y="904"/>
                      <a:pt x="1274" y="907"/>
                      <a:pt x="1274" y="910"/>
                    </a:cubicBezTo>
                    <a:cubicBezTo>
                      <a:pt x="1275" y="916"/>
                      <a:pt x="1279" y="919"/>
                      <a:pt x="1284" y="921"/>
                    </a:cubicBezTo>
                    <a:cubicBezTo>
                      <a:pt x="1287" y="922"/>
                      <a:pt x="1290" y="922"/>
                      <a:pt x="1293" y="923"/>
                    </a:cubicBezTo>
                    <a:cubicBezTo>
                      <a:pt x="1296" y="924"/>
                      <a:pt x="1299" y="925"/>
                      <a:pt x="1302" y="925"/>
                    </a:cubicBezTo>
                    <a:cubicBezTo>
                      <a:pt x="1308" y="925"/>
                      <a:pt x="1313" y="921"/>
                      <a:pt x="1318" y="920"/>
                    </a:cubicBezTo>
                    <a:cubicBezTo>
                      <a:pt x="1324" y="918"/>
                      <a:pt x="1331" y="918"/>
                      <a:pt x="1336" y="920"/>
                    </a:cubicBezTo>
                    <a:cubicBezTo>
                      <a:pt x="1339" y="920"/>
                      <a:pt x="1342" y="922"/>
                      <a:pt x="1345" y="922"/>
                    </a:cubicBezTo>
                    <a:cubicBezTo>
                      <a:pt x="1348" y="922"/>
                      <a:pt x="1351" y="922"/>
                      <a:pt x="1354" y="924"/>
                    </a:cubicBezTo>
                    <a:cubicBezTo>
                      <a:pt x="1356" y="925"/>
                      <a:pt x="1358" y="927"/>
                      <a:pt x="1361" y="928"/>
                    </a:cubicBezTo>
                    <a:cubicBezTo>
                      <a:pt x="1363" y="929"/>
                      <a:pt x="1366" y="929"/>
                      <a:pt x="1368" y="929"/>
                    </a:cubicBezTo>
                    <a:cubicBezTo>
                      <a:pt x="1371" y="929"/>
                      <a:pt x="1371" y="931"/>
                      <a:pt x="1372" y="934"/>
                    </a:cubicBezTo>
                    <a:cubicBezTo>
                      <a:pt x="1372" y="936"/>
                      <a:pt x="1373" y="939"/>
                      <a:pt x="1375" y="941"/>
                    </a:cubicBezTo>
                    <a:cubicBezTo>
                      <a:pt x="1378" y="945"/>
                      <a:pt x="1386" y="943"/>
                      <a:pt x="1391" y="943"/>
                    </a:cubicBezTo>
                    <a:cubicBezTo>
                      <a:pt x="1394" y="944"/>
                      <a:pt x="1397" y="944"/>
                      <a:pt x="1400" y="945"/>
                    </a:cubicBezTo>
                    <a:cubicBezTo>
                      <a:pt x="1403" y="946"/>
                      <a:pt x="1406" y="946"/>
                      <a:pt x="1410" y="947"/>
                    </a:cubicBezTo>
                    <a:cubicBezTo>
                      <a:pt x="1412" y="947"/>
                      <a:pt x="1416" y="948"/>
                      <a:pt x="1418" y="948"/>
                    </a:cubicBezTo>
                    <a:cubicBezTo>
                      <a:pt x="1422" y="947"/>
                      <a:pt x="1425" y="946"/>
                      <a:pt x="1428" y="945"/>
                    </a:cubicBezTo>
                    <a:cubicBezTo>
                      <a:pt x="1434" y="943"/>
                      <a:pt x="1440" y="942"/>
                      <a:pt x="1446" y="941"/>
                    </a:cubicBezTo>
                    <a:cubicBezTo>
                      <a:pt x="1448" y="941"/>
                      <a:pt x="1452" y="941"/>
                      <a:pt x="1454" y="939"/>
                    </a:cubicBezTo>
                    <a:cubicBezTo>
                      <a:pt x="1456" y="938"/>
                      <a:pt x="1458" y="935"/>
                      <a:pt x="1460" y="933"/>
                    </a:cubicBezTo>
                    <a:cubicBezTo>
                      <a:pt x="1462" y="931"/>
                      <a:pt x="1464" y="930"/>
                      <a:pt x="1466" y="928"/>
                    </a:cubicBezTo>
                    <a:cubicBezTo>
                      <a:pt x="1469" y="927"/>
                      <a:pt x="1471" y="925"/>
                      <a:pt x="1474" y="924"/>
                    </a:cubicBezTo>
                    <a:cubicBezTo>
                      <a:pt x="1477" y="924"/>
                      <a:pt x="1480" y="924"/>
                      <a:pt x="1482" y="924"/>
                    </a:cubicBezTo>
                    <a:cubicBezTo>
                      <a:pt x="1485" y="924"/>
                      <a:pt x="1488" y="924"/>
                      <a:pt x="1490" y="925"/>
                    </a:cubicBezTo>
                    <a:cubicBezTo>
                      <a:pt x="1493" y="927"/>
                      <a:pt x="1495" y="929"/>
                      <a:pt x="1497" y="930"/>
                    </a:cubicBezTo>
                    <a:cubicBezTo>
                      <a:pt x="1499" y="932"/>
                      <a:pt x="1502" y="931"/>
                      <a:pt x="1504" y="930"/>
                    </a:cubicBezTo>
                    <a:cubicBezTo>
                      <a:pt x="1507" y="929"/>
                      <a:pt x="1510" y="929"/>
                      <a:pt x="1512" y="929"/>
                    </a:cubicBezTo>
                    <a:cubicBezTo>
                      <a:pt x="1515" y="930"/>
                      <a:pt x="1518" y="931"/>
                      <a:pt x="1521" y="932"/>
                    </a:cubicBezTo>
                    <a:cubicBezTo>
                      <a:pt x="1524" y="933"/>
                      <a:pt x="1526" y="934"/>
                      <a:pt x="1529" y="935"/>
                    </a:cubicBezTo>
                    <a:cubicBezTo>
                      <a:pt x="1532" y="936"/>
                      <a:pt x="1535" y="938"/>
                      <a:pt x="1538" y="938"/>
                    </a:cubicBezTo>
                    <a:cubicBezTo>
                      <a:pt x="1540" y="938"/>
                      <a:pt x="1542" y="935"/>
                      <a:pt x="1544" y="934"/>
                    </a:cubicBezTo>
                    <a:cubicBezTo>
                      <a:pt x="1546" y="932"/>
                      <a:pt x="1548" y="930"/>
                      <a:pt x="1551" y="930"/>
                    </a:cubicBezTo>
                    <a:cubicBezTo>
                      <a:pt x="1556" y="930"/>
                      <a:pt x="1562" y="929"/>
                      <a:pt x="1563" y="923"/>
                    </a:cubicBezTo>
                    <a:cubicBezTo>
                      <a:pt x="1563" y="921"/>
                      <a:pt x="1562" y="918"/>
                      <a:pt x="1563" y="915"/>
                    </a:cubicBezTo>
                    <a:cubicBezTo>
                      <a:pt x="1564" y="912"/>
                      <a:pt x="1565" y="910"/>
                      <a:pt x="1567" y="907"/>
                    </a:cubicBezTo>
                    <a:cubicBezTo>
                      <a:pt x="1570" y="902"/>
                      <a:pt x="1572" y="897"/>
                      <a:pt x="1576" y="893"/>
                    </a:cubicBezTo>
                    <a:cubicBezTo>
                      <a:pt x="1578" y="891"/>
                      <a:pt x="1580" y="889"/>
                      <a:pt x="1582" y="886"/>
                    </a:cubicBezTo>
                    <a:cubicBezTo>
                      <a:pt x="1584" y="885"/>
                      <a:pt x="1587" y="883"/>
                      <a:pt x="1586" y="881"/>
                    </a:cubicBezTo>
                    <a:cubicBezTo>
                      <a:pt x="1585" y="879"/>
                      <a:pt x="1585" y="878"/>
                      <a:pt x="1585" y="877"/>
                    </a:cubicBezTo>
                    <a:cubicBezTo>
                      <a:pt x="1585" y="876"/>
                      <a:pt x="1585" y="875"/>
                      <a:pt x="1585" y="874"/>
                    </a:cubicBezTo>
                    <a:cubicBezTo>
                      <a:pt x="1585" y="871"/>
                      <a:pt x="1580" y="873"/>
                      <a:pt x="1579" y="873"/>
                    </a:cubicBezTo>
                    <a:cubicBezTo>
                      <a:pt x="1577" y="873"/>
                      <a:pt x="1575" y="871"/>
                      <a:pt x="1575" y="869"/>
                    </a:cubicBezTo>
                    <a:cubicBezTo>
                      <a:pt x="1575" y="867"/>
                      <a:pt x="1577" y="864"/>
                      <a:pt x="1579" y="863"/>
                    </a:cubicBezTo>
                    <a:cubicBezTo>
                      <a:pt x="1583" y="859"/>
                      <a:pt x="1588" y="854"/>
                      <a:pt x="1593" y="854"/>
                    </a:cubicBezTo>
                    <a:cubicBezTo>
                      <a:pt x="1596" y="854"/>
                      <a:pt x="1599" y="854"/>
                      <a:pt x="1602" y="854"/>
                    </a:cubicBezTo>
                    <a:cubicBezTo>
                      <a:pt x="1605" y="853"/>
                      <a:pt x="1608" y="852"/>
                      <a:pt x="1611" y="851"/>
                    </a:cubicBezTo>
                    <a:cubicBezTo>
                      <a:pt x="1618" y="850"/>
                      <a:pt x="1624" y="849"/>
                      <a:pt x="1631" y="849"/>
                    </a:cubicBezTo>
                    <a:cubicBezTo>
                      <a:pt x="1633" y="849"/>
                      <a:pt x="1636" y="849"/>
                      <a:pt x="1639" y="849"/>
                    </a:cubicBezTo>
                    <a:cubicBezTo>
                      <a:pt x="1642" y="850"/>
                      <a:pt x="1645" y="852"/>
                      <a:pt x="1647" y="853"/>
                    </a:cubicBezTo>
                    <a:cubicBezTo>
                      <a:pt x="1650" y="854"/>
                      <a:pt x="1652" y="856"/>
                      <a:pt x="1654" y="856"/>
                    </a:cubicBezTo>
                    <a:cubicBezTo>
                      <a:pt x="1656" y="857"/>
                      <a:pt x="1659" y="856"/>
                      <a:pt x="1662" y="856"/>
                    </a:cubicBezTo>
                    <a:cubicBezTo>
                      <a:pt x="1668" y="856"/>
                      <a:pt x="1672" y="861"/>
                      <a:pt x="1677" y="864"/>
                    </a:cubicBezTo>
                    <a:cubicBezTo>
                      <a:pt x="1677" y="865"/>
                      <a:pt x="1678" y="866"/>
                      <a:pt x="1678" y="867"/>
                    </a:cubicBezTo>
                    <a:cubicBezTo>
                      <a:pt x="1679" y="868"/>
                      <a:pt x="1677" y="869"/>
                      <a:pt x="1678" y="870"/>
                    </a:cubicBezTo>
                    <a:cubicBezTo>
                      <a:pt x="1678" y="871"/>
                      <a:pt x="1679" y="872"/>
                      <a:pt x="1680" y="873"/>
                    </a:cubicBezTo>
                    <a:cubicBezTo>
                      <a:pt x="1681" y="874"/>
                      <a:pt x="1682" y="875"/>
                      <a:pt x="1683" y="876"/>
                    </a:cubicBezTo>
                    <a:cubicBezTo>
                      <a:pt x="1684" y="877"/>
                      <a:pt x="1685" y="878"/>
                      <a:pt x="1685" y="880"/>
                    </a:cubicBezTo>
                    <a:cubicBezTo>
                      <a:pt x="1686" y="881"/>
                      <a:pt x="1686" y="882"/>
                      <a:pt x="1685" y="884"/>
                    </a:cubicBezTo>
                    <a:cubicBezTo>
                      <a:pt x="1685" y="887"/>
                      <a:pt x="1687" y="889"/>
                      <a:pt x="1689" y="891"/>
                    </a:cubicBezTo>
                    <a:cubicBezTo>
                      <a:pt x="1689" y="893"/>
                      <a:pt x="1689" y="894"/>
                      <a:pt x="1690" y="896"/>
                    </a:cubicBezTo>
                    <a:cubicBezTo>
                      <a:pt x="1690" y="896"/>
                      <a:pt x="1690" y="898"/>
                      <a:pt x="1691" y="899"/>
                    </a:cubicBezTo>
                    <a:cubicBezTo>
                      <a:pt x="1692" y="899"/>
                      <a:pt x="1693" y="899"/>
                      <a:pt x="1694" y="900"/>
                    </a:cubicBezTo>
                    <a:cubicBezTo>
                      <a:pt x="1694" y="901"/>
                      <a:pt x="1695" y="902"/>
                      <a:pt x="1695" y="903"/>
                    </a:cubicBezTo>
                    <a:cubicBezTo>
                      <a:pt x="1696" y="904"/>
                      <a:pt x="1695" y="907"/>
                      <a:pt x="1696" y="908"/>
                    </a:cubicBezTo>
                    <a:cubicBezTo>
                      <a:pt x="1698" y="910"/>
                      <a:pt x="1699" y="913"/>
                      <a:pt x="1700" y="915"/>
                    </a:cubicBezTo>
                    <a:cubicBezTo>
                      <a:pt x="1702" y="917"/>
                      <a:pt x="1703" y="919"/>
                      <a:pt x="1704" y="922"/>
                    </a:cubicBezTo>
                    <a:cubicBezTo>
                      <a:pt x="1705" y="924"/>
                      <a:pt x="1704" y="927"/>
                      <a:pt x="1704" y="929"/>
                    </a:cubicBezTo>
                    <a:cubicBezTo>
                      <a:pt x="1704" y="932"/>
                      <a:pt x="1706" y="934"/>
                      <a:pt x="1707" y="936"/>
                    </a:cubicBezTo>
                    <a:cubicBezTo>
                      <a:pt x="1709" y="938"/>
                      <a:pt x="1712" y="938"/>
                      <a:pt x="1715" y="938"/>
                    </a:cubicBezTo>
                    <a:cubicBezTo>
                      <a:pt x="1717" y="938"/>
                      <a:pt x="1720" y="938"/>
                      <a:pt x="1723" y="939"/>
                    </a:cubicBezTo>
                    <a:cubicBezTo>
                      <a:pt x="1726" y="940"/>
                      <a:pt x="1728" y="942"/>
                      <a:pt x="1731" y="942"/>
                    </a:cubicBezTo>
                    <a:cubicBezTo>
                      <a:pt x="1732" y="942"/>
                      <a:pt x="1733" y="941"/>
                      <a:pt x="1735" y="941"/>
                    </a:cubicBezTo>
                    <a:cubicBezTo>
                      <a:pt x="1736" y="941"/>
                      <a:pt x="1737" y="942"/>
                      <a:pt x="1738" y="943"/>
                    </a:cubicBezTo>
                    <a:cubicBezTo>
                      <a:pt x="1741" y="944"/>
                      <a:pt x="1742" y="947"/>
                      <a:pt x="1744" y="949"/>
                    </a:cubicBezTo>
                    <a:cubicBezTo>
                      <a:pt x="1746" y="951"/>
                      <a:pt x="1748" y="953"/>
                      <a:pt x="1750" y="953"/>
                    </a:cubicBezTo>
                    <a:cubicBezTo>
                      <a:pt x="1752" y="953"/>
                      <a:pt x="1756" y="953"/>
                      <a:pt x="1756" y="956"/>
                    </a:cubicBezTo>
                    <a:cubicBezTo>
                      <a:pt x="1756" y="958"/>
                      <a:pt x="1755" y="959"/>
                      <a:pt x="1757" y="961"/>
                    </a:cubicBezTo>
                    <a:cubicBezTo>
                      <a:pt x="1759" y="962"/>
                      <a:pt x="1760" y="964"/>
                      <a:pt x="1759" y="966"/>
                    </a:cubicBezTo>
                    <a:cubicBezTo>
                      <a:pt x="1759" y="968"/>
                      <a:pt x="1757" y="970"/>
                      <a:pt x="1758" y="972"/>
                    </a:cubicBezTo>
                    <a:cubicBezTo>
                      <a:pt x="1758" y="973"/>
                      <a:pt x="1759" y="973"/>
                      <a:pt x="1760" y="973"/>
                    </a:cubicBezTo>
                    <a:cubicBezTo>
                      <a:pt x="1761" y="974"/>
                      <a:pt x="1761" y="975"/>
                      <a:pt x="1762" y="976"/>
                    </a:cubicBezTo>
                    <a:cubicBezTo>
                      <a:pt x="1762" y="978"/>
                      <a:pt x="1762" y="979"/>
                      <a:pt x="1763" y="979"/>
                    </a:cubicBezTo>
                    <a:cubicBezTo>
                      <a:pt x="1765" y="979"/>
                      <a:pt x="1767" y="979"/>
                      <a:pt x="1768" y="979"/>
                    </a:cubicBezTo>
                    <a:cubicBezTo>
                      <a:pt x="1773" y="979"/>
                      <a:pt x="1778" y="979"/>
                      <a:pt x="1783" y="979"/>
                    </a:cubicBezTo>
                    <a:cubicBezTo>
                      <a:pt x="1785" y="979"/>
                      <a:pt x="1787" y="979"/>
                      <a:pt x="1788" y="977"/>
                    </a:cubicBezTo>
                    <a:cubicBezTo>
                      <a:pt x="1789" y="974"/>
                      <a:pt x="1791" y="973"/>
                      <a:pt x="1793" y="972"/>
                    </a:cubicBezTo>
                    <a:cubicBezTo>
                      <a:pt x="1796" y="971"/>
                      <a:pt x="1798" y="971"/>
                      <a:pt x="1801" y="970"/>
                    </a:cubicBezTo>
                    <a:cubicBezTo>
                      <a:pt x="1804" y="970"/>
                      <a:pt x="1807" y="968"/>
                      <a:pt x="1809" y="967"/>
                    </a:cubicBezTo>
                    <a:cubicBezTo>
                      <a:pt x="1814" y="965"/>
                      <a:pt x="1820" y="962"/>
                      <a:pt x="1824" y="967"/>
                    </a:cubicBezTo>
                    <a:cubicBezTo>
                      <a:pt x="1826" y="969"/>
                      <a:pt x="1825" y="971"/>
                      <a:pt x="1824" y="973"/>
                    </a:cubicBezTo>
                    <a:cubicBezTo>
                      <a:pt x="1824" y="974"/>
                      <a:pt x="1825" y="975"/>
                      <a:pt x="1826" y="976"/>
                    </a:cubicBezTo>
                    <a:cubicBezTo>
                      <a:pt x="1826" y="977"/>
                      <a:pt x="1827" y="978"/>
                      <a:pt x="1827" y="980"/>
                    </a:cubicBezTo>
                    <a:cubicBezTo>
                      <a:pt x="1827" y="982"/>
                      <a:pt x="1824" y="984"/>
                      <a:pt x="1822" y="985"/>
                    </a:cubicBezTo>
                    <a:cubicBezTo>
                      <a:pt x="1820" y="987"/>
                      <a:pt x="1818" y="989"/>
                      <a:pt x="1818" y="992"/>
                    </a:cubicBezTo>
                    <a:cubicBezTo>
                      <a:pt x="1817" y="995"/>
                      <a:pt x="1817" y="998"/>
                      <a:pt x="1816" y="1000"/>
                    </a:cubicBezTo>
                    <a:cubicBezTo>
                      <a:pt x="1815" y="1003"/>
                      <a:pt x="1813" y="1005"/>
                      <a:pt x="1812" y="1008"/>
                    </a:cubicBezTo>
                    <a:cubicBezTo>
                      <a:pt x="1812" y="1010"/>
                      <a:pt x="1812" y="1013"/>
                      <a:pt x="1810" y="1015"/>
                    </a:cubicBezTo>
                    <a:cubicBezTo>
                      <a:pt x="1809" y="1017"/>
                      <a:pt x="1807" y="1018"/>
                      <a:pt x="1806" y="1020"/>
                    </a:cubicBezTo>
                    <a:cubicBezTo>
                      <a:pt x="1806" y="1023"/>
                      <a:pt x="1807" y="1025"/>
                      <a:pt x="1804" y="1026"/>
                    </a:cubicBezTo>
                    <a:cubicBezTo>
                      <a:pt x="1802" y="1028"/>
                      <a:pt x="1799" y="1029"/>
                      <a:pt x="1799" y="1032"/>
                    </a:cubicBezTo>
                    <a:cubicBezTo>
                      <a:pt x="1799" y="1034"/>
                      <a:pt x="1799" y="1036"/>
                      <a:pt x="1796" y="1037"/>
                    </a:cubicBezTo>
                    <a:cubicBezTo>
                      <a:pt x="1794" y="1038"/>
                      <a:pt x="1790" y="1037"/>
                      <a:pt x="1787" y="1036"/>
                    </a:cubicBezTo>
                    <a:cubicBezTo>
                      <a:pt x="1786" y="1036"/>
                      <a:pt x="1784" y="1035"/>
                      <a:pt x="1782" y="1035"/>
                    </a:cubicBezTo>
                    <a:cubicBezTo>
                      <a:pt x="1781" y="1034"/>
                      <a:pt x="1780" y="1033"/>
                      <a:pt x="1778" y="1033"/>
                    </a:cubicBezTo>
                    <a:cubicBezTo>
                      <a:pt x="1777" y="1032"/>
                      <a:pt x="1776" y="1034"/>
                      <a:pt x="1775" y="1035"/>
                    </a:cubicBezTo>
                    <a:cubicBezTo>
                      <a:pt x="1773" y="1036"/>
                      <a:pt x="1772" y="1037"/>
                      <a:pt x="1771" y="1038"/>
                    </a:cubicBezTo>
                    <a:cubicBezTo>
                      <a:pt x="1769" y="1040"/>
                      <a:pt x="1766" y="1040"/>
                      <a:pt x="1764" y="1041"/>
                    </a:cubicBezTo>
                    <a:cubicBezTo>
                      <a:pt x="1762" y="1041"/>
                      <a:pt x="1765" y="1048"/>
                      <a:pt x="1766" y="1049"/>
                    </a:cubicBezTo>
                    <a:cubicBezTo>
                      <a:pt x="1767" y="1053"/>
                      <a:pt x="1767" y="1057"/>
                      <a:pt x="1767" y="1061"/>
                    </a:cubicBezTo>
                    <a:cubicBezTo>
                      <a:pt x="1767" y="1065"/>
                      <a:pt x="1768" y="1070"/>
                      <a:pt x="1767" y="1074"/>
                    </a:cubicBezTo>
                    <a:cubicBezTo>
                      <a:pt x="1766" y="1077"/>
                      <a:pt x="1766" y="1081"/>
                      <a:pt x="1762" y="1083"/>
                    </a:cubicBezTo>
                    <a:cubicBezTo>
                      <a:pt x="1761" y="1083"/>
                      <a:pt x="1759" y="1084"/>
                      <a:pt x="1757" y="1084"/>
                    </a:cubicBezTo>
                    <a:cubicBezTo>
                      <a:pt x="1756" y="1084"/>
                      <a:pt x="1754" y="1085"/>
                      <a:pt x="1752" y="1086"/>
                    </a:cubicBezTo>
                    <a:cubicBezTo>
                      <a:pt x="1754" y="1088"/>
                      <a:pt x="1754" y="1091"/>
                      <a:pt x="1757" y="1092"/>
                    </a:cubicBezTo>
                    <a:cubicBezTo>
                      <a:pt x="1759" y="1094"/>
                      <a:pt x="1759" y="1089"/>
                      <a:pt x="1760" y="1088"/>
                    </a:cubicBezTo>
                    <a:cubicBezTo>
                      <a:pt x="1761" y="1087"/>
                      <a:pt x="1764" y="1086"/>
                      <a:pt x="1765" y="1087"/>
                    </a:cubicBezTo>
                    <a:cubicBezTo>
                      <a:pt x="1768" y="1090"/>
                      <a:pt x="1768" y="1087"/>
                      <a:pt x="1769" y="1085"/>
                    </a:cubicBezTo>
                    <a:cubicBezTo>
                      <a:pt x="1771" y="1080"/>
                      <a:pt x="1774" y="1074"/>
                      <a:pt x="1780" y="1074"/>
                    </a:cubicBezTo>
                    <a:cubicBezTo>
                      <a:pt x="1781" y="1074"/>
                      <a:pt x="1782" y="1074"/>
                      <a:pt x="1783" y="1074"/>
                    </a:cubicBezTo>
                    <a:cubicBezTo>
                      <a:pt x="1784" y="1074"/>
                      <a:pt x="1784" y="1076"/>
                      <a:pt x="1784" y="1077"/>
                    </a:cubicBezTo>
                    <a:cubicBezTo>
                      <a:pt x="1784" y="1078"/>
                      <a:pt x="1784" y="1081"/>
                      <a:pt x="1786" y="1082"/>
                    </a:cubicBezTo>
                    <a:cubicBezTo>
                      <a:pt x="1787" y="1083"/>
                      <a:pt x="1790" y="1082"/>
                      <a:pt x="1791" y="1082"/>
                    </a:cubicBezTo>
                    <a:cubicBezTo>
                      <a:pt x="1794" y="1081"/>
                      <a:pt x="1795" y="1083"/>
                      <a:pt x="1796" y="1085"/>
                    </a:cubicBezTo>
                    <a:cubicBezTo>
                      <a:pt x="1798" y="1087"/>
                      <a:pt x="1799" y="1087"/>
                      <a:pt x="1801" y="1085"/>
                    </a:cubicBezTo>
                    <a:cubicBezTo>
                      <a:pt x="1804" y="1083"/>
                      <a:pt x="1807" y="1083"/>
                      <a:pt x="1809" y="1082"/>
                    </a:cubicBezTo>
                    <a:cubicBezTo>
                      <a:pt x="1815" y="1080"/>
                      <a:pt x="1818" y="1076"/>
                      <a:pt x="1823" y="1074"/>
                    </a:cubicBezTo>
                    <a:cubicBezTo>
                      <a:pt x="1828" y="1072"/>
                      <a:pt x="1833" y="1071"/>
                      <a:pt x="1836" y="1066"/>
                    </a:cubicBezTo>
                    <a:cubicBezTo>
                      <a:pt x="1838" y="1061"/>
                      <a:pt x="1841" y="1056"/>
                      <a:pt x="1845" y="1052"/>
                    </a:cubicBezTo>
                    <a:cubicBezTo>
                      <a:pt x="1849" y="1048"/>
                      <a:pt x="1854" y="1045"/>
                      <a:pt x="1857" y="1040"/>
                    </a:cubicBezTo>
                    <a:cubicBezTo>
                      <a:pt x="1858" y="1038"/>
                      <a:pt x="1859" y="1036"/>
                      <a:pt x="1861" y="1035"/>
                    </a:cubicBezTo>
                    <a:cubicBezTo>
                      <a:pt x="1863" y="1033"/>
                      <a:pt x="1865" y="1032"/>
                      <a:pt x="1867" y="1030"/>
                    </a:cubicBezTo>
                    <a:cubicBezTo>
                      <a:pt x="1869" y="1028"/>
                      <a:pt x="1871" y="1026"/>
                      <a:pt x="1873" y="1024"/>
                    </a:cubicBezTo>
                    <a:cubicBezTo>
                      <a:pt x="1875" y="1022"/>
                      <a:pt x="1877" y="1020"/>
                      <a:pt x="1878" y="1017"/>
                    </a:cubicBezTo>
                    <a:cubicBezTo>
                      <a:pt x="1881" y="1013"/>
                      <a:pt x="1885" y="1010"/>
                      <a:pt x="1888" y="1005"/>
                    </a:cubicBezTo>
                    <a:cubicBezTo>
                      <a:pt x="1890" y="1003"/>
                      <a:pt x="1890" y="1000"/>
                      <a:pt x="1891" y="997"/>
                    </a:cubicBezTo>
                    <a:cubicBezTo>
                      <a:pt x="1891" y="994"/>
                      <a:pt x="1893" y="992"/>
                      <a:pt x="1895" y="990"/>
                    </a:cubicBezTo>
                    <a:cubicBezTo>
                      <a:pt x="1897" y="989"/>
                      <a:pt x="1898" y="988"/>
                      <a:pt x="1900" y="986"/>
                    </a:cubicBezTo>
                    <a:cubicBezTo>
                      <a:pt x="1901" y="984"/>
                      <a:pt x="1902" y="982"/>
                      <a:pt x="1903" y="979"/>
                    </a:cubicBezTo>
                    <a:cubicBezTo>
                      <a:pt x="1905" y="975"/>
                      <a:pt x="1909" y="972"/>
                      <a:pt x="1914" y="969"/>
                    </a:cubicBezTo>
                    <a:cubicBezTo>
                      <a:pt x="1916" y="967"/>
                      <a:pt x="1917" y="966"/>
                      <a:pt x="1918" y="963"/>
                    </a:cubicBezTo>
                    <a:cubicBezTo>
                      <a:pt x="1918" y="960"/>
                      <a:pt x="1920" y="958"/>
                      <a:pt x="1921" y="955"/>
                    </a:cubicBezTo>
                    <a:cubicBezTo>
                      <a:pt x="1922" y="953"/>
                      <a:pt x="1920" y="950"/>
                      <a:pt x="1921" y="948"/>
                    </a:cubicBezTo>
                    <a:cubicBezTo>
                      <a:pt x="1922" y="945"/>
                      <a:pt x="1924" y="942"/>
                      <a:pt x="1924" y="939"/>
                    </a:cubicBezTo>
                    <a:cubicBezTo>
                      <a:pt x="1925" y="937"/>
                      <a:pt x="1923" y="934"/>
                      <a:pt x="1924" y="932"/>
                    </a:cubicBezTo>
                    <a:cubicBezTo>
                      <a:pt x="1924" y="931"/>
                      <a:pt x="1928" y="927"/>
                      <a:pt x="1926" y="927"/>
                    </a:cubicBezTo>
                    <a:cubicBezTo>
                      <a:pt x="1923" y="926"/>
                      <a:pt x="1924" y="923"/>
                      <a:pt x="1924" y="921"/>
                    </a:cubicBezTo>
                    <a:cubicBezTo>
                      <a:pt x="1924" y="918"/>
                      <a:pt x="1923" y="915"/>
                      <a:pt x="1924" y="912"/>
                    </a:cubicBezTo>
                    <a:cubicBezTo>
                      <a:pt x="1924" y="910"/>
                      <a:pt x="1926" y="907"/>
                      <a:pt x="1926" y="905"/>
                    </a:cubicBezTo>
                    <a:cubicBezTo>
                      <a:pt x="1926" y="904"/>
                      <a:pt x="1926" y="903"/>
                      <a:pt x="1927" y="902"/>
                    </a:cubicBezTo>
                    <a:cubicBezTo>
                      <a:pt x="1927" y="901"/>
                      <a:pt x="1928" y="900"/>
                      <a:pt x="1929" y="899"/>
                    </a:cubicBezTo>
                    <a:cubicBezTo>
                      <a:pt x="1931" y="898"/>
                      <a:pt x="1928" y="895"/>
                      <a:pt x="1930" y="893"/>
                    </a:cubicBezTo>
                    <a:cubicBezTo>
                      <a:pt x="1932" y="891"/>
                      <a:pt x="1935" y="891"/>
                      <a:pt x="1937" y="889"/>
                    </a:cubicBezTo>
                    <a:cubicBezTo>
                      <a:pt x="1939" y="887"/>
                      <a:pt x="1937" y="885"/>
                      <a:pt x="1938" y="882"/>
                    </a:cubicBezTo>
                    <a:cubicBezTo>
                      <a:pt x="1939" y="880"/>
                      <a:pt x="1939" y="879"/>
                      <a:pt x="1936" y="877"/>
                    </a:cubicBezTo>
                    <a:cubicBezTo>
                      <a:pt x="1934" y="876"/>
                      <a:pt x="1934" y="874"/>
                      <a:pt x="1936" y="872"/>
                    </a:cubicBezTo>
                    <a:cubicBezTo>
                      <a:pt x="1937" y="870"/>
                      <a:pt x="1936" y="867"/>
                      <a:pt x="1935" y="865"/>
                    </a:cubicBezTo>
                    <a:cubicBezTo>
                      <a:pt x="1934" y="864"/>
                      <a:pt x="1933" y="863"/>
                      <a:pt x="1932" y="863"/>
                    </a:cubicBezTo>
                    <a:cubicBezTo>
                      <a:pt x="1931" y="862"/>
                      <a:pt x="1930" y="862"/>
                      <a:pt x="1928" y="862"/>
                    </a:cubicBezTo>
                    <a:cubicBezTo>
                      <a:pt x="1927" y="861"/>
                      <a:pt x="1927" y="857"/>
                      <a:pt x="1929" y="858"/>
                    </a:cubicBezTo>
                    <a:cubicBezTo>
                      <a:pt x="1930" y="858"/>
                      <a:pt x="1931" y="860"/>
                      <a:pt x="1933" y="860"/>
                    </a:cubicBezTo>
                    <a:cubicBezTo>
                      <a:pt x="1934" y="861"/>
                      <a:pt x="1939" y="860"/>
                      <a:pt x="1939" y="857"/>
                    </a:cubicBezTo>
                    <a:cubicBezTo>
                      <a:pt x="1939" y="855"/>
                      <a:pt x="1937" y="853"/>
                      <a:pt x="1934" y="852"/>
                    </a:cubicBezTo>
                    <a:cubicBezTo>
                      <a:pt x="1932" y="851"/>
                      <a:pt x="1929" y="850"/>
                      <a:pt x="1926" y="848"/>
                    </a:cubicBezTo>
                    <a:cubicBezTo>
                      <a:pt x="1924" y="847"/>
                      <a:pt x="1922" y="845"/>
                      <a:pt x="1920" y="843"/>
                    </a:cubicBezTo>
                    <a:cubicBezTo>
                      <a:pt x="1919" y="841"/>
                      <a:pt x="1917" y="838"/>
                      <a:pt x="1916" y="836"/>
                    </a:cubicBezTo>
                    <a:cubicBezTo>
                      <a:pt x="1915" y="834"/>
                      <a:pt x="1913" y="832"/>
                      <a:pt x="1911" y="833"/>
                    </a:cubicBezTo>
                    <a:cubicBezTo>
                      <a:pt x="1908" y="834"/>
                      <a:pt x="1905" y="833"/>
                      <a:pt x="1902" y="833"/>
                    </a:cubicBezTo>
                    <a:cubicBezTo>
                      <a:pt x="1900" y="833"/>
                      <a:pt x="1897" y="833"/>
                      <a:pt x="1895" y="834"/>
                    </a:cubicBezTo>
                    <a:cubicBezTo>
                      <a:pt x="1893" y="835"/>
                      <a:pt x="1895" y="837"/>
                      <a:pt x="1895" y="838"/>
                    </a:cubicBezTo>
                    <a:cubicBezTo>
                      <a:pt x="1895" y="841"/>
                      <a:pt x="1894" y="843"/>
                      <a:pt x="1892" y="844"/>
                    </a:cubicBezTo>
                    <a:cubicBezTo>
                      <a:pt x="1890" y="846"/>
                      <a:pt x="1890" y="848"/>
                      <a:pt x="1889" y="850"/>
                    </a:cubicBezTo>
                    <a:cubicBezTo>
                      <a:pt x="1889" y="851"/>
                      <a:pt x="1889" y="851"/>
                      <a:pt x="1888" y="850"/>
                    </a:cubicBezTo>
                    <a:cubicBezTo>
                      <a:pt x="1887" y="850"/>
                      <a:pt x="1885" y="851"/>
                      <a:pt x="1885" y="850"/>
                    </a:cubicBezTo>
                    <a:cubicBezTo>
                      <a:pt x="1885" y="849"/>
                      <a:pt x="1885" y="848"/>
                      <a:pt x="1886" y="848"/>
                    </a:cubicBezTo>
                    <a:cubicBezTo>
                      <a:pt x="1887" y="846"/>
                      <a:pt x="1888" y="845"/>
                      <a:pt x="1889" y="844"/>
                    </a:cubicBezTo>
                    <a:cubicBezTo>
                      <a:pt x="1890" y="843"/>
                      <a:pt x="1890" y="843"/>
                      <a:pt x="1890" y="841"/>
                    </a:cubicBezTo>
                    <a:cubicBezTo>
                      <a:pt x="1889" y="840"/>
                      <a:pt x="1888" y="841"/>
                      <a:pt x="1888" y="842"/>
                    </a:cubicBezTo>
                    <a:cubicBezTo>
                      <a:pt x="1887" y="843"/>
                      <a:pt x="1886" y="843"/>
                      <a:pt x="1885" y="844"/>
                    </a:cubicBezTo>
                    <a:cubicBezTo>
                      <a:pt x="1883" y="845"/>
                      <a:pt x="1883" y="846"/>
                      <a:pt x="1881" y="847"/>
                    </a:cubicBezTo>
                    <a:cubicBezTo>
                      <a:pt x="1880" y="848"/>
                      <a:pt x="1879" y="849"/>
                      <a:pt x="1878" y="849"/>
                    </a:cubicBezTo>
                    <a:cubicBezTo>
                      <a:pt x="1877" y="850"/>
                      <a:pt x="1876" y="849"/>
                      <a:pt x="1875" y="849"/>
                    </a:cubicBezTo>
                    <a:cubicBezTo>
                      <a:pt x="1873" y="849"/>
                      <a:pt x="1871" y="850"/>
                      <a:pt x="1870" y="849"/>
                    </a:cubicBezTo>
                    <a:cubicBezTo>
                      <a:pt x="1867" y="849"/>
                      <a:pt x="1870" y="846"/>
                      <a:pt x="1871" y="845"/>
                    </a:cubicBezTo>
                    <a:cubicBezTo>
                      <a:pt x="1872" y="844"/>
                      <a:pt x="1876" y="844"/>
                      <a:pt x="1876" y="841"/>
                    </a:cubicBezTo>
                    <a:cubicBezTo>
                      <a:pt x="1876" y="840"/>
                      <a:pt x="1876" y="840"/>
                      <a:pt x="1875" y="839"/>
                    </a:cubicBezTo>
                    <a:cubicBezTo>
                      <a:pt x="1874" y="839"/>
                      <a:pt x="1873" y="839"/>
                      <a:pt x="1872" y="838"/>
                    </a:cubicBezTo>
                    <a:cubicBezTo>
                      <a:pt x="1869" y="838"/>
                      <a:pt x="1867" y="840"/>
                      <a:pt x="1865" y="841"/>
                    </a:cubicBezTo>
                    <a:cubicBezTo>
                      <a:pt x="1864" y="842"/>
                      <a:pt x="1862" y="843"/>
                      <a:pt x="1860" y="843"/>
                    </a:cubicBezTo>
                    <a:cubicBezTo>
                      <a:pt x="1860" y="843"/>
                      <a:pt x="1859" y="843"/>
                      <a:pt x="1859" y="843"/>
                    </a:cubicBezTo>
                    <a:cubicBezTo>
                      <a:pt x="1859" y="842"/>
                      <a:pt x="1859" y="840"/>
                      <a:pt x="1859" y="839"/>
                    </a:cubicBezTo>
                    <a:cubicBezTo>
                      <a:pt x="1860" y="837"/>
                      <a:pt x="1860" y="836"/>
                      <a:pt x="1860" y="835"/>
                    </a:cubicBezTo>
                    <a:cubicBezTo>
                      <a:pt x="1861" y="833"/>
                      <a:pt x="1860" y="832"/>
                      <a:pt x="1860" y="831"/>
                    </a:cubicBezTo>
                    <a:cubicBezTo>
                      <a:pt x="1860" y="829"/>
                      <a:pt x="1861" y="826"/>
                      <a:pt x="1860" y="824"/>
                    </a:cubicBezTo>
                    <a:cubicBezTo>
                      <a:pt x="1858" y="822"/>
                      <a:pt x="1855" y="822"/>
                      <a:pt x="1853" y="822"/>
                    </a:cubicBezTo>
                    <a:cubicBezTo>
                      <a:pt x="1850" y="822"/>
                      <a:pt x="1847" y="822"/>
                      <a:pt x="1843" y="822"/>
                    </a:cubicBezTo>
                    <a:cubicBezTo>
                      <a:pt x="1841" y="822"/>
                      <a:pt x="1838" y="822"/>
                      <a:pt x="1836" y="821"/>
                    </a:cubicBezTo>
                    <a:cubicBezTo>
                      <a:pt x="1834" y="820"/>
                      <a:pt x="1834" y="818"/>
                      <a:pt x="1836" y="817"/>
                    </a:cubicBezTo>
                    <a:cubicBezTo>
                      <a:pt x="1837" y="815"/>
                      <a:pt x="1839" y="813"/>
                      <a:pt x="1841" y="811"/>
                    </a:cubicBezTo>
                    <a:cubicBezTo>
                      <a:pt x="1843" y="810"/>
                      <a:pt x="1846" y="808"/>
                      <a:pt x="1848" y="807"/>
                    </a:cubicBezTo>
                    <a:cubicBezTo>
                      <a:pt x="1851" y="806"/>
                      <a:pt x="1854" y="805"/>
                      <a:pt x="1856" y="804"/>
                    </a:cubicBezTo>
                    <a:cubicBezTo>
                      <a:pt x="1859" y="802"/>
                      <a:pt x="1861" y="800"/>
                      <a:pt x="1863" y="798"/>
                    </a:cubicBezTo>
                    <a:cubicBezTo>
                      <a:pt x="1866" y="797"/>
                      <a:pt x="1868" y="795"/>
                      <a:pt x="1870" y="794"/>
                    </a:cubicBezTo>
                    <a:cubicBezTo>
                      <a:pt x="1873" y="792"/>
                      <a:pt x="1875" y="790"/>
                      <a:pt x="1877" y="788"/>
                    </a:cubicBezTo>
                    <a:cubicBezTo>
                      <a:pt x="1879" y="786"/>
                      <a:pt x="1881" y="785"/>
                      <a:pt x="1884" y="783"/>
                    </a:cubicBezTo>
                    <a:cubicBezTo>
                      <a:pt x="1886" y="781"/>
                      <a:pt x="1887" y="779"/>
                      <a:pt x="1887" y="777"/>
                    </a:cubicBezTo>
                    <a:cubicBezTo>
                      <a:pt x="1887" y="774"/>
                      <a:pt x="1887" y="772"/>
                      <a:pt x="1889" y="770"/>
                    </a:cubicBezTo>
                    <a:cubicBezTo>
                      <a:pt x="1891" y="768"/>
                      <a:pt x="1894" y="766"/>
                      <a:pt x="1896" y="764"/>
                    </a:cubicBezTo>
                    <a:cubicBezTo>
                      <a:pt x="1898" y="762"/>
                      <a:pt x="1899" y="760"/>
                      <a:pt x="1902" y="759"/>
                    </a:cubicBezTo>
                    <a:cubicBezTo>
                      <a:pt x="1904" y="758"/>
                      <a:pt x="1907" y="756"/>
                      <a:pt x="1909" y="755"/>
                    </a:cubicBezTo>
                    <a:cubicBezTo>
                      <a:pt x="1911" y="753"/>
                      <a:pt x="1914" y="751"/>
                      <a:pt x="1916" y="751"/>
                    </a:cubicBezTo>
                    <a:cubicBezTo>
                      <a:pt x="1918" y="750"/>
                      <a:pt x="1921" y="749"/>
                      <a:pt x="1923" y="748"/>
                    </a:cubicBezTo>
                    <a:cubicBezTo>
                      <a:pt x="1925" y="746"/>
                      <a:pt x="1926" y="744"/>
                      <a:pt x="1926" y="741"/>
                    </a:cubicBezTo>
                    <a:cubicBezTo>
                      <a:pt x="1927" y="739"/>
                      <a:pt x="1929" y="736"/>
                      <a:pt x="1931" y="734"/>
                    </a:cubicBezTo>
                    <a:cubicBezTo>
                      <a:pt x="1935" y="730"/>
                      <a:pt x="1940" y="726"/>
                      <a:pt x="1945" y="722"/>
                    </a:cubicBezTo>
                    <a:cubicBezTo>
                      <a:pt x="1947" y="721"/>
                      <a:pt x="1949" y="719"/>
                      <a:pt x="1951" y="717"/>
                    </a:cubicBezTo>
                    <a:cubicBezTo>
                      <a:pt x="1954" y="716"/>
                      <a:pt x="1957" y="715"/>
                      <a:pt x="1959" y="714"/>
                    </a:cubicBezTo>
                    <a:cubicBezTo>
                      <a:pt x="1962" y="713"/>
                      <a:pt x="1965" y="711"/>
                      <a:pt x="1967" y="710"/>
                    </a:cubicBezTo>
                    <a:cubicBezTo>
                      <a:pt x="1971" y="709"/>
                      <a:pt x="1974" y="709"/>
                      <a:pt x="1977" y="708"/>
                    </a:cubicBezTo>
                    <a:cubicBezTo>
                      <a:pt x="1980" y="707"/>
                      <a:pt x="1983" y="708"/>
                      <a:pt x="1986" y="708"/>
                    </a:cubicBezTo>
                    <a:cubicBezTo>
                      <a:pt x="1989" y="708"/>
                      <a:pt x="1992" y="708"/>
                      <a:pt x="1996" y="708"/>
                    </a:cubicBezTo>
                    <a:cubicBezTo>
                      <a:pt x="1999" y="708"/>
                      <a:pt x="2002" y="708"/>
                      <a:pt x="2005" y="708"/>
                    </a:cubicBezTo>
                    <a:cubicBezTo>
                      <a:pt x="2008" y="708"/>
                      <a:pt x="2011" y="707"/>
                      <a:pt x="2014" y="708"/>
                    </a:cubicBezTo>
                    <a:cubicBezTo>
                      <a:pt x="2017" y="709"/>
                      <a:pt x="2014" y="710"/>
                      <a:pt x="2015" y="712"/>
                    </a:cubicBezTo>
                    <a:cubicBezTo>
                      <a:pt x="2015" y="713"/>
                      <a:pt x="2016" y="713"/>
                      <a:pt x="2017" y="713"/>
                    </a:cubicBezTo>
                    <a:cubicBezTo>
                      <a:pt x="2019" y="713"/>
                      <a:pt x="2020" y="714"/>
                      <a:pt x="2021" y="713"/>
                    </a:cubicBezTo>
                    <a:cubicBezTo>
                      <a:pt x="2023" y="712"/>
                      <a:pt x="2023" y="710"/>
                      <a:pt x="2024" y="708"/>
                    </a:cubicBezTo>
                    <a:cubicBezTo>
                      <a:pt x="2025" y="707"/>
                      <a:pt x="2029" y="706"/>
                      <a:pt x="2031" y="707"/>
                    </a:cubicBezTo>
                    <a:cubicBezTo>
                      <a:pt x="2033" y="709"/>
                      <a:pt x="2035" y="710"/>
                      <a:pt x="2037" y="710"/>
                    </a:cubicBezTo>
                    <a:cubicBezTo>
                      <a:pt x="2040" y="711"/>
                      <a:pt x="2043" y="712"/>
                      <a:pt x="2046" y="711"/>
                    </a:cubicBezTo>
                    <a:cubicBezTo>
                      <a:pt x="2050" y="710"/>
                      <a:pt x="2058" y="707"/>
                      <a:pt x="2062" y="711"/>
                    </a:cubicBezTo>
                    <a:cubicBezTo>
                      <a:pt x="2063" y="712"/>
                      <a:pt x="2066" y="714"/>
                      <a:pt x="2067" y="711"/>
                    </a:cubicBezTo>
                    <a:cubicBezTo>
                      <a:pt x="2067" y="710"/>
                      <a:pt x="2064" y="708"/>
                      <a:pt x="2065" y="707"/>
                    </a:cubicBezTo>
                    <a:cubicBezTo>
                      <a:pt x="2066" y="706"/>
                      <a:pt x="2068" y="706"/>
                      <a:pt x="2069" y="706"/>
                    </a:cubicBezTo>
                    <a:cubicBezTo>
                      <a:pt x="2073" y="707"/>
                      <a:pt x="2071" y="703"/>
                      <a:pt x="2070" y="701"/>
                    </a:cubicBezTo>
                    <a:cubicBezTo>
                      <a:pt x="2070" y="698"/>
                      <a:pt x="2073" y="698"/>
                      <a:pt x="2075" y="698"/>
                    </a:cubicBezTo>
                    <a:cubicBezTo>
                      <a:pt x="2078" y="698"/>
                      <a:pt x="2082" y="698"/>
                      <a:pt x="2085" y="699"/>
                    </a:cubicBezTo>
                    <a:cubicBezTo>
                      <a:pt x="2088" y="699"/>
                      <a:pt x="2090" y="701"/>
                      <a:pt x="2092" y="702"/>
                    </a:cubicBezTo>
                    <a:cubicBezTo>
                      <a:pt x="2094" y="704"/>
                      <a:pt x="2097" y="704"/>
                      <a:pt x="2100" y="704"/>
                    </a:cubicBezTo>
                    <a:cubicBezTo>
                      <a:pt x="2103" y="703"/>
                      <a:pt x="2105" y="703"/>
                      <a:pt x="2107" y="705"/>
                    </a:cubicBezTo>
                    <a:cubicBezTo>
                      <a:pt x="2110" y="706"/>
                      <a:pt x="2112" y="706"/>
                      <a:pt x="2114" y="709"/>
                    </a:cubicBezTo>
                    <a:cubicBezTo>
                      <a:pt x="2116" y="710"/>
                      <a:pt x="2118" y="710"/>
                      <a:pt x="2120" y="711"/>
                    </a:cubicBezTo>
                    <a:cubicBezTo>
                      <a:pt x="2121" y="711"/>
                      <a:pt x="2123" y="711"/>
                      <a:pt x="2123" y="712"/>
                    </a:cubicBezTo>
                    <a:cubicBezTo>
                      <a:pt x="2123" y="713"/>
                      <a:pt x="2121" y="713"/>
                      <a:pt x="2120" y="714"/>
                    </a:cubicBezTo>
                    <a:cubicBezTo>
                      <a:pt x="2118" y="714"/>
                      <a:pt x="2115" y="714"/>
                      <a:pt x="2112" y="714"/>
                    </a:cubicBezTo>
                    <a:cubicBezTo>
                      <a:pt x="2110" y="714"/>
                      <a:pt x="2106" y="713"/>
                      <a:pt x="2104" y="715"/>
                    </a:cubicBezTo>
                    <a:cubicBezTo>
                      <a:pt x="2103" y="717"/>
                      <a:pt x="2105" y="720"/>
                      <a:pt x="2106" y="721"/>
                    </a:cubicBezTo>
                    <a:cubicBezTo>
                      <a:pt x="2107" y="722"/>
                      <a:pt x="2108" y="722"/>
                      <a:pt x="2110" y="721"/>
                    </a:cubicBezTo>
                    <a:cubicBezTo>
                      <a:pt x="2111" y="721"/>
                      <a:pt x="2113" y="720"/>
                      <a:pt x="2114" y="720"/>
                    </a:cubicBezTo>
                    <a:cubicBezTo>
                      <a:pt x="2119" y="719"/>
                      <a:pt x="2126" y="715"/>
                      <a:pt x="2130" y="718"/>
                    </a:cubicBezTo>
                    <a:cubicBezTo>
                      <a:pt x="2131" y="719"/>
                      <a:pt x="2134" y="722"/>
                      <a:pt x="2135" y="720"/>
                    </a:cubicBezTo>
                    <a:cubicBezTo>
                      <a:pt x="2135" y="719"/>
                      <a:pt x="2134" y="717"/>
                      <a:pt x="2135" y="716"/>
                    </a:cubicBezTo>
                    <a:cubicBezTo>
                      <a:pt x="2137" y="714"/>
                      <a:pt x="2141" y="717"/>
                      <a:pt x="2143" y="715"/>
                    </a:cubicBezTo>
                    <a:cubicBezTo>
                      <a:pt x="2143" y="714"/>
                      <a:pt x="2143" y="713"/>
                      <a:pt x="2143" y="713"/>
                    </a:cubicBezTo>
                    <a:cubicBezTo>
                      <a:pt x="2143" y="712"/>
                      <a:pt x="2144" y="711"/>
                      <a:pt x="2144" y="712"/>
                    </a:cubicBezTo>
                    <a:cubicBezTo>
                      <a:pt x="2146" y="712"/>
                      <a:pt x="2148" y="714"/>
                      <a:pt x="2149" y="715"/>
                    </a:cubicBezTo>
                    <a:cubicBezTo>
                      <a:pt x="2151" y="716"/>
                      <a:pt x="2154" y="718"/>
                      <a:pt x="2155" y="717"/>
                    </a:cubicBezTo>
                    <a:cubicBezTo>
                      <a:pt x="2157" y="716"/>
                      <a:pt x="2158" y="714"/>
                      <a:pt x="2159" y="713"/>
                    </a:cubicBezTo>
                    <a:cubicBezTo>
                      <a:pt x="2161" y="712"/>
                      <a:pt x="2164" y="713"/>
                      <a:pt x="2166" y="713"/>
                    </a:cubicBezTo>
                    <a:cubicBezTo>
                      <a:pt x="2168" y="714"/>
                      <a:pt x="2172" y="715"/>
                      <a:pt x="2173" y="712"/>
                    </a:cubicBezTo>
                    <a:cubicBezTo>
                      <a:pt x="2174" y="710"/>
                      <a:pt x="2172" y="708"/>
                      <a:pt x="2170" y="707"/>
                    </a:cubicBezTo>
                    <a:cubicBezTo>
                      <a:pt x="2168" y="706"/>
                      <a:pt x="2165" y="704"/>
                      <a:pt x="2162" y="706"/>
                    </a:cubicBezTo>
                    <a:cubicBezTo>
                      <a:pt x="2161" y="706"/>
                      <a:pt x="2160" y="707"/>
                      <a:pt x="2159" y="707"/>
                    </a:cubicBezTo>
                    <a:cubicBezTo>
                      <a:pt x="2158" y="707"/>
                      <a:pt x="2157" y="706"/>
                      <a:pt x="2157" y="705"/>
                    </a:cubicBezTo>
                    <a:cubicBezTo>
                      <a:pt x="2157" y="704"/>
                      <a:pt x="2158" y="703"/>
                      <a:pt x="2158" y="702"/>
                    </a:cubicBezTo>
                    <a:cubicBezTo>
                      <a:pt x="2158" y="700"/>
                      <a:pt x="2158" y="699"/>
                      <a:pt x="2158" y="698"/>
                    </a:cubicBezTo>
                    <a:cubicBezTo>
                      <a:pt x="2158" y="695"/>
                      <a:pt x="2160" y="694"/>
                      <a:pt x="2162" y="692"/>
                    </a:cubicBezTo>
                    <a:cubicBezTo>
                      <a:pt x="2164" y="691"/>
                      <a:pt x="2164" y="688"/>
                      <a:pt x="2166" y="687"/>
                    </a:cubicBezTo>
                    <a:cubicBezTo>
                      <a:pt x="2171" y="684"/>
                      <a:pt x="2176" y="682"/>
                      <a:pt x="2180" y="678"/>
                    </a:cubicBezTo>
                    <a:cubicBezTo>
                      <a:pt x="2182" y="677"/>
                      <a:pt x="2184" y="675"/>
                      <a:pt x="2186" y="673"/>
                    </a:cubicBezTo>
                    <a:cubicBezTo>
                      <a:pt x="2187" y="672"/>
                      <a:pt x="2187" y="670"/>
                      <a:pt x="2188" y="669"/>
                    </a:cubicBezTo>
                    <a:cubicBezTo>
                      <a:pt x="2188" y="668"/>
                      <a:pt x="2189" y="667"/>
                      <a:pt x="2191" y="666"/>
                    </a:cubicBezTo>
                    <a:cubicBezTo>
                      <a:pt x="2193" y="665"/>
                      <a:pt x="2195" y="663"/>
                      <a:pt x="2197" y="662"/>
                    </a:cubicBezTo>
                    <a:cubicBezTo>
                      <a:pt x="2200" y="661"/>
                      <a:pt x="2200" y="658"/>
                      <a:pt x="2201" y="656"/>
                    </a:cubicBezTo>
                    <a:cubicBezTo>
                      <a:pt x="2201" y="653"/>
                      <a:pt x="2204" y="651"/>
                      <a:pt x="2206" y="649"/>
                    </a:cubicBezTo>
                    <a:cubicBezTo>
                      <a:pt x="2208" y="647"/>
                      <a:pt x="2211" y="647"/>
                      <a:pt x="2214" y="647"/>
                    </a:cubicBezTo>
                    <a:cubicBezTo>
                      <a:pt x="2220" y="646"/>
                      <a:pt x="2227" y="646"/>
                      <a:pt x="2233" y="645"/>
                    </a:cubicBezTo>
                    <a:cubicBezTo>
                      <a:pt x="2236" y="645"/>
                      <a:pt x="2239" y="644"/>
                      <a:pt x="2242" y="643"/>
                    </a:cubicBezTo>
                    <a:cubicBezTo>
                      <a:pt x="2242" y="643"/>
                      <a:pt x="2244" y="643"/>
                      <a:pt x="2244" y="644"/>
                    </a:cubicBezTo>
                    <a:cubicBezTo>
                      <a:pt x="2244" y="645"/>
                      <a:pt x="2244" y="646"/>
                      <a:pt x="2244" y="647"/>
                    </a:cubicBezTo>
                    <a:cubicBezTo>
                      <a:pt x="2246" y="649"/>
                      <a:pt x="2248" y="649"/>
                      <a:pt x="2250" y="649"/>
                    </a:cubicBezTo>
                    <a:cubicBezTo>
                      <a:pt x="2253" y="648"/>
                      <a:pt x="2255" y="647"/>
                      <a:pt x="2257" y="645"/>
                    </a:cubicBezTo>
                    <a:cubicBezTo>
                      <a:pt x="2258" y="645"/>
                      <a:pt x="2263" y="642"/>
                      <a:pt x="2263" y="644"/>
                    </a:cubicBezTo>
                    <a:cubicBezTo>
                      <a:pt x="2262" y="645"/>
                      <a:pt x="2262" y="646"/>
                      <a:pt x="2262" y="647"/>
                    </a:cubicBezTo>
                    <a:cubicBezTo>
                      <a:pt x="2261" y="648"/>
                      <a:pt x="2261" y="650"/>
                      <a:pt x="2260" y="651"/>
                    </a:cubicBezTo>
                    <a:cubicBezTo>
                      <a:pt x="2259" y="651"/>
                      <a:pt x="2258" y="652"/>
                      <a:pt x="2257" y="653"/>
                    </a:cubicBezTo>
                    <a:cubicBezTo>
                      <a:pt x="2256" y="654"/>
                      <a:pt x="2256" y="655"/>
                      <a:pt x="2256" y="656"/>
                    </a:cubicBezTo>
                    <a:cubicBezTo>
                      <a:pt x="2256" y="657"/>
                      <a:pt x="2256" y="658"/>
                      <a:pt x="2255" y="659"/>
                    </a:cubicBezTo>
                    <a:cubicBezTo>
                      <a:pt x="2254" y="660"/>
                      <a:pt x="2253" y="659"/>
                      <a:pt x="2252" y="660"/>
                    </a:cubicBezTo>
                    <a:cubicBezTo>
                      <a:pt x="2248" y="661"/>
                      <a:pt x="2254" y="663"/>
                      <a:pt x="2254" y="665"/>
                    </a:cubicBezTo>
                    <a:cubicBezTo>
                      <a:pt x="2254" y="666"/>
                      <a:pt x="2252" y="669"/>
                      <a:pt x="2254" y="670"/>
                    </a:cubicBezTo>
                    <a:cubicBezTo>
                      <a:pt x="2256" y="671"/>
                      <a:pt x="2258" y="669"/>
                      <a:pt x="2260" y="670"/>
                    </a:cubicBezTo>
                    <a:cubicBezTo>
                      <a:pt x="2261" y="671"/>
                      <a:pt x="2259" y="674"/>
                      <a:pt x="2258" y="675"/>
                    </a:cubicBezTo>
                    <a:cubicBezTo>
                      <a:pt x="2258" y="676"/>
                      <a:pt x="2258" y="677"/>
                      <a:pt x="2259" y="678"/>
                    </a:cubicBezTo>
                    <a:cubicBezTo>
                      <a:pt x="2260" y="678"/>
                      <a:pt x="2261" y="677"/>
                      <a:pt x="2262" y="677"/>
                    </a:cubicBezTo>
                    <a:cubicBezTo>
                      <a:pt x="2264" y="676"/>
                      <a:pt x="2266" y="675"/>
                      <a:pt x="2268" y="673"/>
                    </a:cubicBezTo>
                    <a:cubicBezTo>
                      <a:pt x="2270" y="671"/>
                      <a:pt x="2270" y="669"/>
                      <a:pt x="2272" y="667"/>
                    </a:cubicBezTo>
                    <a:cubicBezTo>
                      <a:pt x="2274" y="665"/>
                      <a:pt x="2276" y="664"/>
                      <a:pt x="2278" y="663"/>
                    </a:cubicBezTo>
                    <a:cubicBezTo>
                      <a:pt x="2281" y="661"/>
                      <a:pt x="2283" y="659"/>
                      <a:pt x="2285" y="657"/>
                    </a:cubicBezTo>
                    <a:cubicBezTo>
                      <a:pt x="2288" y="656"/>
                      <a:pt x="2290" y="655"/>
                      <a:pt x="2292" y="653"/>
                    </a:cubicBezTo>
                    <a:cubicBezTo>
                      <a:pt x="2294" y="652"/>
                      <a:pt x="2295" y="650"/>
                      <a:pt x="2298" y="650"/>
                    </a:cubicBezTo>
                    <a:cubicBezTo>
                      <a:pt x="2299" y="650"/>
                      <a:pt x="2300" y="650"/>
                      <a:pt x="2302" y="650"/>
                    </a:cubicBezTo>
                    <a:cubicBezTo>
                      <a:pt x="2303" y="650"/>
                      <a:pt x="2304" y="649"/>
                      <a:pt x="2305" y="650"/>
                    </a:cubicBezTo>
                    <a:cubicBezTo>
                      <a:pt x="2305" y="651"/>
                      <a:pt x="2305" y="652"/>
                      <a:pt x="2306" y="652"/>
                    </a:cubicBezTo>
                    <a:cubicBezTo>
                      <a:pt x="2307" y="652"/>
                      <a:pt x="2309" y="651"/>
                      <a:pt x="2310" y="651"/>
                    </a:cubicBezTo>
                    <a:cubicBezTo>
                      <a:pt x="2311" y="650"/>
                      <a:pt x="2310" y="647"/>
                      <a:pt x="2309" y="646"/>
                    </a:cubicBezTo>
                    <a:cubicBezTo>
                      <a:pt x="2308" y="645"/>
                      <a:pt x="2305" y="645"/>
                      <a:pt x="2306" y="642"/>
                    </a:cubicBezTo>
                    <a:cubicBezTo>
                      <a:pt x="2308" y="639"/>
                      <a:pt x="2309" y="637"/>
                      <a:pt x="2309" y="634"/>
                    </a:cubicBezTo>
                    <a:cubicBezTo>
                      <a:pt x="2310" y="631"/>
                      <a:pt x="2310" y="628"/>
                      <a:pt x="2311" y="625"/>
                    </a:cubicBezTo>
                    <a:cubicBezTo>
                      <a:pt x="2312" y="623"/>
                      <a:pt x="2315" y="625"/>
                      <a:pt x="2317" y="624"/>
                    </a:cubicBezTo>
                    <a:cubicBezTo>
                      <a:pt x="2318" y="624"/>
                      <a:pt x="2319" y="624"/>
                      <a:pt x="2321" y="624"/>
                    </a:cubicBezTo>
                    <a:cubicBezTo>
                      <a:pt x="2322" y="623"/>
                      <a:pt x="2324" y="623"/>
                      <a:pt x="2326" y="623"/>
                    </a:cubicBezTo>
                    <a:cubicBezTo>
                      <a:pt x="2328" y="622"/>
                      <a:pt x="2330" y="621"/>
                      <a:pt x="2332" y="621"/>
                    </a:cubicBezTo>
                    <a:cubicBezTo>
                      <a:pt x="2334" y="622"/>
                      <a:pt x="2335" y="625"/>
                      <a:pt x="2337" y="626"/>
                    </a:cubicBezTo>
                    <a:cubicBezTo>
                      <a:pt x="2339" y="627"/>
                      <a:pt x="2342" y="627"/>
                      <a:pt x="2345" y="627"/>
                    </a:cubicBezTo>
                    <a:cubicBezTo>
                      <a:pt x="2346" y="627"/>
                      <a:pt x="2347" y="627"/>
                      <a:pt x="2349" y="627"/>
                    </a:cubicBezTo>
                    <a:cubicBezTo>
                      <a:pt x="2350" y="627"/>
                      <a:pt x="2352" y="627"/>
                      <a:pt x="2352" y="628"/>
                    </a:cubicBezTo>
                    <a:cubicBezTo>
                      <a:pt x="2353" y="630"/>
                      <a:pt x="2351" y="630"/>
                      <a:pt x="2350" y="629"/>
                    </a:cubicBezTo>
                    <a:cubicBezTo>
                      <a:pt x="2348" y="629"/>
                      <a:pt x="2347" y="629"/>
                      <a:pt x="2345" y="629"/>
                    </a:cubicBezTo>
                    <a:cubicBezTo>
                      <a:pt x="2344" y="630"/>
                      <a:pt x="2345" y="631"/>
                      <a:pt x="2343" y="632"/>
                    </a:cubicBezTo>
                    <a:cubicBezTo>
                      <a:pt x="2342" y="632"/>
                      <a:pt x="2341" y="632"/>
                      <a:pt x="2340" y="631"/>
                    </a:cubicBezTo>
                    <a:cubicBezTo>
                      <a:pt x="2339" y="631"/>
                      <a:pt x="2337" y="630"/>
                      <a:pt x="2336" y="630"/>
                    </a:cubicBezTo>
                    <a:cubicBezTo>
                      <a:pt x="2334" y="629"/>
                      <a:pt x="2333" y="629"/>
                      <a:pt x="2332" y="630"/>
                    </a:cubicBezTo>
                    <a:cubicBezTo>
                      <a:pt x="2331" y="630"/>
                      <a:pt x="2330" y="631"/>
                      <a:pt x="2329" y="632"/>
                    </a:cubicBezTo>
                    <a:cubicBezTo>
                      <a:pt x="2327" y="633"/>
                      <a:pt x="2325" y="635"/>
                      <a:pt x="2325" y="637"/>
                    </a:cubicBezTo>
                    <a:cubicBezTo>
                      <a:pt x="2324" y="640"/>
                      <a:pt x="2324" y="642"/>
                      <a:pt x="2324" y="645"/>
                    </a:cubicBezTo>
                    <a:cubicBezTo>
                      <a:pt x="2324" y="646"/>
                      <a:pt x="2324" y="647"/>
                      <a:pt x="2323" y="648"/>
                    </a:cubicBezTo>
                    <a:cubicBezTo>
                      <a:pt x="2322" y="649"/>
                      <a:pt x="2321" y="650"/>
                      <a:pt x="2321" y="652"/>
                    </a:cubicBezTo>
                    <a:cubicBezTo>
                      <a:pt x="2321" y="653"/>
                      <a:pt x="2322" y="653"/>
                      <a:pt x="2323" y="654"/>
                    </a:cubicBezTo>
                    <a:cubicBezTo>
                      <a:pt x="2323" y="655"/>
                      <a:pt x="2324" y="656"/>
                      <a:pt x="2324" y="657"/>
                    </a:cubicBezTo>
                    <a:cubicBezTo>
                      <a:pt x="2325" y="660"/>
                      <a:pt x="2323" y="662"/>
                      <a:pt x="2321" y="663"/>
                    </a:cubicBezTo>
                    <a:cubicBezTo>
                      <a:pt x="2318" y="665"/>
                      <a:pt x="2317" y="666"/>
                      <a:pt x="2318" y="669"/>
                    </a:cubicBezTo>
                    <a:cubicBezTo>
                      <a:pt x="2318" y="672"/>
                      <a:pt x="2314" y="673"/>
                      <a:pt x="2312" y="674"/>
                    </a:cubicBezTo>
                    <a:cubicBezTo>
                      <a:pt x="2310" y="674"/>
                      <a:pt x="2307" y="675"/>
                      <a:pt x="2305" y="675"/>
                    </a:cubicBezTo>
                    <a:cubicBezTo>
                      <a:pt x="2302" y="676"/>
                      <a:pt x="2299" y="678"/>
                      <a:pt x="2296" y="679"/>
                    </a:cubicBezTo>
                    <a:cubicBezTo>
                      <a:pt x="2294" y="680"/>
                      <a:pt x="2291" y="680"/>
                      <a:pt x="2289" y="681"/>
                    </a:cubicBezTo>
                    <a:cubicBezTo>
                      <a:pt x="2289" y="682"/>
                      <a:pt x="2288" y="683"/>
                      <a:pt x="2287" y="684"/>
                    </a:cubicBezTo>
                    <a:cubicBezTo>
                      <a:pt x="2287" y="685"/>
                      <a:pt x="2287" y="687"/>
                      <a:pt x="2286" y="688"/>
                    </a:cubicBezTo>
                    <a:cubicBezTo>
                      <a:pt x="2282" y="692"/>
                      <a:pt x="2277" y="696"/>
                      <a:pt x="2272" y="699"/>
                    </a:cubicBezTo>
                    <a:cubicBezTo>
                      <a:pt x="2269" y="701"/>
                      <a:pt x="2267" y="702"/>
                      <a:pt x="2265" y="704"/>
                    </a:cubicBezTo>
                    <a:cubicBezTo>
                      <a:pt x="2262" y="706"/>
                      <a:pt x="2260" y="709"/>
                      <a:pt x="2258" y="711"/>
                    </a:cubicBezTo>
                    <a:cubicBezTo>
                      <a:pt x="2256" y="712"/>
                      <a:pt x="2254" y="714"/>
                      <a:pt x="2253" y="716"/>
                    </a:cubicBezTo>
                    <a:cubicBezTo>
                      <a:pt x="2251" y="718"/>
                      <a:pt x="2250" y="721"/>
                      <a:pt x="2248" y="724"/>
                    </a:cubicBezTo>
                    <a:cubicBezTo>
                      <a:pt x="2245" y="728"/>
                      <a:pt x="2241" y="734"/>
                      <a:pt x="2237" y="736"/>
                    </a:cubicBezTo>
                    <a:cubicBezTo>
                      <a:pt x="2234" y="737"/>
                      <a:pt x="2232" y="738"/>
                      <a:pt x="2230" y="740"/>
                    </a:cubicBezTo>
                    <a:cubicBezTo>
                      <a:pt x="2228" y="741"/>
                      <a:pt x="2228" y="744"/>
                      <a:pt x="2226" y="745"/>
                    </a:cubicBezTo>
                    <a:cubicBezTo>
                      <a:pt x="2225" y="745"/>
                      <a:pt x="2223" y="742"/>
                      <a:pt x="2222" y="742"/>
                    </a:cubicBezTo>
                    <a:cubicBezTo>
                      <a:pt x="2220" y="742"/>
                      <a:pt x="2219" y="742"/>
                      <a:pt x="2218" y="743"/>
                    </a:cubicBezTo>
                    <a:cubicBezTo>
                      <a:pt x="2217" y="743"/>
                      <a:pt x="2215" y="743"/>
                      <a:pt x="2214" y="744"/>
                    </a:cubicBezTo>
                    <a:cubicBezTo>
                      <a:pt x="2214" y="745"/>
                      <a:pt x="2214" y="746"/>
                      <a:pt x="2213" y="747"/>
                    </a:cubicBezTo>
                    <a:cubicBezTo>
                      <a:pt x="2212" y="748"/>
                      <a:pt x="2211" y="748"/>
                      <a:pt x="2210" y="748"/>
                    </a:cubicBezTo>
                    <a:cubicBezTo>
                      <a:pt x="2207" y="748"/>
                      <a:pt x="2204" y="748"/>
                      <a:pt x="2202" y="749"/>
                    </a:cubicBezTo>
                    <a:cubicBezTo>
                      <a:pt x="2200" y="751"/>
                      <a:pt x="2201" y="753"/>
                      <a:pt x="2202" y="754"/>
                    </a:cubicBezTo>
                    <a:cubicBezTo>
                      <a:pt x="2204" y="756"/>
                      <a:pt x="2204" y="758"/>
                      <a:pt x="2203" y="761"/>
                    </a:cubicBezTo>
                    <a:cubicBezTo>
                      <a:pt x="2201" y="763"/>
                      <a:pt x="2200" y="765"/>
                      <a:pt x="2198" y="766"/>
                    </a:cubicBezTo>
                    <a:cubicBezTo>
                      <a:pt x="2195" y="767"/>
                      <a:pt x="2193" y="769"/>
                      <a:pt x="2191" y="771"/>
                    </a:cubicBezTo>
                    <a:cubicBezTo>
                      <a:pt x="2189" y="773"/>
                      <a:pt x="2187" y="774"/>
                      <a:pt x="2186" y="777"/>
                    </a:cubicBezTo>
                    <a:cubicBezTo>
                      <a:pt x="2185" y="780"/>
                      <a:pt x="2185" y="783"/>
                      <a:pt x="2184" y="785"/>
                    </a:cubicBezTo>
                    <a:cubicBezTo>
                      <a:pt x="2182" y="792"/>
                      <a:pt x="2182" y="798"/>
                      <a:pt x="2181" y="804"/>
                    </a:cubicBezTo>
                    <a:cubicBezTo>
                      <a:pt x="2181" y="811"/>
                      <a:pt x="2180" y="817"/>
                      <a:pt x="2182" y="824"/>
                    </a:cubicBezTo>
                    <a:cubicBezTo>
                      <a:pt x="2183" y="830"/>
                      <a:pt x="2185" y="836"/>
                      <a:pt x="2186" y="842"/>
                    </a:cubicBezTo>
                    <a:cubicBezTo>
                      <a:pt x="2187" y="848"/>
                      <a:pt x="2188" y="855"/>
                      <a:pt x="2189" y="861"/>
                    </a:cubicBezTo>
                    <a:cubicBezTo>
                      <a:pt x="2189" y="864"/>
                      <a:pt x="2189" y="867"/>
                      <a:pt x="2190" y="870"/>
                    </a:cubicBezTo>
                    <a:cubicBezTo>
                      <a:pt x="2191" y="872"/>
                      <a:pt x="2193" y="873"/>
                      <a:pt x="2195" y="874"/>
                    </a:cubicBezTo>
                    <a:cubicBezTo>
                      <a:pt x="2196" y="877"/>
                      <a:pt x="2195" y="880"/>
                      <a:pt x="2195" y="882"/>
                    </a:cubicBezTo>
                    <a:cubicBezTo>
                      <a:pt x="2195" y="885"/>
                      <a:pt x="2196" y="888"/>
                      <a:pt x="2196" y="891"/>
                    </a:cubicBezTo>
                    <a:cubicBezTo>
                      <a:pt x="2196" y="894"/>
                      <a:pt x="2195" y="896"/>
                      <a:pt x="2196" y="899"/>
                    </a:cubicBezTo>
                    <a:cubicBezTo>
                      <a:pt x="2196" y="902"/>
                      <a:pt x="2199" y="904"/>
                      <a:pt x="2198" y="907"/>
                    </a:cubicBezTo>
                    <a:cubicBezTo>
                      <a:pt x="2198" y="907"/>
                      <a:pt x="2197" y="911"/>
                      <a:pt x="2198" y="911"/>
                    </a:cubicBezTo>
                    <a:cubicBezTo>
                      <a:pt x="2201" y="910"/>
                      <a:pt x="2202" y="907"/>
                      <a:pt x="2204" y="905"/>
                    </a:cubicBezTo>
                    <a:cubicBezTo>
                      <a:pt x="2206" y="903"/>
                      <a:pt x="2208" y="902"/>
                      <a:pt x="2210" y="901"/>
                    </a:cubicBezTo>
                    <a:cubicBezTo>
                      <a:pt x="2212" y="899"/>
                      <a:pt x="2214" y="897"/>
                      <a:pt x="2216" y="895"/>
                    </a:cubicBezTo>
                    <a:cubicBezTo>
                      <a:pt x="2217" y="892"/>
                      <a:pt x="2219" y="890"/>
                      <a:pt x="2221" y="889"/>
                    </a:cubicBezTo>
                    <a:cubicBezTo>
                      <a:pt x="2224" y="887"/>
                      <a:pt x="2226" y="884"/>
                      <a:pt x="2227" y="882"/>
                    </a:cubicBezTo>
                    <a:cubicBezTo>
                      <a:pt x="2229" y="880"/>
                      <a:pt x="2230" y="878"/>
                      <a:pt x="2230" y="875"/>
                    </a:cubicBezTo>
                    <a:cubicBezTo>
                      <a:pt x="2229" y="874"/>
                      <a:pt x="2229" y="873"/>
                      <a:pt x="2229" y="872"/>
                    </a:cubicBezTo>
                    <a:cubicBezTo>
                      <a:pt x="2229" y="870"/>
                      <a:pt x="2230" y="869"/>
                      <a:pt x="2231" y="868"/>
                    </a:cubicBezTo>
                    <a:cubicBezTo>
                      <a:pt x="2235" y="864"/>
                      <a:pt x="2238" y="860"/>
                      <a:pt x="2244" y="858"/>
                    </a:cubicBezTo>
                    <a:cubicBezTo>
                      <a:pt x="2247" y="857"/>
                      <a:pt x="2249" y="857"/>
                      <a:pt x="2252" y="858"/>
                    </a:cubicBezTo>
                    <a:cubicBezTo>
                      <a:pt x="2253" y="858"/>
                      <a:pt x="2256" y="860"/>
                      <a:pt x="2256" y="858"/>
                    </a:cubicBezTo>
                    <a:cubicBezTo>
                      <a:pt x="2256" y="855"/>
                      <a:pt x="2254" y="854"/>
                      <a:pt x="2253" y="852"/>
                    </a:cubicBezTo>
                    <a:cubicBezTo>
                      <a:pt x="2253" y="851"/>
                      <a:pt x="2254" y="850"/>
                      <a:pt x="2254" y="848"/>
                    </a:cubicBezTo>
                    <a:cubicBezTo>
                      <a:pt x="2254" y="847"/>
                      <a:pt x="2253" y="846"/>
                      <a:pt x="2253" y="845"/>
                    </a:cubicBezTo>
                    <a:cubicBezTo>
                      <a:pt x="2252" y="843"/>
                      <a:pt x="2254" y="840"/>
                      <a:pt x="2254" y="838"/>
                    </a:cubicBezTo>
                    <a:cubicBezTo>
                      <a:pt x="2255" y="835"/>
                      <a:pt x="2258" y="833"/>
                      <a:pt x="2260" y="831"/>
                    </a:cubicBezTo>
                    <a:cubicBezTo>
                      <a:pt x="2262" y="830"/>
                      <a:pt x="2264" y="829"/>
                      <a:pt x="2266" y="827"/>
                    </a:cubicBezTo>
                    <a:cubicBezTo>
                      <a:pt x="2268" y="825"/>
                      <a:pt x="2271" y="825"/>
                      <a:pt x="2274" y="825"/>
                    </a:cubicBezTo>
                    <a:cubicBezTo>
                      <a:pt x="2277" y="825"/>
                      <a:pt x="2279" y="827"/>
                      <a:pt x="2282" y="826"/>
                    </a:cubicBezTo>
                    <a:cubicBezTo>
                      <a:pt x="2284" y="825"/>
                      <a:pt x="2287" y="824"/>
                      <a:pt x="2289" y="823"/>
                    </a:cubicBezTo>
                    <a:cubicBezTo>
                      <a:pt x="2291" y="822"/>
                      <a:pt x="2292" y="820"/>
                      <a:pt x="2291" y="818"/>
                    </a:cubicBezTo>
                    <a:cubicBezTo>
                      <a:pt x="2291" y="817"/>
                      <a:pt x="2291" y="815"/>
                      <a:pt x="2290" y="815"/>
                    </a:cubicBezTo>
                    <a:cubicBezTo>
                      <a:pt x="2289" y="814"/>
                      <a:pt x="2288" y="813"/>
                      <a:pt x="2287" y="812"/>
                    </a:cubicBezTo>
                    <a:cubicBezTo>
                      <a:pt x="2286" y="809"/>
                      <a:pt x="2286" y="807"/>
                      <a:pt x="2286" y="804"/>
                    </a:cubicBezTo>
                    <a:cubicBezTo>
                      <a:pt x="2286" y="802"/>
                      <a:pt x="2286" y="801"/>
                      <a:pt x="2286" y="800"/>
                    </a:cubicBezTo>
                    <a:cubicBezTo>
                      <a:pt x="2286" y="798"/>
                      <a:pt x="2287" y="797"/>
                      <a:pt x="2288" y="796"/>
                    </a:cubicBezTo>
                    <a:cubicBezTo>
                      <a:pt x="2288" y="794"/>
                      <a:pt x="2288" y="793"/>
                      <a:pt x="2289" y="792"/>
                    </a:cubicBezTo>
                    <a:cubicBezTo>
                      <a:pt x="2290" y="791"/>
                      <a:pt x="2291" y="790"/>
                      <a:pt x="2292" y="789"/>
                    </a:cubicBezTo>
                    <a:cubicBezTo>
                      <a:pt x="2293" y="788"/>
                      <a:pt x="2293" y="787"/>
                      <a:pt x="2294" y="787"/>
                    </a:cubicBezTo>
                    <a:cubicBezTo>
                      <a:pt x="2295" y="786"/>
                      <a:pt x="2297" y="785"/>
                      <a:pt x="2297" y="784"/>
                    </a:cubicBezTo>
                    <a:cubicBezTo>
                      <a:pt x="2297" y="783"/>
                      <a:pt x="2296" y="783"/>
                      <a:pt x="2296" y="782"/>
                    </a:cubicBezTo>
                    <a:cubicBezTo>
                      <a:pt x="2296" y="781"/>
                      <a:pt x="2297" y="780"/>
                      <a:pt x="2298" y="780"/>
                    </a:cubicBezTo>
                    <a:cubicBezTo>
                      <a:pt x="2301" y="779"/>
                      <a:pt x="2304" y="779"/>
                      <a:pt x="2306" y="779"/>
                    </a:cubicBezTo>
                    <a:cubicBezTo>
                      <a:pt x="2308" y="779"/>
                      <a:pt x="2307" y="781"/>
                      <a:pt x="2306" y="782"/>
                    </a:cubicBezTo>
                    <a:cubicBezTo>
                      <a:pt x="2304" y="784"/>
                      <a:pt x="2302" y="784"/>
                      <a:pt x="2301" y="786"/>
                    </a:cubicBezTo>
                    <a:cubicBezTo>
                      <a:pt x="2301" y="787"/>
                      <a:pt x="2301" y="788"/>
                      <a:pt x="2302" y="789"/>
                    </a:cubicBezTo>
                    <a:cubicBezTo>
                      <a:pt x="2303" y="790"/>
                      <a:pt x="2303" y="791"/>
                      <a:pt x="2304" y="791"/>
                    </a:cubicBezTo>
                    <a:cubicBezTo>
                      <a:pt x="2305" y="791"/>
                      <a:pt x="2306" y="790"/>
                      <a:pt x="2307" y="790"/>
                    </a:cubicBezTo>
                    <a:cubicBezTo>
                      <a:pt x="2308" y="789"/>
                      <a:pt x="2309" y="789"/>
                      <a:pt x="2309" y="789"/>
                    </a:cubicBezTo>
                    <a:cubicBezTo>
                      <a:pt x="2311" y="788"/>
                      <a:pt x="2312" y="787"/>
                      <a:pt x="2312" y="785"/>
                    </a:cubicBezTo>
                    <a:cubicBezTo>
                      <a:pt x="2312" y="782"/>
                      <a:pt x="2310" y="780"/>
                      <a:pt x="2310" y="778"/>
                    </a:cubicBezTo>
                    <a:cubicBezTo>
                      <a:pt x="2310" y="775"/>
                      <a:pt x="2310" y="774"/>
                      <a:pt x="2308" y="773"/>
                    </a:cubicBezTo>
                    <a:cubicBezTo>
                      <a:pt x="2306" y="773"/>
                      <a:pt x="2304" y="773"/>
                      <a:pt x="2303" y="771"/>
                    </a:cubicBezTo>
                    <a:cubicBezTo>
                      <a:pt x="2302" y="770"/>
                      <a:pt x="2303" y="769"/>
                      <a:pt x="2303" y="767"/>
                    </a:cubicBezTo>
                    <a:cubicBezTo>
                      <a:pt x="2303" y="766"/>
                      <a:pt x="2303" y="764"/>
                      <a:pt x="2303" y="763"/>
                    </a:cubicBezTo>
                    <a:cubicBezTo>
                      <a:pt x="2303" y="762"/>
                      <a:pt x="2302" y="760"/>
                      <a:pt x="2303" y="759"/>
                    </a:cubicBezTo>
                    <a:cubicBezTo>
                      <a:pt x="2303" y="758"/>
                      <a:pt x="2304" y="756"/>
                      <a:pt x="2305" y="755"/>
                    </a:cubicBezTo>
                    <a:cubicBezTo>
                      <a:pt x="2306" y="753"/>
                      <a:pt x="2308" y="751"/>
                      <a:pt x="2310" y="749"/>
                    </a:cubicBezTo>
                    <a:cubicBezTo>
                      <a:pt x="2312" y="746"/>
                      <a:pt x="2306" y="746"/>
                      <a:pt x="2305" y="746"/>
                    </a:cubicBezTo>
                    <a:cubicBezTo>
                      <a:pt x="2303" y="745"/>
                      <a:pt x="2302" y="743"/>
                      <a:pt x="2299" y="744"/>
                    </a:cubicBezTo>
                    <a:cubicBezTo>
                      <a:pt x="2297" y="745"/>
                      <a:pt x="2299" y="748"/>
                      <a:pt x="2298" y="749"/>
                    </a:cubicBezTo>
                    <a:cubicBezTo>
                      <a:pt x="2297" y="750"/>
                      <a:pt x="2296" y="750"/>
                      <a:pt x="2296" y="750"/>
                    </a:cubicBezTo>
                    <a:cubicBezTo>
                      <a:pt x="2295" y="749"/>
                      <a:pt x="2296" y="748"/>
                      <a:pt x="2296" y="747"/>
                    </a:cubicBezTo>
                    <a:cubicBezTo>
                      <a:pt x="2295" y="746"/>
                      <a:pt x="2295" y="746"/>
                      <a:pt x="2294" y="745"/>
                    </a:cubicBezTo>
                    <a:cubicBezTo>
                      <a:pt x="2292" y="745"/>
                      <a:pt x="2291" y="744"/>
                      <a:pt x="2290" y="743"/>
                    </a:cubicBezTo>
                    <a:cubicBezTo>
                      <a:pt x="2289" y="742"/>
                      <a:pt x="2288" y="742"/>
                      <a:pt x="2288" y="741"/>
                    </a:cubicBezTo>
                    <a:cubicBezTo>
                      <a:pt x="2288" y="739"/>
                      <a:pt x="2289" y="738"/>
                      <a:pt x="2289" y="737"/>
                    </a:cubicBezTo>
                    <a:cubicBezTo>
                      <a:pt x="2290" y="734"/>
                      <a:pt x="2292" y="733"/>
                      <a:pt x="2293" y="730"/>
                    </a:cubicBezTo>
                    <a:cubicBezTo>
                      <a:pt x="2294" y="729"/>
                      <a:pt x="2295" y="728"/>
                      <a:pt x="2295" y="727"/>
                    </a:cubicBezTo>
                    <a:cubicBezTo>
                      <a:pt x="2296" y="726"/>
                      <a:pt x="2297" y="725"/>
                      <a:pt x="2298" y="724"/>
                    </a:cubicBezTo>
                    <a:cubicBezTo>
                      <a:pt x="2300" y="723"/>
                      <a:pt x="2302" y="721"/>
                      <a:pt x="2305" y="720"/>
                    </a:cubicBezTo>
                    <a:cubicBezTo>
                      <a:pt x="2307" y="719"/>
                      <a:pt x="2306" y="717"/>
                      <a:pt x="2305" y="715"/>
                    </a:cubicBezTo>
                    <a:cubicBezTo>
                      <a:pt x="2305" y="713"/>
                      <a:pt x="2308" y="715"/>
                      <a:pt x="2309" y="714"/>
                    </a:cubicBezTo>
                    <a:cubicBezTo>
                      <a:pt x="2309" y="713"/>
                      <a:pt x="2308" y="713"/>
                      <a:pt x="2308" y="712"/>
                    </a:cubicBezTo>
                    <a:cubicBezTo>
                      <a:pt x="2309" y="710"/>
                      <a:pt x="2309" y="710"/>
                      <a:pt x="2310" y="710"/>
                    </a:cubicBezTo>
                    <a:cubicBezTo>
                      <a:pt x="2313" y="708"/>
                      <a:pt x="2311" y="705"/>
                      <a:pt x="2311" y="703"/>
                    </a:cubicBezTo>
                    <a:cubicBezTo>
                      <a:pt x="2310" y="702"/>
                      <a:pt x="2311" y="701"/>
                      <a:pt x="2312" y="700"/>
                    </a:cubicBezTo>
                    <a:cubicBezTo>
                      <a:pt x="2312" y="699"/>
                      <a:pt x="2313" y="698"/>
                      <a:pt x="2313" y="697"/>
                    </a:cubicBezTo>
                    <a:cubicBezTo>
                      <a:pt x="2313" y="696"/>
                      <a:pt x="2314" y="696"/>
                      <a:pt x="2315" y="695"/>
                    </a:cubicBezTo>
                    <a:cubicBezTo>
                      <a:pt x="2316" y="695"/>
                      <a:pt x="2317" y="695"/>
                      <a:pt x="2317" y="694"/>
                    </a:cubicBezTo>
                    <a:cubicBezTo>
                      <a:pt x="2318" y="691"/>
                      <a:pt x="2319" y="690"/>
                      <a:pt x="2321" y="690"/>
                    </a:cubicBezTo>
                    <a:cubicBezTo>
                      <a:pt x="2323" y="690"/>
                      <a:pt x="2324" y="691"/>
                      <a:pt x="2324" y="692"/>
                    </a:cubicBezTo>
                    <a:cubicBezTo>
                      <a:pt x="2325" y="692"/>
                      <a:pt x="2324" y="693"/>
                      <a:pt x="2324" y="694"/>
                    </a:cubicBezTo>
                    <a:cubicBezTo>
                      <a:pt x="2324" y="697"/>
                      <a:pt x="2326" y="694"/>
                      <a:pt x="2327" y="693"/>
                    </a:cubicBezTo>
                    <a:cubicBezTo>
                      <a:pt x="2329" y="692"/>
                      <a:pt x="2331" y="690"/>
                      <a:pt x="2334" y="691"/>
                    </a:cubicBezTo>
                    <a:cubicBezTo>
                      <a:pt x="2335" y="692"/>
                      <a:pt x="2336" y="695"/>
                      <a:pt x="2337" y="696"/>
                    </a:cubicBezTo>
                    <a:cubicBezTo>
                      <a:pt x="2339" y="699"/>
                      <a:pt x="2340" y="696"/>
                      <a:pt x="2342" y="695"/>
                    </a:cubicBezTo>
                    <a:cubicBezTo>
                      <a:pt x="2344" y="694"/>
                      <a:pt x="2344" y="692"/>
                      <a:pt x="2345" y="690"/>
                    </a:cubicBezTo>
                    <a:cubicBezTo>
                      <a:pt x="2345" y="689"/>
                      <a:pt x="2346" y="689"/>
                      <a:pt x="2347" y="689"/>
                    </a:cubicBezTo>
                    <a:cubicBezTo>
                      <a:pt x="2348" y="688"/>
                      <a:pt x="2350" y="687"/>
                      <a:pt x="2351" y="687"/>
                    </a:cubicBezTo>
                    <a:cubicBezTo>
                      <a:pt x="2354" y="686"/>
                      <a:pt x="2357" y="684"/>
                      <a:pt x="2359" y="683"/>
                    </a:cubicBezTo>
                    <a:cubicBezTo>
                      <a:pt x="2360" y="682"/>
                      <a:pt x="2361" y="681"/>
                      <a:pt x="2362" y="680"/>
                    </a:cubicBezTo>
                    <a:cubicBezTo>
                      <a:pt x="2362" y="680"/>
                      <a:pt x="2365" y="679"/>
                      <a:pt x="2364" y="681"/>
                    </a:cubicBezTo>
                    <a:cubicBezTo>
                      <a:pt x="2364" y="682"/>
                      <a:pt x="2363" y="682"/>
                      <a:pt x="2363" y="683"/>
                    </a:cubicBezTo>
                    <a:cubicBezTo>
                      <a:pt x="2362" y="684"/>
                      <a:pt x="2362" y="685"/>
                      <a:pt x="2362" y="686"/>
                    </a:cubicBezTo>
                    <a:cubicBezTo>
                      <a:pt x="2363" y="689"/>
                      <a:pt x="2360" y="690"/>
                      <a:pt x="2360" y="693"/>
                    </a:cubicBezTo>
                    <a:cubicBezTo>
                      <a:pt x="2360" y="694"/>
                      <a:pt x="2361" y="696"/>
                      <a:pt x="2362" y="696"/>
                    </a:cubicBezTo>
                    <a:cubicBezTo>
                      <a:pt x="2363" y="698"/>
                      <a:pt x="2365" y="693"/>
                      <a:pt x="2366" y="693"/>
                    </a:cubicBezTo>
                    <a:cubicBezTo>
                      <a:pt x="2368" y="691"/>
                      <a:pt x="2370" y="689"/>
                      <a:pt x="2372" y="686"/>
                    </a:cubicBezTo>
                    <a:cubicBezTo>
                      <a:pt x="2375" y="684"/>
                      <a:pt x="2377" y="684"/>
                      <a:pt x="2380" y="682"/>
                    </a:cubicBezTo>
                    <a:cubicBezTo>
                      <a:pt x="2382" y="681"/>
                      <a:pt x="2384" y="679"/>
                      <a:pt x="2387" y="678"/>
                    </a:cubicBezTo>
                    <a:cubicBezTo>
                      <a:pt x="2390" y="677"/>
                      <a:pt x="2393" y="677"/>
                      <a:pt x="2396" y="677"/>
                    </a:cubicBezTo>
                    <a:cubicBezTo>
                      <a:pt x="2399" y="678"/>
                      <a:pt x="2402" y="677"/>
                      <a:pt x="2405" y="677"/>
                    </a:cubicBezTo>
                    <a:cubicBezTo>
                      <a:pt x="2408" y="677"/>
                      <a:pt x="2411" y="676"/>
                      <a:pt x="2414" y="678"/>
                    </a:cubicBezTo>
                    <a:cubicBezTo>
                      <a:pt x="2415" y="678"/>
                      <a:pt x="2416" y="679"/>
                      <a:pt x="2417" y="680"/>
                    </a:cubicBezTo>
                    <a:cubicBezTo>
                      <a:pt x="2418" y="681"/>
                      <a:pt x="2419" y="681"/>
                      <a:pt x="2420" y="682"/>
                    </a:cubicBezTo>
                    <a:cubicBezTo>
                      <a:pt x="2422" y="683"/>
                      <a:pt x="2420" y="686"/>
                      <a:pt x="2423" y="686"/>
                    </a:cubicBezTo>
                    <a:cubicBezTo>
                      <a:pt x="2426" y="687"/>
                      <a:pt x="2423" y="690"/>
                      <a:pt x="2425" y="691"/>
                    </a:cubicBezTo>
                    <a:cubicBezTo>
                      <a:pt x="2426" y="693"/>
                      <a:pt x="2429" y="695"/>
                      <a:pt x="2431" y="694"/>
                    </a:cubicBezTo>
                    <a:cubicBezTo>
                      <a:pt x="2433" y="693"/>
                      <a:pt x="2434" y="690"/>
                      <a:pt x="2434" y="688"/>
                    </a:cubicBezTo>
                    <a:cubicBezTo>
                      <a:pt x="2435" y="687"/>
                      <a:pt x="2435" y="686"/>
                      <a:pt x="2436" y="685"/>
                    </a:cubicBezTo>
                    <a:cubicBezTo>
                      <a:pt x="2437" y="685"/>
                      <a:pt x="2437" y="683"/>
                      <a:pt x="2437" y="683"/>
                    </a:cubicBezTo>
                    <a:cubicBezTo>
                      <a:pt x="2437" y="681"/>
                      <a:pt x="2439" y="680"/>
                      <a:pt x="2441" y="680"/>
                    </a:cubicBezTo>
                    <a:cubicBezTo>
                      <a:pt x="2444" y="678"/>
                      <a:pt x="2447" y="677"/>
                      <a:pt x="2450" y="675"/>
                    </a:cubicBezTo>
                    <a:cubicBezTo>
                      <a:pt x="2452" y="674"/>
                      <a:pt x="2455" y="673"/>
                      <a:pt x="2458" y="671"/>
                    </a:cubicBezTo>
                    <a:cubicBezTo>
                      <a:pt x="2459" y="671"/>
                      <a:pt x="2460" y="670"/>
                      <a:pt x="2461" y="670"/>
                    </a:cubicBezTo>
                    <a:cubicBezTo>
                      <a:pt x="2462" y="669"/>
                      <a:pt x="2462" y="668"/>
                      <a:pt x="2463" y="667"/>
                    </a:cubicBezTo>
                    <a:cubicBezTo>
                      <a:pt x="2464" y="664"/>
                      <a:pt x="2466" y="666"/>
                      <a:pt x="2466" y="663"/>
                    </a:cubicBezTo>
                    <a:cubicBezTo>
                      <a:pt x="2467" y="662"/>
                      <a:pt x="2466" y="661"/>
                      <a:pt x="2467" y="660"/>
                    </a:cubicBezTo>
                    <a:cubicBezTo>
                      <a:pt x="2468" y="660"/>
                      <a:pt x="2469" y="660"/>
                      <a:pt x="2470" y="659"/>
                    </a:cubicBezTo>
                    <a:cubicBezTo>
                      <a:pt x="2471" y="659"/>
                      <a:pt x="2472" y="659"/>
                      <a:pt x="2473" y="658"/>
                    </a:cubicBezTo>
                    <a:cubicBezTo>
                      <a:pt x="2474" y="658"/>
                      <a:pt x="2475" y="658"/>
                      <a:pt x="2475" y="657"/>
                    </a:cubicBezTo>
                    <a:cubicBezTo>
                      <a:pt x="2474" y="654"/>
                      <a:pt x="2477" y="654"/>
                      <a:pt x="2479" y="654"/>
                    </a:cubicBezTo>
                    <a:cubicBezTo>
                      <a:pt x="2481" y="653"/>
                      <a:pt x="2485" y="653"/>
                      <a:pt x="2486" y="651"/>
                    </a:cubicBezTo>
                    <a:cubicBezTo>
                      <a:pt x="2486" y="650"/>
                      <a:pt x="2486" y="649"/>
                      <a:pt x="2486" y="649"/>
                    </a:cubicBezTo>
                    <a:cubicBezTo>
                      <a:pt x="2486" y="647"/>
                      <a:pt x="2488" y="648"/>
                      <a:pt x="2489" y="648"/>
                    </a:cubicBezTo>
                    <a:cubicBezTo>
                      <a:pt x="2492" y="649"/>
                      <a:pt x="2493" y="647"/>
                      <a:pt x="2495" y="646"/>
                    </a:cubicBezTo>
                    <a:cubicBezTo>
                      <a:pt x="2498" y="644"/>
                      <a:pt x="2499" y="646"/>
                      <a:pt x="2501" y="646"/>
                    </a:cubicBezTo>
                    <a:cubicBezTo>
                      <a:pt x="2504" y="646"/>
                      <a:pt x="2505" y="643"/>
                      <a:pt x="2506" y="642"/>
                    </a:cubicBezTo>
                    <a:cubicBezTo>
                      <a:pt x="2508" y="640"/>
                      <a:pt x="2511" y="641"/>
                      <a:pt x="2513" y="640"/>
                    </a:cubicBezTo>
                    <a:cubicBezTo>
                      <a:pt x="2514" y="640"/>
                      <a:pt x="2514" y="639"/>
                      <a:pt x="2515" y="638"/>
                    </a:cubicBezTo>
                    <a:cubicBezTo>
                      <a:pt x="2516" y="637"/>
                      <a:pt x="2517" y="636"/>
                      <a:pt x="2518" y="636"/>
                    </a:cubicBezTo>
                    <a:cubicBezTo>
                      <a:pt x="2520" y="634"/>
                      <a:pt x="2523" y="633"/>
                      <a:pt x="2526" y="632"/>
                    </a:cubicBezTo>
                    <a:cubicBezTo>
                      <a:pt x="2532" y="630"/>
                      <a:pt x="2538" y="627"/>
                      <a:pt x="2544" y="626"/>
                    </a:cubicBezTo>
                    <a:cubicBezTo>
                      <a:pt x="2545" y="626"/>
                      <a:pt x="2545" y="625"/>
                      <a:pt x="2545" y="624"/>
                    </a:cubicBezTo>
                    <a:cubicBezTo>
                      <a:pt x="2545" y="624"/>
                      <a:pt x="2545" y="622"/>
                      <a:pt x="2545" y="621"/>
                    </a:cubicBezTo>
                    <a:cubicBezTo>
                      <a:pt x="2544" y="621"/>
                      <a:pt x="2543" y="620"/>
                      <a:pt x="2544" y="619"/>
                    </a:cubicBezTo>
                    <a:cubicBezTo>
                      <a:pt x="2544" y="618"/>
                      <a:pt x="2546" y="618"/>
                      <a:pt x="2546" y="618"/>
                    </a:cubicBezTo>
                    <a:cubicBezTo>
                      <a:pt x="2547" y="618"/>
                      <a:pt x="2548" y="619"/>
                      <a:pt x="2549" y="619"/>
                    </a:cubicBezTo>
                    <a:cubicBezTo>
                      <a:pt x="2550" y="619"/>
                      <a:pt x="2551" y="619"/>
                      <a:pt x="2552" y="619"/>
                    </a:cubicBezTo>
                    <a:cubicBezTo>
                      <a:pt x="2553" y="620"/>
                      <a:pt x="2552" y="620"/>
                      <a:pt x="2552" y="621"/>
                    </a:cubicBezTo>
                    <a:cubicBezTo>
                      <a:pt x="2550" y="621"/>
                      <a:pt x="2550" y="622"/>
                      <a:pt x="2550" y="623"/>
                    </a:cubicBezTo>
                    <a:cubicBezTo>
                      <a:pt x="2549" y="624"/>
                      <a:pt x="2549" y="624"/>
                      <a:pt x="2549" y="625"/>
                    </a:cubicBezTo>
                    <a:cubicBezTo>
                      <a:pt x="2548" y="626"/>
                      <a:pt x="2550" y="626"/>
                      <a:pt x="2551" y="626"/>
                    </a:cubicBezTo>
                    <a:cubicBezTo>
                      <a:pt x="2554" y="626"/>
                      <a:pt x="2557" y="627"/>
                      <a:pt x="2560" y="627"/>
                    </a:cubicBezTo>
                    <a:cubicBezTo>
                      <a:pt x="2563" y="627"/>
                      <a:pt x="2566" y="627"/>
                      <a:pt x="2568" y="628"/>
                    </a:cubicBezTo>
                    <a:cubicBezTo>
                      <a:pt x="2571" y="629"/>
                      <a:pt x="2574" y="630"/>
                      <a:pt x="2576" y="632"/>
                    </a:cubicBezTo>
                    <a:cubicBezTo>
                      <a:pt x="2577" y="632"/>
                      <a:pt x="2580" y="635"/>
                      <a:pt x="2581" y="633"/>
                    </a:cubicBezTo>
                    <a:cubicBezTo>
                      <a:pt x="2582" y="632"/>
                      <a:pt x="2581" y="632"/>
                      <a:pt x="2582" y="631"/>
                    </a:cubicBezTo>
                    <a:cubicBezTo>
                      <a:pt x="2582" y="629"/>
                      <a:pt x="2583" y="628"/>
                      <a:pt x="2584" y="627"/>
                    </a:cubicBezTo>
                    <a:cubicBezTo>
                      <a:pt x="2586" y="626"/>
                      <a:pt x="2589" y="626"/>
                      <a:pt x="2589" y="623"/>
                    </a:cubicBezTo>
                    <a:cubicBezTo>
                      <a:pt x="2589" y="622"/>
                      <a:pt x="2589" y="618"/>
                      <a:pt x="2587" y="618"/>
                    </a:cubicBezTo>
                    <a:cubicBezTo>
                      <a:pt x="2585" y="617"/>
                      <a:pt x="2583" y="617"/>
                      <a:pt x="2584" y="614"/>
                    </a:cubicBezTo>
                    <a:cubicBezTo>
                      <a:pt x="2585" y="612"/>
                      <a:pt x="2585" y="610"/>
                      <a:pt x="2583" y="609"/>
                    </a:cubicBezTo>
                    <a:cubicBezTo>
                      <a:pt x="2580" y="608"/>
                      <a:pt x="2579" y="606"/>
                      <a:pt x="2577" y="605"/>
                    </a:cubicBezTo>
                    <a:cubicBezTo>
                      <a:pt x="2576" y="604"/>
                      <a:pt x="2575" y="604"/>
                      <a:pt x="2574" y="604"/>
                    </a:cubicBezTo>
                    <a:cubicBezTo>
                      <a:pt x="2573" y="604"/>
                      <a:pt x="2574" y="602"/>
                      <a:pt x="2573" y="601"/>
                    </a:cubicBezTo>
                    <a:cubicBezTo>
                      <a:pt x="2573" y="599"/>
                      <a:pt x="2569" y="601"/>
                      <a:pt x="2568" y="599"/>
                    </a:cubicBezTo>
                    <a:cubicBezTo>
                      <a:pt x="2568" y="598"/>
                      <a:pt x="2569" y="597"/>
                      <a:pt x="2570" y="597"/>
                    </a:cubicBezTo>
                    <a:cubicBezTo>
                      <a:pt x="2571" y="597"/>
                      <a:pt x="2573" y="597"/>
                      <a:pt x="2574" y="596"/>
                    </a:cubicBezTo>
                    <a:cubicBezTo>
                      <a:pt x="2575" y="594"/>
                      <a:pt x="2573" y="591"/>
                      <a:pt x="2572" y="589"/>
                    </a:cubicBezTo>
                    <a:cubicBezTo>
                      <a:pt x="2571" y="587"/>
                      <a:pt x="2571" y="585"/>
                      <a:pt x="2570" y="583"/>
                    </a:cubicBezTo>
                    <a:cubicBezTo>
                      <a:pt x="2570" y="582"/>
                      <a:pt x="2569" y="579"/>
                      <a:pt x="2567" y="579"/>
                    </a:cubicBezTo>
                    <a:cubicBezTo>
                      <a:pt x="2564" y="579"/>
                      <a:pt x="2563" y="583"/>
                      <a:pt x="2561" y="581"/>
                    </a:cubicBezTo>
                    <a:cubicBezTo>
                      <a:pt x="2560" y="580"/>
                      <a:pt x="2558" y="580"/>
                      <a:pt x="2557" y="579"/>
                    </a:cubicBezTo>
                    <a:cubicBezTo>
                      <a:pt x="2556" y="578"/>
                      <a:pt x="2555" y="577"/>
                      <a:pt x="2554" y="576"/>
                    </a:cubicBezTo>
                    <a:cubicBezTo>
                      <a:pt x="2552" y="574"/>
                      <a:pt x="2552" y="572"/>
                      <a:pt x="2551" y="570"/>
                    </a:cubicBezTo>
                    <a:cubicBezTo>
                      <a:pt x="2550" y="567"/>
                      <a:pt x="2547" y="568"/>
                      <a:pt x="2545" y="569"/>
                    </a:cubicBezTo>
                    <a:cubicBezTo>
                      <a:pt x="2543" y="570"/>
                      <a:pt x="2540" y="569"/>
                      <a:pt x="2538" y="569"/>
                    </a:cubicBezTo>
                    <a:cubicBezTo>
                      <a:pt x="2537" y="569"/>
                      <a:pt x="2535" y="569"/>
                      <a:pt x="2534" y="570"/>
                    </a:cubicBezTo>
                    <a:cubicBezTo>
                      <a:pt x="2534" y="570"/>
                      <a:pt x="2533" y="571"/>
                      <a:pt x="2532" y="572"/>
                    </a:cubicBezTo>
                    <a:cubicBezTo>
                      <a:pt x="2531" y="572"/>
                      <a:pt x="2529" y="573"/>
                      <a:pt x="2530" y="571"/>
                    </a:cubicBezTo>
                    <a:cubicBezTo>
                      <a:pt x="2530" y="569"/>
                      <a:pt x="2533" y="568"/>
                      <a:pt x="2530" y="566"/>
                    </a:cubicBezTo>
                    <a:cubicBezTo>
                      <a:pt x="2530" y="565"/>
                      <a:pt x="2529" y="565"/>
                      <a:pt x="2528" y="564"/>
                    </a:cubicBezTo>
                    <a:cubicBezTo>
                      <a:pt x="2528" y="563"/>
                      <a:pt x="2528" y="562"/>
                      <a:pt x="2529" y="562"/>
                    </a:cubicBezTo>
                    <a:cubicBezTo>
                      <a:pt x="2531" y="562"/>
                      <a:pt x="2533" y="562"/>
                      <a:pt x="2535" y="564"/>
                    </a:cubicBezTo>
                    <a:cubicBezTo>
                      <a:pt x="2536" y="565"/>
                      <a:pt x="2538" y="563"/>
                      <a:pt x="2540" y="563"/>
                    </a:cubicBezTo>
                    <a:cubicBezTo>
                      <a:pt x="2541" y="563"/>
                      <a:pt x="2545" y="566"/>
                      <a:pt x="2546" y="564"/>
                    </a:cubicBezTo>
                    <a:cubicBezTo>
                      <a:pt x="2547" y="563"/>
                      <a:pt x="2546" y="561"/>
                      <a:pt x="2544" y="560"/>
                    </a:cubicBezTo>
                    <a:cubicBezTo>
                      <a:pt x="2542" y="559"/>
                      <a:pt x="2539" y="560"/>
                      <a:pt x="2536" y="559"/>
                    </a:cubicBezTo>
                    <a:cubicBezTo>
                      <a:pt x="2534" y="559"/>
                      <a:pt x="2535" y="557"/>
                      <a:pt x="2537" y="557"/>
                    </a:cubicBezTo>
                    <a:cubicBezTo>
                      <a:pt x="2538" y="557"/>
                      <a:pt x="2538" y="557"/>
                      <a:pt x="2539" y="558"/>
                    </a:cubicBezTo>
                    <a:cubicBezTo>
                      <a:pt x="2541" y="558"/>
                      <a:pt x="2542" y="557"/>
                      <a:pt x="2544" y="557"/>
                    </a:cubicBezTo>
                    <a:cubicBezTo>
                      <a:pt x="2545" y="558"/>
                      <a:pt x="2546" y="559"/>
                      <a:pt x="2547" y="559"/>
                    </a:cubicBezTo>
                    <a:cubicBezTo>
                      <a:pt x="2548" y="560"/>
                      <a:pt x="2549" y="560"/>
                      <a:pt x="2550" y="561"/>
                    </a:cubicBezTo>
                    <a:cubicBezTo>
                      <a:pt x="2552" y="561"/>
                      <a:pt x="2553" y="565"/>
                      <a:pt x="2553" y="567"/>
                    </a:cubicBezTo>
                    <a:cubicBezTo>
                      <a:pt x="2554" y="569"/>
                      <a:pt x="2557" y="569"/>
                      <a:pt x="2559" y="569"/>
                    </a:cubicBezTo>
                    <a:cubicBezTo>
                      <a:pt x="2560" y="569"/>
                      <a:pt x="2562" y="570"/>
                      <a:pt x="2563" y="569"/>
                    </a:cubicBezTo>
                    <a:cubicBezTo>
                      <a:pt x="2565" y="569"/>
                      <a:pt x="2566" y="568"/>
                      <a:pt x="2568" y="568"/>
                    </a:cubicBezTo>
                    <a:cubicBezTo>
                      <a:pt x="2570" y="567"/>
                      <a:pt x="2573" y="566"/>
                      <a:pt x="2576" y="565"/>
                    </a:cubicBezTo>
                    <a:cubicBezTo>
                      <a:pt x="2579" y="564"/>
                      <a:pt x="2582" y="563"/>
                      <a:pt x="2585" y="562"/>
                    </a:cubicBezTo>
                    <a:cubicBezTo>
                      <a:pt x="2588" y="562"/>
                      <a:pt x="2590" y="562"/>
                      <a:pt x="2593" y="561"/>
                    </a:cubicBezTo>
                    <a:cubicBezTo>
                      <a:pt x="2595" y="559"/>
                      <a:pt x="2597" y="558"/>
                      <a:pt x="2599" y="557"/>
                    </a:cubicBezTo>
                    <a:cubicBezTo>
                      <a:pt x="2601" y="556"/>
                      <a:pt x="2603" y="555"/>
                      <a:pt x="2604" y="553"/>
                    </a:cubicBezTo>
                    <a:cubicBezTo>
                      <a:pt x="2605" y="550"/>
                      <a:pt x="2602" y="551"/>
                      <a:pt x="2600" y="550"/>
                    </a:cubicBezTo>
                    <a:cubicBezTo>
                      <a:pt x="2599" y="550"/>
                      <a:pt x="2598" y="550"/>
                      <a:pt x="2597" y="551"/>
                    </a:cubicBezTo>
                    <a:cubicBezTo>
                      <a:pt x="2596" y="551"/>
                      <a:pt x="2595" y="552"/>
                      <a:pt x="2595" y="550"/>
                    </a:cubicBezTo>
                    <a:cubicBezTo>
                      <a:pt x="2595" y="548"/>
                      <a:pt x="2598" y="547"/>
                      <a:pt x="2599" y="547"/>
                    </a:cubicBezTo>
                    <a:cubicBezTo>
                      <a:pt x="2602" y="546"/>
                      <a:pt x="2604" y="546"/>
                      <a:pt x="2606" y="545"/>
                    </a:cubicBezTo>
                    <a:cubicBezTo>
                      <a:pt x="2609" y="544"/>
                      <a:pt x="2608" y="542"/>
                      <a:pt x="2606" y="540"/>
                    </a:cubicBezTo>
                    <a:cubicBezTo>
                      <a:pt x="2604" y="539"/>
                      <a:pt x="2601" y="539"/>
                      <a:pt x="2601" y="536"/>
                    </a:cubicBezTo>
                    <a:cubicBezTo>
                      <a:pt x="2600" y="535"/>
                      <a:pt x="2601" y="534"/>
                      <a:pt x="2601" y="533"/>
                    </a:cubicBezTo>
                    <a:cubicBezTo>
                      <a:pt x="2601" y="531"/>
                      <a:pt x="2600" y="530"/>
                      <a:pt x="2600" y="528"/>
                    </a:cubicBezTo>
                    <a:cubicBezTo>
                      <a:pt x="2600" y="526"/>
                      <a:pt x="2603" y="528"/>
                      <a:pt x="2604" y="529"/>
                    </a:cubicBezTo>
                    <a:cubicBezTo>
                      <a:pt x="2605" y="529"/>
                      <a:pt x="2605" y="527"/>
                      <a:pt x="2606" y="527"/>
                    </a:cubicBezTo>
                    <a:cubicBezTo>
                      <a:pt x="2607" y="527"/>
                      <a:pt x="2608" y="527"/>
                      <a:pt x="2608" y="526"/>
                    </a:cubicBezTo>
                    <a:cubicBezTo>
                      <a:pt x="2609" y="525"/>
                      <a:pt x="2606" y="523"/>
                      <a:pt x="2608" y="522"/>
                    </a:cubicBezTo>
                    <a:cubicBezTo>
                      <a:pt x="2609" y="521"/>
                      <a:pt x="2611" y="522"/>
                      <a:pt x="2611" y="524"/>
                    </a:cubicBezTo>
                    <a:cubicBezTo>
                      <a:pt x="2611" y="525"/>
                      <a:pt x="2611" y="527"/>
                      <a:pt x="2613" y="526"/>
                    </a:cubicBezTo>
                    <a:cubicBezTo>
                      <a:pt x="2615" y="525"/>
                      <a:pt x="2617" y="523"/>
                      <a:pt x="2619" y="522"/>
                    </a:cubicBezTo>
                    <a:cubicBezTo>
                      <a:pt x="2619" y="522"/>
                      <a:pt x="2621" y="521"/>
                      <a:pt x="2621" y="522"/>
                    </a:cubicBezTo>
                    <a:cubicBezTo>
                      <a:pt x="2622" y="522"/>
                      <a:pt x="2621" y="524"/>
                      <a:pt x="2621" y="525"/>
                    </a:cubicBezTo>
                    <a:cubicBezTo>
                      <a:pt x="2620" y="528"/>
                      <a:pt x="2620" y="530"/>
                      <a:pt x="2617" y="531"/>
                    </a:cubicBezTo>
                    <a:cubicBezTo>
                      <a:pt x="2615" y="532"/>
                      <a:pt x="2613" y="533"/>
                      <a:pt x="2615" y="535"/>
                    </a:cubicBezTo>
                    <a:cubicBezTo>
                      <a:pt x="2616" y="537"/>
                      <a:pt x="2618" y="537"/>
                      <a:pt x="2620" y="539"/>
                    </a:cubicBezTo>
                    <a:cubicBezTo>
                      <a:pt x="2620" y="539"/>
                      <a:pt x="2621" y="540"/>
                      <a:pt x="2621" y="541"/>
                    </a:cubicBezTo>
                    <a:cubicBezTo>
                      <a:pt x="2621" y="542"/>
                      <a:pt x="2621" y="544"/>
                      <a:pt x="2622" y="544"/>
                    </a:cubicBezTo>
                    <a:cubicBezTo>
                      <a:pt x="2623" y="545"/>
                      <a:pt x="2624" y="545"/>
                      <a:pt x="2625" y="545"/>
                    </a:cubicBezTo>
                    <a:cubicBezTo>
                      <a:pt x="2627" y="544"/>
                      <a:pt x="2628" y="544"/>
                      <a:pt x="2630" y="544"/>
                    </a:cubicBezTo>
                    <a:cubicBezTo>
                      <a:pt x="2636" y="544"/>
                      <a:pt x="2643" y="544"/>
                      <a:pt x="2649" y="545"/>
                    </a:cubicBezTo>
                    <a:cubicBezTo>
                      <a:pt x="2654" y="545"/>
                      <a:pt x="2660" y="546"/>
                      <a:pt x="2664" y="550"/>
                    </a:cubicBezTo>
                    <a:cubicBezTo>
                      <a:pt x="2666" y="552"/>
                      <a:pt x="2667" y="555"/>
                      <a:pt x="2668" y="557"/>
                    </a:cubicBezTo>
                    <a:cubicBezTo>
                      <a:pt x="2669" y="560"/>
                      <a:pt x="2670" y="563"/>
                      <a:pt x="2673" y="565"/>
                    </a:cubicBezTo>
                    <a:cubicBezTo>
                      <a:pt x="2675" y="566"/>
                      <a:pt x="2678" y="565"/>
                      <a:pt x="2680" y="565"/>
                    </a:cubicBezTo>
                    <a:cubicBezTo>
                      <a:pt x="2683" y="566"/>
                      <a:pt x="2686" y="567"/>
                      <a:pt x="2689" y="568"/>
                    </a:cubicBezTo>
                    <a:cubicBezTo>
                      <a:pt x="2695" y="569"/>
                      <a:pt x="2697" y="575"/>
                      <a:pt x="2702" y="577"/>
                    </a:cubicBezTo>
                    <a:cubicBezTo>
                      <a:pt x="2704" y="577"/>
                      <a:pt x="2706" y="577"/>
                      <a:pt x="2707" y="575"/>
                    </a:cubicBezTo>
                    <a:cubicBezTo>
                      <a:pt x="2708" y="574"/>
                      <a:pt x="2707" y="569"/>
                      <a:pt x="2709" y="572"/>
                    </a:cubicBezTo>
                    <a:cubicBezTo>
                      <a:pt x="2710" y="573"/>
                      <a:pt x="2710" y="575"/>
                      <a:pt x="2710" y="577"/>
                    </a:cubicBezTo>
                    <a:cubicBezTo>
                      <a:pt x="2711" y="578"/>
                      <a:pt x="2710" y="580"/>
                      <a:pt x="2712" y="580"/>
                    </a:cubicBezTo>
                    <a:cubicBezTo>
                      <a:pt x="2714" y="581"/>
                      <a:pt x="2715" y="579"/>
                      <a:pt x="2714" y="577"/>
                    </a:cubicBezTo>
                    <a:cubicBezTo>
                      <a:pt x="2714" y="575"/>
                      <a:pt x="2715" y="574"/>
                      <a:pt x="2717" y="575"/>
                    </a:cubicBezTo>
                    <a:cubicBezTo>
                      <a:pt x="2719" y="576"/>
                      <a:pt x="2726" y="579"/>
                      <a:pt x="2727" y="576"/>
                    </a:cubicBezTo>
                    <a:cubicBezTo>
                      <a:pt x="2727" y="574"/>
                      <a:pt x="2724" y="574"/>
                      <a:pt x="2723" y="573"/>
                    </a:cubicBezTo>
                    <a:cubicBezTo>
                      <a:pt x="2721" y="572"/>
                      <a:pt x="2719" y="572"/>
                      <a:pt x="2717" y="572"/>
                    </a:cubicBezTo>
                    <a:cubicBezTo>
                      <a:pt x="2715" y="571"/>
                      <a:pt x="2715" y="570"/>
                      <a:pt x="2716" y="569"/>
                    </a:cubicBezTo>
                    <a:cubicBezTo>
                      <a:pt x="2716" y="568"/>
                      <a:pt x="2717" y="568"/>
                      <a:pt x="2718" y="567"/>
                    </a:cubicBezTo>
                    <a:cubicBezTo>
                      <a:pt x="2718" y="567"/>
                      <a:pt x="2718" y="566"/>
                      <a:pt x="2717" y="566"/>
                    </a:cubicBezTo>
                    <a:cubicBezTo>
                      <a:pt x="2715" y="566"/>
                      <a:pt x="2712" y="568"/>
                      <a:pt x="2711" y="566"/>
                    </a:cubicBezTo>
                    <a:cubicBezTo>
                      <a:pt x="2711" y="565"/>
                      <a:pt x="2713" y="564"/>
                      <a:pt x="2714" y="564"/>
                    </a:cubicBezTo>
                    <a:cubicBezTo>
                      <a:pt x="2717" y="562"/>
                      <a:pt x="2721" y="563"/>
                      <a:pt x="2725" y="561"/>
                    </a:cubicBezTo>
                    <a:cubicBezTo>
                      <a:pt x="2727" y="561"/>
                      <a:pt x="2728" y="560"/>
                      <a:pt x="2728" y="558"/>
                    </a:cubicBezTo>
                    <a:cubicBezTo>
                      <a:pt x="2728" y="557"/>
                      <a:pt x="2727" y="556"/>
                      <a:pt x="2726" y="555"/>
                    </a:cubicBezTo>
                    <a:cubicBezTo>
                      <a:pt x="2726" y="555"/>
                      <a:pt x="2726" y="555"/>
                      <a:pt x="2726" y="556"/>
                    </a:cubicBezTo>
                    <a:cubicBezTo>
                      <a:pt x="2725" y="555"/>
                      <a:pt x="2726" y="556"/>
                      <a:pt x="2726" y="556"/>
                    </a:cubicBezTo>
                    <a:close/>
                    <a:moveTo>
                      <a:pt x="85" y="421"/>
                    </a:moveTo>
                    <a:cubicBezTo>
                      <a:pt x="84" y="419"/>
                      <a:pt x="82" y="418"/>
                      <a:pt x="81" y="416"/>
                    </a:cubicBezTo>
                    <a:cubicBezTo>
                      <a:pt x="79" y="415"/>
                      <a:pt x="78" y="416"/>
                      <a:pt x="79" y="418"/>
                    </a:cubicBezTo>
                    <a:cubicBezTo>
                      <a:pt x="80" y="420"/>
                      <a:pt x="81" y="421"/>
                      <a:pt x="82" y="423"/>
                    </a:cubicBezTo>
                    <a:cubicBezTo>
                      <a:pt x="82" y="425"/>
                      <a:pt x="85" y="426"/>
                      <a:pt x="87" y="426"/>
                    </a:cubicBezTo>
                    <a:cubicBezTo>
                      <a:pt x="89" y="427"/>
                      <a:pt x="91" y="426"/>
                      <a:pt x="93" y="425"/>
                    </a:cubicBezTo>
                    <a:cubicBezTo>
                      <a:pt x="94" y="425"/>
                      <a:pt x="97" y="423"/>
                      <a:pt x="95" y="422"/>
                    </a:cubicBezTo>
                    <a:cubicBezTo>
                      <a:pt x="91" y="421"/>
                      <a:pt x="88" y="423"/>
                      <a:pt x="85" y="420"/>
                    </a:cubicBezTo>
                    <a:cubicBezTo>
                      <a:pt x="85" y="420"/>
                      <a:pt x="85" y="421"/>
                      <a:pt x="85" y="421"/>
                    </a:cubicBezTo>
                    <a:cubicBezTo>
                      <a:pt x="84" y="420"/>
                      <a:pt x="85" y="421"/>
                      <a:pt x="85" y="421"/>
                    </a:cubicBezTo>
                    <a:close/>
                    <a:moveTo>
                      <a:pt x="482" y="25"/>
                    </a:moveTo>
                    <a:cubicBezTo>
                      <a:pt x="484" y="25"/>
                      <a:pt x="486" y="24"/>
                      <a:pt x="488" y="25"/>
                    </a:cubicBezTo>
                    <a:cubicBezTo>
                      <a:pt x="489" y="25"/>
                      <a:pt x="491" y="24"/>
                      <a:pt x="492" y="26"/>
                    </a:cubicBezTo>
                    <a:cubicBezTo>
                      <a:pt x="493" y="27"/>
                      <a:pt x="493" y="27"/>
                      <a:pt x="494" y="27"/>
                    </a:cubicBezTo>
                    <a:cubicBezTo>
                      <a:pt x="495" y="27"/>
                      <a:pt x="496" y="27"/>
                      <a:pt x="497" y="26"/>
                    </a:cubicBezTo>
                    <a:cubicBezTo>
                      <a:pt x="499" y="25"/>
                      <a:pt x="500" y="25"/>
                      <a:pt x="503" y="24"/>
                    </a:cubicBezTo>
                    <a:cubicBezTo>
                      <a:pt x="504" y="24"/>
                      <a:pt x="505" y="22"/>
                      <a:pt x="507" y="22"/>
                    </a:cubicBezTo>
                    <a:cubicBezTo>
                      <a:pt x="509" y="22"/>
                      <a:pt x="512" y="23"/>
                      <a:pt x="514" y="23"/>
                    </a:cubicBezTo>
                    <a:cubicBezTo>
                      <a:pt x="516" y="23"/>
                      <a:pt x="514" y="22"/>
                      <a:pt x="513" y="22"/>
                    </a:cubicBezTo>
                    <a:cubicBezTo>
                      <a:pt x="511" y="21"/>
                      <a:pt x="509" y="20"/>
                      <a:pt x="507" y="20"/>
                    </a:cubicBezTo>
                    <a:cubicBezTo>
                      <a:pt x="505" y="20"/>
                      <a:pt x="503" y="19"/>
                      <a:pt x="501" y="19"/>
                    </a:cubicBezTo>
                    <a:cubicBezTo>
                      <a:pt x="500" y="19"/>
                      <a:pt x="499" y="19"/>
                      <a:pt x="498" y="19"/>
                    </a:cubicBezTo>
                    <a:cubicBezTo>
                      <a:pt x="497" y="19"/>
                      <a:pt x="495" y="18"/>
                      <a:pt x="494" y="18"/>
                    </a:cubicBezTo>
                    <a:cubicBezTo>
                      <a:pt x="494" y="18"/>
                      <a:pt x="494" y="19"/>
                      <a:pt x="494" y="20"/>
                    </a:cubicBezTo>
                    <a:cubicBezTo>
                      <a:pt x="493" y="21"/>
                      <a:pt x="494" y="21"/>
                      <a:pt x="495" y="21"/>
                    </a:cubicBezTo>
                    <a:cubicBezTo>
                      <a:pt x="496" y="22"/>
                      <a:pt x="494" y="24"/>
                      <a:pt x="493" y="23"/>
                    </a:cubicBezTo>
                    <a:cubicBezTo>
                      <a:pt x="492" y="23"/>
                      <a:pt x="492" y="22"/>
                      <a:pt x="491" y="22"/>
                    </a:cubicBezTo>
                    <a:cubicBezTo>
                      <a:pt x="490" y="22"/>
                      <a:pt x="489" y="22"/>
                      <a:pt x="488" y="23"/>
                    </a:cubicBezTo>
                    <a:cubicBezTo>
                      <a:pt x="487" y="23"/>
                      <a:pt x="486" y="23"/>
                      <a:pt x="485" y="22"/>
                    </a:cubicBezTo>
                    <a:cubicBezTo>
                      <a:pt x="484" y="22"/>
                      <a:pt x="484" y="21"/>
                      <a:pt x="483" y="21"/>
                    </a:cubicBezTo>
                    <a:cubicBezTo>
                      <a:pt x="481" y="21"/>
                      <a:pt x="479" y="22"/>
                      <a:pt x="480" y="24"/>
                    </a:cubicBezTo>
                    <a:cubicBezTo>
                      <a:pt x="481" y="25"/>
                      <a:pt x="482" y="25"/>
                      <a:pt x="483" y="25"/>
                    </a:cubicBezTo>
                    <a:cubicBezTo>
                      <a:pt x="483" y="25"/>
                      <a:pt x="483" y="25"/>
                      <a:pt x="482" y="25"/>
                    </a:cubicBezTo>
                    <a:cubicBezTo>
                      <a:pt x="484" y="25"/>
                      <a:pt x="482" y="25"/>
                      <a:pt x="482" y="25"/>
                    </a:cubicBezTo>
                    <a:close/>
                    <a:moveTo>
                      <a:pt x="466" y="35"/>
                    </a:moveTo>
                    <a:cubicBezTo>
                      <a:pt x="469" y="35"/>
                      <a:pt x="471" y="35"/>
                      <a:pt x="474" y="35"/>
                    </a:cubicBezTo>
                    <a:cubicBezTo>
                      <a:pt x="477" y="34"/>
                      <a:pt x="477" y="37"/>
                      <a:pt x="479" y="38"/>
                    </a:cubicBezTo>
                    <a:cubicBezTo>
                      <a:pt x="481" y="39"/>
                      <a:pt x="484" y="39"/>
                      <a:pt x="486" y="39"/>
                    </a:cubicBezTo>
                    <a:cubicBezTo>
                      <a:pt x="488" y="39"/>
                      <a:pt x="489" y="39"/>
                      <a:pt x="490" y="40"/>
                    </a:cubicBezTo>
                    <a:cubicBezTo>
                      <a:pt x="491" y="40"/>
                      <a:pt x="493" y="40"/>
                      <a:pt x="494" y="40"/>
                    </a:cubicBezTo>
                    <a:cubicBezTo>
                      <a:pt x="497" y="40"/>
                      <a:pt x="499" y="41"/>
                      <a:pt x="501" y="43"/>
                    </a:cubicBezTo>
                    <a:cubicBezTo>
                      <a:pt x="502" y="44"/>
                      <a:pt x="501" y="45"/>
                      <a:pt x="502" y="45"/>
                    </a:cubicBezTo>
                    <a:cubicBezTo>
                      <a:pt x="503" y="45"/>
                      <a:pt x="504" y="45"/>
                      <a:pt x="505" y="45"/>
                    </a:cubicBezTo>
                    <a:cubicBezTo>
                      <a:pt x="507" y="44"/>
                      <a:pt x="509" y="43"/>
                      <a:pt x="511" y="43"/>
                    </a:cubicBezTo>
                    <a:cubicBezTo>
                      <a:pt x="511" y="42"/>
                      <a:pt x="514" y="41"/>
                      <a:pt x="512" y="41"/>
                    </a:cubicBezTo>
                    <a:cubicBezTo>
                      <a:pt x="511" y="41"/>
                      <a:pt x="510" y="41"/>
                      <a:pt x="508" y="40"/>
                    </a:cubicBezTo>
                    <a:cubicBezTo>
                      <a:pt x="506" y="39"/>
                      <a:pt x="505" y="38"/>
                      <a:pt x="503" y="38"/>
                    </a:cubicBezTo>
                    <a:cubicBezTo>
                      <a:pt x="497" y="36"/>
                      <a:pt x="492" y="35"/>
                      <a:pt x="487" y="33"/>
                    </a:cubicBezTo>
                    <a:cubicBezTo>
                      <a:pt x="485" y="32"/>
                      <a:pt x="482" y="32"/>
                      <a:pt x="480" y="32"/>
                    </a:cubicBezTo>
                    <a:cubicBezTo>
                      <a:pt x="478" y="32"/>
                      <a:pt x="477" y="32"/>
                      <a:pt x="475" y="32"/>
                    </a:cubicBezTo>
                    <a:cubicBezTo>
                      <a:pt x="474" y="32"/>
                      <a:pt x="472" y="32"/>
                      <a:pt x="471" y="32"/>
                    </a:cubicBezTo>
                    <a:cubicBezTo>
                      <a:pt x="470" y="32"/>
                      <a:pt x="469" y="33"/>
                      <a:pt x="468" y="33"/>
                    </a:cubicBezTo>
                    <a:cubicBezTo>
                      <a:pt x="467" y="32"/>
                      <a:pt x="466" y="32"/>
                      <a:pt x="465" y="33"/>
                    </a:cubicBezTo>
                    <a:cubicBezTo>
                      <a:pt x="464" y="35"/>
                      <a:pt x="465" y="35"/>
                      <a:pt x="467" y="35"/>
                    </a:cubicBezTo>
                    <a:cubicBezTo>
                      <a:pt x="467" y="35"/>
                      <a:pt x="466" y="35"/>
                      <a:pt x="466" y="35"/>
                    </a:cubicBezTo>
                    <a:cubicBezTo>
                      <a:pt x="468" y="35"/>
                      <a:pt x="466" y="35"/>
                      <a:pt x="466" y="35"/>
                    </a:cubicBezTo>
                    <a:close/>
                    <a:moveTo>
                      <a:pt x="488" y="70"/>
                    </a:moveTo>
                    <a:cubicBezTo>
                      <a:pt x="491" y="70"/>
                      <a:pt x="494" y="70"/>
                      <a:pt x="497" y="70"/>
                    </a:cubicBezTo>
                    <a:cubicBezTo>
                      <a:pt x="499" y="70"/>
                      <a:pt x="503" y="70"/>
                      <a:pt x="504" y="68"/>
                    </a:cubicBezTo>
                    <a:cubicBezTo>
                      <a:pt x="504" y="66"/>
                      <a:pt x="504" y="63"/>
                      <a:pt x="503" y="62"/>
                    </a:cubicBezTo>
                    <a:cubicBezTo>
                      <a:pt x="502" y="60"/>
                      <a:pt x="497" y="59"/>
                      <a:pt x="495" y="59"/>
                    </a:cubicBezTo>
                    <a:cubicBezTo>
                      <a:pt x="493" y="59"/>
                      <a:pt x="491" y="59"/>
                      <a:pt x="490" y="60"/>
                    </a:cubicBezTo>
                    <a:cubicBezTo>
                      <a:pt x="489" y="60"/>
                      <a:pt x="488" y="60"/>
                      <a:pt x="488" y="61"/>
                    </a:cubicBezTo>
                    <a:cubicBezTo>
                      <a:pt x="487" y="62"/>
                      <a:pt x="487" y="63"/>
                      <a:pt x="487" y="64"/>
                    </a:cubicBezTo>
                    <a:cubicBezTo>
                      <a:pt x="487" y="66"/>
                      <a:pt x="482" y="67"/>
                      <a:pt x="484" y="69"/>
                    </a:cubicBezTo>
                    <a:cubicBezTo>
                      <a:pt x="485" y="71"/>
                      <a:pt x="488" y="70"/>
                      <a:pt x="489" y="70"/>
                    </a:cubicBezTo>
                    <a:cubicBezTo>
                      <a:pt x="489" y="70"/>
                      <a:pt x="488" y="70"/>
                      <a:pt x="488" y="70"/>
                    </a:cubicBezTo>
                    <a:cubicBezTo>
                      <a:pt x="489" y="70"/>
                      <a:pt x="488" y="70"/>
                      <a:pt x="488" y="70"/>
                    </a:cubicBezTo>
                    <a:close/>
                    <a:moveTo>
                      <a:pt x="472" y="42"/>
                    </a:moveTo>
                    <a:cubicBezTo>
                      <a:pt x="471" y="42"/>
                      <a:pt x="470" y="43"/>
                      <a:pt x="469" y="42"/>
                    </a:cubicBezTo>
                    <a:cubicBezTo>
                      <a:pt x="468" y="42"/>
                      <a:pt x="466" y="41"/>
                      <a:pt x="465" y="42"/>
                    </a:cubicBezTo>
                    <a:cubicBezTo>
                      <a:pt x="464" y="44"/>
                      <a:pt x="467" y="45"/>
                      <a:pt x="468" y="45"/>
                    </a:cubicBezTo>
                    <a:cubicBezTo>
                      <a:pt x="469" y="45"/>
                      <a:pt x="470" y="45"/>
                      <a:pt x="472" y="44"/>
                    </a:cubicBezTo>
                    <a:cubicBezTo>
                      <a:pt x="473" y="44"/>
                      <a:pt x="475" y="44"/>
                      <a:pt x="475" y="43"/>
                    </a:cubicBezTo>
                    <a:cubicBezTo>
                      <a:pt x="477" y="41"/>
                      <a:pt x="472" y="42"/>
                      <a:pt x="471" y="42"/>
                    </a:cubicBezTo>
                    <a:cubicBezTo>
                      <a:pt x="471" y="42"/>
                      <a:pt x="472" y="42"/>
                      <a:pt x="472" y="42"/>
                    </a:cubicBezTo>
                    <a:cubicBezTo>
                      <a:pt x="471" y="42"/>
                      <a:pt x="472" y="42"/>
                      <a:pt x="472" y="42"/>
                    </a:cubicBezTo>
                    <a:close/>
                    <a:moveTo>
                      <a:pt x="490" y="48"/>
                    </a:moveTo>
                    <a:cubicBezTo>
                      <a:pt x="492" y="48"/>
                      <a:pt x="494" y="48"/>
                      <a:pt x="496" y="49"/>
                    </a:cubicBezTo>
                    <a:cubicBezTo>
                      <a:pt x="497" y="49"/>
                      <a:pt x="499" y="47"/>
                      <a:pt x="498" y="46"/>
                    </a:cubicBezTo>
                    <a:cubicBezTo>
                      <a:pt x="497" y="46"/>
                      <a:pt x="495" y="46"/>
                      <a:pt x="494" y="46"/>
                    </a:cubicBezTo>
                    <a:cubicBezTo>
                      <a:pt x="492" y="46"/>
                      <a:pt x="490" y="45"/>
                      <a:pt x="488" y="45"/>
                    </a:cubicBezTo>
                    <a:cubicBezTo>
                      <a:pt x="486" y="45"/>
                      <a:pt x="484" y="45"/>
                      <a:pt x="482" y="45"/>
                    </a:cubicBezTo>
                    <a:cubicBezTo>
                      <a:pt x="480" y="44"/>
                      <a:pt x="478" y="46"/>
                      <a:pt x="480" y="48"/>
                    </a:cubicBezTo>
                    <a:cubicBezTo>
                      <a:pt x="481" y="48"/>
                      <a:pt x="482" y="49"/>
                      <a:pt x="482" y="49"/>
                    </a:cubicBezTo>
                    <a:cubicBezTo>
                      <a:pt x="483" y="49"/>
                      <a:pt x="485" y="49"/>
                      <a:pt x="486" y="49"/>
                    </a:cubicBezTo>
                    <a:cubicBezTo>
                      <a:pt x="488" y="49"/>
                      <a:pt x="490" y="48"/>
                      <a:pt x="491" y="48"/>
                    </a:cubicBezTo>
                    <a:cubicBezTo>
                      <a:pt x="491" y="48"/>
                      <a:pt x="490" y="48"/>
                      <a:pt x="490" y="48"/>
                    </a:cubicBezTo>
                    <a:cubicBezTo>
                      <a:pt x="492" y="48"/>
                      <a:pt x="490" y="48"/>
                      <a:pt x="490" y="48"/>
                    </a:cubicBezTo>
                    <a:close/>
                    <a:moveTo>
                      <a:pt x="542" y="50"/>
                    </a:moveTo>
                    <a:cubicBezTo>
                      <a:pt x="543" y="52"/>
                      <a:pt x="544" y="52"/>
                      <a:pt x="544" y="53"/>
                    </a:cubicBezTo>
                    <a:cubicBezTo>
                      <a:pt x="545" y="54"/>
                      <a:pt x="546" y="55"/>
                      <a:pt x="547" y="56"/>
                    </a:cubicBezTo>
                    <a:cubicBezTo>
                      <a:pt x="550" y="57"/>
                      <a:pt x="551" y="55"/>
                      <a:pt x="554" y="54"/>
                    </a:cubicBezTo>
                    <a:cubicBezTo>
                      <a:pt x="556" y="53"/>
                      <a:pt x="559" y="53"/>
                      <a:pt x="561" y="54"/>
                    </a:cubicBezTo>
                    <a:cubicBezTo>
                      <a:pt x="564" y="54"/>
                      <a:pt x="566" y="56"/>
                      <a:pt x="569" y="56"/>
                    </a:cubicBezTo>
                    <a:cubicBezTo>
                      <a:pt x="571" y="57"/>
                      <a:pt x="574" y="56"/>
                      <a:pt x="576" y="54"/>
                    </a:cubicBezTo>
                    <a:cubicBezTo>
                      <a:pt x="577" y="53"/>
                      <a:pt x="577" y="52"/>
                      <a:pt x="578" y="51"/>
                    </a:cubicBezTo>
                    <a:cubicBezTo>
                      <a:pt x="579" y="50"/>
                      <a:pt x="581" y="50"/>
                      <a:pt x="582" y="50"/>
                    </a:cubicBezTo>
                    <a:cubicBezTo>
                      <a:pt x="585" y="49"/>
                      <a:pt x="587" y="49"/>
                      <a:pt x="590" y="48"/>
                    </a:cubicBezTo>
                    <a:cubicBezTo>
                      <a:pt x="591" y="47"/>
                      <a:pt x="592" y="44"/>
                      <a:pt x="592" y="42"/>
                    </a:cubicBezTo>
                    <a:cubicBezTo>
                      <a:pt x="591" y="41"/>
                      <a:pt x="589" y="38"/>
                      <a:pt x="587" y="38"/>
                    </a:cubicBezTo>
                    <a:cubicBezTo>
                      <a:pt x="585" y="38"/>
                      <a:pt x="583" y="39"/>
                      <a:pt x="580" y="40"/>
                    </a:cubicBezTo>
                    <a:cubicBezTo>
                      <a:pt x="578" y="40"/>
                      <a:pt x="575" y="39"/>
                      <a:pt x="572" y="40"/>
                    </a:cubicBezTo>
                    <a:cubicBezTo>
                      <a:pt x="571" y="41"/>
                      <a:pt x="569" y="41"/>
                      <a:pt x="568" y="41"/>
                    </a:cubicBezTo>
                    <a:cubicBezTo>
                      <a:pt x="566" y="42"/>
                      <a:pt x="565" y="42"/>
                      <a:pt x="563" y="42"/>
                    </a:cubicBezTo>
                    <a:cubicBezTo>
                      <a:pt x="562" y="42"/>
                      <a:pt x="561" y="42"/>
                      <a:pt x="559" y="42"/>
                    </a:cubicBezTo>
                    <a:cubicBezTo>
                      <a:pt x="558" y="42"/>
                      <a:pt x="557" y="41"/>
                      <a:pt x="556" y="40"/>
                    </a:cubicBezTo>
                    <a:cubicBezTo>
                      <a:pt x="555" y="40"/>
                      <a:pt x="553" y="40"/>
                      <a:pt x="552" y="40"/>
                    </a:cubicBezTo>
                    <a:cubicBezTo>
                      <a:pt x="551" y="40"/>
                      <a:pt x="550" y="41"/>
                      <a:pt x="549" y="42"/>
                    </a:cubicBezTo>
                    <a:cubicBezTo>
                      <a:pt x="547" y="43"/>
                      <a:pt x="544" y="43"/>
                      <a:pt x="543" y="45"/>
                    </a:cubicBezTo>
                    <a:cubicBezTo>
                      <a:pt x="542" y="47"/>
                      <a:pt x="542" y="49"/>
                      <a:pt x="543" y="51"/>
                    </a:cubicBezTo>
                    <a:cubicBezTo>
                      <a:pt x="543" y="51"/>
                      <a:pt x="543" y="51"/>
                      <a:pt x="543" y="51"/>
                    </a:cubicBezTo>
                    <a:cubicBezTo>
                      <a:pt x="543" y="51"/>
                      <a:pt x="542" y="51"/>
                      <a:pt x="542" y="50"/>
                    </a:cubicBezTo>
                    <a:cubicBezTo>
                      <a:pt x="543" y="51"/>
                      <a:pt x="542" y="50"/>
                      <a:pt x="542" y="50"/>
                    </a:cubicBezTo>
                    <a:close/>
                    <a:moveTo>
                      <a:pt x="459" y="43"/>
                    </a:moveTo>
                    <a:cubicBezTo>
                      <a:pt x="460" y="44"/>
                      <a:pt x="462" y="41"/>
                      <a:pt x="460" y="41"/>
                    </a:cubicBezTo>
                    <a:cubicBezTo>
                      <a:pt x="459" y="41"/>
                      <a:pt x="458" y="42"/>
                      <a:pt x="456" y="41"/>
                    </a:cubicBezTo>
                    <a:cubicBezTo>
                      <a:pt x="455" y="40"/>
                      <a:pt x="452" y="40"/>
                      <a:pt x="453" y="42"/>
                    </a:cubicBezTo>
                    <a:cubicBezTo>
                      <a:pt x="454" y="43"/>
                      <a:pt x="457" y="43"/>
                      <a:pt x="459" y="44"/>
                    </a:cubicBezTo>
                    <a:cubicBezTo>
                      <a:pt x="459" y="44"/>
                      <a:pt x="459" y="44"/>
                      <a:pt x="459" y="43"/>
                    </a:cubicBezTo>
                    <a:cubicBezTo>
                      <a:pt x="459" y="44"/>
                      <a:pt x="459" y="43"/>
                      <a:pt x="459" y="43"/>
                    </a:cubicBezTo>
                    <a:close/>
                    <a:moveTo>
                      <a:pt x="515" y="39"/>
                    </a:moveTo>
                    <a:cubicBezTo>
                      <a:pt x="518" y="38"/>
                      <a:pt x="519" y="37"/>
                      <a:pt x="521" y="37"/>
                    </a:cubicBezTo>
                    <a:cubicBezTo>
                      <a:pt x="522" y="37"/>
                      <a:pt x="522" y="36"/>
                      <a:pt x="521" y="36"/>
                    </a:cubicBezTo>
                    <a:cubicBezTo>
                      <a:pt x="521" y="35"/>
                      <a:pt x="519" y="36"/>
                      <a:pt x="518" y="35"/>
                    </a:cubicBezTo>
                    <a:cubicBezTo>
                      <a:pt x="517" y="35"/>
                      <a:pt x="516" y="35"/>
                      <a:pt x="515" y="34"/>
                    </a:cubicBezTo>
                    <a:cubicBezTo>
                      <a:pt x="514" y="34"/>
                      <a:pt x="512" y="34"/>
                      <a:pt x="511" y="34"/>
                    </a:cubicBezTo>
                    <a:cubicBezTo>
                      <a:pt x="509" y="33"/>
                      <a:pt x="506" y="33"/>
                      <a:pt x="504" y="32"/>
                    </a:cubicBezTo>
                    <a:cubicBezTo>
                      <a:pt x="503" y="32"/>
                      <a:pt x="500" y="31"/>
                      <a:pt x="501" y="33"/>
                    </a:cubicBezTo>
                    <a:cubicBezTo>
                      <a:pt x="502" y="34"/>
                      <a:pt x="505" y="34"/>
                      <a:pt x="506" y="35"/>
                    </a:cubicBezTo>
                    <a:cubicBezTo>
                      <a:pt x="508" y="35"/>
                      <a:pt x="510" y="36"/>
                      <a:pt x="512" y="38"/>
                    </a:cubicBezTo>
                    <a:cubicBezTo>
                      <a:pt x="513" y="38"/>
                      <a:pt x="513" y="39"/>
                      <a:pt x="514" y="39"/>
                    </a:cubicBezTo>
                    <a:cubicBezTo>
                      <a:pt x="515" y="39"/>
                      <a:pt x="516" y="38"/>
                      <a:pt x="516" y="38"/>
                    </a:cubicBezTo>
                    <a:cubicBezTo>
                      <a:pt x="516" y="39"/>
                      <a:pt x="516" y="39"/>
                      <a:pt x="515" y="39"/>
                    </a:cubicBezTo>
                    <a:cubicBezTo>
                      <a:pt x="516" y="38"/>
                      <a:pt x="515" y="39"/>
                      <a:pt x="515" y="39"/>
                    </a:cubicBezTo>
                    <a:close/>
                    <a:moveTo>
                      <a:pt x="524" y="6"/>
                    </a:moveTo>
                    <a:cubicBezTo>
                      <a:pt x="527" y="6"/>
                      <a:pt x="530" y="6"/>
                      <a:pt x="532" y="5"/>
                    </a:cubicBezTo>
                    <a:cubicBezTo>
                      <a:pt x="535" y="5"/>
                      <a:pt x="538" y="5"/>
                      <a:pt x="540" y="4"/>
                    </a:cubicBezTo>
                    <a:cubicBezTo>
                      <a:pt x="542" y="4"/>
                      <a:pt x="543" y="3"/>
                      <a:pt x="542" y="1"/>
                    </a:cubicBezTo>
                    <a:cubicBezTo>
                      <a:pt x="541" y="0"/>
                      <a:pt x="538" y="0"/>
                      <a:pt x="536" y="0"/>
                    </a:cubicBezTo>
                    <a:cubicBezTo>
                      <a:pt x="534" y="1"/>
                      <a:pt x="531" y="1"/>
                      <a:pt x="528" y="1"/>
                    </a:cubicBezTo>
                    <a:cubicBezTo>
                      <a:pt x="526" y="1"/>
                      <a:pt x="523" y="0"/>
                      <a:pt x="520" y="2"/>
                    </a:cubicBezTo>
                    <a:cubicBezTo>
                      <a:pt x="519" y="3"/>
                      <a:pt x="519" y="5"/>
                      <a:pt x="521" y="6"/>
                    </a:cubicBezTo>
                    <a:cubicBezTo>
                      <a:pt x="522" y="6"/>
                      <a:pt x="524" y="6"/>
                      <a:pt x="525" y="6"/>
                    </a:cubicBezTo>
                    <a:cubicBezTo>
                      <a:pt x="525" y="6"/>
                      <a:pt x="525" y="6"/>
                      <a:pt x="524" y="6"/>
                    </a:cubicBezTo>
                    <a:cubicBezTo>
                      <a:pt x="529" y="6"/>
                      <a:pt x="524" y="6"/>
                      <a:pt x="524" y="6"/>
                    </a:cubicBezTo>
                    <a:close/>
                    <a:moveTo>
                      <a:pt x="502" y="15"/>
                    </a:moveTo>
                    <a:cubicBezTo>
                      <a:pt x="505" y="17"/>
                      <a:pt x="507" y="16"/>
                      <a:pt x="509" y="16"/>
                    </a:cubicBezTo>
                    <a:cubicBezTo>
                      <a:pt x="512" y="16"/>
                      <a:pt x="514" y="18"/>
                      <a:pt x="517" y="18"/>
                    </a:cubicBezTo>
                    <a:cubicBezTo>
                      <a:pt x="519" y="19"/>
                      <a:pt x="522" y="18"/>
                      <a:pt x="525" y="18"/>
                    </a:cubicBezTo>
                    <a:cubicBezTo>
                      <a:pt x="528" y="18"/>
                      <a:pt x="524" y="17"/>
                      <a:pt x="523" y="17"/>
                    </a:cubicBezTo>
                    <a:cubicBezTo>
                      <a:pt x="521" y="16"/>
                      <a:pt x="519" y="15"/>
                      <a:pt x="518" y="13"/>
                    </a:cubicBezTo>
                    <a:cubicBezTo>
                      <a:pt x="517" y="12"/>
                      <a:pt x="517" y="12"/>
                      <a:pt x="515" y="12"/>
                    </a:cubicBezTo>
                    <a:cubicBezTo>
                      <a:pt x="514" y="12"/>
                      <a:pt x="513" y="12"/>
                      <a:pt x="511" y="12"/>
                    </a:cubicBezTo>
                    <a:cubicBezTo>
                      <a:pt x="510" y="12"/>
                      <a:pt x="509" y="12"/>
                      <a:pt x="508" y="12"/>
                    </a:cubicBezTo>
                    <a:cubicBezTo>
                      <a:pt x="506" y="13"/>
                      <a:pt x="505" y="12"/>
                      <a:pt x="504" y="13"/>
                    </a:cubicBezTo>
                    <a:cubicBezTo>
                      <a:pt x="503" y="13"/>
                      <a:pt x="502" y="14"/>
                      <a:pt x="502" y="14"/>
                    </a:cubicBezTo>
                    <a:cubicBezTo>
                      <a:pt x="501" y="15"/>
                      <a:pt x="503" y="15"/>
                      <a:pt x="503" y="15"/>
                    </a:cubicBezTo>
                    <a:cubicBezTo>
                      <a:pt x="503" y="15"/>
                      <a:pt x="502" y="15"/>
                      <a:pt x="502" y="15"/>
                    </a:cubicBezTo>
                    <a:cubicBezTo>
                      <a:pt x="504" y="16"/>
                      <a:pt x="502" y="15"/>
                      <a:pt x="502" y="15"/>
                    </a:cubicBezTo>
                    <a:close/>
                    <a:moveTo>
                      <a:pt x="537" y="74"/>
                    </a:moveTo>
                    <a:cubicBezTo>
                      <a:pt x="539" y="75"/>
                      <a:pt x="540" y="75"/>
                      <a:pt x="542" y="76"/>
                    </a:cubicBezTo>
                    <a:cubicBezTo>
                      <a:pt x="544" y="77"/>
                      <a:pt x="545" y="76"/>
                      <a:pt x="546" y="75"/>
                    </a:cubicBezTo>
                    <a:cubicBezTo>
                      <a:pt x="547" y="74"/>
                      <a:pt x="550" y="75"/>
                      <a:pt x="551" y="74"/>
                    </a:cubicBezTo>
                    <a:cubicBezTo>
                      <a:pt x="552" y="72"/>
                      <a:pt x="549" y="71"/>
                      <a:pt x="548" y="71"/>
                    </a:cubicBezTo>
                    <a:cubicBezTo>
                      <a:pt x="547" y="71"/>
                      <a:pt x="545" y="70"/>
                      <a:pt x="543" y="70"/>
                    </a:cubicBezTo>
                    <a:cubicBezTo>
                      <a:pt x="541" y="70"/>
                      <a:pt x="539" y="71"/>
                      <a:pt x="537" y="71"/>
                    </a:cubicBezTo>
                    <a:cubicBezTo>
                      <a:pt x="536" y="72"/>
                      <a:pt x="533" y="72"/>
                      <a:pt x="535" y="74"/>
                    </a:cubicBezTo>
                    <a:cubicBezTo>
                      <a:pt x="536" y="74"/>
                      <a:pt x="537" y="75"/>
                      <a:pt x="538" y="75"/>
                    </a:cubicBezTo>
                    <a:cubicBezTo>
                      <a:pt x="537" y="75"/>
                      <a:pt x="537" y="75"/>
                      <a:pt x="537" y="74"/>
                    </a:cubicBezTo>
                    <a:cubicBezTo>
                      <a:pt x="538" y="75"/>
                      <a:pt x="537" y="74"/>
                      <a:pt x="537" y="74"/>
                    </a:cubicBezTo>
                    <a:close/>
                    <a:moveTo>
                      <a:pt x="559" y="36"/>
                    </a:moveTo>
                    <a:cubicBezTo>
                      <a:pt x="560" y="36"/>
                      <a:pt x="562" y="35"/>
                      <a:pt x="563" y="36"/>
                    </a:cubicBezTo>
                    <a:cubicBezTo>
                      <a:pt x="565" y="36"/>
                      <a:pt x="566" y="37"/>
                      <a:pt x="567" y="37"/>
                    </a:cubicBezTo>
                    <a:cubicBezTo>
                      <a:pt x="570" y="37"/>
                      <a:pt x="573" y="36"/>
                      <a:pt x="576" y="35"/>
                    </a:cubicBezTo>
                    <a:cubicBezTo>
                      <a:pt x="577" y="34"/>
                      <a:pt x="578" y="33"/>
                      <a:pt x="579" y="33"/>
                    </a:cubicBezTo>
                    <a:cubicBezTo>
                      <a:pt x="580" y="32"/>
                      <a:pt x="581" y="32"/>
                      <a:pt x="581" y="31"/>
                    </a:cubicBezTo>
                    <a:cubicBezTo>
                      <a:pt x="582" y="31"/>
                      <a:pt x="582" y="30"/>
                      <a:pt x="583" y="30"/>
                    </a:cubicBezTo>
                    <a:cubicBezTo>
                      <a:pt x="583" y="29"/>
                      <a:pt x="581" y="30"/>
                      <a:pt x="580" y="30"/>
                    </a:cubicBezTo>
                    <a:cubicBezTo>
                      <a:pt x="578" y="32"/>
                      <a:pt x="576" y="31"/>
                      <a:pt x="573" y="31"/>
                    </a:cubicBezTo>
                    <a:cubicBezTo>
                      <a:pt x="570" y="30"/>
                      <a:pt x="568" y="31"/>
                      <a:pt x="565" y="32"/>
                    </a:cubicBezTo>
                    <a:cubicBezTo>
                      <a:pt x="564" y="33"/>
                      <a:pt x="563" y="33"/>
                      <a:pt x="562" y="33"/>
                    </a:cubicBezTo>
                    <a:cubicBezTo>
                      <a:pt x="560" y="33"/>
                      <a:pt x="559" y="32"/>
                      <a:pt x="558" y="33"/>
                    </a:cubicBezTo>
                    <a:cubicBezTo>
                      <a:pt x="557" y="33"/>
                      <a:pt x="557" y="35"/>
                      <a:pt x="558" y="35"/>
                    </a:cubicBezTo>
                    <a:cubicBezTo>
                      <a:pt x="558" y="36"/>
                      <a:pt x="559" y="36"/>
                      <a:pt x="560" y="36"/>
                    </a:cubicBezTo>
                    <a:cubicBezTo>
                      <a:pt x="560" y="36"/>
                      <a:pt x="559" y="36"/>
                      <a:pt x="559" y="36"/>
                    </a:cubicBezTo>
                    <a:cubicBezTo>
                      <a:pt x="560" y="36"/>
                      <a:pt x="559" y="36"/>
                      <a:pt x="559" y="36"/>
                    </a:cubicBezTo>
                    <a:close/>
                    <a:moveTo>
                      <a:pt x="451" y="297"/>
                    </a:moveTo>
                    <a:cubicBezTo>
                      <a:pt x="454" y="297"/>
                      <a:pt x="458" y="298"/>
                      <a:pt x="461" y="298"/>
                    </a:cubicBezTo>
                    <a:cubicBezTo>
                      <a:pt x="464" y="298"/>
                      <a:pt x="467" y="298"/>
                      <a:pt x="470" y="297"/>
                    </a:cubicBezTo>
                    <a:cubicBezTo>
                      <a:pt x="470" y="297"/>
                      <a:pt x="475" y="296"/>
                      <a:pt x="475" y="297"/>
                    </a:cubicBezTo>
                    <a:cubicBezTo>
                      <a:pt x="474" y="300"/>
                      <a:pt x="470" y="299"/>
                      <a:pt x="468" y="299"/>
                    </a:cubicBezTo>
                    <a:cubicBezTo>
                      <a:pt x="466" y="301"/>
                      <a:pt x="464" y="301"/>
                      <a:pt x="461" y="302"/>
                    </a:cubicBezTo>
                    <a:cubicBezTo>
                      <a:pt x="460" y="302"/>
                      <a:pt x="459" y="302"/>
                      <a:pt x="458" y="303"/>
                    </a:cubicBezTo>
                    <a:cubicBezTo>
                      <a:pt x="457" y="304"/>
                      <a:pt x="456" y="304"/>
                      <a:pt x="455" y="305"/>
                    </a:cubicBezTo>
                    <a:cubicBezTo>
                      <a:pt x="453" y="306"/>
                      <a:pt x="453" y="308"/>
                      <a:pt x="456" y="308"/>
                    </a:cubicBezTo>
                    <a:cubicBezTo>
                      <a:pt x="459" y="307"/>
                      <a:pt x="461" y="306"/>
                      <a:pt x="464" y="306"/>
                    </a:cubicBezTo>
                    <a:cubicBezTo>
                      <a:pt x="467" y="306"/>
                      <a:pt x="469" y="306"/>
                      <a:pt x="471" y="307"/>
                    </a:cubicBezTo>
                    <a:cubicBezTo>
                      <a:pt x="474" y="309"/>
                      <a:pt x="476" y="309"/>
                      <a:pt x="479" y="309"/>
                    </a:cubicBezTo>
                    <a:cubicBezTo>
                      <a:pt x="480" y="309"/>
                      <a:pt x="482" y="309"/>
                      <a:pt x="483" y="309"/>
                    </a:cubicBezTo>
                    <a:cubicBezTo>
                      <a:pt x="483" y="308"/>
                      <a:pt x="483" y="307"/>
                      <a:pt x="484" y="307"/>
                    </a:cubicBezTo>
                    <a:cubicBezTo>
                      <a:pt x="487" y="306"/>
                      <a:pt x="488" y="309"/>
                      <a:pt x="489" y="311"/>
                    </a:cubicBezTo>
                    <a:cubicBezTo>
                      <a:pt x="491" y="312"/>
                      <a:pt x="493" y="312"/>
                      <a:pt x="495" y="312"/>
                    </a:cubicBezTo>
                    <a:cubicBezTo>
                      <a:pt x="496" y="312"/>
                      <a:pt x="497" y="312"/>
                      <a:pt x="497" y="311"/>
                    </a:cubicBezTo>
                    <a:cubicBezTo>
                      <a:pt x="498" y="310"/>
                      <a:pt x="498" y="309"/>
                      <a:pt x="499" y="308"/>
                    </a:cubicBezTo>
                    <a:cubicBezTo>
                      <a:pt x="500" y="307"/>
                      <a:pt x="503" y="307"/>
                      <a:pt x="504" y="305"/>
                    </a:cubicBezTo>
                    <a:cubicBezTo>
                      <a:pt x="505" y="304"/>
                      <a:pt x="502" y="303"/>
                      <a:pt x="501" y="303"/>
                    </a:cubicBezTo>
                    <a:cubicBezTo>
                      <a:pt x="500" y="303"/>
                      <a:pt x="496" y="301"/>
                      <a:pt x="499" y="300"/>
                    </a:cubicBezTo>
                    <a:cubicBezTo>
                      <a:pt x="501" y="299"/>
                      <a:pt x="503" y="301"/>
                      <a:pt x="505" y="301"/>
                    </a:cubicBezTo>
                    <a:cubicBezTo>
                      <a:pt x="507" y="302"/>
                      <a:pt x="509" y="301"/>
                      <a:pt x="510" y="299"/>
                    </a:cubicBezTo>
                    <a:cubicBezTo>
                      <a:pt x="511" y="297"/>
                      <a:pt x="508" y="296"/>
                      <a:pt x="507" y="296"/>
                    </a:cubicBezTo>
                    <a:cubicBezTo>
                      <a:pt x="505" y="295"/>
                      <a:pt x="503" y="295"/>
                      <a:pt x="500" y="295"/>
                    </a:cubicBezTo>
                    <a:cubicBezTo>
                      <a:pt x="499" y="295"/>
                      <a:pt x="496" y="295"/>
                      <a:pt x="496" y="294"/>
                    </a:cubicBezTo>
                    <a:cubicBezTo>
                      <a:pt x="494" y="290"/>
                      <a:pt x="503" y="292"/>
                      <a:pt x="505" y="292"/>
                    </a:cubicBezTo>
                    <a:cubicBezTo>
                      <a:pt x="507" y="292"/>
                      <a:pt x="510" y="292"/>
                      <a:pt x="512" y="294"/>
                    </a:cubicBezTo>
                    <a:cubicBezTo>
                      <a:pt x="512" y="295"/>
                      <a:pt x="513" y="296"/>
                      <a:pt x="514" y="296"/>
                    </a:cubicBezTo>
                    <a:cubicBezTo>
                      <a:pt x="515" y="297"/>
                      <a:pt x="516" y="296"/>
                      <a:pt x="517" y="295"/>
                    </a:cubicBezTo>
                    <a:cubicBezTo>
                      <a:pt x="518" y="293"/>
                      <a:pt x="518" y="291"/>
                      <a:pt x="516" y="289"/>
                    </a:cubicBezTo>
                    <a:cubicBezTo>
                      <a:pt x="516" y="288"/>
                      <a:pt x="515" y="287"/>
                      <a:pt x="514" y="287"/>
                    </a:cubicBezTo>
                    <a:cubicBezTo>
                      <a:pt x="512" y="287"/>
                      <a:pt x="511" y="287"/>
                      <a:pt x="510" y="287"/>
                    </a:cubicBezTo>
                    <a:cubicBezTo>
                      <a:pt x="508" y="286"/>
                      <a:pt x="508" y="284"/>
                      <a:pt x="509" y="283"/>
                    </a:cubicBezTo>
                    <a:cubicBezTo>
                      <a:pt x="511" y="281"/>
                      <a:pt x="513" y="284"/>
                      <a:pt x="514" y="285"/>
                    </a:cubicBezTo>
                    <a:cubicBezTo>
                      <a:pt x="516" y="286"/>
                      <a:pt x="519" y="289"/>
                      <a:pt x="521" y="287"/>
                    </a:cubicBezTo>
                    <a:cubicBezTo>
                      <a:pt x="522" y="287"/>
                      <a:pt x="523" y="286"/>
                      <a:pt x="523" y="285"/>
                    </a:cubicBezTo>
                    <a:cubicBezTo>
                      <a:pt x="523" y="284"/>
                      <a:pt x="522" y="282"/>
                      <a:pt x="523" y="282"/>
                    </a:cubicBezTo>
                    <a:cubicBezTo>
                      <a:pt x="524" y="280"/>
                      <a:pt x="527" y="282"/>
                      <a:pt x="528" y="282"/>
                    </a:cubicBezTo>
                    <a:cubicBezTo>
                      <a:pt x="531" y="281"/>
                      <a:pt x="530" y="277"/>
                      <a:pt x="530" y="275"/>
                    </a:cubicBezTo>
                    <a:cubicBezTo>
                      <a:pt x="529" y="273"/>
                      <a:pt x="526" y="272"/>
                      <a:pt x="524" y="271"/>
                    </a:cubicBezTo>
                    <a:cubicBezTo>
                      <a:pt x="524" y="271"/>
                      <a:pt x="522" y="270"/>
                      <a:pt x="523" y="269"/>
                    </a:cubicBezTo>
                    <a:cubicBezTo>
                      <a:pt x="524" y="268"/>
                      <a:pt x="525" y="268"/>
                      <a:pt x="526" y="268"/>
                    </a:cubicBezTo>
                    <a:cubicBezTo>
                      <a:pt x="528" y="270"/>
                      <a:pt x="530" y="271"/>
                      <a:pt x="533" y="271"/>
                    </a:cubicBezTo>
                    <a:cubicBezTo>
                      <a:pt x="535" y="272"/>
                      <a:pt x="538" y="274"/>
                      <a:pt x="539" y="271"/>
                    </a:cubicBezTo>
                    <a:cubicBezTo>
                      <a:pt x="540" y="269"/>
                      <a:pt x="539" y="267"/>
                      <a:pt x="539" y="265"/>
                    </a:cubicBezTo>
                    <a:cubicBezTo>
                      <a:pt x="538" y="263"/>
                      <a:pt x="541" y="265"/>
                      <a:pt x="542" y="265"/>
                    </a:cubicBezTo>
                    <a:cubicBezTo>
                      <a:pt x="544" y="266"/>
                      <a:pt x="545" y="268"/>
                      <a:pt x="547" y="268"/>
                    </a:cubicBezTo>
                    <a:cubicBezTo>
                      <a:pt x="549" y="268"/>
                      <a:pt x="551" y="267"/>
                      <a:pt x="549" y="265"/>
                    </a:cubicBezTo>
                    <a:cubicBezTo>
                      <a:pt x="548" y="264"/>
                      <a:pt x="544" y="262"/>
                      <a:pt x="547" y="262"/>
                    </a:cubicBezTo>
                    <a:cubicBezTo>
                      <a:pt x="548" y="261"/>
                      <a:pt x="549" y="262"/>
                      <a:pt x="550" y="263"/>
                    </a:cubicBezTo>
                    <a:cubicBezTo>
                      <a:pt x="551" y="263"/>
                      <a:pt x="552" y="264"/>
                      <a:pt x="553" y="264"/>
                    </a:cubicBezTo>
                    <a:cubicBezTo>
                      <a:pt x="554" y="264"/>
                      <a:pt x="556" y="264"/>
                      <a:pt x="557" y="264"/>
                    </a:cubicBezTo>
                    <a:cubicBezTo>
                      <a:pt x="557" y="263"/>
                      <a:pt x="557" y="262"/>
                      <a:pt x="558" y="261"/>
                    </a:cubicBezTo>
                    <a:cubicBezTo>
                      <a:pt x="558" y="260"/>
                      <a:pt x="559" y="259"/>
                      <a:pt x="559" y="259"/>
                    </a:cubicBezTo>
                    <a:cubicBezTo>
                      <a:pt x="560" y="258"/>
                      <a:pt x="562" y="258"/>
                      <a:pt x="562" y="256"/>
                    </a:cubicBezTo>
                    <a:cubicBezTo>
                      <a:pt x="562" y="256"/>
                      <a:pt x="560" y="255"/>
                      <a:pt x="561" y="254"/>
                    </a:cubicBezTo>
                    <a:cubicBezTo>
                      <a:pt x="562" y="253"/>
                      <a:pt x="562" y="253"/>
                      <a:pt x="563" y="253"/>
                    </a:cubicBezTo>
                    <a:cubicBezTo>
                      <a:pt x="565" y="253"/>
                      <a:pt x="567" y="253"/>
                      <a:pt x="568" y="251"/>
                    </a:cubicBezTo>
                    <a:cubicBezTo>
                      <a:pt x="569" y="251"/>
                      <a:pt x="575" y="239"/>
                      <a:pt x="577" y="243"/>
                    </a:cubicBezTo>
                    <a:cubicBezTo>
                      <a:pt x="578" y="245"/>
                      <a:pt x="579" y="246"/>
                      <a:pt x="581" y="245"/>
                    </a:cubicBezTo>
                    <a:cubicBezTo>
                      <a:pt x="582" y="244"/>
                      <a:pt x="583" y="243"/>
                      <a:pt x="583" y="243"/>
                    </a:cubicBezTo>
                    <a:cubicBezTo>
                      <a:pt x="584" y="241"/>
                      <a:pt x="585" y="240"/>
                      <a:pt x="587" y="240"/>
                    </a:cubicBezTo>
                    <a:cubicBezTo>
                      <a:pt x="589" y="238"/>
                      <a:pt x="591" y="238"/>
                      <a:pt x="594" y="237"/>
                    </a:cubicBezTo>
                    <a:cubicBezTo>
                      <a:pt x="597" y="237"/>
                      <a:pt x="600" y="236"/>
                      <a:pt x="603" y="235"/>
                    </a:cubicBezTo>
                    <a:cubicBezTo>
                      <a:pt x="610" y="234"/>
                      <a:pt x="616" y="232"/>
                      <a:pt x="622" y="231"/>
                    </a:cubicBezTo>
                    <a:cubicBezTo>
                      <a:pt x="629" y="229"/>
                      <a:pt x="635" y="228"/>
                      <a:pt x="641" y="226"/>
                    </a:cubicBezTo>
                    <a:cubicBezTo>
                      <a:pt x="648" y="224"/>
                      <a:pt x="653" y="222"/>
                      <a:pt x="660" y="220"/>
                    </a:cubicBezTo>
                    <a:cubicBezTo>
                      <a:pt x="665" y="218"/>
                      <a:pt x="672" y="216"/>
                      <a:pt x="678" y="215"/>
                    </a:cubicBezTo>
                    <a:cubicBezTo>
                      <a:pt x="684" y="215"/>
                      <a:pt x="690" y="212"/>
                      <a:pt x="695" y="209"/>
                    </a:cubicBezTo>
                    <a:cubicBezTo>
                      <a:pt x="697" y="208"/>
                      <a:pt x="699" y="207"/>
                      <a:pt x="701" y="205"/>
                    </a:cubicBezTo>
                    <a:cubicBezTo>
                      <a:pt x="702" y="203"/>
                      <a:pt x="704" y="201"/>
                      <a:pt x="706" y="199"/>
                    </a:cubicBezTo>
                    <a:cubicBezTo>
                      <a:pt x="707" y="197"/>
                      <a:pt x="707" y="195"/>
                      <a:pt x="705" y="194"/>
                    </a:cubicBezTo>
                    <a:cubicBezTo>
                      <a:pt x="702" y="192"/>
                      <a:pt x="704" y="190"/>
                      <a:pt x="702" y="188"/>
                    </a:cubicBezTo>
                    <a:cubicBezTo>
                      <a:pt x="701" y="187"/>
                      <a:pt x="699" y="187"/>
                      <a:pt x="697" y="187"/>
                    </a:cubicBezTo>
                    <a:cubicBezTo>
                      <a:pt x="695" y="187"/>
                      <a:pt x="692" y="187"/>
                      <a:pt x="690" y="186"/>
                    </a:cubicBezTo>
                    <a:cubicBezTo>
                      <a:pt x="687" y="185"/>
                      <a:pt x="686" y="183"/>
                      <a:pt x="683" y="184"/>
                    </a:cubicBezTo>
                    <a:cubicBezTo>
                      <a:pt x="680" y="185"/>
                      <a:pt x="678" y="186"/>
                      <a:pt x="675" y="187"/>
                    </a:cubicBezTo>
                    <a:cubicBezTo>
                      <a:pt x="672" y="188"/>
                      <a:pt x="669" y="189"/>
                      <a:pt x="667" y="190"/>
                    </a:cubicBezTo>
                    <a:cubicBezTo>
                      <a:pt x="664" y="190"/>
                      <a:pt x="660" y="190"/>
                      <a:pt x="658" y="192"/>
                    </a:cubicBezTo>
                    <a:cubicBezTo>
                      <a:pt x="657" y="193"/>
                      <a:pt x="655" y="196"/>
                      <a:pt x="656" y="198"/>
                    </a:cubicBezTo>
                    <a:cubicBezTo>
                      <a:pt x="656" y="199"/>
                      <a:pt x="657" y="200"/>
                      <a:pt x="657" y="201"/>
                    </a:cubicBezTo>
                    <a:cubicBezTo>
                      <a:pt x="658" y="202"/>
                      <a:pt x="656" y="202"/>
                      <a:pt x="655" y="202"/>
                    </a:cubicBezTo>
                    <a:cubicBezTo>
                      <a:pt x="653" y="201"/>
                      <a:pt x="649" y="200"/>
                      <a:pt x="647" y="201"/>
                    </a:cubicBezTo>
                    <a:cubicBezTo>
                      <a:pt x="644" y="201"/>
                      <a:pt x="642" y="203"/>
                      <a:pt x="640" y="205"/>
                    </a:cubicBezTo>
                    <a:cubicBezTo>
                      <a:pt x="637" y="206"/>
                      <a:pt x="635" y="206"/>
                      <a:pt x="632" y="206"/>
                    </a:cubicBezTo>
                    <a:cubicBezTo>
                      <a:pt x="631" y="207"/>
                      <a:pt x="630" y="207"/>
                      <a:pt x="628" y="207"/>
                    </a:cubicBezTo>
                    <a:cubicBezTo>
                      <a:pt x="627" y="208"/>
                      <a:pt x="626" y="209"/>
                      <a:pt x="626" y="209"/>
                    </a:cubicBezTo>
                    <a:cubicBezTo>
                      <a:pt x="624" y="211"/>
                      <a:pt x="621" y="210"/>
                      <a:pt x="619" y="209"/>
                    </a:cubicBezTo>
                    <a:cubicBezTo>
                      <a:pt x="618" y="209"/>
                      <a:pt x="617" y="208"/>
                      <a:pt x="615" y="208"/>
                    </a:cubicBezTo>
                    <a:cubicBezTo>
                      <a:pt x="614" y="208"/>
                      <a:pt x="613" y="209"/>
                      <a:pt x="612" y="210"/>
                    </a:cubicBezTo>
                    <a:cubicBezTo>
                      <a:pt x="610" y="211"/>
                      <a:pt x="609" y="213"/>
                      <a:pt x="607" y="213"/>
                    </a:cubicBezTo>
                    <a:cubicBezTo>
                      <a:pt x="605" y="213"/>
                      <a:pt x="604" y="213"/>
                      <a:pt x="603" y="212"/>
                    </a:cubicBezTo>
                    <a:cubicBezTo>
                      <a:pt x="602" y="212"/>
                      <a:pt x="600" y="212"/>
                      <a:pt x="598" y="212"/>
                    </a:cubicBezTo>
                    <a:cubicBezTo>
                      <a:pt x="597" y="213"/>
                      <a:pt x="596" y="213"/>
                      <a:pt x="594" y="213"/>
                    </a:cubicBezTo>
                    <a:cubicBezTo>
                      <a:pt x="593" y="213"/>
                      <a:pt x="592" y="212"/>
                      <a:pt x="591" y="212"/>
                    </a:cubicBezTo>
                    <a:cubicBezTo>
                      <a:pt x="589" y="212"/>
                      <a:pt x="588" y="213"/>
                      <a:pt x="587" y="212"/>
                    </a:cubicBezTo>
                    <a:cubicBezTo>
                      <a:pt x="586" y="211"/>
                      <a:pt x="586" y="210"/>
                      <a:pt x="584" y="210"/>
                    </a:cubicBezTo>
                    <a:cubicBezTo>
                      <a:pt x="581" y="209"/>
                      <a:pt x="571" y="210"/>
                      <a:pt x="573" y="215"/>
                    </a:cubicBezTo>
                    <a:cubicBezTo>
                      <a:pt x="573" y="216"/>
                      <a:pt x="574" y="217"/>
                      <a:pt x="573" y="217"/>
                    </a:cubicBezTo>
                    <a:cubicBezTo>
                      <a:pt x="572" y="218"/>
                      <a:pt x="571" y="218"/>
                      <a:pt x="570" y="218"/>
                    </a:cubicBezTo>
                    <a:cubicBezTo>
                      <a:pt x="568" y="219"/>
                      <a:pt x="565" y="220"/>
                      <a:pt x="563" y="218"/>
                    </a:cubicBezTo>
                    <a:cubicBezTo>
                      <a:pt x="563" y="218"/>
                      <a:pt x="563" y="217"/>
                      <a:pt x="562" y="216"/>
                    </a:cubicBezTo>
                    <a:cubicBezTo>
                      <a:pt x="561" y="216"/>
                      <a:pt x="561" y="216"/>
                      <a:pt x="560" y="216"/>
                    </a:cubicBezTo>
                    <a:cubicBezTo>
                      <a:pt x="559" y="216"/>
                      <a:pt x="558" y="216"/>
                      <a:pt x="557" y="216"/>
                    </a:cubicBezTo>
                    <a:cubicBezTo>
                      <a:pt x="556" y="217"/>
                      <a:pt x="557" y="218"/>
                      <a:pt x="557" y="219"/>
                    </a:cubicBezTo>
                    <a:cubicBezTo>
                      <a:pt x="557" y="220"/>
                      <a:pt x="558" y="221"/>
                      <a:pt x="556" y="222"/>
                    </a:cubicBezTo>
                    <a:cubicBezTo>
                      <a:pt x="554" y="222"/>
                      <a:pt x="553" y="222"/>
                      <a:pt x="551" y="222"/>
                    </a:cubicBezTo>
                    <a:cubicBezTo>
                      <a:pt x="549" y="221"/>
                      <a:pt x="546" y="222"/>
                      <a:pt x="544" y="222"/>
                    </a:cubicBezTo>
                    <a:cubicBezTo>
                      <a:pt x="541" y="223"/>
                      <a:pt x="539" y="225"/>
                      <a:pt x="536" y="226"/>
                    </a:cubicBezTo>
                    <a:cubicBezTo>
                      <a:pt x="533" y="228"/>
                      <a:pt x="531" y="228"/>
                      <a:pt x="528" y="229"/>
                    </a:cubicBezTo>
                    <a:cubicBezTo>
                      <a:pt x="526" y="230"/>
                      <a:pt x="522" y="230"/>
                      <a:pt x="522" y="232"/>
                    </a:cubicBezTo>
                    <a:cubicBezTo>
                      <a:pt x="523" y="234"/>
                      <a:pt x="524" y="236"/>
                      <a:pt x="521" y="236"/>
                    </a:cubicBezTo>
                    <a:cubicBezTo>
                      <a:pt x="519" y="236"/>
                      <a:pt x="516" y="236"/>
                      <a:pt x="514" y="237"/>
                    </a:cubicBezTo>
                    <a:cubicBezTo>
                      <a:pt x="513" y="238"/>
                      <a:pt x="515" y="241"/>
                      <a:pt x="516" y="242"/>
                    </a:cubicBezTo>
                    <a:cubicBezTo>
                      <a:pt x="516" y="243"/>
                      <a:pt x="516" y="244"/>
                      <a:pt x="515" y="244"/>
                    </a:cubicBezTo>
                    <a:cubicBezTo>
                      <a:pt x="513" y="244"/>
                      <a:pt x="512" y="244"/>
                      <a:pt x="511" y="243"/>
                    </a:cubicBezTo>
                    <a:cubicBezTo>
                      <a:pt x="508" y="242"/>
                      <a:pt x="505" y="242"/>
                      <a:pt x="503" y="242"/>
                    </a:cubicBezTo>
                    <a:cubicBezTo>
                      <a:pt x="500" y="242"/>
                      <a:pt x="500" y="244"/>
                      <a:pt x="502" y="245"/>
                    </a:cubicBezTo>
                    <a:cubicBezTo>
                      <a:pt x="503" y="246"/>
                      <a:pt x="501" y="247"/>
                      <a:pt x="500" y="248"/>
                    </a:cubicBezTo>
                    <a:cubicBezTo>
                      <a:pt x="499" y="248"/>
                      <a:pt x="498" y="249"/>
                      <a:pt x="498" y="249"/>
                    </a:cubicBezTo>
                    <a:cubicBezTo>
                      <a:pt x="497" y="250"/>
                      <a:pt x="498" y="252"/>
                      <a:pt x="497" y="252"/>
                    </a:cubicBezTo>
                    <a:cubicBezTo>
                      <a:pt x="495" y="252"/>
                      <a:pt x="493" y="252"/>
                      <a:pt x="493" y="250"/>
                    </a:cubicBezTo>
                    <a:cubicBezTo>
                      <a:pt x="493" y="247"/>
                      <a:pt x="489" y="250"/>
                      <a:pt x="488" y="250"/>
                    </a:cubicBezTo>
                    <a:cubicBezTo>
                      <a:pt x="487" y="250"/>
                      <a:pt x="486" y="246"/>
                      <a:pt x="485" y="248"/>
                    </a:cubicBezTo>
                    <a:cubicBezTo>
                      <a:pt x="484" y="249"/>
                      <a:pt x="482" y="251"/>
                      <a:pt x="484" y="251"/>
                    </a:cubicBezTo>
                    <a:cubicBezTo>
                      <a:pt x="485" y="251"/>
                      <a:pt x="486" y="251"/>
                      <a:pt x="486" y="252"/>
                    </a:cubicBezTo>
                    <a:cubicBezTo>
                      <a:pt x="485" y="253"/>
                      <a:pt x="485" y="254"/>
                      <a:pt x="486" y="254"/>
                    </a:cubicBezTo>
                    <a:cubicBezTo>
                      <a:pt x="486" y="255"/>
                      <a:pt x="488" y="254"/>
                      <a:pt x="488" y="254"/>
                    </a:cubicBezTo>
                    <a:cubicBezTo>
                      <a:pt x="489" y="254"/>
                      <a:pt x="490" y="253"/>
                      <a:pt x="491" y="253"/>
                    </a:cubicBezTo>
                    <a:cubicBezTo>
                      <a:pt x="493" y="253"/>
                      <a:pt x="493" y="254"/>
                      <a:pt x="493" y="255"/>
                    </a:cubicBezTo>
                    <a:cubicBezTo>
                      <a:pt x="493" y="255"/>
                      <a:pt x="496" y="256"/>
                      <a:pt x="497" y="256"/>
                    </a:cubicBezTo>
                    <a:cubicBezTo>
                      <a:pt x="499" y="257"/>
                      <a:pt x="495" y="258"/>
                      <a:pt x="494" y="258"/>
                    </a:cubicBezTo>
                    <a:cubicBezTo>
                      <a:pt x="493" y="258"/>
                      <a:pt x="486" y="258"/>
                      <a:pt x="486" y="260"/>
                    </a:cubicBezTo>
                    <a:cubicBezTo>
                      <a:pt x="486" y="262"/>
                      <a:pt x="489" y="261"/>
                      <a:pt x="490" y="261"/>
                    </a:cubicBezTo>
                    <a:cubicBezTo>
                      <a:pt x="493" y="260"/>
                      <a:pt x="494" y="261"/>
                      <a:pt x="496" y="263"/>
                    </a:cubicBezTo>
                    <a:cubicBezTo>
                      <a:pt x="497" y="264"/>
                      <a:pt x="501" y="263"/>
                      <a:pt x="502" y="265"/>
                    </a:cubicBezTo>
                    <a:cubicBezTo>
                      <a:pt x="503" y="267"/>
                      <a:pt x="496" y="266"/>
                      <a:pt x="496" y="265"/>
                    </a:cubicBezTo>
                    <a:cubicBezTo>
                      <a:pt x="491" y="264"/>
                      <a:pt x="487" y="264"/>
                      <a:pt x="482" y="266"/>
                    </a:cubicBezTo>
                    <a:cubicBezTo>
                      <a:pt x="480" y="266"/>
                      <a:pt x="482" y="268"/>
                      <a:pt x="483" y="269"/>
                    </a:cubicBezTo>
                    <a:cubicBezTo>
                      <a:pt x="485" y="270"/>
                      <a:pt x="487" y="270"/>
                      <a:pt x="489" y="271"/>
                    </a:cubicBezTo>
                    <a:cubicBezTo>
                      <a:pt x="490" y="271"/>
                      <a:pt x="493" y="272"/>
                      <a:pt x="491" y="273"/>
                    </a:cubicBezTo>
                    <a:cubicBezTo>
                      <a:pt x="490" y="273"/>
                      <a:pt x="488" y="273"/>
                      <a:pt x="487" y="273"/>
                    </a:cubicBezTo>
                    <a:cubicBezTo>
                      <a:pt x="485" y="273"/>
                      <a:pt x="477" y="271"/>
                      <a:pt x="477" y="275"/>
                    </a:cubicBezTo>
                    <a:cubicBezTo>
                      <a:pt x="477" y="276"/>
                      <a:pt x="482" y="274"/>
                      <a:pt x="483" y="277"/>
                    </a:cubicBezTo>
                    <a:cubicBezTo>
                      <a:pt x="483" y="279"/>
                      <a:pt x="475" y="278"/>
                      <a:pt x="474" y="278"/>
                    </a:cubicBezTo>
                    <a:cubicBezTo>
                      <a:pt x="473" y="278"/>
                      <a:pt x="474" y="280"/>
                      <a:pt x="475" y="280"/>
                    </a:cubicBezTo>
                    <a:cubicBezTo>
                      <a:pt x="477" y="281"/>
                      <a:pt x="479" y="281"/>
                      <a:pt x="481" y="282"/>
                    </a:cubicBezTo>
                    <a:cubicBezTo>
                      <a:pt x="482" y="283"/>
                      <a:pt x="483" y="283"/>
                      <a:pt x="484" y="284"/>
                    </a:cubicBezTo>
                    <a:cubicBezTo>
                      <a:pt x="485" y="285"/>
                      <a:pt x="482" y="285"/>
                      <a:pt x="482" y="285"/>
                    </a:cubicBezTo>
                    <a:cubicBezTo>
                      <a:pt x="480" y="285"/>
                      <a:pt x="479" y="285"/>
                      <a:pt x="477" y="284"/>
                    </a:cubicBezTo>
                    <a:cubicBezTo>
                      <a:pt x="475" y="283"/>
                      <a:pt x="473" y="283"/>
                      <a:pt x="471" y="283"/>
                    </a:cubicBezTo>
                    <a:cubicBezTo>
                      <a:pt x="469" y="282"/>
                      <a:pt x="468" y="284"/>
                      <a:pt x="467" y="285"/>
                    </a:cubicBezTo>
                    <a:cubicBezTo>
                      <a:pt x="465" y="286"/>
                      <a:pt x="464" y="286"/>
                      <a:pt x="464" y="288"/>
                    </a:cubicBezTo>
                    <a:cubicBezTo>
                      <a:pt x="464" y="290"/>
                      <a:pt x="461" y="290"/>
                      <a:pt x="460" y="290"/>
                    </a:cubicBezTo>
                    <a:cubicBezTo>
                      <a:pt x="458" y="290"/>
                      <a:pt x="456" y="292"/>
                      <a:pt x="454" y="293"/>
                    </a:cubicBezTo>
                    <a:cubicBezTo>
                      <a:pt x="453" y="294"/>
                      <a:pt x="453" y="295"/>
                      <a:pt x="452" y="295"/>
                    </a:cubicBezTo>
                    <a:cubicBezTo>
                      <a:pt x="451" y="295"/>
                      <a:pt x="450" y="295"/>
                      <a:pt x="449" y="295"/>
                    </a:cubicBezTo>
                    <a:cubicBezTo>
                      <a:pt x="448" y="296"/>
                      <a:pt x="452" y="297"/>
                      <a:pt x="452" y="297"/>
                    </a:cubicBezTo>
                    <a:cubicBezTo>
                      <a:pt x="452" y="297"/>
                      <a:pt x="452" y="297"/>
                      <a:pt x="451" y="297"/>
                    </a:cubicBezTo>
                    <a:cubicBezTo>
                      <a:pt x="454" y="297"/>
                      <a:pt x="451" y="297"/>
                      <a:pt x="451" y="297"/>
                    </a:cubicBezTo>
                    <a:close/>
                    <a:moveTo>
                      <a:pt x="537" y="417"/>
                    </a:moveTo>
                    <a:cubicBezTo>
                      <a:pt x="538" y="416"/>
                      <a:pt x="539" y="417"/>
                      <a:pt x="540" y="418"/>
                    </a:cubicBezTo>
                    <a:cubicBezTo>
                      <a:pt x="541" y="419"/>
                      <a:pt x="542" y="419"/>
                      <a:pt x="543" y="420"/>
                    </a:cubicBezTo>
                    <a:cubicBezTo>
                      <a:pt x="545" y="421"/>
                      <a:pt x="547" y="419"/>
                      <a:pt x="550" y="420"/>
                    </a:cubicBezTo>
                    <a:cubicBezTo>
                      <a:pt x="551" y="421"/>
                      <a:pt x="552" y="422"/>
                      <a:pt x="553" y="422"/>
                    </a:cubicBezTo>
                    <a:cubicBezTo>
                      <a:pt x="555" y="423"/>
                      <a:pt x="555" y="422"/>
                      <a:pt x="556" y="421"/>
                    </a:cubicBezTo>
                    <a:cubicBezTo>
                      <a:pt x="557" y="421"/>
                      <a:pt x="559" y="420"/>
                      <a:pt x="559" y="420"/>
                    </a:cubicBezTo>
                    <a:cubicBezTo>
                      <a:pt x="560" y="418"/>
                      <a:pt x="560" y="416"/>
                      <a:pt x="560" y="415"/>
                    </a:cubicBezTo>
                    <a:cubicBezTo>
                      <a:pt x="559" y="414"/>
                      <a:pt x="558" y="414"/>
                      <a:pt x="558" y="414"/>
                    </a:cubicBezTo>
                    <a:cubicBezTo>
                      <a:pt x="556" y="414"/>
                      <a:pt x="555" y="413"/>
                      <a:pt x="554" y="412"/>
                    </a:cubicBezTo>
                    <a:cubicBezTo>
                      <a:pt x="552" y="410"/>
                      <a:pt x="552" y="408"/>
                      <a:pt x="549" y="408"/>
                    </a:cubicBezTo>
                    <a:cubicBezTo>
                      <a:pt x="547" y="407"/>
                      <a:pt x="544" y="407"/>
                      <a:pt x="543" y="405"/>
                    </a:cubicBezTo>
                    <a:cubicBezTo>
                      <a:pt x="542" y="403"/>
                      <a:pt x="540" y="400"/>
                      <a:pt x="537" y="401"/>
                    </a:cubicBezTo>
                    <a:cubicBezTo>
                      <a:pt x="536" y="401"/>
                      <a:pt x="535" y="402"/>
                      <a:pt x="534" y="402"/>
                    </a:cubicBezTo>
                    <a:cubicBezTo>
                      <a:pt x="534" y="402"/>
                      <a:pt x="533" y="402"/>
                      <a:pt x="532" y="402"/>
                    </a:cubicBezTo>
                    <a:cubicBezTo>
                      <a:pt x="531" y="403"/>
                      <a:pt x="528" y="403"/>
                      <a:pt x="530" y="405"/>
                    </a:cubicBezTo>
                    <a:cubicBezTo>
                      <a:pt x="531" y="405"/>
                      <a:pt x="533" y="407"/>
                      <a:pt x="533" y="408"/>
                    </a:cubicBezTo>
                    <a:cubicBezTo>
                      <a:pt x="532" y="409"/>
                      <a:pt x="530" y="409"/>
                      <a:pt x="529" y="409"/>
                    </a:cubicBezTo>
                    <a:cubicBezTo>
                      <a:pt x="528" y="409"/>
                      <a:pt x="527" y="409"/>
                      <a:pt x="527" y="410"/>
                    </a:cubicBezTo>
                    <a:cubicBezTo>
                      <a:pt x="526" y="412"/>
                      <a:pt x="530" y="413"/>
                      <a:pt x="531" y="414"/>
                    </a:cubicBezTo>
                    <a:cubicBezTo>
                      <a:pt x="533" y="416"/>
                      <a:pt x="534" y="418"/>
                      <a:pt x="536" y="419"/>
                    </a:cubicBezTo>
                    <a:cubicBezTo>
                      <a:pt x="536" y="419"/>
                      <a:pt x="537" y="419"/>
                      <a:pt x="537" y="418"/>
                    </a:cubicBezTo>
                    <a:cubicBezTo>
                      <a:pt x="537" y="417"/>
                      <a:pt x="537" y="417"/>
                      <a:pt x="538" y="417"/>
                    </a:cubicBezTo>
                    <a:cubicBezTo>
                      <a:pt x="538" y="417"/>
                      <a:pt x="537" y="417"/>
                      <a:pt x="537" y="417"/>
                    </a:cubicBezTo>
                    <a:cubicBezTo>
                      <a:pt x="538" y="416"/>
                      <a:pt x="537" y="417"/>
                      <a:pt x="537" y="417"/>
                    </a:cubicBezTo>
                    <a:close/>
                    <a:moveTo>
                      <a:pt x="428" y="66"/>
                    </a:moveTo>
                    <a:cubicBezTo>
                      <a:pt x="429" y="66"/>
                      <a:pt x="431" y="66"/>
                      <a:pt x="432" y="66"/>
                    </a:cubicBezTo>
                    <a:cubicBezTo>
                      <a:pt x="433" y="66"/>
                      <a:pt x="434" y="67"/>
                      <a:pt x="436" y="67"/>
                    </a:cubicBezTo>
                    <a:cubicBezTo>
                      <a:pt x="438" y="66"/>
                      <a:pt x="441" y="66"/>
                      <a:pt x="443" y="65"/>
                    </a:cubicBezTo>
                    <a:cubicBezTo>
                      <a:pt x="444" y="64"/>
                      <a:pt x="449" y="65"/>
                      <a:pt x="447" y="62"/>
                    </a:cubicBezTo>
                    <a:cubicBezTo>
                      <a:pt x="447" y="61"/>
                      <a:pt x="446" y="61"/>
                      <a:pt x="445" y="61"/>
                    </a:cubicBezTo>
                    <a:cubicBezTo>
                      <a:pt x="444" y="60"/>
                      <a:pt x="443" y="60"/>
                      <a:pt x="442" y="59"/>
                    </a:cubicBezTo>
                    <a:cubicBezTo>
                      <a:pt x="441" y="58"/>
                      <a:pt x="439" y="56"/>
                      <a:pt x="437" y="57"/>
                    </a:cubicBezTo>
                    <a:cubicBezTo>
                      <a:pt x="434" y="58"/>
                      <a:pt x="433" y="60"/>
                      <a:pt x="430" y="61"/>
                    </a:cubicBezTo>
                    <a:cubicBezTo>
                      <a:pt x="429" y="62"/>
                      <a:pt x="425" y="62"/>
                      <a:pt x="425" y="64"/>
                    </a:cubicBezTo>
                    <a:cubicBezTo>
                      <a:pt x="426" y="66"/>
                      <a:pt x="427" y="66"/>
                      <a:pt x="429" y="66"/>
                    </a:cubicBezTo>
                    <a:cubicBezTo>
                      <a:pt x="429" y="66"/>
                      <a:pt x="428" y="66"/>
                      <a:pt x="428" y="66"/>
                    </a:cubicBezTo>
                    <a:cubicBezTo>
                      <a:pt x="429" y="66"/>
                      <a:pt x="428" y="66"/>
                      <a:pt x="428" y="66"/>
                    </a:cubicBezTo>
                    <a:close/>
                    <a:moveTo>
                      <a:pt x="388" y="445"/>
                    </a:moveTo>
                    <a:cubicBezTo>
                      <a:pt x="389" y="443"/>
                      <a:pt x="390" y="441"/>
                      <a:pt x="390" y="439"/>
                    </a:cubicBezTo>
                    <a:cubicBezTo>
                      <a:pt x="389" y="437"/>
                      <a:pt x="386" y="437"/>
                      <a:pt x="384" y="437"/>
                    </a:cubicBezTo>
                    <a:cubicBezTo>
                      <a:pt x="381" y="437"/>
                      <a:pt x="381" y="435"/>
                      <a:pt x="379" y="433"/>
                    </a:cubicBezTo>
                    <a:cubicBezTo>
                      <a:pt x="377" y="431"/>
                      <a:pt x="375" y="431"/>
                      <a:pt x="372" y="430"/>
                    </a:cubicBezTo>
                    <a:cubicBezTo>
                      <a:pt x="370" y="430"/>
                      <a:pt x="368" y="430"/>
                      <a:pt x="366" y="431"/>
                    </a:cubicBezTo>
                    <a:cubicBezTo>
                      <a:pt x="364" y="432"/>
                      <a:pt x="363" y="431"/>
                      <a:pt x="362" y="432"/>
                    </a:cubicBezTo>
                    <a:cubicBezTo>
                      <a:pt x="360" y="432"/>
                      <a:pt x="359" y="433"/>
                      <a:pt x="358" y="434"/>
                    </a:cubicBezTo>
                    <a:cubicBezTo>
                      <a:pt x="356" y="436"/>
                      <a:pt x="355" y="438"/>
                      <a:pt x="355" y="440"/>
                    </a:cubicBezTo>
                    <a:cubicBezTo>
                      <a:pt x="354" y="441"/>
                      <a:pt x="354" y="443"/>
                      <a:pt x="354" y="444"/>
                    </a:cubicBezTo>
                    <a:cubicBezTo>
                      <a:pt x="354" y="445"/>
                      <a:pt x="354" y="446"/>
                      <a:pt x="354" y="448"/>
                    </a:cubicBezTo>
                    <a:cubicBezTo>
                      <a:pt x="354" y="450"/>
                      <a:pt x="358" y="450"/>
                      <a:pt x="360" y="450"/>
                    </a:cubicBezTo>
                    <a:cubicBezTo>
                      <a:pt x="362" y="451"/>
                      <a:pt x="363" y="453"/>
                      <a:pt x="366" y="454"/>
                    </a:cubicBezTo>
                    <a:cubicBezTo>
                      <a:pt x="369" y="454"/>
                      <a:pt x="369" y="451"/>
                      <a:pt x="372" y="450"/>
                    </a:cubicBezTo>
                    <a:cubicBezTo>
                      <a:pt x="374" y="449"/>
                      <a:pt x="377" y="450"/>
                      <a:pt x="378" y="448"/>
                    </a:cubicBezTo>
                    <a:cubicBezTo>
                      <a:pt x="379" y="447"/>
                      <a:pt x="379" y="445"/>
                      <a:pt x="381" y="444"/>
                    </a:cubicBezTo>
                    <a:cubicBezTo>
                      <a:pt x="382" y="442"/>
                      <a:pt x="384" y="441"/>
                      <a:pt x="385" y="441"/>
                    </a:cubicBezTo>
                    <a:cubicBezTo>
                      <a:pt x="387" y="440"/>
                      <a:pt x="386" y="444"/>
                      <a:pt x="386" y="445"/>
                    </a:cubicBezTo>
                    <a:cubicBezTo>
                      <a:pt x="387" y="448"/>
                      <a:pt x="388" y="444"/>
                      <a:pt x="388" y="444"/>
                    </a:cubicBezTo>
                    <a:cubicBezTo>
                      <a:pt x="388" y="444"/>
                      <a:pt x="388" y="444"/>
                      <a:pt x="388" y="445"/>
                    </a:cubicBezTo>
                    <a:cubicBezTo>
                      <a:pt x="389" y="443"/>
                      <a:pt x="388" y="445"/>
                      <a:pt x="388" y="445"/>
                    </a:cubicBezTo>
                    <a:close/>
                    <a:moveTo>
                      <a:pt x="408" y="353"/>
                    </a:moveTo>
                    <a:cubicBezTo>
                      <a:pt x="407" y="355"/>
                      <a:pt x="407" y="356"/>
                      <a:pt x="408" y="357"/>
                    </a:cubicBezTo>
                    <a:cubicBezTo>
                      <a:pt x="408" y="358"/>
                      <a:pt x="408" y="360"/>
                      <a:pt x="408" y="362"/>
                    </a:cubicBezTo>
                    <a:cubicBezTo>
                      <a:pt x="408" y="364"/>
                      <a:pt x="408" y="366"/>
                      <a:pt x="411" y="366"/>
                    </a:cubicBezTo>
                    <a:cubicBezTo>
                      <a:pt x="414" y="366"/>
                      <a:pt x="417" y="366"/>
                      <a:pt x="420" y="366"/>
                    </a:cubicBezTo>
                    <a:cubicBezTo>
                      <a:pt x="421" y="366"/>
                      <a:pt x="422" y="367"/>
                      <a:pt x="423" y="366"/>
                    </a:cubicBezTo>
                    <a:cubicBezTo>
                      <a:pt x="424" y="366"/>
                      <a:pt x="425" y="365"/>
                      <a:pt x="426" y="364"/>
                    </a:cubicBezTo>
                    <a:cubicBezTo>
                      <a:pt x="428" y="364"/>
                      <a:pt x="427" y="368"/>
                      <a:pt x="428" y="369"/>
                    </a:cubicBezTo>
                    <a:cubicBezTo>
                      <a:pt x="428" y="370"/>
                      <a:pt x="429" y="370"/>
                      <a:pt x="430" y="370"/>
                    </a:cubicBezTo>
                    <a:cubicBezTo>
                      <a:pt x="432" y="370"/>
                      <a:pt x="432" y="371"/>
                      <a:pt x="433" y="369"/>
                    </a:cubicBezTo>
                    <a:cubicBezTo>
                      <a:pt x="434" y="367"/>
                      <a:pt x="436" y="366"/>
                      <a:pt x="439" y="366"/>
                    </a:cubicBezTo>
                    <a:cubicBezTo>
                      <a:pt x="441" y="366"/>
                      <a:pt x="440" y="368"/>
                      <a:pt x="439" y="370"/>
                    </a:cubicBezTo>
                    <a:cubicBezTo>
                      <a:pt x="438" y="372"/>
                      <a:pt x="440" y="375"/>
                      <a:pt x="443" y="374"/>
                    </a:cubicBezTo>
                    <a:cubicBezTo>
                      <a:pt x="444" y="373"/>
                      <a:pt x="446" y="369"/>
                      <a:pt x="448" y="370"/>
                    </a:cubicBezTo>
                    <a:cubicBezTo>
                      <a:pt x="449" y="370"/>
                      <a:pt x="450" y="371"/>
                      <a:pt x="450" y="372"/>
                    </a:cubicBezTo>
                    <a:cubicBezTo>
                      <a:pt x="449" y="372"/>
                      <a:pt x="448" y="373"/>
                      <a:pt x="447" y="373"/>
                    </a:cubicBezTo>
                    <a:cubicBezTo>
                      <a:pt x="445" y="375"/>
                      <a:pt x="443" y="377"/>
                      <a:pt x="446" y="379"/>
                    </a:cubicBezTo>
                    <a:cubicBezTo>
                      <a:pt x="447" y="380"/>
                      <a:pt x="450" y="380"/>
                      <a:pt x="450" y="382"/>
                    </a:cubicBezTo>
                    <a:cubicBezTo>
                      <a:pt x="449" y="384"/>
                      <a:pt x="447" y="383"/>
                      <a:pt x="446" y="383"/>
                    </a:cubicBezTo>
                    <a:cubicBezTo>
                      <a:pt x="443" y="382"/>
                      <a:pt x="445" y="384"/>
                      <a:pt x="446" y="385"/>
                    </a:cubicBezTo>
                    <a:cubicBezTo>
                      <a:pt x="448" y="386"/>
                      <a:pt x="447" y="387"/>
                      <a:pt x="445" y="388"/>
                    </a:cubicBezTo>
                    <a:cubicBezTo>
                      <a:pt x="443" y="388"/>
                      <a:pt x="441" y="387"/>
                      <a:pt x="440" y="388"/>
                    </a:cubicBezTo>
                    <a:cubicBezTo>
                      <a:pt x="439" y="389"/>
                      <a:pt x="440" y="390"/>
                      <a:pt x="441" y="390"/>
                    </a:cubicBezTo>
                    <a:cubicBezTo>
                      <a:pt x="442" y="391"/>
                      <a:pt x="444" y="390"/>
                      <a:pt x="445" y="390"/>
                    </a:cubicBezTo>
                    <a:cubicBezTo>
                      <a:pt x="447" y="391"/>
                      <a:pt x="448" y="391"/>
                      <a:pt x="449" y="392"/>
                    </a:cubicBezTo>
                    <a:cubicBezTo>
                      <a:pt x="450" y="392"/>
                      <a:pt x="452" y="392"/>
                      <a:pt x="453" y="392"/>
                    </a:cubicBezTo>
                    <a:cubicBezTo>
                      <a:pt x="454" y="393"/>
                      <a:pt x="456" y="393"/>
                      <a:pt x="457" y="393"/>
                    </a:cubicBezTo>
                    <a:cubicBezTo>
                      <a:pt x="458" y="394"/>
                      <a:pt x="458" y="394"/>
                      <a:pt x="459" y="395"/>
                    </a:cubicBezTo>
                    <a:cubicBezTo>
                      <a:pt x="459" y="396"/>
                      <a:pt x="460" y="397"/>
                      <a:pt x="461" y="397"/>
                    </a:cubicBezTo>
                    <a:cubicBezTo>
                      <a:pt x="461" y="397"/>
                      <a:pt x="461" y="396"/>
                      <a:pt x="461" y="395"/>
                    </a:cubicBezTo>
                    <a:cubicBezTo>
                      <a:pt x="461" y="394"/>
                      <a:pt x="461" y="393"/>
                      <a:pt x="460" y="392"/>
                    </a:cubicBezTo>
                    <a:cubicBezTo>
                      <a:pt x="460" y="392"/>
                      <a:pt x="459" y="390"/>
                      <a:pt x="460" y="390"/>
                    </a:cubicBezTo>
                    <a:cubicBezTo>
                      <a:pt x="462" y="390"/>
                      <a:pt x="463" y="391"/>
                      <a:pt x="464" y="391"/>
                    </a:cubicBezTo>
                    <a:cubicBezTo>
                      <a:pt x="465" y="392"/>
                      <a:pt x="466" y="392"/>
                      <a:pt x="467" y="392"/>
                    </a:cubicBezTo>
                    <a:cubicBezTo>
                      <a:pt x="467" y="393"/>
                      <a:pt x="467" y="395"/>
                      <a:pt x="467" y="396"/>
                    </a:cubicBezTo>
                    <a:cubicBezTo>
                      <a:pt x="468" y="397"/>
                      <a:pt x="469" y="397"/>
                      <a:pt x="470" y="397"/>
                    </a:cubicBezTo>
                    <a:cubicBezTo>
                      <a:pt x="473" y="398"/>
                      <a:pt x="472" y="396"/>
                      <a:pt x="473" y="395"/>
                    </a:cubicBezTo>
                    <a:cubicBezTo>
                      <a:pt x="474" y="393"/>
                      <a:pt x="477" y="392"/>
                      <a:pt x="478" y="393"/>
                    </a:cubicBezTo>
                    <a:cubicBezTo>
                      <a:pt x="479" y="393"/>
                      <a:pt x="479" y="394"/>
                      <a:pt x="480" y="395"/>
                    </a:cubicBezTo>
                    <a:cubicBezTo>
                      <a:pt x="481" y="396"/>
                      <a:pt x="482" y="396"/>
                      <a:pt x="483" y="396"/>
                    </a:cubicBezTo>
                    <a:cubicBezTo>
                      <a:pt x="484" y="395"/>
                      <a:pt x="485" y="394"/>
                      <a:pt x="486" y="395"/>
                    </a:cubicBezTo>
                    <a:cubicBezTo>
                      <a:pt x="487" y="395"/>
                      <a:pt x="489" y="395"/>
                      <a:pt x="490" y="396"/>
                    </a:cubicBezTo>
                    <a:cubicBezTo>
                      <a:pt x="491" y="396"/>
                      <a:pt x="495" y="397"/>
                      <a:pt x="493" y="395"/>
                    </a:cubicBezTo>
                    <a:cubicBezTo>
                      <a:pt x="493" y="395"/>
                      <a:pt x="490" y="393"/>
                      <a:pt x="490" y="392"/>
                    </a:cubicBezTo>
                    <a:cubicBezTo>
                      <a:pt x="491" y="390"/>
                      <a:pt x="494" y="394"/>
                      <a:pt x="495" y="394"/>
                    </a:cubicBezTo>
                    <a:cubicBezTo>
                      <a:pt x="498" y="395"/>
                      <a:pt x="501" y="395"/>
                      <a:pt x="503" y="396"/>
                    </a:cubicBezTo>
                    <a:cubicBezTo>
                      <a:pt x="506" y="396"/>
                      <a:pt x="507" y="395"/>
                      <a:pt x="509" y="394"/>
                    </a:cubicBezTo>
                    <a:cubicBezTo>
                      <a:pt x="511" y="393"/>
                      <a:pt x="513" y="392"/>
                      <a:pt x="511" y="391"/>
                    </a:cubicBezTo>
                    <a:cubicBezTo>
                      <a:pt x="509" y="389"/>
                      <a:pt x="507" y="389"/>
                      <a:pt x="504" y="388"/>
                    </a:cubicBezTo>
                    <a:cubicBezTo>
                      <a:pt x="501" y="388"/>
                      <a:pt x="499" y="386"/>
                      <a:pt x="497" y="384"/>
                    </a:cubicBezTo>
                    <a:cubicBezTo>
                      <a:pt x="495" y="382"/>
                      <a:pt x="493" y="380"/>
                      <a:pt x="490" y="379"/>
                    </a:cubicBezTo>
                    <a:cubicBezTo>
                      <a:pt x="488" y="378"/>
                      <a:pt x="486" y="376"/>
                      <a:pt x="485" y="373"/>
                    </a:cubicBezTo>
                    <a:cubicBezTo>
                      <a:pt x="485" y="370"/>
                      <a:pt x="484" y="368"/>
                      <a:pt x="483" y="366"/>
                    </a:cubicBezTo>
                    <a:cubicBezTo>
                      <a:pt x="482" y="365"/>
                      <a:pt x="481" y="364"/>
                      <a:pt x="481" y="363"/>
                    </a:cubicBezTo>
                    <a:cubicBezTo>
                      <a:pt x="480" y="361"/>
                      <a:pt x="480" y="361"/>
                      <a:pt x="479" y="360"/>
                    </a:cubicBezTo>
                    <a:cubicBezTo>
                      <a:pt x="477" y="359"/>
                      <a:pt x="474" y="359"/>
                      <a:pt x="473" y="357"/>
                    </a:cubicBezTo>
                    <a:cubicBezTo>
                      <a:pt x="472" y="355"/>
                      <a:pt x="474" y="354"/>
                      <a:pt x="476" y="353"/>
                    </a:cubicBezTo>
                    <a:cubicBezTo>
                      <a:pt x="478" y="352"/>
                      <a:pt x="479" y="349"/>
                      <a:pt x="478" y="347"/>
                    </a:cubicBezTo>
                    <a:cubicBezTo>
                      <a:pt x="477" y="346"/>
                      <a:pt x="474" y="344"/>
                      <a:pt x="475" y="342"/>
                    </a:cubicBezTo>
                    <a:cubicBezTo>
                      <a:pt x="476" y="340"/>
                      <a:pt x="472" y="341"/>
                      <a:pt x="473" y="339"/>
                    </a:cubicBezTo>
                    <a:cubicBezTo>
                      <a:pt x="473" y="339"/>
                      <a:pt x="474" y="339"/>
                      <a:pt x="474" y="339"/>
                    </a:cubicBezTo>
                    <a:cubicBezTo>
                      <a:pt x="475" y="338"/>
                      <a:pt x="476" y="337"/>
                      <a:pt x="475" y="336"/>
                    </a:cubicBezTo>
                    <a:cubicBezTo>
                      <a:pt x="474" y="336"/>
                      <a:pt x="473" y="335"/>
                      <a:pt x="473" y="335"/>
                    </a:cubicBezTo>
                    <a:cubicBezTo>
                      <a:pt x="473" y="334"/>
                      <a:pt x="475" y="335"/>
                      <a:pt x="475" y="335"/>
                    </a:cubicBezTo>
                    <a:cubicBezTo>
                      <a:pt x="478" y="335"/>
                      <a:pt x="480" y="335"/>
                      <a:pt x="481" y="333"/>
                    </a:cubicBezTo>
                    <a:cubicBezTo>
                      <a:pt x="483" y="331"/>
                      <a:pt x="480" y="330"/>
                      <a:pt x="478" y="329"/>
                    </a:cubicBezTo>
                    <a:cubicBezTo>
                      <a:pt x="478" y="329"/>
                      <a:pt x="477" y="328"/>
                      <a:pt x="477" y="327"/>
                    </a:cubicBezTo>
                    <a:cubicBezTo>
                      <a:pt x="478" y="326"/>
                      <a:pt x="479" y="327"/>
                      <a:pt x="480" y="327"/>
                    </a:cubicBezTo>
                    <a:cubicBezTo>
                      <a:pt x="481" y="328"/>
                      <a:pt x="482" y="328"/>
                      <a:pt x="483" y="328"/>
                    </a:cubicBezTo>
                    <a:cubicBezTo>
                      <a:pt x="484" y="329"/>
                      <a:pt x="484" y="330"/>
                      <a:pt x="486" y="329"/>
                    </a:cubicBezTo>
                    <a:cubicBezTo>
                      <a:pt x="486" y="329"/>
                      <a:pt x="488" y="329"/>
                      <a:pt x="488" y="328"/>
                    </a:cubicBezTo>
                    <a:cubicBezTo>
                      <a:pt x="489" y="327"/>
                      <a:pt x="489" y="326"/>
                      <a:pt x="488" y="325"/>
                    </a:cubicBezTo>
                    <a:cubicBezTo>
                      <a:pt x="488" y="323"/>
                      <a:pt x="485" y="325"/>
                      <a:pt x="484" y="325"/>
                    </a:cubicBezTo>
                    <a:cubicBezTo>
                      <a:pt x="482" y="326"/>
                      <a:pt x="479" y="323"/>
                      <a:pt x="482" y="322"/>
                    </a:cubicBezTo>
                    <a:cubicBezTo>
                      <a:pt x="482" y="322"/>
                      <a:pt x="488" y="322"/>
                      <a:pt x="487" y="321"/>
                    </a:cubicBezTo>
                    <a:cubicBezTo>
                      <a:pt x="486" y="321"/>
                      <a:pt x="485" y="320"/>
                      <a:pt x="485" y="319"/>
                    </a:cubicBezTo>
                    <a:cubicBezTo>
                      <a:pt x="485" y="319"/>
                      <a:pt x="487" y="318"/>
                      <a:pt x="488" y="318"/>
                    </a:cubicBezTo>
                    <a:cubicBezTo>
                      <a:pt x="489" y="318"/>
                      <a:pt x="494" y="319"/>
                      <a:pt x="494" y="318"/>
                    </a:cubicBezTo>
                    <a:cubicBezTo>
                      <a:pt x="494" y="316"/>
                      <a:pt x="489" y="315"/>
                      <a:pt x="487" y="315"/>
                    </a:cubicBezTo>
                    <a:cubicBezTo>
                      <a:pt x="485" y="314"/>
                      <a:pt x="482" y="314"/>
                      <a:pt x="480" y="313"/>
                    </a:cubicBezTo>
                    <a:cubicBezTo>
                      <a:pt x="477" y="312"/>
                      <a:pt x="474" y="311"/>
                      <a:pt x="471" y="311"/>
                    </a:cubicBezTo>
                    <a:cubicBezTo>
                      <a:pt x="468" y="311"/>
                      <a:pt x="465" y="311"/>
                      <a:pt x="462" y="311"/>
                    </a:cubicBezTo>
                    <a:cubicBezTo>
                      <a:pt x="458" y="311"/>
                      <a:pt x="456" y="312"/>
                      <a:pt x="452" y="313"/>
                    </a:cubicBezTo>
                    <a:cubicBezTo>
                      <a:pt x="449" y="313"/>
                      <a:pt x="446" y="314"/>
                      <a:pt x="443" y="314"/>
                    </a:cubicBezTo>
                    <a:cubicBezTo>
                      <a:pt x="441" y="314"/>
                      <a:pt x="438" y="314"/>
                      <a:pt x="438" y="317"/>
                    </a:cubicBezTo>
                    <a:cubicBezTo>
                      <a:pt x="438" y="319"/>
                      <a:pt x="440" y="324"/>
                      <a:pt x="437" y="324"/>
                    </a:cubicBezTo>
                    <a:cubicBezTo>
                      <a:pt x="436" y="325"/>
                      <a:pt x="434" y="324"/>
                      <a:pt x="432" y="323"/>
                    </a:cubicBezTo>
                    <a:cubicBezTo>
                      <a:pt x="430" y="323"/>
                      <a:pt x="430" y="324"/>
                      <a:pt x="428" y="326"/>
                    </a:cubicBezTo>
                    <a:cubicBezTo>
                      <a:pt x="428" y="326"/>
                      <a:pt x="424" y="328"/>
                      <a:pt x="424" y="329"/>
                    </a:cubicBezTo>
                    <a:cubicBezTo>
                      <a:pt x="425" y="331"/>
                      <a:pt x="428" y="331"/>
                      <a:pt x="429" y="332"/>
                    </a:cubicBezTo>
                    <a:cubicBezTo>
                      <a:pt x="430" y="332"/>
                      <a:pt x="435" y="332"/>
                      <a:pt x="435" y="333"/>
                    </a:cubicBezTo>
                    <a:cubicBezTo>
                      <a:pt x="435" y="334"/>
                      <a:pt x="434" y="336"/>
                      <a:pt x="432" y="336"/>
                    </a:cubicBezTo>
                    <a:cubicBezTo>
                      <a:pt x="430" y="337"/>
                      <a:pt x="430" y="338"/>
                      <a:pt x="429" y="340"/>
                    </a:cubicBezTo>
                    <a:cubicBezTo>
                      <a:pt x="429" y="341"/>
                      <a:pt x="429" y="343"/>
                      <a:pt x="427" y="343"/>
                    </a:cubicBezTo>
                    <a:cubicBezTo>
                      <a:pt x="425" y="344"/>
                      <a:pt x="424" y="345"/>
                      <a:pt x="424" y="347"/>
                    </a:cubicBezTo>
                    <a:cubicBezTo>
                      <a:pt x="424" y="348"/>
                      <a:pt x="424" y="349"/>
                      <a:pt x="423" y="350"/>
                    </a:cubicBezTo>
                    <a:cubicBezTo>
                      <a:pt x="420" y="353"/>
                      <a:pt x="416" y="347"/>
                      <a:pt x="413" y="348"/>
                    </a:cubicBezTo>
                    <a:cubicBezTo>
                      <a:pt x="410" y="348"/>
                      <a:pt x="408" y="352"/>
                      <a:pt x="407" y="354"/>
                    </a:cubicBezTo>
                    <a:cubicBezTo>
                      <a:pt x="408" y="354"/>
                      <a:pt x="408" y="354"/>
                      <a:pt x="408" y="353"/>
                    </a:cubicBezTo>
                    <a:cubicBezTo>
                      <a:pt x="407" y="355"/>
                      <a:pt x="408" y="353"/>
                      <a:pt x="408" y="353"/>
                    </a:cubicBezTo>
                    <a:close/>
                    <a:moveTo>
                      <a:pt x="376" y="48"/>
                    </a:moveTo>
                    <a:cubicBezTo>
                      <a:pt x="374" y="48"/>
                      <a:pt x="373" y="51"/>
                      <a:pt x="372" y="52"/>
                    </a:cubicBezTo>
                    <a:cubicBezTo>
                      <a:pt x="369" y="53"/>
                      <a:pt x="366" y="53"/>
                      <a:pt x="363" y="53"/>
                    </a:cubicBezTo>
                    <a:cubicBezTo>
                      <a:pt x="362" y="53"/>
                      <a:pt x="361" y="53"/>
                      <a:pt x="360" y="53"/>
                    </a:cubicBezTo>
                    <a:cubicBezTo>
                      <a:pt x="359" y="53"/>
                      <a:pt x="358" y="52"/>
                      <a:pt x="357" y="51"/>
                    </a:cubicBezTo>
                    <a:cubicBezTo>
                      <a:pt x="355" y="50"/>
                      <a:pt x="352" y="53"/>
                      <a:pt x="349" y="53"/>
                    </a:cubicBezTo>
                    <a:cubicBezTo>
                      <a:pt x="349" y="53"/>
                      <a:pt x="348" y="52"/>
                      <a:pt x="347" y="53"/>
                    </a:cubicBezTo>
                    <a:cubicBezTo>
                      <a:pt x="347" y="53"/>
                      <a:pt x="347" y="54"/>
                      <a:pt x="348" y="54"/>
                    </a:cubicBezTo>
                    <a:cubicBezTo>
                      <a:pt x="349" y="55"/>
                      <a:pt x="350" y="55"/>
                      <a:pt x="352" y="55"/>
                    </a:cubicBezTo>
                    <a:cubicBezTo>
                      <a:pt x="352" y="55"/>
                      <a:pt x="354" y="57"/>
                      <a:pt x="353" y="57"/>
                    </a:cubicBezTo>
                    <a:cubicBezTo>
                      <a:pt x="352" y="58"/>
                      <a:pt x="350" y="57"/>
                      <a:pt x="349" y="57"/>
                    </a:cubicBezTo>
                    <a:cubicBezTo>
                      <a:pt x="348" y="57"/>
                      <a:pt x="347" y="58"/>
                      <a:pt x="348" y="59"/>
                    </a:cubicBezTo>
                    <a:cubicBezTo>
                      <a:pt x="349" y="59"/>
                      <a:pt x="352" y="59"/>
                      <a:pt x="352" y="61"/>
                    </a:cubicBezTo>
                    <a:cubicBezTo>
                      <a:pt x="352" y="62"/>
                      <a:pt x="348" y="62"/>
                      <a:pt x="347" y="62"/>
                    </a:cubicBezTo>
                    <a:cubicBezTo>
                      <a:pt x="344" y="62"/>
                      <a:pt x="341" y="61"/>
                      <a:pt x="338" y="60"/>
                    </a:cubicBezTo>
                    <a:cubicBezTo>
                      <a:pt x="336" y="60"/>
                      <a:pt x="333" y="58"/>
                      <a:pt x="331" y="59"/>
                    </a:cubicBezTo>
                    <a:cubicBezTo>
                      <a:pt x="330" y="60"/>
                      <a:pt x="330" y="61"/>
                      <a:pt x="329" y="61"/>
                    </a:cubicBezTo>
                    <a:cubicBezTo>
                      <a:pt x="328" y="61"/>
                      <a:pt x="326" y="63"/>
                      <a:pt x="326" y="63"/>
                    </a:cubicBezTo>
                    <a:cubicBezTo>
                      <a:pt x="327" y="64"/>
                      <a:pt x="328" y="64"/>
                      <a:pt x="329" y="64"/>
                    </a:cubicBezTo>
                    <a:cubicBezTo>
                      <a:pt x="330" y="64"/>
                      <a:pt x="331" y="64"/>
                      <a:pt x="332" y="65"/>
                    </a:cubicBezTo>
                    <a:cubicBezTo>
                      <a:pt x="334" y="67"/>
                      <a:pt x="336" y="66"/>
                      <a:pt x="338" y="66"/>
                    </a:cubicBezTo>
                    <a:cubicBezTo>
                      <a:pt x="340" y="66"/>
                      <a:pt x="342" y="64"/>
                      <a:pt x="344" y="64"/>
                    </a:cubicBezTo>
                    <a:cubicBezTo>
                      <a:pt x="345" y="64"/>
                      <a:pt x="349" y="64"/>
                      <a:pt x="350" y="65"/>
                    </a:cubicBezTo>
                    <a:cubicBezTo>
                      <a:pt x="351" y="66"/>
                      <a:pt x="348" y="67"/>
                      <a:pt x="347" y="67"/>
                    </a:cubicBezTo>
                    <a:cubicBezTo>
                      <a:pt x="346" y="67"/>
                      <a:pt x="345" y="67"/>
                      <a:pt x="345" y="68"/>
                    </a:cubicBezTo>
                    <a:cubicBezTo>
                      <a:pt x="344" y="70"/>
                      <a:pt x="347" y="69"/>
                      <a:pt x="348" y="69"/>
                    </a:cubicBezTo>
                    <a:cubicBezTo>
                      <a:pt x="349" y="69"/>
                      <a:pt x="350" y="69"/>
                      <a:pt x="351" y="69"/>
                    </a:cubicBezTo>
                    <a:cubicBezTo>
                      <a:pt x="353" y="68"/>
                      <a:pt x="354" y="69"/>
                      <a:pt x="356" y="69"/>
                    </a:cubicBezTo>
                    <a:cubicBezTo>
                      <a:pt x="359" y="69"/>
                      <a:pt x="361" y="68"/>
                      <a:pt x="364" y="68"/>
                    </a:cubicBezTo>
                    <a:cubicBezTo>
                      <a:pt x="366" y="68"/>
                      <a:pt x="369" y="67"/>
                      <a:pt x="367" y="65"/>
                    </a:cubicBezTo>
                    <a:cubicBezTo>
                      <a:pt x="367" y="64"/>
                      <a:pt x="366" y="64"/>
                      <a:pt x="365" y="63"/>
                    </a:cubicBezTo>
                    <a:cubicBezTo>
                      <a:pt x="364" y="62"/>
                      <a:pt x="364" y="61"/>
                      <a:pt x="364" y="59"/>
                    </a:cubicBezTo>
                    <a:cubicBezTo>
                      <a:pt x="363" y="57"/>
                      <a:pt x="367" y="57"/>
                      <a:pt x="368" y="57"/>
                    </a:cubicBezTo>
                    <a:cubicBezTo>
                      <a:pt x="371" y="57"/>
                      <a:pt x="373" y="55"/>
                      <a:pt x="376" y="55"/>
                    </a:cubicBezTo>
                    <a:cubicBezTo>
                      <a:pt x="379" y="54"/>
                      <a:pt x="381" y="54"/>
                      <a:pt x="384" y="53"/>
                    </a:cubicBezTo>
                    <a:cubicBezTo>
                      <a:pt x="387" y="52"/>
                      <a:pt x="390" y="51"/>
                      <a:pt x="393" y="50"/>
                    </a:cubicBezTo>
                    <a:cubicBezTo>
                      <a:pt x="395" y="50"/>
                      <a:pt x="397" y="48"/>
                      <a:pt x="400" y="48"/>
                    </a:cubicBezTo>
                    <a:cubicBezTo>
                      <a:pt x="403" y="47"/>
                      <a:pt x="406" y="47"/>
                      <a:pt x="409" y="46"/>
                    </a:cubicBezTo>
                    <a:cubicBezTo>
                      <a:pt x="409" y="46"/>
                      <a:pt x="414" y="46"/>
                      <a:pt x="414" y="45"/>
                    </a:cubicBezTo>
                    <a:cubicBezTo>
                      <a:pt x="413" y="44"/>
                      <a:pt x="412" y="45"/>
                      <a:pt x="411" y="44"/>
                    </a:cubicBezTo>
                    <a:cubicBezTo>
                      <a:pt x="409" y="44"/>
                      <a:pt x="408" y="43"/>
                      <a:pt x="407" y="43"/>
                    </a:cubicBezTo>
                    <a:cubicBezTo>
                      <a:pt x="405" y="42"/>
                      <a:pt x="404" y="45"/>
                      <a:pt x="402" y="43"/>
                    </a:cubicBezTo>
                    <a:cubicBezTo>
                      <a:pt x="400" y="42"/>
                      <a:pt x="400" y="40"/>
                      <a:pt x="399" y="38"/>
                    </a:cubicBezTo>
                    <a:cubicBezTo>
                      <a:pt x="397" y="36"/>
                      <a:pt x="396" y="37"/>
                      <a:pt x="395" y="39"/>
                    </a:cubicBezTo>
                    <a:cubicBezTo>
                      <a:pt x="394" y="40"/>
                      <a:pt x="391" y="38"/>
                      <a:pt x="391" y="38"/>
                    </a:cubicBezTo>
                    <a:cubicBezTo>
                      <a:pt x="389" y="37"/>
                      <a:pt x="388" y="37"/>
                      <a:pt x="387" y="38"/>
                    </a:cubicBezTo>
                    <a:cubicBezTo>
                      <a:pt x="385" y="38"/>
                      <a:pt x="384" y="37"/>
                      <a:pt x="382" y="37"/>
                    </a:cubicBezTo>
                    <a:cubicBezTo>
                      <a:pt x="381" y="37"/>
                      <a:pt x="380" y="38"/>
                      <a:pt x="379" y="39"/>
                    </a:cubicBezTo>
                    <a:cubicBezTo>
                      <a:pt x="378" y="40"/>
                      <a:pt x="377" y="40"/>
                      <a:pt x="376" y="40"/>
                    </a:cubicBezTo>
                    <a:cubicBezTo>
                      <a:pt x="374" y="41"/>
                      <a:pt x="373" y="41"/>
                      <a:pt x="372" y="42"/>
                    </a:cubicBezTo>
                    <a:cubicBezTo>
                      <a:pt x="371" y="42"/>
                      <a:pt x="369" y="42"/>
                      <a:pt x="369" y="43"/>
                    </a:cubicBezTo>
                    <a:cubicBezTo>
                      <a:pt x="367" y="45"/>
                      <a:pt x="371" y="44"/>
                      <a:pt x="372" y="44"/>
                    </a:cubicBezTo>
                    <a:cubicBezTo>
                      <a:pt x="374" y="45"/>
                      <a:pt x="377" y="45"/>
                      <a:pt x="379" y="46"/>
                    </a:cubicBezTo>
                    <a:cubicBezTo>
                      <a:pt x="381" y="48"/>
                      <a:pt x="376" y="48"/>
                      <a:pt x="375" y="48"/>
                    </a:cubicBezTo>
                    <a:cubicBezTo>
                      <a:pt x="375" y="48"/>
                      <a:pt x="375" y="48"/>
                      <a:pt x="376" y="48"/>
                    </a:cubicBezTo>
                    <a:cubicBezTo>
                      <a:pt x="374" y="48"/>
                      <a:pt x="376" y="48"/>
                      <a:pt x="376" y="48"/>
                    </a:cubicBezTo>
                    <a:close/>
                    <a:moveTo>
                      <a:pt x="437" y="378"/>
                    </a:moveTo>
                    <a:cubicBezTo>
                      <a:pt x="436" y="376"/>
                      <a:pt x="433" y="377"/>
                      <a:pt x="432" y="375"/>
                    </a:cubicBezTo>
                    <a:cubicBezTo>
                      <a:pt x="431" y="375"/>
                      <a:pt x="431" y="374"/>
                      <a:pt x="430" y="374"/>
                    </a:cubicBezTo>
                    <a:cubicBezTo>
                      <a:pt x="429" y="373"/>
                      <a:pt x="428" y="373"/>
                      <a:pt x="427" y="373"/>
                    </a:cubicBezTo>
                    <a:cubicBezTo>
                      <a:pt x="426" y="373"/>
                      <a:pt x="421" y="373"/>
                      <a:pt x="423" y="375"/>
                    </a:cubicBezTo>
                    <a:cubicBezTo>
                      <a:pt x="423" y="376"/>
                      <a:pt x="424" y="376"/>
                      <a:pt x="425" y="377"/>
                    </a:cubicBezTo>
                    <a:cubicBezTo>
                      <a:pt x="426" y="378"/>
                      <a:pt x="427" y="378"/>
                      <a:pt x="428" y="379"/>
                    </a:cubicBezTo>
                    <a:cubicBezTo>
                      <a:pt x="429" y="380"/>
                      <a:pt x="429" y="381"/>
                      <a:pt x="430" y="382"/>
                    </a:cubicBezTo>
                    <a:cubicBezTo>
                      <a:pt x="431" y="383"/>
                      <a:pt x="431" y="383"/>
                      <a:pt x="432" y="384"/>
                    </a:cubicBezTo>
                    <a:cubicBezTo>
                      <a:pt x="433" y="384"/>
                      <a:pt x="437" y="388"/>
                      <a:pt x="437" y="385"/>
                    </a:cubicBezTo>
                    <a:cubicBezTo>
                      <a:pt x="436" y="384"/>
                      <a:pt x="436" y="383"/>
                      <a:pt x="436" y="382"/>
                    </a:cubicBezTo>
                    <a:cubicBezTo>
                      <a:pt x="436" y="382"/>
                      <a:pt x="436" y="381"/>
                      <a:pt x="437" y="380"/>
                    </a:cubicBezTo>
                    <a:cubicBezTo>
                      <a:pt x="438" y="379"/>
                      <a:pt x="438" y="378"/>
                      <a:pt x="437" y="377"/>
                    </a:cubicBezTo>
                    <a:cubicBezTo>
                      <a:pt x="437" y="378"/>
                      <a:pt x="437" y="378"/>
                      <a:pt x="437" y="378"/>
                    </a:cubicBezTo>
                    <a:cubicBezTo>
                      <a:pt x="436" y="377"/>
                      <a:pt x="437" y="378"/>
                      <a:pt x="437" y="378"/>
                    </a:cubicBezTo>
                    <a:close/>
                    <a:moveTo>
                      <a:pt x="530" y="61"/>
                    </a:moveTo>
                    <a:cubicBezTo>
                      <a:pt x="531" y="61"/>
                      <a:pt x="532" y="61"/>
                      <a:pt x="533" y="61"/>
                    </a:cubicBezTo>
                    <a:cubicBezTo>
                      <a:pt x="534" y="60"/>
                      <a:pt x="535" y="60"/>
                      <a:pt x="536" y="60"/>
                    </a:cubicBezTo>
                    <a:cubicBezTo>
                      <a:pt x="537" y="61"/>
                      <a:pt x="540" y="61"/>
                      <a:pt x="540" y="60"/>
                    </a:cubicBezTo>
                    <a:cubicBezTo>
                      <a:pt x="540" y="59"/>
                      <a:pt x="537" y="59"/>
                      <a:pt x="536" y="58"/>
                    </a:cubicBezTo>
                    <a:cubicBezTo>
                      <a:pt x="535" y="58"/>
                      <a:pt x="534" y="57"/>
                      <a:pt x="534" y="57"/>
                    </a:cubicBezTo>
                    <a:cubicBezTo>
                      <a:pt x="533" y="56"/>
                      <a:pt x="533" y="55"/>
                      <a:pt x="532" y="55"/>
                    </a:cubicBezTo>
                    <a:cubicBezTo>
                      <a:pt x="530" y="54"/>
                      <a:pt x="527" y="55"/>
                      <a:pt x="526" y="55"/>
                    </a:cubicBezTo>
                    <a:cubicBezTo>
                      <a:pt x="523" y="56"/>
                      <a:pt x="521" y="56"/>
                      <a:pt x="519" y="55"/>
                    </a:cubicBezTo>
                    <a:cubicBezTo>
                      <a:pt x="518" y="55"/>
                      <a:pt x="517" y="54"/>
                      <a:pt x="516" y="54"/>
                    </a:cubicBezTo>
                    <a:cubicBezTo>
                      <a:pt x="515" y="54"/>
                      <a:pt x="513" y="54"/>
                      <a:pt x="512" y="54"/>
                    </a:cubicBezTo>
                    <a:cubicBezTo>
                      <a:pt x="510" y="54"/>
                      <a:pt x="507" y="54"/>
                      <a:pt x="505" y="54"/>
                    </a:cubicBezTo>
                    <a:cubicBezTo>
                      <a:pt x="504" y="54"/>
                      <a:pt x="504" y="56"/>
                      <a:pt x="505" y="57"/>
                    </a:cubicBezTo>
                    <a:cubicBezTo>
                      <a:pt x="506" y="59"/>
                      <a:pt x="507" y="60"/>
                      <a:pt x="507" y="62"/>
                    </a:cubicBezTo>
                    <a:cubicBezTo>
                      <a:pt x="507" y="64"/>
                      <a:pt x="509" y="65"/>
                      <a:pt x="511" y="66"/>
                    </a:cubicBezTo>
                    <a:cubicBezTo>
                      <a:pt x="512" y="68"/>
                      <a:pt x="514" y="69"/>
                      <a:pt x="516" y="68"/>
                    </a:cubicBezTo>
                    <a:cubicBezTo>
                      <a:pt x="518" y="67"/>
                      <a:pt x="520" y="65"/>
                      <a:pt x="522" y="65"/>
                    </a:cubicBezTo>
                    <a:cubicBezTo>
                      <a:pt x="523" y="65"/>
                      <a:pt x="527" y="66"/>
                      <a:pt x="527" y="65"/>
                    </a:cubicBezTo>
                    <a:cubicBezTo>
                      <a:pt x="526" y="63"/>
                      <a:pt x="523" y="63"/>
                      <a:pt x="526" y="61"/>
                    </a:cubicBezTo>
                    <a:cubicBezTo>
                      <a:pt x="527" y="60"/>
                      <a:pt x="529" y="61"/>
                      <a:pt x="531" y="61"/>
                    </a:cubicBezTo>
                    <a:cubicBezTo>
                      <a:pt x="530" y="61"/>
                      <a:pt x="530" y="61"/>
                      <a:pt x="530" y="61"/>
                    </a:cubicBezTo>
                    <a:cubicBezTo>
                      <a:pt x="531" y="61"/>
                      <a:pt x="530" y="61"/>
                      <a:pt x="530" y="61"/>
                    </a:cubicBezTo>
                    <a:close/>
                    <a:moveTo>
                      <a:pt x="587" y="11"/>
                    </a:moveTo>
                    <a:cubicBezTo>
                      <a:pt x="588" y="11"/>
                      <a:pt x="589" y="12"/>
                      <a:pt x="590" y="12"/>
                    </a:cubicBezTo>
                    <a:cubicBezTo>
                      <a:pt x="591" y="11"/>
                      <a:pt x="588" y="10"/>
                      <a:pt x="588" y="10"/>
                    </a:cubicBezTo>
                    <a:cubicBezTo>
                      <a:pt x="587" y="10"/>
                      <a:pt x="586" y="7"/>
                      <a:pt x="585" y="9"/>
                    </a:cubicBezTo>
                    <a:cubicBezTo>
                      <a:pt x="584" y="11"/>
                      <a:pt x="586" y="11"/>
                      <a:pt x="587" y="11"/>
                    </a:cubicBezTo>
                    <a:cubicBezTo>
                      <a:pt x="587" y="11"/>
                      <a:pt x="587" y="11"/>
                      <a:pt x="587" y="11"/>
                    </a:cubicBezTo>
                    <a:cubicBezTo>
                      <a:pt x="587" y="11"/>
                      <a:pt x="587" y="11"/>
                      <a:pt x="587" y="11"/>
                    </a:cubicBezTo>
                    <a:close/>
                    <a:moveTo>
                      <a:pt x="724" y="320"/>
                    </a:moveTo>
                    <a:cubicBezTo>
                      <a:pt x="726" y="319"/>
                      <a:pt x="727" y="318"/>
                      <a:pt x="730" y="318"/>
                    </a:cubicBezTo>
                    <a:cubicBezTo>
                      <a:pt x="732" y="318"/>
                      <a:pt x="734" y="319"/>
                      <a:pt x="736" y="318"/>
                    </a:cubicBezTo>
                    <a:cubicBezTo>
                      <a:pt x="738" y="318"/>
                      <a:pt x="740" y="316"/>
                      <a:pt x="743" y="316"/>
                    </a:cubicBezTo>
                    <a:cubicBezTo>
                      <a:pt x="745" y="316"/>
                      <a:pt x="748" y="317"/>
                      <a:pt x="750" y="316"/>
                    </a:cubicBezTo>
                    <a:cubicBezTo>
                      <a:pt x="752" y="316"/>
                      <a:pt x="753" y="315"/>
                      <a:pt x="753" y="313"/>
                    </a:cubicBezTo>
                    <a:cubicBezTo>
                      <a:pt x="752" y="311"/>
                      <a:pt x="751" y="310"/>
                      <a:pt x="749" y="311"/>
                    </a:cubicBezTo>
                    <a:cubicBezTo>
                      <a:pt x="747" y="312"/>
                      <a:pt x="746" y="312"/>
                      <a:pt x="745" y="310"/>
                    </a:cubicBezTo>
                    <a:cubicBezTo>
                      <a:pt x="743" y="309"/>
                      <a:pt x="743" y="307"/>
                      <a:pt x="744" y="306"/>
                    </a:cubicBezTo>
                    <a:cubicBezTo>
                      <a:pt x="747" y="304"/>
                      <a:pt x="740" y="303"/>
                      <a:pt x="739" y="303"/>
                    </a:cubicBezTo>
                    <a:cubicBezTo>
                      <a:pt x="737" y="303"/>
                      <a:pt x="736" y="304"/>
                      <a:pt x="734" y="306"/>
                    </a:cubicBezTo>
                    <a:cubicBezTo>
                      <a:pt x="732" y="307"/>
                      <a:pt x="730" y="308"/>
                      <a:pt x="728" y="308"/>
                    </a:cubicBezTo>
                    <a:cubicBezTo>
                      <a:pt x="726" y="308"/>
                      <a:pt x="725" y="307"/>
                      <a:pt x="725" y="309"/>
                    </a:cubicBezTo>
                    <a:cubicBezTo>
                      <a:pt x="725" y="310"/>
                      <a:pt x="724" y="311"/>
                      <a:pt x="724" y="312"/>
                    </a:cubicBezTo>
                    <a:cubicBezTo>
                      <a:pt x="724" y="314"/>
                      <a:pt x="724" y="315"/>
                      <a:pt x="723" y="316"/>
                    </a:cubicBezTo>
                    <a:cubicBezTo>
                      <a:pt x="722" y="316"/>
                      <a:pt x="722" y="318"/>
                      <a:pt x="722" y="320"/>
                    </a:cubicBezTo>
                    <a:cubicBezTo>
                      <a:pt x="722" y="321"/>
                      <a:pt x="725" y="320"/>
                      <a:pt x="725" y="320"/>
                    </a:cubicBezTo>
                    <a:cubicBezTo>
                      <a:pt x="725" y="320"/>
                      <a:pt x="724" y="320"/>
                      <a:pt x="724" y="320"/>
                    </a:cubicBezTo>
                    <a:cubicBezTo>
                      <a:pt x="725" y="320"/>
                      <a:pt x="724" y="320"/>
                      <a:pt x="724" y="320"/>
                    </a:cubicBezTo>
                    <a:close/>
                    <a:moveTo>
                      <a:pt x="601" y="9"/>
                    </a:moveTo>
                    <a:cubicBezTo>
                      <a:pt x="605" y="10"/>
                      <a:pt x="609" y="10"/>
                      <a:pt x="614" y="10"/>
                    </a:cubicBezTo>
                    <a:cubicBezTo>
                      <a:pt x="615" y="10"/>
                      <a:pt x="617" y="10"/>
                      <a:pt x="617" y="8"/>
                    </a:cubicBezTo>
                    <a:cubicBezTo>
                      <a:pt x="616" y="6"/>
                      <a:pt x="614" y="7"/>
                      <a:pt x="612" y="7"/>
                    </a:cubicBezTo>
                    <a:cubicBezTo>
                      <a:pt x="608" y="7"/>
                      <a:pt x="603" y="7"/>
                      <a:pt x="598" y="7"/>
                    </a:cubicBezTo>
                    <a:cubicBezTo>
                      <a:pt x="598" y="7"/>
                      <a:pt x="595" y="7"/>
                      <a:pt x="596" y="8"/>
                    </a:cubicBezTo>
                    <a:cubicBezTo>
                      <a:pt x="598" y="9"/>
                      <a:pt x="600" y="8"/>
                      <a:pt x="601" y="9"/>
                    </a:cubicBezTo>
                    <a:cubicBezTo>
                      <a:pt x="601" y="9"/>
                      <a:pt x="601" y="9"/>
                      <a:pt x="601" y="9"/>
                    </a:cubicBezTo>
                    <a:cubicBezTo>
                      <a:pt x="602" y="9"/>
                      <a:pt x="601" y="9"/>
                      <a:pt x="601" y="9"/>
                    </a:cubicBezTo>
                    <a:close/>
                    <a:moveTo>
                      <a:pt x="610" y="34"/>
                    </a:moveTo>
                    <a:cubicBezTo>
                      <a:pt x="607" y="34"/>
                      <a:pt x="606" y="35"/>
                      <a:pt x="604" y="37"/>
                    </a:cubicBezTo>
                    <a:cubicBezTo>
                      <a:pt x="603" y="38"/>
                      <a:pt x="598" y="38"/>
                      <a:pt x="598" y="40"/>
                    </a:cubicBezTo>
                    <a:cubicBezTo>
                      <a:pt x="599" y="42"/>
                      <a:pt x="601" y="42"/>
                      <a:pt x="603" y="43"/>
                    </a:cubicBezTo>
                    <a:cubicBezTo>
                      <a:pt x="604" y="43"/>
                      <a:pt x="605" y="44"/>
                      <a:pt x="606" y="45"/>
                    </a:cubicBezTo>
                    <a:cubicBezTo>
                      <a:pt x="607" y="45"/>
                      <a:pt x="607" y="46"/>
                      <a:pt x="608" y="46"/>
                    </a:cubicBezTo>
                    <a:cubicBezTo>
                      <a:pt x="611" y="45"/>
                      <a:pt x="614" y="45"/>
                      <a:pt x="616" y="44"/>
                    </a:cubicBezTo>
                    <a:cubicBezTo>
                      <a:pt x="619" y="42"/>
                      <a:pt x="621" y="42"/>
                      <a:pt x="624" y="42"/>
                    </a:cubicBezTo>
                    <a:cubicBezTo>
                      <a:pt x="627" y="41"/>
                      <a:pt x="630" y="40"/>
                      <a:pt x="632" y="40"/>
                    </a:cubicBezTo>
                    <a:cubicBezTo>
                      <a:pt x="635" y="39"/>
                      <a:pt x="638" y="38"/>
                      <a:pt x="641" y="38"/>
                    </a:cubicBezTo>
                    <a:cubicBezTo>
                      <a:pt x="643" y="38"/>
                      <a:pt x="647" y="38"/>
                      <a:pt x="647" y="36"/>
                    </a:cubicBezTo>
                    <a:cubicBezTo>
                      <a:pt x="646" y="35"/>
                      <a:pt x="646" y="34"/>
                      <a:pt x="645" y="33"/>
                    </a:cubicBezTo>
                    <a:cubicBezTo>
                      <a:pt x="645" y="32"/>
                      <a:pt x="644" y="31"/>
                      <a:pt x="644" y="30"/>
                    </a:cubicBezTo>
                    <a:cubicBezTo>
                      <a:pt x="644" y="28"/>
                      <a:pt x="640" y="28"/>
                      <a:pt x="639" y="27"/>
                    </a:cubicBezTo>
                    <a:cubicBezTo>
                      <a:pt x="636" y="27"/>
                      <a:pt x="634" y="26"/>
                      <a:pt x="632" y="26"/>
                    </a:cubicBezTo>
                    <a:cubicBezTo>
                      <a:pt x="630" y="26"/>
                      <a:pt x="626" y="26"/>
                      <a:pt x="626" y="28"/>
                    </a:cubicBezTo>
                    <a:cubicBezTo>
                      <a:pt x="625" y="30"/>
                      <a:pt x="626" y="32"/>
                      <a:pt x="624" y="33"/>
                    </a:cubicBezTo>
                    <a:cubicBezTo>
                      <a:pt x="622" y="35"/>
                      <a:pt x="619" y="34"/>
                      <a:pt x="616" y="34"/>
                    </a:cubicBezTo>
                    <a:cubicBezTo>
                      <a:pt x="614" y="34"/>
                      <a:pt x="611" y="35"/>
                      <a:pt x="609" y="34"/>
                    </a:cubicBezTo>
                    <a:cubicBezTo>
                      <a:pt x="609" y="34"/>
                      <a:pt x="609" y="34"/>
                      <a:pt x="610" y="34"/>
                    </a:cubicBezTo>
                    <a:cubicBezTo>
                      <a:pt x="608" y="34"/>
                      <a:pt x="610" y="34"/>
                      <a:pt x="610" y="34"/>
                    </a:cubicBezTo>
                    <a:close/>
                    <a:moveTo>
                      <a:pt x="300" y="50"/>
                    </a:moveTo>
                    <a:cubicBezTo>
                      <a:pt x="303" y="50"/>
                      <a:pt x="306" y="53"/>
                      <a:pt x="308" y="52"/>
                    </a:cubicBezTo>
                    <a:cubicBezTo>
                      <a:pt x="310" y="52"/>
                      <a:pt x="313" y="50"/>
                      <a:pt x="315" y="50"/>
                    </a:cubicBezTo>
                    <a:cubicBezTo>
                      <a:pt x="318" y="50"/>
                      <a:pt x="317" y="52"/>
                      <a:pt x="317" y="54"/>
                    </a:cubicBezTo>
                    <a:cubicBezTo>
                      <a:pt x="318" y="56"/>
                      <a:pt x="322" y="56"/>
                      <a:pt x="323" y="55"/>
                    </a:cubicBezTo>
                    <a:cubicBezTo>
                      <a:pt x="324" y="54"/>
                      <a:pt x="324" y="52"/>
                      <a:pt x="326" y="51"/>
                    </a:cubicBezTo>
                    <a:cubicBezTo>
                      <a:pt x="329" y="51"/>
                      <a:pt x="331" y="52"/>
                      <a:pt x="333" y="50"/>
                    </a:cubicBezTo>
                    <a:cubicBezTo>
                      <a:pt x="335" y="48"/>
                      <a:pt x="336" y="47"/>
                      <a:pt x="338" y="49"/>
                    </a:cubicBezTo>
                    <a:cubicBezTo>
                      <a:pt x="340" y="51"/>
                      <a:pt x="341" y="49"/>
                      <a:pt x="342" y="47"/>
                    </a:cubicBezTo>
                    <a:cubicBezTo>
                      <a:pt x="343" y="45"/>
                      <a:pt x="343" y="42"/>
                      <a:pt x="346" y="44"/>
                    </a:cubicBezTo>
                    <a:cubicBezTo>
                      <a:pt x="348" y="45"/>
                      <a:pt x="351" y="47"/>
                      <a:pt x="354" y="47"/>
                    </a:cubicBezTo>
                    <a:cubicBezTo>
                      <a:pt x="355" y="48"/>
                      <a:pt x="357" y="47"/>
                      <a:pt x="358" y="48"/>
                    </a:cubicBezTo>
                    <a:cubicBezTo>
                      <a:pt x="359" y="48"/>
                      <a:pt x="360" y="48"/>
                      <a:pt x="361" y="48"/>
                    </a:cubicBezTo>
                    <a:cubicBezTo>
                      <a:pt x="362" y="47"/>
                      <a:pt x="362" y="46"/>
                      <a:pt x="361" y="45"/>
                    </a:cubicBezTo>
                    <a:cubicBezTo>
                      <a:pt x="361" y="45"/>
                      <a:pt x="360" y="44"/>
                      <a:pt x="360" y="44"/>
                    </a:cubicBezTo>
                    <a:cubicBezTo>
                      <a:pt x="360" y="43"/>
                      <a:pt x="360" y="43"/>
                      <a:pt x="360" y="42"/>
                    </a:cubicBezTo>
                    <a:cubicBezTo>
                      <a:pt x="357" y="41"/>
                      <a:pt x="354" y="42"/>
                      <a:pt x="352" y="41"/>
                    </a:cubicBezTo>
                    <a:cubicBezTo>
                      <a:pt x="348" y="40"/>
                      <a:pt x="345" y="39"/>
                      <a:pt x="342" y="39"/>
                    </a:cubicBezTo>
                    <a:cubicBezTo>
                      <a:pt x="341" y="39"/>
                      <a:pt x="339" y="39"/>
                      <a:pt x="338" y="39"/>
                    </a:cubicBezTo>
                    <a:cubicBezTo>
                      <a:pt x="337" y="39"/>
                      <a:pt x="336" y="39"/>
                      <a:pt x="334" y="40"/>
                    </a:cubicBezTo>
                    <a:cubicBezTo>
                      <a:pt x="331" y="41"/>
                      <a:pt x="328" y="42"/>
                      <a:pt x="325" y="42"/>
                    </a:cubicBezTo>
                    <a:cubicBezTo>
                      <a:pt x="324" y="43"/>
                      <a:pt x="322" y="43"/>
                      <a:pt x="321" y="43"/>
                    </a:cubicBezTo>
                    <a:cubicBezTo>
                      <a:pt x="319" y="43"/>
                      <a:pt x="318" y="44"/>
                      <a:pt x="316" y="44"/>
                    </a:cubicBezTo>
                    <a:cubicBezTo>
                      <a:pt x="313" y="45"/>
                      <a:pt x="310" y="46"/>
                      <a:pt x="307" y="47"/>
                    </a:cubicBezTo>
                    <a:cubicBezTo>
                      <a:pt x="305" y="47"/>
                      <a:pt x="304" y="47"/>
                      <a:pt x="302" y="47"/>
                    </a:cubicBezTo>
                    <a:cubicBezTo>
                      <a:pt x="302" y="48"/>
                      <a:pt x="299" y="48"/>
                      <a:pt x="299" y="48"/>
                    </a:cubicBezTo>
                    <a:cubicBezTo>
                      <a:pt x="298" y="49"/>
                      <a:pt x="302" y="50"/>
                      <a:pt x="302" y="50"/>
                    </a:cubicBezTo>
                    <a:cubicBezTo>
                      <a:pt x="302" y="50"/>
                      <a:pt x="301" y="50"/>
                      <a:pt x="300" y="50"/>
                    </a:cubicBezTo>
                    <a:cubicBezTo>
                      <a:pt x="302" y="50"/>
                      <a:pt x="300" y="50"/>
                      <a:pt x="300" y="50"/>
                    </a:cubicBezTo>
                    <a:close/>
                    <a:moveTo>
                      <a:pt x="1458" y="273"/>
                    </a:moveTo>
                    <a:cubicBezTo>
                      <a:pt x="1456" y="273"/>
                      <a:pt x="1453" y="273"/>
                      <a:pt x="1451" y="273"/>
                    </a:cubicBezTo>
                    <a:cubicBezTo>
                      <a:pt x="1449" y="273"/>
                      <a:pt x="1448" y="272"/>
                      <a:pt x="1446" y="271"/>
                    </a:cubicBezTo>
                    <a:cubicBezTo>
                      <a:pt x="1445" y="271"/>
                      <a:pt x="1443" y="271"/>
                      <a:pt x="1441" y="272"/>
                    </a:cubicBezTo>
                    <a:cubicBezTo>
                      <a:pt x="1440" y="272"/>
                      <a:pt x="1439" y="272"/>
                      <a:pt x="1438" y="274"/>
                    </a:cubicBezTo>
                    <a:cubicBezTo>
                      <a:pt x="1438" y="276"/>
                      <a:pt x="1438" y="277"/>
                      <a:pt x="1436" y="277"/>
                    </a:cubicBezTo>
                    <a:cubicBezTo>
                      <a:pt x="1435" y="277"/>
                      <a:pt x="1432" y="277"/>
                      <a:pt x="1433" y="279"/>
                    </a:cubicBezTo>
                    <a:cubicBezTo>
                      <a:pt x="1434" y="280"/>
                      <a:pt x="1436" y="281"/>
                      <a:pt x="1437" y="282"/>
                    </a:cubicBezTo>
                    <a:cubicBezTo>
                      <a:pt x="1439" y="283"/>
                      <a:pt x="1441" y="283"/>
                      <a:pt x="1444" y="283"/>
                    </a:cubicBezTo>
                    <a:cubicBezTo>
                      <a:pt x="1446" y="284"/>
                      <a:pt x="1451" y="287"/>
                      <a:pt x="1453" y="283"/>
                    </a:cubicBezTo>
                    <a:cubicBezTo>
                      <a:pt x="1453" y="282"/>
                      <a:pt x="1453" y="280"/>
                      <a:pt x="1455" y="279"/>
                    </a:cubicBezTo>
                    <a:cubicBezTo>
                      <a:pt x="1456" y="278"/>
                      <a:pt x="1458" y="278"/>
                      <a:pt x="1459" y="278"/>
                    </a:cubicBezTo>
                    <a:cubicBezTo>
                      <a:pt x="1461" y="278"/>
                      <a:pt x="1465" y="277"/>
                      <a:pt x="1463" y="275"/>
                    </a:cubicBezTo>
                    <a:cubicBezTo>
                      <a:pt x="1462" y="272"/>
                      <a:pt x="1458" y="273"/>
                      <a:pt x="1456" y="273"/>
                    </a:cubicBezTo>
                    <a:cubicBezTo>
                      <a:pt x="1457" y="273"/>
                      <a:pt x="1457" y="273"/>
                      <a:pt x="1458" y="273"/>
                    </a:cubicBezTo>
                    <a:cubicBezTo>
                      <a:pt x="1456" y="273"/>
                      <a:pt x="1458" y="273"/>
                      <a:pt x="1458" y="273"/>
                    </a:cubicBezTo>
                    <a:close/>
                    <a:moveTo>
                      <a:pt x="996" y="267"/>
                    </a:moveTo>
                    <a:cubicBezTo>
                      <a:pt x="998" y="267"/>
                      <a:pt x="1004" y="269"/>
                      <a:pt x="1005" y="267"/>
                    </a:cubicBezTo>
                    <a:cubicBezTo>
                      <a:pt x="1007" y="264"/>
                      <a:pt x="1002" y="264"/>
                      <a:pt x="1001" y="264"/>
                    </a:cubicBezTo>
                    <a:cubicBezTo>
                      <a:pt x="999" y="263"/>
                      <a:pt x="999" y="262"/>
                      <a:pt x="998" y="262"/>
                    </a:cubicBezTo>
                    <a:cubicBezTo>
                      <a:pt x="998" y="261"/>
                      <a:pt x="997" y="261"/>
                      <a:pt x="997" y="262"/>
                    </a:cubicBezTo>
                    <a:cubicBezTo>
                      <a:pt x="997" y="263"/>
                      <a:pt x="996" y="263"/>
                      <a:pt x="995" y="264"/>
                    </a:cubicBezTo>
                    <a:cubicBezTo>
                      <a:pt x="995" y="264"/>
                      <a:pt x="992" y="266"/>
                      <a:pt x="993" y="267"/>
                    </a:cubicBezTo>
                    <a:cubicBezTo>
                      <a:pt x="994" y="268"/>
                      <a:pt x="996" y="267"/>
                      <a:pt x="997" y="267"/>
                    </a:cubicBezTo>
                    <a:cubicBezTo>
                      <a:pt x="997" y="267"/>
                      <a:pt x="997" y="267"/>
                      <a:pt x="996" y="267"/>
                    </a:cubicBezTo>
                    <a:cubicBezTo>
                      <a:pt x="998" y="267"/>
                      <a:pt x="996" y="267"/>
                      <a:pt x="996" y="267"/>
                    </a:cubicBezTo>
                    <a:close/>
                    <a:moveTo>
                      <a:pt x="984" y="264"/>
                    </a:moveTo>
                    <a:cubicBezTo>
                      <a:pt x="985" y="264"/>
                      <a:pt x="986" y="264"/>
                      <a:pt x="987" y="264"/>
                    </a:cubicBezTo>
                    <a:cubicBezTo>
                      <a:pt x="988" y="264"/>
                      <a:pt x="989" y="264"/>
                      <a:pt x="990" y="264"/>
                    </a:cubicBezTo>
                    <a:cubicBezTo>
                      <a:pt x="992" y="264"/>
                      <a:pt x="989" y="262"/>
                      <a:pt x="988" y="262"/>
                    </a:cubicBezTo>
                    <a:cubicBezTo>
                      <a:pt x="988" y="262"/>
                      <a:pt x="987" y="261"/>
                      <a:pt x="986" y="261"/>
                    </a:cubicBezTo>
                    <a:cubicBezTo>
                      <a:pt x="985" y="262"/>
                      <a:pt x="985" y="262"/>
                      <a:pt x="984" y="262"/>
                    </a:cubicBezTo>
                    <a:cubicBezTo>
                      <a:pt x="983" y="262"/>
                      <a:pt x="983" y="263"/>
                      <a:pt x="983" y="263"/>
                    </a:cubicBezTo>
                    <a:cubicBezTo>
                      <a:pt x="983" y="264"/>
                      <a:pt x="984" y="264"/>
                      <a:pt x="985" y="264"/>
                    </a:cubicBezTo>
                    <a:cubicBezTo>
                      <a:pt x="985" y="264"/>
                      <a:pt x="984" y="264"/>
                      <a:pt x="984" y="264"/>
                    </a:cubicBezTo>
                    <a:cubicBezTo>
                      <a:pt x="986" y="264"/>
                      <a:pt x="984" y="264"/>
                      <a:pt x="984" y="264"/>
                    </a:cubicBezTo>
                    <a:close/>
                    <a:moveTo>
                      <a:pt x="1069" y="30"/>
                    </a:moveTo>
                    <a:cubicBezTo>
                      <a:pt x="1072" y="30"/>
                      <a:pt x="1075" y="29"/>
                      <a:pt x="1078" y="28"/>
                    </a:cubicBezTo>
                    <a:cubicBezTo>
                      <a:pt x="1081" y="28"/>
                      <a:pt x="1084" y="28"/>
                      <a:pt x="1087" y="29"/>
                    </a:cubicBezTo>
                    <a:cubicBezTo>
                      <a:pt x="1087" y="29"/>
                      <a:pt x="1089" y="29"/>
                      <a:pt x="1089" y="29"/>
                    </a:cubicBezTo>
                    <a:cubicBezTo>
                      <a:pt x="1090" y="29"/>
                      <a:pt x="1089" y="27"/>
                      <a:pt x="1089" y="27"/>
                    </a:cubicBezTo>
                    <a:cubicBezTo>
                      <a:pt x="1087" y="26"/>
                      <a:pt x="1085" y="26"/>
                      <a:pt x="1084" y="26"/>
                    </a:cubicBezTo>
                    <a:cubicBezTo>
                      <a:pt x="1081" y="25"/>
                      <a:pt x="1078" y="26"/>
                      <a:pt x="1075" y="26"/>
                    </a:cubicBezTo>
                    <a:cubicBezTo>
                      <a:pt x="1072" y="26"/>
                      <a:pt x="1069" y="26"/>
                      <a:pt x="1066" y="26"/>
                    </a:cubicBezTo>
                    <a:cubicBezTo>
                      <a:pt x="1065" y="26"/>
                      <a:pt x="1063" y="27"/>
                      <a:pt x="1065" y="29"/>
                    </a:cubicBezTo>
                    <a:cubicBezTo>
                      <a:pt x="1066" y="30"/>
                      <a:pt x="1068" y="30"/>
                      <a:pt x="1069" y="30"/>
                    </a:cubicBezTo>
                    <a:cubicBezTo>
                      <a:pt x="1069" y="30"/>
                      <a:pt x="1069" y="30"/>
                      <a:pt x="1069" y="30"/>
                    </a:cubicBezTo>
                    <a:cubicBezTo>
                      <a:pt x="1072" y="30"/>
                      <a:pt x="1069" y="30"/>
                      <a:pt x="1069" y="30"/>
                    </a:cubicBezTo>
                    <a:close/>
                    <a:moveTo>
                      <a:pt x="1228" y="142"/>
                    </a:moveTo>
                    <a:cubicBezTo>
                      <a:pt x="1226" y="144"/>
                      <a:pt x="1224" y="146"/>
                      <a:pt x="1226" y="148"/>
                    </a:cubicBezTo>
                    <a:cubicBezTo>
                      <a:pt x="1228" y="150"/>
                      <a:pt x="1231" y="150"/>
                      <a:pt x="1233" y="150"/>
                    </a:cubicBezTo>
                    <a:cubicBezTo>
                      <a:pt x="1239" y="150"/>
                      <a:pt x="1243" y="147"/>
                      <a:pt x="1248" y="144"/>
                    </a:cubicBezTo>
                    <a:cubicBezTo>
                      <a:pt x="1253" y="141"/>
                      <a:pt x="1259" y="140"/>
                      <a:pt x="1266" y="140"/>
                    </a:cubicBezTo>
                    <a:cubicBezTo>
                      <a:pt x="1268" y="140"/>
                      <a:pt x="1271" y="140"/>
                      <a:pt x="1274" y="140"/>
                    </a:cubicBezTo>
                    <a:cubicBezTo>
                      <a:pt x="1275" y="140"/>
                      <a:pt x="1276" y="141"/>
                      <a:pt x="1277" y="140"/>
                    </a:cubicBezTo>
                    <a:cubicBezTo>
                      <a:pt x="1278" y="140"/>
                      <a:pt x="1280" y="142"/>
                      <a:pt x="1281" y="142"/>
                    </a:cubicBezTo>
                    <a:cubicBezTo>
                      <a:pt x="1284" y="143"/>
                      <a:pt x="1284" y="141"/>
                      <a:pt x="1285" y="139"/>
                    </a:cubicBezTo>
                    <a:cubicBezTo>
                      <a:pt x="1287" y="138"/>
                      <a:pt x="1291" y="138"/>
                      <a:pt x="1293" y="138"/>
                    </a:cubicBezTo>
                    <a:cubicBezTo>
                      <a:pt x="1296" y="138"/>
                      <a:pt x="1298" y="138"/>
                      <a:pt x="1301" y="138"/>
                    </a:cubicBezTo>
                    <a:cubicBezTo>
                      <a:pt x="1305" y="138"/>
                      <a:pt x="1308" y="136"/>
                      <a:pt x="1311" y="136"/>
                    </a:cubicBezTo>
                    <a:cubicBezTo>
                      <a:pt x="1314" y="136"/>
                      <a:pt x="1316" y="138"/>
                      <a:pt x="1319" y="136"/>
                    </a:cubicBezTo>
                    <a:cubicBezTo>
                      <a:pt x="1321" y="135"/>
                      <a:pt x="1324" y="134"/>
                      <a:pt x="1326" y="132"/>
                    </a:cubicBezTo>
                    <a:cubicBezTo>
                      <a:pt x="1328" y="130"/>
                      <a:pt x="1329" y="127"/>
                      <a:pt x="1328" y="125"/>
                    </a:cubicBezTo>
                    <a:cubicBezTo>
                      <a:pt x="1327" y="124"/>
                      <a:pt x="1326" y="123"/>
                      <a:pt x="1326" y="121"/>
                    </a:cubicBezTo>
                    <a:cubicBezTo>
                      <a:pt x="1325" y="120"/>
                      <a:pt x="1325" y="119"/>
                      <a:pt x="1323" y="118"/>
                    </a:cubicBezTo>
                    <a:cubicBezTo>
                      <a:pt x="1321" y="117"/>
                      <a:pt x="1319" y="119"/>
                      <a:pt x="1317" y="118"/>
                    </a:cubicBezTo>
                    <a:cubicBezTo>
                      <a:pt x="1316" y="118"/>
                      <a:pt x="1315" y="118"/>
                      <a:pt x="1313" y="118"/>
                    </a:cubicBezTo>
                    <a:cubicBezTo>
                      <a:pt x="1312" y="118"/>
                      <a:pt x="1311" y="118"/>
                      <a:pt x="1310" y="117"/>
                    </a:cubicBezTo>
                    <a:cubicBezTo>
                      <a:pt x="1310" y="117"/>
                      <a:pt x="1313" y="115"/>
                      <a:pt x="1313" y="114"/>
                    </a:cubicBezTo>
                    <a:cubicBezTo>
                      <a:pt x="1313" y="112"/>
                      <a:pt x="1309" y="112"/>
                      <a:pt x="1308" y="112"/>
                    </a:cubicBezTo>
                    <a:cubicBezTo>
                      <a:pt x="1307" y="112"/>
                      <a:pt x="1305" y="113"/>
                      <a:pt x="1305" y="112"/>
                    </a:cubicBezTo>
                    <a:cubicBezTo>
                      <a:pt x="1304" y="111"/>
                      <a:pt x="1304" y="110"/>
                      <a:pt x="1304" y="109"/>
                    </a:cubicBezTo>
                    <a:cubicBezTo>
                      <a:pt x="1304" y="108"/>
                      <a:pt x="1304" y="107"/>
                      <a:pt x="1303" y="106"/>
                    </a:cubicBezTo>
                    <a:cubicBezTo>
                      <a:pt x="1302" y="105"/>
                      <a:pt x="1300" y="106"/>
                      <a:pt x="1299" y="105"/>
                    </a:cubicBezTo>
                    <a:cubicBezTo>
                      <a:pt x="1298" y="104"/>
                      <a:pt x="1297" y="105"/>
                      <a:pt x="1296" y="105"/>
                    </a:cubicBezTo>
                    <a:cubicBezTo>
                      <a:pt x="1295" y="106"/>
                      <a:pt x="1293" y="107"/>
                      <a:pt x="1292" y="107"/>
                    </a:cubicBezTo>
                    <a:cubicBezTo>
                      <a:pt x="1291" y="108"/>
                      <a:pt x="1290" y="107"/>
                      <a:pt x="1289" y="107"/>
                    </a:cubicBezTo>
                    <a:cubicBezTo>
                      <a:pt x="1287" y="107"/>
                      <a:pt x="1286" y="108"/>
                      <a:pt x="1284" y="108"/>
                    </a:cubicBezTo>
                    <a:cubicBezTo>
                      <a:pt x="1283" y="109"/>
                      <a:pt x="1281" y="109"/>
                      <a:pt x="1280" y="109"/>
                    </a:cubicBezTo>
                    <a:cubicBezTo>
                      <a:pt x="1278" y="109"/>
                      <a:pt x="1280" y="107"/>
                      <a:pt x="1281" y="106"/>
                    </a:cubicBezTo>
                    <a:cubicBezTo>
                      <a:pt x="1281" y="106"/>
                      <a:pt x="1282" y="105"/>
                      <a:pt x="1282" y="104"/>
                    </a:cubicBezTo>
                    <a:cubicBezTo>
                      <a:pt x="1283" y="103"/>
                      <a:pt x="1283" y="102"/>
                      <a:pt x="1284" y="101"/>
                    </a:cubicBezTo>
                    <a:cubicBezTo>
                      <a:pt x="1284" y="100"/>
                      <a:pt x="1285" y="100"/>
                      <a:pt x="1286" y="100"/>
                    </a:cubicBezTo>
                    <a:cubicBezTo>
                      <a:pt x="1287" y="100"/>
                      <a:pt x="1287" y="98"/>
                      <a:pt x="1286" y="98"/>
                    </a:cubicBezTo>
                    <a:cubicBezTo>
                      <a:pt x="1285" y="97"/>
                      <a:pt x="1284" y="98"/>
                      <a:pt x="1282" y="97"/>
                    </a:cubicBezTo>
                    <a:cubicBezTo>
                      <a:pt x="1281" y="97"/>
                      <a:pt x="1280" y="97"/>
                      <a:pt x="1278" y="96"/>
                    </a:cubicBezTo>
                    <a:cubicBezTo>
                      <a:pt x="1277" y="96"/>
                      <a:pt x="1276" y="95"/>
                      <a:pt x="1275" y="95"/>
                    </a:cubicBezTo>
                    <a:cubicBezTo>
                      <a:pt x="1274" y="95"/>
                      <a:pt x="1274" y="97"/>
                      <a:pt x="1274" y="98"/>
                    </a:cubicBezTo>
                    <a:cubicBezTo>
                      <a:pt x="1274" y="100"/>
                      <a:pt x="1273" y="103"/>
                      <a:pt x="1270" y="103"/>
                    </a:cubicBezTo>
                    <a:cubicBezTo>
                      <a:pt x="1269" y="103"/>
                      <a:pt x="1268" y="102"/>
                      <a:pt x="1268" y="101"/>
                    </a:cubicBezTo>
                    <a:cubicBezTo>
                      <a:pt x="1267" y="100"/>
                      <a:pt x="1267" y="99"/>
                      <a:pt x="1266" y="98"/>
                    </a:cubicBezTo>
                    <a:cubicBezTo>
                      <a:pt x="1265" y="97"/>
                      <a:pt x="1263" y="98"/>
                      <a:pt x="1262" y="98"/>
                    </a:cubicBezTo>
                    <a:cubicBezTo>
                      <a:pt x="1261" y="99"/>
                      <a:pt x="1261" y="100"/>
                      <a:pt x="1260" y="101"/>
                    </a:cubicBezTo>
                    <a:cubicBezTo>
                      <a:pt x="1259" y="101"/>
                      <a:pt x="1258" y="102"/>
                      <a:pt x="1257" y="103"/>
                    </a:cubicBezTo>
                    <a:cubicBezTo>
                      <a:pt x="1256" y="104"/>
                      <a:pt x="1256" y="105"/>
                      <a:pt x="1256" y="106"/>
                    </a:cubicBezTo>
                    <a:cubicBezTo>
                      <a:pt x="1256" y="107"/>
                      <a:pt x="1256" y="108"/>
                      <a:pt x="1256" y="108"/>
                    </a:cubicBezTo>
                    <a:cubicBezTo>
                      <a:pt x="1257" y="110"/>
                      <a:pt x="1259" y="110"/>
                      <a:pt x="1260" y="110"/>
                    </a:cubicBezTo>
                    <a:cubicBezTo>
                      <a:pt x="1260" y="111"/>
                      <a:pt x="1263" y="112"/>
                      <a:pt x="1261" y="112"/>
                    </a:cubicBezTo>
                    <a:cubicBezTo>
                      <a:pt x="1259" y="112"/>
                      <a:pt x="1257" y="111"/>
                      <a:pt x="1255" y="111"/>
                    </a:cubicBezTo>
                    <a:cubicBezTo>
                      <a:pt x="1254" y="111"/>
                      <a:pt x="1253" y="111"/>
                      <a:pt x="1253" y="111"/>
                    </a:cubicBezTo>
                    <a:cubicBezTo>
                      <a:pt x="1252" y="111"/>
                      <a:pt x="1252" y="112"/>
                      <a:pt x="1252" y="113"/>
                    </a:cubicBezTo>
                    <a:cubicBezTo>
                      <a:pt x="1252" y="114"/>
                      <a:pt x="1252" y="115"/>
                      <a:pt x="1251" y="116"/>
                    </a:cubicBezTo>
                    <a:cubicBezTo>
                      <a:pt x="1251" y="116"/>
                      <a:pt x="1250" y="116"/>
                      <a:pt x="1250" y="117"/>
                    </a:cubicBezTo>
                    <a:cubicBezTo>
                      <a:pt x="1250" y="119"/>
                      <a:pt x="1254" y="120"/>
                      <a:pt x="1254" y="121"/>
                    </a:cubicBezTo>
                    <a:cubicBezTo>
                      <a:pt x="1254" y="122"/>
                      <a:pt x="1250" y="121"/>
                      <a:pt x="1250" y="120"/>
                    </a:cubicBezTo>
                    <a:cubicBezTo>
                      <a:pt x="1248" y="120"/>
                      <a:pt x="1245" y="118"/>
                      <a:pt x="1243" y="120"/>
                    </a:cubicBezTo>
                    <a:cubicBezTo>
                      <a:pt x="1242" y="121"/>
                      <a:pt x="1242" y="122"/>
                      <a:pt x="1241" y="123"/>
                    </a:cubicBezTo>
                    <a:cubicBezTo>
                      <a:pt x="1241" y="124"/>
                      <a:pt x="1240" y="125"/>
                      <a:pt x="1239" y="126"/>
                    </a:cubicBezTo>
                    <a:cubicBezTo>
                      <a:pt x="1238" y="127"/>
                      <a:pt x="1238" y="128"/>
                      <a:pt x="1237" y="129"/>
                    </a:cubicBezTo>
                    <a:cubicBezTo>
                      <a:pt x="1236" y="130"/>
                      <a:pt x="1236" y="131"/>
                      <a:pt x="1236" y="133"/>
                    </a:cubicBezTo>
                    <a:cubicBezTo>
                      <a:pt x="1235" y="137"/>
                      <a:pt x="1231" y="140"/>
                      <a:pt x="1227" y="143"/>
                    </a:cubicBezTo>
                    <a:cubicBezTo>
                      <a:pt x="1227" y="143"/>
                      <a:pt x="1228" y="143"/>
                      <a:pt x="1228" y="142"/>
                    </a:cubicBezTo>
                    <a:cubicBezTo>
                      <a:pt x="1227" y="143"/>
                      <a:pt x="1228" y="142"/>
                      <a:pt x="1228" y="142"/>
                    </a:cubicBezTo>
                    <a:close/>
                    <a:moveTo>
                      <a:pt x="1091" y="61"/>
                    </a:moveTo>
                    <a:cubicBezTo>
                      <a:pt x="1093" y="62"/>
                      <a:pt x="1096" y="61"/>
                      <a:pt x="1098" y="61"/>
                    </a:cubicBezTo>
                    <a:cubicBezTo>
                      <a:pt x="1101" y="61"/>
                      <a:pt x="1104" y="60"/>
                      <a:pt x="1107" y="60"/>
                    </a:cubicBezTo>
                    <a:cubicBezTo>
                      <a:pt x="1110" y="60"/>
                      <a:pt x="1113" y="61"/>
                      <a:pt x="1116" y="61"/>
                    </a:cubicBezTo>
                    <a:cubicBezTo>
                      <a:pt x="1117" y="61"/>
                      <a:pt x="1121" y="60"/>
                      <a:pt x="1121" y="63"/>
                    </a:cubicBezTo>
                    <a:cubicBezTo>
                      <a:pt x="1121" y="64"/>
                      <a:pt x="1117" y="63"/>
                      <a:pt x="1116" y="63"/>
                    </a:cubicBezTo>
                    <a:cubicBezTo>
                      <a:pt x="1115" y="63"/>
                      <a:pt x="1114" y="64"/>
                      <a:pt x="1113" y="63"/>
                    </a:cubicBezTo>
                    <a:cubicBezTo>
                      <a:pt x="1111" y="63"/>
                      <a:pt x="1110" y="62"/>
                      <a:pt x="1109" y="63"/>
                    </a:cubicBezTo>
                    <a:cubicBezTo>
                      <a:pt x="1107" y="63"/>
                      <a:pt x="1106" y="63"/>
                      <a:pt x="1108" y="65"/>
                    </a:cubicBezTo>
                    <a:cubicBezTo>
                      <a:pt x="1111" y="66"/>
                      <a:pt x="1113" y="67"/>
                      <a:pt x="1115" y="68"/>
                    </a:cubicBezTo>
                    <a:cubicBezTo>
                      <a:pt x="1118" y="69"/>
                      <a:pt x="1120" y="71"/>
                      <a:pt x="1122" y="72"/>
                    </a:cubicBezTo>
                    <a:cubicBezTo>
                      <a:pt x="1125" y="73"/>
                      <a:pt x="1128" y="72"/>
                      <a:pt x="1131" y="72"/>
                    </a:cubicBezTo>
                    <a:cubicBezTo>
                      <a:pt x="1134" y="72"/>
                      <a:pt x="1137" y="71"/>
                      <a:pt x="1140" y="70"/>
                    </a:cubicBezTo>
                    <a:cubicBezTo>
                      <a:pt x="1143" y="69"/>
                      <a:pt x="1146" y="69"/>
                      <a:pt x="1149" y="68"/>
                    </a:cubicBezTo>
                    <a:cubicBezTo>
                      <a:pt x="1152" y="67"/>
                      <a:pt x="1154" y="66"/>
                      <a:pt x="1157" y="65"/>
                    </a:cubicBezTo>
                    <a:cubicBezTo>
                      <a:pt x="1160" y="65"/>
                      <a:pt x="1163" y="65"/>
                      <a:pt x="1167" y="65"/>
                    </a:cubicBezTo>
                    <a:cubicBezTo>
                      <a:pt x="1169" y="64"/>
                      <a:pt x="1171" y="63"/>
                      <a:pt x="1174" y="63"/>
                    </a:cubicBezTo>
                    <a:cubicBezTo>
                      <a:pt x="1177" y="63"/>
                      <a:pt x="1180" y="64"/>
                      <a:pt x="1184" y="64"/>
                    </a:cubicBezTo>
                    <a:cubicBezTo>
                      <a:pt x="1186" y="64"/>
                      <a:pt x="1186" y="60"/>
                      <a:pt x="1186" y="59"/>
                    </a:cubicBezTo>
                    <a:cubicBezTo>
                      <a:pt x="1187" y="56"/>
                      <a:pt x="1186" y="55"/>
                      <a:pt x="1185" y="53"/>
                    </a:cubicBezTo>
                    <a:cubicBezTo>
                      <a:pt x="1184" y="51"/>
                      <a:pt x="1185" y="48"/>
                      <a:pt x="1186" y="48"/>
                    </a:cubicBezTo>
                    <a:cubicBezTo>
                      <a:pt x="1188" y="47"/>
                      <a:pt x="1191" y="47"/>
                      <a:pt x="1194" y="48"/>
                    </a:cubicBezTo>
                    <a:cubicBezTo>
                      <a:pt x="1195" y="48"/>
                      <a:pt x="1199" y="48"/>
                      <a:pt x="1199" y="46"/>
                    </a:cubicBezTo>
                    <a:cubicBezTo>
                      <a:pt x="1198" y="45"/>
                      <a:pt x="1196" y="44"/>
                      <a:pt x="1195" y="43"/>
                    </a:cubicBezTo>
                    <a:cubicBezTo>
                      <a:pt x="1194" y="42"/>
                      <a:pt x="1193" y="41"/>
                      <a:pt x="1191" y="40"/>
                    </a:cubicBezTo>
                    <a:cubicBezTo>
                      <a:pt x="1190" y="39"/>
                      <a:pt x="1189" y="38"/>
                      <a:pt x="1188" y="37"/>
                    </a:cubicBezTo>
                    <a:cubicBezTo>
                      <a:pt x="1186" y="37"/>
                      <a:pt x="1185" y="36"/>
                      <a:pt x="1183" y="36"/>
                    </a:cubicBezTo>
                    <a:cubicBezTo>
                      <a:pt x="1181" y="34"/>
                      <a:pt x="1179" y="33"/>
                      <a:pt x="1177" y="31"/>
                    </a:cubicBezTo>
                    <a:cubicBezTo>
                      <a:pt x="1176" y="30"/>
                      <a:pt x="1176" y="29"/>
                      <a:pt x="1175" y="28"/>
                    </a:cubicBezTo>
                    <a:cubicBezTo>
                      <a:pt x="1174" y="27"/>
                      <a:pt x="1173" y="27"/>
                      <a:pt x="1171" y="27"/>
                    </a:cubicBezTo>
                    <a:cubicBezTo>
                      <a:pt x="1169" y="26"/>
                      <a:pt x="1167" y="24"/>
                      <a:pt x="1165" y="23"/>
                    </a:cubicBezTo>
                    <a:cubicBezTo>
                      <a:pt x="1163" y="22"/>
                      <a:pt x="1162" y="22"/>
                      <a:pt x="1160" y="23"/>
                    </a:cubicBezTo>
                    <a:cubicBezTo>
                      <a:pt x="1159" y="23"/>
                      <a:pt x="1157" y="22"/>
                      <a:pt x="1156" y="22"/>
                    </a:cubicBezTo>
                    <a:cubicBezTo>
                      <a:pt x="1153" y="22"/>
                      <a:pt x="1151" y="23"/>
                      <a:pt x="1150" y="25"/>
                    </a:cubicBezTo>
                    <a:cubicBezTo>
                      <a:pt x="1149" y="28"/>
                      <a:pt x="1146" y="29"/>
                      <a:pt x="1144" y="30"/>
                    </a:cubicBezTo>
                    <a:cubicBezTo>
                      <a:pt x="1141" y="31"/>
                      <a:pt x="1138" y="31"/>
                      <a:pt x="1135" y="31"/>
                    </a:cubicBezTo>
                    <a:cubicBezTo>
                      <a:pt x="1132" y="32"/>
                      <a:pt x="1129" y="33"/>
                      <a:pt x="1125" y="33"/>
                    </a:cubicBezTo>
                    <a:cubicBezTo>
                      <a:pt x="1123" y="34"/>
                      <a:pt x="1122" y="33"/>
                      <a:pt x="1120" y="34"/>
                    </a:cubicBezTo>
                    <a:cubicBezTo>
                      <a:pt x="1119" y="35"/>
                      <a:pt x="1117" y="37"/>
                      <a:pt x="1116" y="37"/>
                    </a:cubicBezTo>
                    <a:cubicBezTo>
                      <a:pt x="1113" y="38"/>
                      <a:pt x="1108" y="38"/>
                      <a:pt x="1107" y="41"/>
                    </a:cubicBezTo>
                    <a:cubicBezTo>
                      <a:pt x="1107" y="44"/>
                      <a:pt x="1110" y="45"/>
                      <a:pt x="1111" y="47"/>
                    </a:cubicBezTo>
                    <a:cubicBezTo>
                      <a:pt x="1113" y="49"/>
                      <a:pt x="1112" y="52"/>
                      <a:pt x="1110" y="54"/>
                    </a:cubicBezTo>
                    <a:cubicBezTo>
                      <a:pt x="1108" y="55"/>
                      <a:pt x="1106" y="54"/>
                      <a:pt x="1104" y="54"/>
                    </a:cubicBezTo>
                    <a:cubicBezTo>
                      <a:pt x="1102" y="54"/>
                      <a:pt x="1099" y="54"/>
                      <a:pt x="1099" y="57"/>
                    </a:cubicBezTo>
                    <a:cubicBezTo>
                      <a:pt x="1099" y="59"/>
                      <a:pt x="1096" y="58"/>
                      <a:pt x="1094" y="58"/>
                    </a:cubicBezTo>
                    <a:cubicBezTo>
                      <a:pt x="1092" y="59"/>
                      <a:pt x="1089" y="60"/>
                      <a:pt x="1092" y="61"/>
                    </a:cubicBezTo>
                    <a:cubicBezTo>
                      <a:pt x="1092" y="61"/>
                      <a:pt x="1092" y="61"/>
                      <a:pt x="1091" y="61"/>
                    </a:cubicBezTo>
                    <a:cubicBezTo>
                      <a:pt x="1093" y="62"/>
                      <a:pt x="1091" y="61"/>
                      <a:pt x="1091" y="61"/>
                    </a:cubicBezTo>
                    <a:close/>
                    <a:moveTo>
                      <a:pt x="1196" y="69"/>
                    </a:moveTo>
                    <a:cubicBezTo>
                      <a:pt x="1195" y="67"/>
                      <a:pt x="1191" y="67"/>
                      <a:pt x="1189" y="67"/>
                    </a:cubicBezTo>
                    <a:cubicBezTo>
                      <a:pt x="1186" y="67"/>
                      <a:pt x="1183" y="68"/>
                      <a:pt x="1180" y="69"/>
                    </a:cubicBezTo>
                    <a:cubicBezTo>
                      <a:pt x="1177" y="69"/>
                      <a:pt x="1174" y="70"/>
                      <a:pt x="1171" y="70"/>
                    </a:cubicBezTo>
                    <a:cubicBezTo>
                      <a:pt x="1167" y="71"/>
                      <a:pt x="1164" y="70"/>
                      <a:pt x="1161" y="70"/>
                    </a:cubicBezTo>
                    <a:cubicBezTo>
                      <a:pt x="1160" y="70"/>
                      <a:pt x="1158" y="70"/>
                      <a:pt x="1157" y="71"/>
                    </a:cubicBezTo>
                    <a:cubicBezTo>
                      <a:pt x="1156" y="71"/>
                      <a:pt x="1155" y="72"/>
                      <a:pt x="1154" y="72"/>
                    </a:cubicBezTo>
                    <a:cubicBezTo>
                      <a:pt x="1152" y="72"/>
                      <a:pt x="1151" y="71"/>
                      <a:pt x="1150" y="71"/>
                    </a:cubicBezTo>
                    <a:cubicBezTo>
                      <a:pt x="1149" y="71"/>
                      <a:pt x="1147" y="72"/>
                      <a:pt x="1146" y="73"/>
                    </a:cubicBezTo>
                    <a:cubicBezTo>
                      <a:pt x="1146" y="73"/>
                      <a:pt x="1145" y="74"/>
                      <a:pt x="1143" y="74"/>
                    </a:cubicBezTo>
                    <a:cubicBezTo>
                      <a:pt x="1142" y="75"/>
                      <a:pt x="1141" y="74"/>
                      <a:pt x="1140" y="74"/>
                    </a:cubicBezTo>
                    <a:cubicBezTo>
                      <a:pt x="1139" y="74"/>
                      <a:pt x="1138" y="75"/>
                      <a:pt x="1138" y="76"/>
                    </a:cubicBezTo>
                    <a:cubicBezTo>
                      <a:pt x="1137" y="77"/>
                      <a:pt x="1137" y="78"/>
                      <a:pt x="1138" y="78"/>
                    </a:cubicBezTo>
                    <a:cubicBezTo>
                      <a:pt x="1139" y="79"/>
                      <a:pt x="1142" y="81"/>
                      <a:pt x="1139" y="82"/>
                    </a:cubicBezTo>
                    <a:cubicBezTo>
                      <a:pt x="1138" y="82"/>
                      <a:pt x="1137" y="82"/>
                      <a:pt x="1137" y="82"/>
                    </a:cubicBezTo>
                    <a:cubicBezTo>
                      <a:pt x="1135" y="82"/>
                      <a:pt x="1134" y="82"/>
                      <a:pt x="1132" y="83"/>
                    </a:cubicBezTo>
                    <a:cubicBezTo>
                      <a:pt x="1130" y="84"/>
                      <a:pt x="1127" y="86"/>
                      <a:pt x="1125" y="87"/>
                    </a:cubicBezTo>
                    <a:cubicBezTo>
                      <a:pt x="1123" y="89"/>
                      <a:pt x="1121" y="91"/>
                      <a:pt x="1118" y="91"/>
                    </a:cubicBezTo>
                    <a:cubicBezTo>
                      <a:pt x="1117" y="91"/>
                      <a:pt x="1113" y="90"/>
                      <a:pt x="1115" y="92"/>
                    </a:cubicBezTo>
                    <a:cubicBezTo>
                      <a:pt x="1116" y="93"/>
                      <a:pt x="1118" y="95"/>
                      <a:pt x="1120" y="94"/>
                    </a:cubicBezTo>
                    <a:cubicBezTo>
                      <a:pt x="1122" y="93"/>
                      <a:pt x="1125" y="91"/>
                      <a:pt x="1127" y="90"/>
                    </a:cubicBezTo>
                    <a:cubicBezTo>
                      <a:pt x="1128" y="90"/>
                      <a:pt x="1132" y="90"/>
                      <a:pt x="1131" y="92"/>
                    </a:cubicBezTo>
                    <a:cubicBezTo>
                      <a:pt x="1131" y="93"/>
                      <a:pt x="1130" y="94"/>
                      <a:pt x="1130" y="94"/>
                    </a:cubicBezTo>
                    <a:cubicBezTo>
                      <a:pt x="1131" y="95"/>
                      <a:pt x="1132" y="95"/>
                      <a:pt x="1133" y="95"/>
                    </a:cubicBezTo>
                    <a:cubicBezTo>
                      <a:pt x="1135" y="95"/>
                      <a:pt x="1138" y="94"/>
                      <a:pt x="1138" y="96"/>
                    </a:cubicBezTo>
                    <a:cubicBezTo>
                      <a:pt x="1139" y="98"/>
                      <a:pt x="1137" y="101"/>
                      <a:pt x="1139" y="102"/>
                    </a:cubicBezTo>
                    <a:cubicBezTo>
                      <a:pt x="1141" y="103"/>
                      <a:pt x="1143" y="104"/>
                      <a:pt x="1144" y="106"/>
                    </a:cubicBezTo>
                    <a:cubicBezTo>
                      <a:pt x="1146" y="108"/>
                      <a:pt x="1148" y="109"/>
                      <a:pt x="1150" y="109"/>
                    </a:cubicBezTo>
                    <a:cubicBezTo>
                      <a:pt x="1153" y="110"/>
                      <a:pt x="1156" y="108"/>
                      <a:pt x="1159" y="108"/>
                    </a:cubicBezTo>
                    <a:cubicBezTo>
                      <a:pt x="1161" y="109"/>
                      <a:pt x="1161" y="111"/>
                      <a:pt x="1164" y="112"/>
                    </a:cubicBezTo>
                    <a:cubicBezTo>
                      <a:pt x="1167" y="112"/>
                      <a:pt x="1170" y="112"/>
                      <a:pt x="1173" y="112"/>
                    </a:cubicBezTo>
                    <a:cubicBezTo>
                      <a:pt x="1176" y="112"/>
                      <a:pt x="1178" y="112"/>
                      <a:pt x="1181" y="113"/>
                    </a:cubicBezTo>
                    <a:cubicBezTo>
                      <a:pt x="1183" y="114"/>
                      <a:pt x="1186" y="116"/>
                      <a:pt x="1188" y="117"/>
                    </a:cubicBezTo>
                    <a:cubicBezTo>
                      <a:pt x="1194" y="120"/>
                      <a:pt x="1201" y="119"/>
                      <a:pt x="1207" y="119"/>
                    </a:cubicBezTo>
                    <a:cubicBezTo>
                      <a:pt x="1209" y="119"/>
                      <a:pt x="1212" y="119"/>
                      <a:pt x="1215" y="119"/>
                    </a:cubicBezTo>
                    <a:cubicBezTo>
                      <a:pt x="1218" y="119"/>
                      <a:pt x="1222" y="119"/>
                      <a:pt x="1224" y="118"/>
                    </a:cubicBezTo>
                    <a:cubicBezTo>
                      <a:pt x="1225" y="117"/>
                      <a:pt x="1225" y="116"/>
                      <a:pt x="1226" y="116"/>
                    </a:cubicBezTo>
                    <a:cubicBezTo>
                      <a:pt x="1227" y="115"/>
                      <a:pt x="1228" y="115"/>
                      <a:pt x="1230" y="115"/>
                    </a:cubicBezTo>
                    <a:cubicBezTo>
                      <a:pt x="1232" y="115"/>
                      <a:pt x="1233" y="113"/>
                      <a:pt x="1232" y="110"/>
                    </a:cubicBezTo>
                    <a:cubicBezTo>
                      <a:pt x="1231" y="108"/>
                      <a:pt x="1229" y="107"/>
                      <a:pt x="1226" y="106"/>
                    </a:cubicBezTo>
                    <a:cubicBezTo>
                      <a:pt x="1224" y="105"/>
                      <a:pt x="1222" y="103"/>
                      <a:pt x="1221" y="102"/>
                    </a:cubicBezTo>
                    <a:cubicBezTo>
                      <a:pt x="1219" y="99"/>
                      <a:pt x="1223" y="100"/>
                      <a:pt x="1224" y="101"/>
                    </a:cubicBezTo>
                    <a:cubicBezTo>
                      <a:pt x="1226" y="101"/>
                      <a:pt x="1229" y="101"/>
                      <a:pt x="1229" y="98"/>
                    </a:cubicBezTo>
                    <a:cubicBezTo>
                      <a:pt x="1229" y="97"/>
                      <a:pt x="1230" y="95"/>
                      <a:pt x="1230" y="94"/>
                    </a:cubicBezTo>
                    <a:cubicBezTo>
                      <a:pt x="1230" y="93"/>
                      <a:pt x="1231" y="91"/>
                      <a:pt x="1231" y="90"/>
                    </a:cubicBezTo>
                    <a:cubicBezTo>
                      <a:pt x="1231" y="89"/>
                      <a:pt x="1230" y="88"/>
                      <a:pt x="1231" y="86"/>
                    </a:cubicBezTo>
                    <a:cubicBezTo>
                      <a:pt x="1231" y="85"/>
                      <a:pt x="1232" y="85"/>
                      <a:pt x="1233" y="84"/>
                    </a:cubicBezTo>
                    <a:cubicBezTo>
                      <a:pt x="1235" y="82"/>
                      <a:pt x="1236" y="80"/>
                      <a:pt x="1233" y="79"/>
                    </a:cubicBezTo>
                    <a:cubicBezTo>
                      <a:pt x="1231" y="78"/>
                      <a:pt x="1228" y="77"/>
                      <a:pt x="1226" y="75"/>
                    </a:cubicBezTo>
                    <a:cubicBezTo>
                      <a:pt x="1224" y="74"/>
                      <a:pt x="1222" y="72"/>
                      <a:pt x="1219" y="71"/>
                    </a:cubicBezTo>
                    <a:cubicBezTo>
                      <a:pt x="1216" y="71"/>
                      <a:pt x="1214" y="73"/>
                      <a:pt x="1211" y="74"/>
                    </a:cubicBezTo>
                    <a:cubicBezTo>
                      <a:pt x="1206" y="76"/>
                      <a:pt x="1200" y="76"/>
                      <a:pt x="1198" y="81"/>
                    </a:cubicBezTo>
                    <a:cubicBezTo>
                      <a:pt x="1198" y="84"/>
                      <a:pt x="1194" y="83"/>
                      <a:pt x="1192" y="83"/>
                    </a:cubicBezTo>
                    <a:cubicBezTo>
                      <a:pt x="1191" y="83"/>
                      <a:pt x="1190" y="84"/>
                      <a:pt x="1189" y="85"/>
                    </a:cubicBezTo>
                    <a:cubicBezTo>
                      <a:pt x="1188" y="85"/>
                      <a:pt x="1187" y="86"/>
                      <a:pt x="1187" y="84"/>
                    </a:cubicBezTo>
                    <a:cubicBezTo>
                      <a:pt x="1187" y="83"/>
                      <a:pt x="1188" y="82"/>
                      <a:pt x="1189" y="82"/>
                    </a:cubicBezTo>
                    <a:cubicBezTo>
                      <a:pt x="1190" y="81"/>
                      <a:pt x="1190" y="80"/>
                      <a:pt x="1191" y="79"/>
                    </a:cubicBezTo>
                    <a:cubicBezTo>
                      <a:pt x="1193" y="77"/>
                      <a:pt x="1195" y="76"/>
                      <a:pt x="1197" y="74"/>
                    </a:cubicBezTo>
                    <a:cubicBezTo>
                      <a:pt x="1197" y="74"/>
                      <a:pt x="1201" y="72"/>
                      <a:pt x="1200" y="71"/>
                    </a:cubicBezTo>
                    <a:cubicBezTo>
                      <a:pt x="1198" y="70"/>
                      <a:pt x="1196" y="69"/>
                      <a:pt x="1196" y="69"/>
                    </a:cubicBezTo>
                    <a:cubicBezTo>
                      <a:pt x="1196" y="69"/>
                      <a:pt x="1196" y="69"/>
                      <a:pt x="1196" y="69"/>
                    </a:cubicBezTo>
                    <a:cubicBezTo>
                      <a:pt x="1195" y="68"/>
                      <a:pt x="1196" y="69"/>
                      <a:pt x="1196" y="69"/>
                    </a:cubicBezTo>
                    <a:close/>
                    <a:moveTo>
                      <a:pt x="1100" y="86"/>
                    </a:moveTo>
                    <a:cubicBezTo>
                      <a:pt x="1101" y="87"/>
                      <a:pt x="1103" y="86"/>
                      <a:pt x="1104" y="85"/>
                    </a:cubicBezTo>
                    <a:cubicBezTo>
                      <a:pt x="1106" y="84"/>
                      <a:pt x="1109" y="85"/>
                      <a:pt x="1111" y="85"/>
                    </a:cubicBezTo>
                    <a:cubicBezTo>
                      <a:pt x="1114" y="85"/>
                      <a:pt x="1116" y="83"/>
                      <a:pt x="1118" y="82"/>
                    </a:cubicBezTo>
                    <a:cubicBezTo>
                      <a:pt x="1119" y="81"/>
                      <a:pt x="1120" y="80"/>
                      <a:pt x="1121" y="80"/>
                    </a:cubicBezTo>
                    <a:cubicBezTo>
                      <a:pt x="1122" y="79"/>
                      <a:pt x="1123" y="79"/>
                      <a:pt x="1124" y="79"/>
                    </a:cubicBezTo>
                    <a:cubicBezTo>
                      <a:pt x="1125" y="79"/>
                      <a:pt x="1128" y="77"/>
                      <a:pt x="1126" y="76"/>
                    </a:cubicBezTo>
                    <a:cubicBezTo>
                      <a:pt x="1123" y="75"/>
                      <a:pt x="1121" y="74"/>
                      <a:pt x="1118" y="73"/>
                    </a:cubicBezTo>
                    <a:cubicBezTo>
                      <a:pt x="1112" y="72"/>
                      <a:pt x="1106" y="73"/>
                      <a:pt x="1101" y="72"/>
                    </a:cubicBezTo>
                    <a:cubicBezTo>
                      <a:pt x="1098" y="72"/>
                      <a:pt x="1096" y="72"/>
                      <a:pt x="1093" y="71"/>
                    </a:cubicBezTo>
                    <a:cubicBezTo>
                      <a:pt x="1091" y="71"/>
                      <a:pt x="1088" y="72"/>
                      <a:pt x="1086" y="71"/>
                    </a:cubicBezTo>
                    <a:cubicBezTo>
                      <a:pt x="1084" y="71"/>
                      <a:pt x="1082" y="70"/>
                      <a:pt x="1080" y="71"/>
                    </a:cubicBezTo>
                    <a:cubicBezTo>
                      <a:pt x="1078" y="72"/>
                      <a:pt x="1081" y="73"/>
                      <a:pt x="1082" y="74"/>
                    </a:cubicBezTo>
                    <a:cubicBezTo>
                      <a:pt x="1083" y="76"/>
                      <a:pt x="1083" y="78"/>
                      <a:pt x="1085" y="79"/>
                    </a:cubicBezTo>
                    <a:cubicBezTo>
                      <a:pt x="1088" y="79"/>
                      <a:pt x="1090" y="80"/>
                      <a:pt x="1092" y="80"/>
                    </a:cubicBezTo>
                    <a:cubicBezTo>
                      <a:pt x="1094" y="81"/>
                      <a:pt x="1097" y="80"/>
                      <a:pt x="1099" y="81"/>
                    </a:cubicBezTo>
                    <a:cubicBezTo>
                      <a:pt x="1099" y="82"/>
                      <a:pt x="1099" y="83"/>
                      <a:pt x="1099" y="84"/>
                    </a:cubicBezTo>
                    <a:cubicBezTo>
                      <a:pt x="1099" y="85"/>
                      <a:pt x="1100" y="86"/>
                      <a:pt x="1100" y="86"/>
                    </a:cubicBezTo>
                    <a:cubicBezTo>
                      <a:pt x="1100" y="86"/>
                      <a:pt x="1100" y="86"/>
                      <a:pt x="1100" y="86"/>
                    </a:cubicBezTo>
                    <a:cubicBezTo>
                      <a:pt x="1100" y="87"/>
                      <a:pt x="1100" y="86"/>
                      <a:pt x="1100" y="86"/>
                    </a:cubicBezTo>
                    <a:close/>
                    <a:moveTo>
                      <a:pt x="2328" y="724"/>
                    </a:moveTo>
                    <a:cubicBezTo>
                      <a:pt x="2329" y="723"/>
                      <a:pt x="2329" y="723"/>
                      <a:pt x="2331" y="722"/>
                    </a:cubicBezTo>
                    <a:cubicBezTo>
                      <a:pt x="2333" y="722"/>
                      <a:pt x="2335" y="721"/>
                      <a:pt x="2335" y="719"/>
                    </a:cubicBezTo>
                    <a:cubicBezTo>
                      <a:pt x="2335" y="718"/>
                      <a:pt x="2335" y="718"/>
                      <a:pt x="2335" y="717"/>
                    </a:cubicBezTo>
                    <a:cubicBezTo>
                      <a:pt x="2334" y="716"/>
                      <a:pt x="2335" y="715"/>
                      <a:pt x="2335" y="714"/>
                    </a:cubicBezTo>
                    <a:cubicBezTo>
                      <a:pt x="2335" y="712"/>
                      <a:pt x="2331" y="712"/>
                      <a:pt x="2330" y="713"/>
                    </a:cubicBezTo>
                    <a:cubicBezTo>
                      <a:pt x="2328" y="713"/>
                      <a:pt x="2327" y="714"/>
                      <a:pt x="2325" y="715"/>
                    </a:cubicBezTo>
                    <a:cubicBezTo>
                      <a:pt x="2325" y="716"/>
                      <a:pt x="2323" y="716"/>
                      <a:pt x="2322" y="716"/>
                    </a:cubicBezTo>
                    <a:cubicBezTo>
                      <a:pt x="2321" y="716"/>
                      <a:pt x="2320" y="716"/>
                      <a:pt x="2319" y="717"/>
                    </a:cubicBezTo>
                    <a:cubicBezTo>
                      <a:pt x="2319" y="717"/>
                      <a:pt x="2322" y="719"/>
                      <a:pt x="2322" y="719"/>
                    </a:cubicBezTo>
                    <a:cubicBezTo>
                      <a:pt x="2323" y="720"/>
                      <a:pt x="2322" y="721"/>
                      <a:pt x="2321" y="721"/>
                    </a:cubicBezTo>
                    <a:cubicBezTo>
                      <a:pt x="2319" y="722"/>
                      <a:pt x="2319" y="722"/>
                      <a:pt x="2319" y="724"/>
                    </a:cubicBezTo>
                    <a:cubicBezTo>
                      <a:pt x="2319" y="727"/>
                      <a:pt x="2315" y="727"/>
                      <a:pt x="2314" y="729"/>
                    </a:cubicBezTo>
                    <a:cubicBezTo>
                      <a:pt x="2313" y="731"/>
                      <a:pt x="2316" y="731"/>
                      <a:pt x="2317" y="731"/>
                    </a:cubicBezTo>
                    <a:cubicBezTo>
                      <a:pt x="2319" y="730"/>
                      <a:pt x="2319" y="728"/>
                      <a:pt x="2320" y="726"/>
                    </a:cubicBezTo>
                    <a:cubicBezTo>
                      <a:pt x="2322" y="724"/>
                      <a:pt x="2326" y="727"/>
                      <a:pt x="2328" y="724"/>
                    </a:cubicBezTo>
                    <a:cubicBezTo>
                      <a:pt x="2328" y="724"/>
                      <a:pt x="2328" y="724"/>
                      <a:pt x="2328" y="724"/>
                    </a:cubicBezTo>
                    <a:cubicBezTo>
                      <a:pt x="2328" y="724"/>
                      <a:pt x="2328" y="724"/>
                      <a:pt x="2328" y="724"/>
                    </a:cubicBezTo>
                    <a:close/>
                    <a:moveTo>
                      <a:pt x="1868" y="251"/>
                    </a:moveTo>
                    <a:cubicBezTo>
                      <a:pt x="1870" y="252"/>
                      <a:pt x="1872" y="254"/>
                      <a:pt x="1873" y="256"/>
                    </a:cubicBezTo>
                    <a:cubicBezTo>
                      <a:pt x="1876" y="258"/>
                      <a:pt x="1878" y="259"/>
                      <a:pt x="1881" y="260"/>
                    </a:cubicBezTo>
                    <a:cubicBezTo>
                      <a:pt x="1884" y="261"/>
                      <a:pt x="1887" y="262"/>
                      <a:pt x="1889" y="263"/>
                    </a:cubicBezTo>
                    <a:cubicBezTo>
                      <a:pt x="1892" y="264"/>
                      <a:pt x="1895" y="266"/>
                      <a:pt x="1898" y="266"/>
                    </a:cubicBezTo>
                    <a:cubicBezTo>
                      <a:pt x="1900" y="266"/>
                      <a:pt x="1903" y="264"/>
                      <a:pt x="1905" y="263"/>
                    </a:cubicBezTo>
                    <a:cubicBezTo>
                      <a:pt x="1906" y="263"/>
                      <a:pt x="1908" y="262"/>
                      <a:pt x="1908" y="261"/>
                    </a:cubicBezTo>
                    <a:cubicBezTo>
                      <a:pt x="1908" y="260"/>
                      <a:pt x="1907" y="259"/>
                      <a:pt x="1907" y="258"/>
                    </a:cubicBezTo>
                    <a:cubicBezTo>
                      <a:pt x="1905" y="255"/>
                      <a:pt x="1911" y="256"/>
                      <a:pt x="1912" y="256"/>
                    </a:cubicBezTo>
                    <a:cubicBezTo>
                      <a:pt x="1915" y="256"/>
                      <a:pt x="1915" y="259"/>
                      <a:pt x="1917" y="260"/>
                    </a:cubicBezTo>
                    <a:cubicBezTo>
                      <a:pt x="1918" y="260"/>
                      <a:pt x="1919" y="260"/>
                      <a:pt x="1920" y="260"/>
                    </a:cubicBezTo>
                    <a:cubicBezTo>
                      <a:pt x="1921" y="260"/>
                      <a:pt x="1923" y="260"/>
                      <a:pt x="1925" y="259"/>
                    </a:cubicBezTo>
                    <a:cubicBezTo>
                      <a:pt x="1926" y="259"/>
                      <a:pt x="1927" y="258"/>
                      <a:pt x="1929" y="258"/>
                    </a:cubicBezTo>
                    <a:cubicBezTo>
                      <a:pt x="1930" y="257"/>
                      <a:pt x="1931" y="257"/>
                      <a:pt x="1933" y="257"/>
                    </a:cubicBezTo>
                    <a:cubicBezTo>
                      <a:pt x="1935" y="257"/>
                      <a:pt x="1938" y="256"/>
                      <a:pt x="1941" y="256"/>
                    </a:cubicBezTo>
                    <a:cubicBezTo>
                      <a:pt x="1944" y="256"/>
                      <a:pt x="1946" y="254"/>
                      <a:pt x="1949" y="253"/>
                    </a:cubicBezTo>
                    <a:cubicBezTo>
                      <a:pt x="1950" y="253"/>
                      <a:pt x="1951" y="253"/>
                      <a:pt x="1952" y="254"/>
                    </a:cubicBezTo>
                    <a:cubicBezTo>
                      <a:pt x="1953" y="254"/>
                      <a:pt x="1954" y="255"/>
                      <a:pt x="1953" y="256"/>
                    </a:cubicBezTo>
                    <a:cubicBezTo>
                      <a:pt x="1952" y="257"/>
                      <a:pt x="1951" y="257"/>
                      <a:pt x="1952" y="259"/>
                    </a:cubicBezTo>
                    <a:cubicBezTo>
                      <a:pt x="1953" y="260"/>
                      <a:pt x="1955" y="261"/>
                      <a:pt x="1956" y="261"/>
                    </a:cubicBezTo>
                    <a:cubicBezTo>
                      <a:pt x="1960" y="263"/>
                      <a:pt x="1961" y="259"/>
                      <a:pt x="1964" y="257"/>
                    </a:cubicBezTo>
                    <a:cubicBezTo>
                      <a:pt x="1966" y="256"/>
                      <a:pt x="1969" y="257"/>
                      <a:pt x="1971" y="258"/>
                    </a:cubicBezTo>
                    <a:cubicBezTo>
                      <a:pt x="1972" y="258"/>
                      <a:pt x="1974" y="258"/>
                      <a:pt x="1975" y="258"/>
                    </a:cubicBezTo>
                    <a:cubicBezTo>
                      <a:pt x="1976" y="257"/>
                      <a:pt x="1977" y="256"/>
                      <a:pt x="1976" y="256"/>
                    </a:cubicBezTo>
                    <a:cubicBezTo>
                      <a:pt x="1974" y="255"/>
                      <a:pt x="1971" y="255"/>
                      <a:pt x="1969" y="254"/>
                    </a:cubicBezTo>
                    <a:cubicBezTo>
                      <a:pt x="1967" y="253"/>
                      <a:pt x="1964" y="252"/>
                      <a:pt x="1961" y="250"/>
                    </a:cubicBezTo>
                    <a:cubicBezTo>
                      <a:pt x="1959" y="249"/>
                      <a:pt x="1957" y="248"/>
                      <a:pt x="1956" y="246"/>
                    </a:cubicBezTo>
                    <a:cubicBezTo>
                      <a:pt x="1954" y="244"/>
                      <a:pt x="1954" y="242"/>
                      <a:pt x="1952" y="240"/>
                    </a:cubicBezTo>
                    <a:cubicBezTo>
                      <a:pt x="1950" y="237"/>
                      <a:pt x="1951" y="235"/>
                      <a:pt x="1953" y="233"/>
                    </a:cubicBezTo>
                    <a:cubicBezTo>
                      <a:pt x="1954" y="233"/>
                      <a:pt x="1955" y="232"/>
                      <a:pt x="1956" y="231"/>
                    </a:cubicBezTo>
                    <a:cubicBezTo>
                      <a:pt x="1957" y="231"/>
                      <a:pt x="1958" y="231"/>
                      <a:pt x="1960" y="231"/>
                    </a:cubicBezTo>
                    <a:cubicBezTo>
                      <a:pt x="1961" y="231"/>
                      <a:pt x="1965" y="230"/>
                      <a:pt x="1966" y="232"/>
                    </a:cubicBezTo>
                    <a:cubicBezTo>
                      <a:pt x="1967" y="233"/>
                      <a:pt x="1968" y="235"/>
                      <a:pt x="1967" y="237"/>
                    </a:cubicBezTo>
                    <a:cubicBezTo>
                      <a:pt x="1965" y="238"/>
                      <a:pt x="1957" y="236"/>
                      <a:pt x="1959" y="241"/>
                    </a:cubicBezTo>
                    <a:cubicBezTo>
                      <a:pt x="1960" y="243"/>
                      <a:pt x="1962" y="245"/>
                      <a:pt x="1963" y="246"/>
                    </a:cubicBezTo>
                    <a:cubicBezTo>
                      <a:pt x="1964" y="247"/>
                      <a:pt x="1965" y="249"/>
                      <a:pt x="1965" y="249"/>
                    </a:cubicBezTo>
                    <a:cubicBezTo>
                      <a:pt x="1967" y="251"/>
                      <a:pt x="1968" y="251"/>
                      <a:pt x="1970" y="251"/>
                    </a:cubicBezTo>
                    <a:cubicBezTo>
                      <a:pt x="1973" y="251"/>
                      <a:pt x="1975" y="251"/>
                      <a:pt x="1978" y="252"/>
                    </a:cubicBezTo>
                    <a:cubicBezTo>
                      <a:pt x="1981" y="253"/>
                      <a:pt x="1985" y="254"/>
                      <a:pt x="1987" y="253"/>
                    </a:cubicBezTo>
                    <a:cubicBezTo>
                      <a:pt x="1989" y="252"/>
                      <a:pt x="1990" y="252"/>
                      <a:pt x="1991" y="252"/>
                    </a:cubicBezTo>
                    <a:cubicBezTo>
                      <a:pt x="1992" y="251"/>
                      <a:pt x="1994" y="251"/>
                      <a:pt x="1994" y="250"/>
                    </a:cubicBezTo>
                    <a:cubicBezTo>
                      <a:pt x="1994" y="249"/>
                      <a:pt x="1994" y="248"/>
                      <a:pt x="1995" y="247"/>
                    </a:cubicBezTo>
                    <a:cubicBezTo>
                      <a:pt x="1996" y="246"/>
                      <a:pt x="1997" y="246"/>
                      <a:pt x="1998" y="246"/>
                    </a:cubicBezTo>
                    <a:cubicBezTo>
                      <a:pt x="1999" y="244"/>
                      <a:pt x="1997" y="242"/>
                      <a:pt x="1996" y="240"/>
                    </a:cubicBezTo>
                    <a:cubicBezTo>
                      <a:pt x="1996" y="237"/>
                      <a:pt x="2001" y="239"/>
                      <a:pt x="2002" y="239"/>
                    </a:cubicBezTo>
                    <a:cubicBezTo>
                      <a:pt x="2004" y="238"/>
                      <a:pt x="2006" y="237"/>
                      <a:pt x="2005" y="236"/>
                    </a:cubicBezTo>
                    <a:cubicBezTo>
                      <a:pt x="2004" y="234"/>
                      <a:pt x="2000" y="233"/>
                      <a:pt x="1998" y="232"/>
                    </a:cubicBezTo>
                    <a:cubicBezTo>
                      <a:pt x="1993" y="229"/>
                      <a:pt x="1987" y="229"/>
                      <a:pt x="1981" y="227"/>
                    </a:cubicBezTo>
                    <a:cubicBezTo>
                      <a:pt x="1979" y="226"/>
                      <a:pt x="1976" y="225"/>
                      <a:pt x="1973" y="224"/>
                    </a:cubicBezTo>
                    <a:cubicBezTo>
                      <a:pt x="1970" y="223"/>
                      <a:pt x="1967" y="223"/>
                      <a:pt x="1964" y="222"/>
                    </a:cubicBezTo>
                    <a:cubicBezTo>
                      <a:pt x="1958" y="221"/>
                      <a:pt x="1952" y="221"/>
                      <a:pt x="1946" y="218"/>
                    </a:cubicBezTo>
                    <a:cubicBezTo>
                      <a:pt x="1945" y="217"/>
                      <a:pt x="1942" y="215"/>
                      <a:pt x="1940" y="215"/>
                    </a:cubicBezTo>
                    <a:cubicBezTo>
                      <a:pt x="1939" y="216"/>
                      <a:pt x="1940" y="218"/>
                      <a:pt x="1940" y="219"/>
                    </a:cubicBezTo>
                    <a:cubicBezTo>
                      <a:pt x="1941" y="220"/>
                      <a:pt x="1941" y="222"/>
                      <a:pt x="1939" y="222"/>
                    </a:cubicBezTo>
                    <a:cubicBezTo>
                      <a:pt x="1937" y="222"/>
                      <a:pt x="1935" y="219"/>
                      <a:pt x="1932" y="221"/>
                    </a:cubicBezTo>
                    <a:cubicBezTo>
                      <a:pt x="1931" y="221"/>
                      <a:pt x="1931" y="222"/>
                      <a:pt x="1931" y="223"/>
                    </a:cubicBezTo>
                    <a:cubicBezTo>
                      <a:pt x="1931" y="224"/>
                      <a:pt x="1930" y="226"/>
                      <a:pt x="1930" y="227"/>
                    </a:cubicBezTo>
                    <a:cubicBezTo>
                      <a:pt x="1930" y="228"/>
                      <a:pt x="1930" y="229"/>
                      <a:pt x="1931" y="230"/>
                    </a:cubicBezTo>
                    <a:cubicBezTo>
                      <a:pt x="1932" y="231"/>
                      <a:pt x="1933" y="231"/>
                      <a:pt x="1933" y="233"/>
                    </a:cubicBezTo>
                    <a:cubicBezTo>
                      <a:pt x="1933" y="233"/>
                      <a:pt x="1930" y="233"/>
                      <a:pt x="1929" y="233"/>
                    </a:cubicBezTo>
                    <a:cubicBezTo>
                      <a:pt x="1928" y="233"/>
                      <a:pt x="1927" y="233"/>
                      <a:pt x="1927" y="232"/>
                    </a:cubicBezTo>
                    <a:cubicBezTo>
                      <a:pt x="1926" y="231"/>
                      <a:pt x="1926" y="230"/>
                      <a:pt x="1925" y="229"/>
                    </a:cubicBezTo>
                    <a:cubicBezTo>
                      <a:pt x="1923" y="227"/>
                      <a:pt x="1920" y="227"/>
                      <a:pt x="1918" y="227"/>
                    </a:cubicBezTo>
                    <a:cubicBezTo>
                      <a:pt x="1917" y="227"/>
                      <a:pt x="1916" y="227"/>
                      <a:pt x="1915" y="227"/>
                    </a:cubicBezTo>
                    <a:cubicBezTo>
                      <a:pt x="1913" y="227"/>
                      <a:pt x="1912" y="226"/>
                      <a:pt x="1911" y="225"/>
                    </a:cubicBezTo>
                    <a:cubicBezTo>
                      <a:pt x="1908" y="223"/>
                      <a:pt x="1907" y="221"/>
                      <a:pt x="1905" y="219"/>
                    </a:cubicBezTo>
                    <a:cubicBezTo>
                      <a:pt x="1903" y="217"/>
                      <a:pt x="1901" y="214"/>
                      <a:pt x="1898" y="215"/>
                    </a:cubicBezTo>
                    <a:cubicBezTo>
                      <a:pt x="1897" y="216"/>
                      <a:pt x="1895" y="216"/>
                      <a:pt x="1894" y="217"/>
                    </a:cubicBezTo>
                    <a:cubicBezTo>
                      <a:pt x="1893" y="217"/>
                      <a:pt x="1892" y="218"/>
                      <a:pt x="1891" y="219"/>
                    </a:cubicBezTo>
                    <a:cubicBezTo>
                      <a:pt x="1889" y="220"/>
                      <a:pt x="1889" y="217"/>
                      <a:pt x="1888" y="216"/>
                    </a:cubicBezTo>
                    <a:cubicBezTo>
                      <a:pt x="1886" y="214"/>
                      <a:pt x="1883" y="219"/>
                      <a:pt x="1881" y="220"/>
                    </a:cubicBezTo>
                    <a:cubicBezTo>
                      <a:pt x="1880" y="221"/>
                      <a:pt x="1878" y="221"/>
                      <a:pt x="1877" y="221"/>
                    </a:cubicBezTo>
                    <a:cubicBezTo>
                      <a:pt x="1876" y="221"/>
                      <a:pt x="1875" y="221"/>
                      <a:pt x="1874" y="222"/>
                    </a:cubicBezTo>
                    <a:cubicBezTo>
                      <a:pt x="1873" y="223"/>
                      <a:pt x="1872" y="224"/>
                      <a:pt x="1872" y="225"/>
                    </a:cubicBezTo>
                    <a:cubicBezTo>
                      <a:pt x="1872" y="226"/>
                      <a:pt x="1873" y="229"/>
                      <a:pt x="1872" y="229"/>
                    </a:cubicBezTo>
                    <a:cubicBezTo>
                      <a:pt x="1871" y="229"/>
                      <a:pt x="1871" y="229"/>
                      <a:pt x="1870" y="229"/>
                    </a:cubicBezTo>
                    <a:cubicBezTo>
                      <a:pt x="1869" y="228"/>
                      <a:pt x="1868" y="229"/>
                      <a:pt x="1867" y="229"/>
                    </a:cubicBezTo>
                    <a:cubicBezTo>
                      <a:pt x="1866" y="230"/>
                      <a:pt x="1864" y="232"/>
                      <a:pt x="1866" y="233"/>
                    </a:cubicBezTo>
                    <a:cubicBezTo>
                      <a:pt x="1867" y="234"/>
                      <a:pt x="1870" y="234"/>
                      <a:pt x="1869" y="236"/>
                    </a:cubicBezTo>
                    <a:cubicBezTo>
                      <a:pt x="1869" y="237"/>
                      <a:pt x="1868" y="238"/>
                      <a:pt x="1868" y="239"/>
                    </a:cubicBezTo>
                    <a:cubicBezTo>
                      <a:pt x="1868" y="240"/>
                      <a:pt x="1869" y="241"/>
                      <a:pt x="1870" y="241"/>
                    </a:cubicBezTo>
                    <a:cubicBezTo>
                      <a:pt x="1872" y="243"/>
                      <a:pt x="1870" y="244"/>
                      <a:pt x="1868" y="244"/>
                    </a:cubicBezTo>
                    <a:cubicBezTo>
                      <a:pt x="1867" y="244"/>
                      <a:pt x="1866" y="244"/>
                      <a:pt x="1865" y="243"/>
                    </a:cubicBezTo>
                    <a:cubicBezTo>
                      <a:pt x="1864" y="243"/>
                      <a:pt x="1863" y="242"/>
                      <a:pt x="1862" y="243"/>
                    </a:cubicBezTo>
                    <a:cubicBezTo>
                      <a:pt x="1861" y="244"/>
                      <a:pt x="1863" y="247"/>
                      <a:pt x="1864" y="248"/>
                    </a:cubicBezTo>
                    <a:cubicBezTo>
                      <a:pt x="1866" y="249"/>
                      <a:pt x="1867" y="250"/>
                      <a:pt x="1869" y="251"/>
                    </a:cubicBezTo>
                    <a:cubicBezTo>
                      <a:pt x="1869" y="251"/>
                      <a:pt x="1868" y="251"/>
                      <a:pt x="1868" y="251"/>
                    </a:cubicBezTo>
                    <a:cubicBezTo>
                      <a:pt x="1871" y="253"/>
                      <a:pt x="1868" y="251"/>
                      <a:pt x="1868" y="251"/>
                    </a:cubicBezTo>
                    <a:close/>
                    <a:moveTo>
                      <a:pt x="2020" y="249"/>
                    </a:moveTo>
                    <a:cubicBezTo>
                      <a:pt x="2021" y="250"/>
                      <a:pt x="2024" y="249"/>
                      <a:pt x="2026" y="250"/>
                    </a:cubicBezTo>
                    <a:cubicBezTo>
                      <a:pt x="2029" y="251"/>
                      <a:pt x="2031" y="253"/>
                      <a:pt x="2034" y="254"/>
                    </a:cubicBezTo>
                    <a:cubicBezTo>
                      <a:pt x="2037" y="255"/>
                      <a:pt x="2040" y="255"/>
                      <a:pt x="2042" y="256"/>
                    </a:cubicBezTo>
                    <a:cubicBezTo>
                      <a:pt x="2045" y="257"/>
                      <a:pt x="2048" y="258"/>
                      <a:pt x="2051" y="260"/>
                    </a:cubicBezTo>
                    <a:cubicBezTo>
                      <a:pt x="2053" y="261"/>
                      <a:pt x="2056" y="262"/>
                      <a:pt x="2058" y="262"/>
                    </a:cubicBezTo>
                    <a:cubicBezTo>
                      <a:pt x="2060" y="263"/>
                      <a:pt x="2061" y="263"/>
                      <a:pt x="2062" y="263"/>
                    </a:cubicBezTo>
                    <a:cubicBezTo>
                      <a:pt x="2064" y="262"/>
                      <a:pt x="2065" y="262"/>
                      <a:pt x="2067" y="262"/>
                    </a:cubicBezTo>
                    <a:cubicBezTo>
                      <a:pt x="2073" y="262"/>
                      <a:pt x="2079" y="264"/>
                      <a:pt x="2085" y="261"/>
                    </a:cubicBezTo>
                    <a:cubicBezTo>
                      <a:pt x="2087" y="260"/>
                      <a:pt x="2090" y="259"/>
                      <a:pt x="2092" y="259"/>
                    </a:cubicBezTo>
                    <a:cubicBezTo>
                      <a:pt x="2093" y="259"/>
                      <a:pt x="2095" y="259"/>
                      <a:pt x="2096" y="257"/>
                    </a:cubicBezTo>
                    <a:cubicBezTo>
                      <a:pt x="2096" y="256"/>
                      <a:pt x="2096" y="255"/>
                      <a:pt x="2098" y="254"/>
                    </a:cubicBezTo>
                    <a:cubicBezTo>
                      <a:pt x="2099" y="253"/>
                      <a:pt x="2101" y="251"/>
                      <a:pt x="2098" y="250"/>
                    </a:cubicBezTo>
                    <a:cubicBezTo>
                      <a:pt x="2096" y="249"/>
                      <a:pt x="2093" y="250"/>
                      <a:pt x="2091" y="250"/>
                    </a:cubicBezTo>
                    <a:cubicBezTo>
                      <a:pt x="2090" y="250"/>
                      <a:pt x="2089" y="250"/>
                      <a:pt x="2088" y="249"/>
                    </a:cubicBezTo>
                    <a:cubicBezTo>
                      <a:pt x="2088" y="249"/>
                      <a:pt x="2088" y="248"/>
                      <a:pt x="2087" y="247"/>
                    </a:cubicBezTo>
                    <a:cubicBezTo>
                      <a:pt x="2086" y="246"/>
                      <a:pt x="2085" y="246"/>
                      <a:pt x="2084" y="246"/>
                    </a:cubicBezTo>
                    <a:cubicBezTo>
                      <a:pt x="2082" y="246"/>
                      <a:pt x="2081" y="246"/>
                      <a:pt x="2079" y="246"/>
                    </a:cubicBezTo>
                    <a:cubicBezTo>
                      <a:pt x="2076" y="245"/>
                      <a:pt x="2074" y="245"/>
                      <a:pt x="2071" y="245"/>
                    </a:cubicBezTo>
                    <a:cubicBezTo>
                      <a:pt x="2068" y="245"/>
                      <a:pt x="2066" y="248"/>
                      <a:pt x="2064" y="248"/>
                    </a:cubicBezTo>
                    <a:cubicBezTo>
                      <a:pt x="2062" y="248"/>
                      <a:pt x="2058" y="247"/>
                      <a:pt x="2058" y="244"/>
                    </a:cubicBezTo>
                    <a:cubicBezTo>
                      <a:pt x="2058" y="243"/>
                      <a:pt x="2059" y="243"/>
                      <a:pt x="2059" y="242"/>
                    </a:cubicBezTo>
                    <a:cubicBezTo>
                      <a:pt x="2059" y="241"/>
                      <a:pt x="2057" y="241"/>
                      <a:pt x="2057" y="240"/>
                    </a:cubicBezTo>
                    <a:cubicBezTo>
                      <a:pt x="2054" y="240"/>
                      <a:pt x="2052" y="241"/>
                      <a:pt x="2050" y="241"/>
                    </a:cubicBezTo>
                    <a:cubicBezTo>
                      <a:pt x="2046" y="240"/>
                      <a:pt x="2042" y="239"/>
                      <a:pt x="2039" y="241"/>
                    </a:cubicBezTo>
                    <a:cubicBezTo>
                      <a:pt x="2038" y="242"/>
                      <a:pt x="2037" y="243"/>
                      <a:pt x="2035" y="243"/>
                    </a:cubicBezTo>
                    <a:cubicBezTo>
                      <a:pt x="2034" y="244"/>
                      <a:pt x="2032" y="242"/>
                      <a:pt x="2030" y="242"/>
                    </a:cubicBezTo>
                    <a:cubicBezTo>
                      <a:pt x="2029" y="242"/>
                      <a:pt x="2028" y="241"/>
                      <a:pt x="2029" y="239"/>
                    </a:cubicBezTo>
                    <a:cubicBezTo>
                      <a:pt x="2029" y="237"/>
                      <a:pt x="2028" y="236"/>
                      <a:pt x="2027" y="236"/>
                    </a:cubicBezTo>
                    <a:cubicBezTo>
                      <a:pt x="2023" y="234"/>
                      <a:pt x="2021" y="238"/>
                      <a:pt x="2021" y="241"/>
                    </a:cubicBezTo>
                    <a:cubicBezTo>
                      <a:pt x="2021" y="243"/>
                      <a:pt x="2020" y="244"/>
                      <a:pt x="2020" y="245"/>
                    </a:cubicBezTo>
                    <a:cubicBezTo>
                      <a:pt x="2019" y="247"/>
                      <a:pt x="2019" y="248"/>
                      <a:pt x="2020" y="249"/>
                    </a:cubicBezTo>
                    <a:cubicBezTo>
                      <a:pt x="2020" y="249"/>
                      <a:pt x="2020" y="249"/>
                      <a:pt x="2020" y="249"/>
                    </a:cubicBezTo>
                    <a:cubicBezTo>
                      <a:pt x="2021" y="250"/>
                      <a:pt x="2020" y="249"/>
                      <a:pt x="2020" y="249"/>
                    </a:cubicBezTo>
                    <a:close/>
                    <a:moveTo>
                      <a:pt x="2023" y="349"/>
                    </a:moveTo>
                    <a:cubicBezTo>
                      <a:pt x="2022" y="350"/>
                      <a:pt x="2020" y="351"/>
                      <a:pt x="2019" y="351"/>
                    </a:cubicBezTo>
                    <a:cubicBezTo>
                      <a:pt x="2018" y="352"/>
                      <a:pt x="2018" y="353"/>
                      <a:pt x="2018" y="354"/>
                    </a:cubicBezTo>
                    <a:cubicBezTo>
                      <a:pt x="2018" y="355"/>
                      <a:pt x="2017" y="355"/>
                      <a:pt x="2018" y="356"/>
                    </a:cubicBezTo>
                    <a:cubicBezTo>
                      <a:pt x="2019" y="356"/>
                      <a:pt x="2020" y="355"/>
                      <a:pt x="2021" y="354"/>
                    </a:cubicBezTo>
                    <a:cubicBezTo>
                      <a:pt x="2022" y="351"/>
                      <a:pt x="2025" y="351"/>
                      <a:pt x="2026" y="349"/>
                    </a:cubicBezTo>
                    <a:cubicBezTo>
                      <a:pt x="2027" y="348"/>
                      <a:pt x="2027" y="346"/>
                      <a:pt x="2028" y="346"/>
                    </a:cubicBezTo>
                    <a:cubicBezTo>
                      <a:pt x="2029" y="346"/>
                      <a:pt x="2031" y="346"/>
                      <a:pt x="2031" y="345"/>
                    </a:cubicBezTo>
                    <a:cubicBezTo>
                      <a:pt x="2032" y="343"/>
                      <a:pt x="2026" y="343"/>
                      <a:pt x="2025" y="343"/>
                    </a:cubicBezTo>
                    <a:cubicBezTo>
                      <a:pt x="2023" y="343"/>
                      <a:pt x="2021" y="344"/>
                      <a:pt x="2020" y="343"/>
                    </a:cubicBezTo>
                    <a:cubicBezTo>
                      <a:pt x="2018" y="343"/>
                      <a:pt x="2016" y="343"/>
                      <a:pt x="2016" y="344"/>
                    </a:cubicBezTo>
                    <a:cubicBezTo>
                      <a:pt x="2015" y="345"/>
                      <a:pt x="2016" y="345"/>
                      <a:pt x="2016" y="346"/>
                    </a:cubicBezTo>
                    <a:cubicBezTo>
                      <a:pt x="2016" y="346"/>
                      <a:pt x="2017" y="347"/>
                      <a:pt x="2017" y="347"/>
                    </a:cubicBezTo>
                    <a:cubicBezTo>
                      <a:pt x="2017" y="348"/>
                      <a:pt x="2019" y="349"/>
                      <a:pt x="2020" y="349"/>
                    </a:cubicBezTo>
                    <a:cubicBezTo>
                      <a:pt x="2021" y="348"/>
                      <a:pt x="2021" y="347"/>
                      <a:pt x="2022" y="347"/>
                    </a:cubicBezTo>
                    <a:cubicBezTo>
                      <a:pt x="2023" y="348"/>
                      <a:pt x="2023" y="349"/>
                      <a:pt x="2022" y="350"/>
                    </a:cubicBezTo>
                    <a:cubicBezTo>
                      <a:pt x="2022" y="350"/>
                      <a:pt x="2023" y="350"/>
                      <a:pt x="2023" y="349"/>
                    </a:cubicBezTo>
                    <a:cubicBezTo>
                      <a:pt x="2022" y="350"/>
                      <a:pt x="2023" y="349"/>
                      <a:pt x="2023" y="349"/>
                    </a:cubicBezTo>
                    <a:close/>
                    <a:moveTo>
                      <a:pt x="1922" y="290"/>
                    </a:moveTo>
                    <a:cubicBezTo>
                      <a:pt x="1924" y="291"/>
                      <a:pt x="1926" y="291"/>
                      <a:pt x="1927" y="289"/>
                    </a:cubicBezTo>
                    <a:cubicBezTo>
                      <a:pt x="1929" y="288"/>
                      <a:pt x="1932" y="289"/>
                      <a:pt x="1933" y="287"/>
                    </a:cubicBezTo>
                    <a:cubicBezTo>
                      <a:pt x="1934" y="286"/>
                      <a:pt x="1934" y="284"/>
                      <a:pt x="1933" y="283"/>
                    </a:cubicBezTo>
                    <a:cubicBezTo>
                      <a:pt x="1933" y="281"/>
                      <a:pt x="1931" y="280"/>
                      <a:pt x="1929" y="280"/>
                    </a:cubicBezTo>
                    <a:cubicBezTo>
                      <a:pt x="1926" y="279"/>
                      <a:pt x="1920" y="278"/>
                      <a:pt x="1918" y="282"/>
                    </a:cubicBezTo>
                    <a:cubicBezTo>
                      <a:pt x="1917" y="283"/>
                      <a:pt x="1918" y="286"/>
                      <a:pt x="1919" y="287"/>
                    </a:cubicBezTo>
                    <a:cubicBezTo>
                      <a:pt x="1920" y="289"/>
                      <a:pt x="1921" y="290"/>
                      <a:pt x="1923" y="290"/>
                    </a:cubicBezTo>
                    <a:cubicBezTo>
                      <a:pt x="1923" y="290"/>
                      <a:pt x="1922" y="290"/>
                      <a:pt x="1922" y="290"/>
                    </a:cubicBezTo>
                    <a:cubicBezTo>
                      <a:pt x="1924" y="291"/>
                      <a:pt x="1922" y="290"/>
                      <a:pt x="1922" y="290"/>
                    </a:cubicBezTo>
                    <a:close/>
                    <a:moveTo>
                      <a:pt x="1910" y="307"/>
                    </a:moveTo>
                    <a:cubicBezTo>
                      <a:pt x="1910" y="311"/>
                      <a:pt x="1917" y="310"/>
                      <a:pt x="1919" y="309"/>
                    </a:cubicBezTo>
                    <a:cubicBezTo>
                      <a:pt x="1922" y="308"/>
                      <a:pt x="1925" y="307"/>
                      <a:pt x="1928" y="306"/>
                    </a:cubicBezTo>
                    <a:cubicBezTo>
                      <a:pt x="1931" y="306"/>
                      <a:pt x="1934" y="307"/>
                      <a:pt x="1936" y="308"/>
                    </a:cubicBezTo>
                    <a:cubicBezTo>
                      <a:pt x="1939" y="309"/>
                      <a:pt x="1942" y="310"/>
                      <a:pt x="1945" y="311"/>
                    </a:cubicBezTo>
                    <a:cubicBezTo>
                      <a:pt x="1948" y="311"/>
                      <a:pt x="1951" y="311"/>
                      <a:pt x="1955" y="311"/>
                    </a:cubicBezTo>
                    <a:cubicBezTo>
                      <a:pt x="1958" y="312"/>
                      <a:pt x="1960" y="313"/>
                      <a:pt x="1963" y="313"/>
                    </a:cubicBezTo>
                    <a:cubicBezTo>
                      <a:pt x="1966" y="314"/>
                      <a:pt x="1970" y="315"/>
                      <a:pt x="1972" y="314"/>
                    </a:cubicBezTo>
                    <a:cubicBezTo>
                      <a:pt x="1974" y="313"/>
                      <a:pt x="1975" y="310"/>
                      <a:pt x="1974" y="308"/>
                    </a:cubicBezTo>
                    <a:cubicBezTo>
                      <a:pt x="1973" y="306"/>
                      <a:pt x="1971" y="304"/>
                      <a:pt x="1969" y="303"/>
                    </a:cubicBezTo>
                    <a:cubicBezTo>
                      <a:pt x="1967" y="301"/>
                      <a:pt x="1965" y="300"/>
                      <a:pt x="1962" y="298"/>
                    </a:cubicBezTo>
                    <a:cubicBezTo>
                      <a:pt x="1960" y="297"/>
                      <a:pt x="1958" y="295"/>
                      <a:pt x="1956" y="293"/>
                    </a:cubicBezTo>
                    <a:cubicBezTo>
                      <a:pt x="1954" y="292"/>
                      <a:pt x="1951" y="292"/>
                      <a:pt x="1948" y="291"/>
                    </a:cubicBezTo>
                    <a:cubicBezTo>
                      <a:pt x="1945" y="291"/>
                      <a:pt x="1942" y="291"/>
                      <a:pt x="1939" y="292"/>
                    </a:cubicBezTo>
                    <a:cubicBezTo>
                      <a:pt x="1937" y="292"/>
                      <a:pt x="1935" y="293"/>
                      <a:pt x="1932" y="294"/>
                    </a:cubicBezTo>
                    <a:cubicBezTo>
                      <a:pt x="1930" y="295"/>
                      <a:pt x="1929" y="297"/>
                      <a:pt x="1928" y="299"/>
                    </a:cubicBezTo>
                    <a:cubicBezTo>
                      <a:pt x="1925" y="304"/>
                      <a:pt x="1920" y="304"/>
                      <a:pt x="1916" y="305"/>
                    </a:cubicBezTo>
                    <a:cubicBezTo>
                      <a:pt x="1914" y="305"/>
                      <a:pt x="1910" y="304"/>
                      <a:pt x="1910" y="307"/>
                    </a:cubicBezTo>
                    <a:cubicBezTo>
                      <a:pt x="1910" y="307"/>
                      <a:pt x="1910" y="307"/>
                      <a:pt x="1910" y="307"/>
                    </a:cubicBezTo>
                    <a:cubicBezTo>
                      <a:pt x="1910" y="310"/>
                      <a:pt x="1910" y="307"/>
                      <a:pt x="1910" y="307"/>
                    </a:cubicBezTo>
                    <a:close/>
                    <a:moveTo>
                      <a:pt x="2577" y="388"/>
                    </a:moveTo>
                    <a:cubicBezTo>
                      <a:pt x="2579" y="389"/>
                      <a:pt x="2582" y="389"/>
                      <a:pt x="2585" y="388"/>
                    </a:cubicBezTo>
                    <a:cubicBezTo>
                      <a:pt x="2588" y="387"/>
                      <a:pt x="2591" y="386"/>
                      <a:pt x="2594" y="385"/>
                    </a:cubicBezTo>
                    <a:cubicBezTo>
                      <a:pt x="2597" y="385"/>
                      <a:pt x="2600" y="386"/>
                      <a:pt x="2603" y="386"/>
                    </a:cubicBezTo>
                    <a:cubicBezTo>
                      <a:pt x="2606" y="387"/>
                      <a:pt x="2609" y="387"/>
                      <a:pt x="2612" y="387"/>
                    </a:cubicBezTo>
                    <a:cubicBezTo>
                      <a:pt x="2615" y="387"/>
                      <a:pt x="2617" y="385"/>
                      <a:pt x="2620" y="385"/>
                    </a:cubicBezTo>
                    <a:cubicBezTo>
                      <a:pt x="2623" y="384"/>
                      <a:pt x="2626" y="385"/>
                      <a:pt x="2629" y="384"/>
                    </a:cubicBezTo>
                    <a:cubicBezTo>
                      <a:pt x="2632" y="383"/>
                      <a:pt x="2634" y="382"/>
                      <a:pt x="2635" y="380"/>
                    </a:cubicBezTo>
                    <a:cubicBezTo>
                      <a:pt x="2636" y="379"/>
                      <a:pt x="2640" y="376"/>
                      <a:pt x="2636" y="375"/>
                    </a:cubicBezTo>
                    <a:cubicBezTo>
                      <a:pt x="2634" y="375"/>
                      <a:pt x="2631" y="375"/>
                      <a:pt x="2630" y="373"/>
                    </a:cubicBezTo>
                    <a:cubicBezTo>
                      <a:pt x="2628" y="371"/>
                      <a:pt x="2629" y="368"/>
                      <a:pt x="2626" y="368"/>
                    </a:cubicBezTo>
                    <a:cubicBezTo>
                      <a:pt x="2623" y="368"/>
                      <a:pt x="2620" y="369"/>
                      <a:pt x="2617" y="368"/>
                    </a:cubicBezTo>
                    <a:cubicBezTo>
                      <a:pt x="2614" y="367"/>
                      <a:pt x="2611" y="366"/>
                      <a:pt x="2608" y="367"/>
                    </a:cubicBezTo>
                    <a:cubicBezTo>
                      <a:pt x="2606" y="369"/>
                      <a:pt x="2603" y="369"/>
                      <a:pt x="2600" y="368"/>
                    </a:cubicBezTo>
                    <a:cubicBezTo>
                      <a:pt x="2597" y="368"/>
                      <a:pt x="2595" y="368"/>
                      <a:pt x="2592" y="369"/>
                    </a:cubicBezTo>
                    <a:cubicBezTo>
                      <a:pt x="2591" y="370"/>
                      <a:pt x="2590" y="371"/>
                      <a:pt x="2589" y="371"/>
                    </a:cubicBezTo>
                    <a:cubicBezTo>
                      <a:pt x="2589" y="372"/>
                      <a:pt x="2589" y="373"/>
                      <a:pt x="2588" y="374"/>
                    </a:cubicBezTo>
                    <a:cubicBezTo>
                      <a:pt x="2587" y="375"/>
                      <a:pt x="2584" y="375"/>
                      <a:pt x="2583" y="375"/>
                    </a:cubicBezTo>
                    <a:cubicBezTo>
                      <a:pt x="2581" y="375"/>
                      <a:pt x="2579" y="375"/>
                      <a:pt x="2578" y="376"/>
                    </a:cubicBezTo>
                    <a:cubicBezTo>
                      <a:pt x="2576" y="377"/>
                      <a:pt x="2577" y="380"/>
                      <a:pt x="2575" y="381"/>
                    </a:cubicBezTo>
                    <a:cubicBezTo>
                      <a:pt x="2573" y="382"/>
                      <a:pt x="2573" y="384"/>
                      <a:pt x="2573" y="386"/>
                    </a:cubicBezTo>
                    <a:cubicBezTo>
                      <a:pt x="2574" y="388"/>
                      <a:pt x="2576" y="388"/>
                      <a:pt x="2578" y="389"/>
                    </a:cubicBezTo>
                    <a:cubicBezTo>
                      <a:pt x="2577" y="389"/>
                      <a:pt x="2577" y="389"/>
                      <a:pt x="2577" y="388"/>
                    </a:cubicBezTo>
                    <a:cubicBezTo>
                      <a:pt x="2579" y="389"/>
                      <a:pt x="2577" y="388"/>
                      <a:pt x="2577" y="388"/>
                    </a:cubicBezTo>
                    <a:close/>
                    <a:moveTo>
                      <a:pt x="2061" y="199"/>
                    </a:moveTo>
                    <a:cubicBezTo>
                      <a:pt x="2064" y="199"/>
                      <a:pt x="2065" y="196"/>
                      <a:pt x="2068" y="195"/>
                    </a:cubicBezTo>
                    <a:cubicBezTo>
                      <a:pt x="2070" y="195"/>
                      <a:pt x="2072" y="195"/>
                      <a:pt x="2073" y="194"/>
                    </a:cubicBezTo>
                    <a:cubicBezTo>
                      <a:pt x="2074" y="193"/>
                      <a:pt x="2071" y="193"/>
                      <a:pt x="2071" y="193"/>
                    </a:cubicBezTo>
                    <a:cubicBezTo>
                      <a:pt x="2069" y="193"/>
                      <a:pt x="2068" y="193"/>
                      <a:pt x="2066" y="193"/>
                    </a:cubicBezTo>
                    <a:cubicBezTo>
                      <a:pt x="2064" y="193"/>
                      <a:pt x="2064" y="195"/>
                      <a:pt x="2063" y="196"/>
                    </a:cubicBezTo>
                    <a:cubicBezTo>
                      <a:pt x="2062" y="197"/>
                      <a:pt x="2058" y="199"/>
                      <a:pt x="2061" y="199"/>
                    </a:cubicBezTo>
                    <a:cubicBezTo>
                      <a:pt x="2061" y="199"/>
                      <a:pt x="2061" y="199"/>
                      <a:pt x="2061" y="199"/>
                    </a:cubicBezTo>
                    <a:cubicBezTo>
                      <a:pt x="2064" y="199"/>
                      <a:pt x="2061" y="199"/>
                      <a:pt x="2061" y="199"/>
                    </a:cubicBezTo>
                    <a:close/>
                    <a:moveTo>
                      <a:pt x="2392" y="423"/>
                    </a:moveTo>
                    <a:cubicBezTo>
                      <a:pt x="2395" y="425"/>
                      <a:pt x="2399" y="424"/>
                      <a:pt x="2401" y="426"/>
                    </a:cubicBezTo>
                    <a:cubicBezTo>
                      <a:pt x="2404" y="428"/>
                      <a:pt x="2406" y="429"/>
                      <a:pt x="2410" y="428"/>
                    </a:cubicBezTo>
                    <a:cubicBezTo>
                      <a:pt x="2411" y="428"/>
                      <a:pt x="2412" y="428"/>
                      <a:pt x="2413" y="427"/>
                    </a:cubicBezTo>
                    <a:cubicBezTo>
                      <a:pt x="2413" y="426"/>
                      <a:pt x="2413" y="425"/>
                      <a:pt x="2413" y="425"/>
                    </a:cubicBezTo>
                    <a:cubicBezTo>
                      <a:pt x="2413" y="424"/>
                      <a:pt x="2414" y="424"/>
                      <a:pt x="2414" y="423"/>
                    </a:cubicBezTo>
                    <a:cubicBezTo>
                      <a:pt x="2416" y="421"/>
                      <a:pt x="2416" y="419"/>
                      <a:pt x="2413" y="418"/>
                    </a:cubicBezTo>
                    <a:cubicBezTo>
                      <a:pt x="2411" y="418"/>
                      <a:pt x="2409" y="418"/>
                      <a:pt x="2407" y="417"/>
                    </a:cubicBezTo>
                    <a:cubicBezTo>
                      <a:pt x="2406" y="417"/>
                      <a:pt x="2405" y="416"/>
                      <a:pt x="2404" y="415"/>
                    </a:cubicBezTo>
                    <a:cubicBezTo>
                      <a:pt x="2402" y="415"/>
                      <a:pt x="2400" y="416"/>
                      <a:pt x="2398" y="416"/>
                    </a:cubicBezTo>
                    <a:cubicBezTo>
                      <a:pt x="2395" y="416"/>
                      <a:pt x="2393" y="417"/>
                      <a:pt x="2391" y="419"/>
                    </a:cubicBezTo>
                    <a:cubicBezTo>
                      <a:pt x="2388" y="421"/>
                      <a:pt x="2391" y="423"/>
                      <a:pt x="2393" y="424"/>
                    </a:cubicBezTo>
                    <a:cubicBezTo>
                      <a:pt x="2393" y="423"/>
                      <a:pt x="2392" y="423"/>
                      <a:pt x="2392" y="423"/>
                    </a:cubicBezTo>
                    <a:cubicBezTo>
                      <a:pt x="2394" y="424"/>
                      <a:pt x="2392" y="423"/>
                      <a:pt x="2392" y="423"/>
                    </a:cubicBezTo>
                    <a:close/>
                    <a:moveTo>
                      <a:pt x="1875" y="369"/>
                    </a:moveTo>
                    <a:cubicBezTo>
                      <a:pt x="1873" y="369"/>
                      <a:pt x="1872" y="368"/>
                      <a:pt x="1871" y="368"/>
                    </a:cubicBezTo>
                    <a:cubicBezTo>
                      <a:pt x="1870" y="368"/>
                      <a:pt x="1868" y="369"/>
                      <a:pt x="1869" y="369"/>
                    </a:cubicBezTo>
                    <a:cubicBezTo>
                      <a:pt x="1869" y="370"/>
                      <a:pt x="1872" y="370"/>
                      <a:pt x="1873" y="371"/>
                    </a:cubicBezTo>
                    <a:cubicBezTo>
                      <a:pt x="1873" y="371"/>
                      <a:pt x="1874" y="372"/>
                      <a:pt x="1874" y="372"/>
                    </a:cubicBezTo>
                    <a:cubicBezTo>
                      <a:pt x="1876" y="372"/>
                      <a:pt x="1876" y="370"/>
                      <a:pt x="1877" y="370"/>
                    </a:cubicBezTo>
                    <a:cubicBezTo>
                      <a:pt x="1879" y="368"/>
                      <a:pt x="1875" y="369"/>
                      <a:pt x="1874" y="369"/>
                    </a:cubicBezTo>
                    <a:cubicBezTo>
                      <a:pt x="1874" y="369"/>
                      <a:pt x="1874" y="369"/>
                      <a:pt x="1875" y="369"/>
                    </a:cubicBezTo>
                    <a:cubicBezTo>
                      <a:pt x="1873" y="369"/>
                      <a:pt x="1875" y="369"/>
                      <a:pt x="1875" y="369"/>
                    </a:cubicBezTo>
                    <a:close/>
                    <a:moveTo>
                      <a:pt x="2264" y="390"/>
                    </a:moveTo>
                    <a:cubicBezTo>
                      <a:pt x="2264" y="390"/>
                      <a:pt x="2268" y="391"/>
                      <a:pt x="2268" y="390"/>
                    </a:cubicBezTo>
                    <a:cubicBezTo>
                      <a:pt x="2268" y="390"/>
                      <a:pt x="2264" y="388"/>
                      <a:pt x="2264" y="388"/>
                    </a:cubicBezTo>
                    <a:cubicBezTo>
                      <a:pt x="2263" y="388"/>
                      <a:pt x="2264" y="390"/>
                      <a:pt x="2264" y="390"/>
                    </a:cubicBezTo>
                    <a:cubicBezTo>
                      <a:pt x="2264" y="390"/>
                      <a:pt x="2264" y="390"/>
                      <a:pt x="2264" y="390"/>
                    </a:cubicBezTo>
                    <a:cubicBezTo>
                      <a:pt x="2264" y="390"/>
                      <a:pt x="2264" y="390"/>
                      <a:pt x="2264" y="390"/>
                    </a:cubicBezTo>
                    <a:close/>
                    <a:moveTo>
                      <a:pt x="2282" y="392"/>
                    </a:moveTo>
                    <a:cubicBezTo>
                      <a:pt x="2283" y="392"/>
                      <a:pt x="2283" y="393"/>
                      <a:pt x="2284" y="393"/>
                    </a:cubicBezTo>
                    <a:cubicBezTo>
                      <a:pt x="2285" y="393"/>
                      <a:pt x="2286" y="393"/>
                      <a:pt x="2285" y="393"/>
                    </a:cubicBezTo>
                    <a:cubicBezTo>
                      <a:pt x="2285" y="392"/>
                      <a:pt x="2284" y="392"/>
                      <a:pt x="2284" y="392"/>
                    </a:cubicBezTo>
                    <a:cubicBezTo>
                      <a:pt x="2283" y="391"/>
                      <a:pt x="2282" y="390"/>
                      <a:pt x="2281" y="391"/>
                    </a:cubicBezTo>
                    <a:cubicBezTo>
                      <a:pt x="2280" y="392"/>
                      <a:pt x="2282" y="392"/>
                      <a:pt x="2282" y="392"/>
                    </a:cubicBezTo>
                    <a:cubicBezTo>
                      <a:pt x="2282" y="392"/>
                      <a:pt x="2282" y="392"/>
                      <a:pt x="2282" y="392"/>
                    </a:cubicBezTo>
                    <a:cubicBezTo>
                      <a:pt x="2282" y="392"/>
                      <a:pt x="2282" y="392"/>
                      <a:pt x="2282" y="392"/>
                    </a:cubicBezTo>
                    <a:close/>
                    <a:moveTo>
                      <a:pt x="2294" y="395"/>
                    </a:moveTo>
                    <a:cubicBezTo>
                      <a:pt x="2294" y="396"/>
                      <a:pt x="2295" y="395"/>
                      <a:pt x="2295" y="395"/>
                    </a:cubicBezTo>
                    <a:cubicBezTo>
                      <a:pt x="2296" y="396"/>
                      <a:pt x="2296" y="396"/>
                      <a:pt x="2296" y="396"/>
                    </a:cubicBezTo>
                    <a:cubicBezTo>
                      <a:pt x="2297" y="396"/>
                      <a:pt x="2298" y="397"/>
                      <a:pt x="2298" y="396"/>
                    </a:cubicBezTo>
                    <a:cubicBezTo>
                      <a:pt x="2297" y="395"/>
                      <a:pt x="2296" y="394"/>
                      <a:pt x="2295" y="395"/>
                    </a:cubicBezTo>
                    <a:cubicBezTo>
                      <a:pt x="2294" y="395"/>
                      <a:pt x="2293" y="395"/>
                      <a:pt x="2294" y="396"/>
                    </a:cubicBezTo>
                    <a:cubicBezTo>
                      <a:pt x="2294" y="395"/>
                      <a:pt x="2294" y="395"/>
                      <a:pt x="2294" y="395"/>
                    </a:cubicBezTo>
                    <a:cubicBezTo>
                      <a:pt x="2294" y="396"/>
                      <a:pt x="2294" y="395"/>
                      <a:pt x="2294" y="395"/>
                    </a:cubicBezTo>
                    <a:close/>
                    <a:moveTo>
                      <a:pt x="1841" y="282"/>
                    </a:moveTo>
                    <a:cubicBezTo>
                      <a:pt x="1841" y="282"/>
                      <a:pt x="1840" y="281"/>
                      <a:pt x="1839" y="281"/>
                    </a:cubicBezTo>
                    <a:cubicBezTo>
                      <a:pt x="1839" y="282"/>
                      <a:pt x="1842" y="284"/>
                      <a:pt x="1842" y="285"/>
                    </a:cubicBezTo>
                    <a:cubicBezTo>
                      <a:pt x="1844" y="286"/>
                      <a:pt x="1847" y="292"/>
                      <a:pt x="1850" y="290"/>
                    </a:cubicBezTo>
                    <a:cubicBezTo>
                      <a:pt x="1853" y="289"/>
                      <a:pt x="1848" y="285"/>
                      <a:pt x="1847" y="284"/>
                    </a:cubicBezTo>
                    <a:cubicBezTo>
                      <a:pt x="1844" y="283"/>
                      <a:pt x="1842" y="282"/>
                      <a:pt x="1840" y="281"/>
                    </a:cubicBezTo>
                    <a:cubicBezTo>
                      <a:pt x="1840" y="281"/>
                      <a:pt x="1841" y="281"/>
                      <a:pt x="1841" y="282"/>
                    </a:cubicBezTo>
                    <a:cubicBezTo>
                      <a:pt x="1841" y="282"/>
                      <a:pt x="1841" y="282"/>
                      <a:pt x="1841" y="282"/>
                    </a:cubicBezTo>
                    <a:close/>
                    <a:moveTo>
                      <a:pt x="1846" y="240"/>
                    </a:moveTo>
                    <a:cubicBezTo>
                      <a:pt x="1848" y="239"/>
                      <a:pt x="1848" y="237"/>
                      <a:pt x="1848" y="234"/>
                    </a:cubicBezTo>
                    <a:cubicBezTo>
                      <a:pt x="1848" y="232"/>
                      <a:pt x="1846" y="231"/>
                      <a:pt x="1845" y="229"/>
                    </a:cubicBezTo>
                    <a:cubicBezTo>
                      <a:pt x="1844" y="229"/>
                      <a:pt x="1844" y="228"/>
                      <a:pt x="1844" y="227"/>
                    </a:cubicBezTo>
                    <a:cubicBezTo>
                      <a:pt x="1844" y="226"/>
                      <a:pt x="1844" y="225"/>
                      <a:pt x="1843" y="224"/>
                    </a:cubicBezTo>
                    <a:cubicBezTo>
                      <a:pt x="1842" y="223"/>
                      <a:pt x="1841" y="225"/>
                      <a:pt x="1841" y="226"/>
                    </a:cubicBezTo>
                    <a:cubicBezTo>
                      <a:pt x="1841" y="228"/>
                      <a:pt x="1841" y="229"/>
                      <a:pt x="1840" y="231"/>
                    </a:cubicBezTo>
                    <a:cubicBezTo>
                      <a:pt x="1840" y="232"/>
                      <a:pt x="1839" y="233"/>
                      <a:pt x="1839" y="234"/>
                    </a:cubicBezTo>
                    <a:cubicBezTo>
                      <a:pt x="1838" y="235"/>
                      <a:pt x="1839" y="236"/>
                      <a:pt x="1838" y="237"/>
                    </a:cubicBezTo>
                    <a:cubicBezTo>
                      <a:pt x="1838" y="239"/>
                      <a:pt x="1836" y="242"/>
                      <a:pt x="1839" y="242"/>
                    </a:cubicBezTo>
                    <a:cubicBezTo>
                      <a:pt x="1841" y="241"/>
                      <a:pt x="1844" y="241"/>
                      <a:pt x="1846" y="240"/>
                    </a:cubicBezTo>
                    <a:cubicBezTo>
                      <a:pt x="1846" y="240"/>
                      <a:pt x="1846" y="240"/>
                      <a:pt x="1846" y="240"/>
                    </a:cubicBezTo>
                    <a:cubicBezTo>
                      <a:pt x="1847" y="240"/>
                      <a:pt x="1846" y="240"/>
                      <a:pt x="1846" y="240"/>
                    </a:cubicBezTo>
                    <a:close/>
                    <a:moveTo>
                      <a:pt x="2786" y="605"/>
                    </a:moveTo>
                    <a:cubicBezTo>
                      <a:pt x="2784" y="604"/>
                      <a:pt x="2782" y="602"/>
                      <a:pt x="2779" y="602"/>
                    </a:cubicBezTo>
                    <a:cubicBezTo>
                      <a:pt x="2776" y="602"/>
                      <a:pt x="2773" y="602"/>
                      <a:pt x="2770" y="601"/>
                    </a:cubicBezTo>
                    <a:cubicBezTo>
                      <a:pt x="2768" y="600"/>
                      <a:pt x="2767" y="598"/>
                      <a:pt x="2764" y="597"/>
                    </a:cubicBezTo>
                    <a:cubicBezTo>
                      <a:pt x="2763" y="596"/>
                      <a:pt x="2762" y="596"/>
                      <a:pt x="2760" y="596"/>
                    </a:cubicBezTo>
                    <a:cubicBezTo>
                      <a:pt x="2759" y="596"/>
                      <a:pt x="2758" y="597"/>
                      <a:pt x="2756" y="598"/>
                    </a:cubicBezTo>
                    <a:cubicBezTo>
                      <a:pt x="2754" y="599"/>
                      <a:pt x="2751" y="598"/>
                      <a:pt x="2749" y="598"/>
                    </a:cubicBezTo>
                    <a:cubicBezTo>
                      <a:pt x="2746" y="598"/>
                      <a:pt x="2742" y="598"/>
                      <a:pt x="2741" y="595"/>
                    </a:cubicBezTo>
                    <a:cubicBezTo>
                      <a:pt x="2741" y="594"/>
                      <a:pt x="2738" y="592"/>
                      <a:pt x="2736" y="594"/>
                    </a:cubicBezTo>
                    <a:cubicBezTo>
                      <a:pt x="2736" y="594"/>
                      <a:pt x="2736" y="595"/>
                      <a:pt x="2736" y="596"/>
                    </a:cubicBezTo>
                    <a:cubicBezTo>
                      <a:pt x="2736" y="597"/>
                      <a:pt x="2736" y="598"/>
                      <a:pt x="2736" y="600"/>
                    </a:cubicBezTo>
                    <a:cubicBezTo>
                      <a:pt x="2736" y="602"/>
                      <a:pt x="2737" y="604"/>
                      <a:pt x="2739" y="604"/>
                    </a:cubicBezTo>
                    <a:cubicBezTo>
                      <a:pt x="2742" y="606"/>
                      <a:pt x="2744" y="603"/>
                      <a:pt x="2747" y="602"/>
                    </a:cubicBezTo>
                    <a:cubicBezTo>
                      <a:pt x="2750" y="602"/>
                      <a:pt x="2752" y="602"/>
                      <a:pt x="2754" y="604"/>
                    </a:cubicBezTo>
                    <a:cubicBezTo>
                      <a:pt x="2755" y="604"/>
                      <a:pt x="2756" y="605"/>
                      <a:pt x="2757" y="605"/>
                    </a:cubicBezTo>
                    <a:cubicBezTo>
                      <a:pt x="2758" y="605"/>
                      <a:pt x="2760" y="605"/>
                      <a:pt x="2761" y="606"/>
                    </a:cubicBezTo>
                    <a:cubicBezTo>
                      <a:pt x="2762" y="606"/>
                      <a:pt x="2762" y="607"/>
                      <a:pt x="2762" y="608"/>
                    </a:cubicBezTo>
                    <a:cubicBezTo>
                      <a:pt x="2763" y="609"/>
                      <a:pt x="2763" y="609"/>
                      <a:pt x="2765" y="609"/>
                    </a:cubicBezTo>
                    <a:cubicBezTo>
                      <a:pt x="2768" y="610"/>
                      <a:pt x="2767" y="613"/>
                      <a:pt x="2770" y="614"/>
                    </a:cubicBezTo>
                    <a:cubicBezTo>
                      <a:pt x="2771" y="615"/>
                      <a:pt x="2773" y="615"/>
                      <a:pt x="2774" y="613"/>
                    </a:cubicBezTo>
                    <a:cubicBezTo>
                      <a:pt x="2774" y="612"/>
                      <a:pt x="2774" y="609"/>
                      <a:pt x="2776" y="609"/>
                    </a:cubicBezTo>
                    <a:cubicBezTo>
                      <a:pt x="2778" y="609"/>
                      <a:pt x="2780" y="610"/>
                      <a:pt x="2781" y="610"/>
                    </a:cubicBezTo>
                    <a:cubicBezTo>
                      <a:pt x="2783" y="610"/>
                      <a:pt x="2784" y="610"/>
                      <a:pt x="2786" y="610"/>
                    </a:cubicBezTo>
                    <a:cubicBezTo>
                      <a:pt x="2789" y="609"/>
                      <a:pt x="2787" y="606"/>
                      <a:pt x="2785" y="605"/>
                    </a:cubicBezTo>
                    <a:cubicBezTo>
                      <a:pt x="2785" y="605"/>
                      <a:pt x="2786" y="605"/>
                      <a:pt x="2786" y="605"/>
                    </a:cubicBezTo>
                    <a:cubicBezTo>
                      <a:pt x="2785" y="604"/>
                      <a:pt x="2786" y="605"/>
                      <a:pt x="2786" y="605"/>
                    </a:cubicBezTo>
                    <a:close/>
                    <a:moveTo>
                      <a:pt x="1945" y="887"/>
                    </a:moveTo>
                    <a:cubicBezTo>
                      <a:pt x="1945" y="890"/>
                      <a:pt x="1947" y="892"/>
                      <a:pt x="1949" y="895"/>
                    </a:cubicBezTo>
                    <a:cubicBezTo>
                      <a:pt x="1950" y="896"/>
                      <a:pt x="1950" y="897"/>
                      <a:pt x="1951" y="898"/>
                    </a:cubicBezTo>
                    <a:cubicBezTo>
                      <a:pt x="1951" y="900"/>
                      <a:pt x="1952" y="901"/>
                      <a:pt x="1953" y="902"/>
                    </a:cubicBezTo>
                    <a:cubicBezTo>
                      <a:pt x="1954" y="904"/>
                      <a:pt x="1952" y="907"/>
                      <a:pt x="1951" y="909"/>
                    </a:cubicBezTo>
                    <a:cubicBezTo>
                      <a:pt x="1949" y="912"/>
                      <a:pt x="1952" y="914"/>
                      <a:pt x="1952" y="917"/>
                    </a:cubicBezTo>
                    <a:cubicBezTo>
                      <a:pt x="1952" y="920"/>
                      <a:pt x="1951" y="923"/>
                      <a:pt x="1952" y="926"/>
                    </a:cubicBezTo>
                    <a:cubicBezTo>
                      <a:pt x="1952" y="930"/>
                      <a:pt x="1953" y="932"/>
                      <a:pt x="1952" y="935"/>
                    </a:cubicBezTo>
                    <a:cubicBezTo>
                      <a:pt x="1951" y="937"/>
                      <a:pt x="1951" y="940"/>
                      <a:pt x="1950" y="943"/>
                    </a:cubicBezTo>
                    <a:cubicBezTo>
                      <a:pt x="1950" y="946"/>
                      <a:pt x="1948" y="949"/>
                      <a:pt x="1948" y="952"/>
                    </a:cubicBezTo>
                    <a:cubicBezTo>
                      <a:pt x="1947" y="954"/>
                      <a:pt x="1947" y="957"/>
                      <a:pt x="1947" y="959"/>
                    </a:cubicBezTo>
                    <a:cubicBezTo>
                      <a:pt x="1948" y="962"/>
                      <a:pt x="1951" y="964"/>
                      <a:pt x="1951" y="967"/>
                    </a:cubicBezTo>
                    <a:cubicBezTo>
                      <a:pt x="1951" y="968"/>
                      <a:pt x="1951" y="969"/>
                      <a:pt x="1951" y="971"/>
                    </a:cubicBezTo>
                    <a:cubicBezTo>
                      <a:pt x="1952" y="972"/>
                      <a:pt x="1952" y="973"/>
                      <a:pt x="1952" y="974"/>
                    </a:cubicBezTo>
                    <a:cubicBezTo>
                      <a:pt x="1952" y="977"/>
                      <a:pt x="1949" y="978"/>
                      <a:pt x="1948" y="980"/>
                    </a:cubicBezTo>
                    <a:cubicBezTo>
                      <a:pt x="1948" y="981"/>
                      <a:pt x="1948" y="983"/>
                      <a:pt x="1949" y="983"/>
                    </a:cubicBezTo>
                    <a:cubicBezTo>
                      <a:pt x="1949" y="985"/>
                      <a:pt x="1949" y="986"/>
                      <a:pt x="1950" y="987"/>
                    </a:cubicBezTo>
                    <a:cubicBezTo>
                      <a:pt x="1950" y="988"/>
                      <a:pt x="1950" y="990"/>
                      <a:pt x="1950" y="991"/>
                    </a:cubicBezTo>
                    <a:cubicBezTo>
                      <a:pt x="1951" y="992"/>
                      <a:pt x="1950" y="994"/>
                      <a:pt x="1949" y="995"/>
                    </a:cubicBezTo>
                    <a:cubicBezTo>
                      <a:pt x="1949" y="997"/>
                      <a:pt x="1947" y="999"/>
                      <a:pt x="1946" y="1002"/>
                    </a:cubicBezTo>
                    <a:cubicBezTo>
                      <a:pt x="1946" y="1005"/>
                      <a:pt x="1946" y="1008"/>
                      <a:pt x="1947" y="1011"/>
                    </a:cubicBezTo>
                    <a:cubicBezTo>
                      <a:pt x="1948" y="1013"/>
                      <a:pt x="1948" y="1016"/>
                      <a:pt x="1950" y="1018"/>
                    </a:cubicBezTo>
                    <a:cubicBezTo>
                      <a:pt x="1952" y="1019"/>
                      <a:pt x="1953" y="1017"/>
                      <a:pt x="1953" y="1015"/>
                    </a:cubicBezTo>
                    <a:cubicBezTo>
                      <a:pt x="1953" y="1011"/>
                      <a:pt x="1955" y="1003"/>
                      <a:pt x="1960" y="1001"/>
                    </a:cubicBezTo>
                    <a:cubicBezTo>
                      <a:pt x="1962" y="1001"/>
                      <a:pt x="1961" y="1004"/>
                      <a:pt x="1962" y="1004"/>
                    </a:cubicBezTo>
                    <a:cubicBezTo>
                      <a:pt x="1964" y="1005"/>
                      <a:pt x="1966" y="1004"/>
                      <a:pt x="1968" y="1004"/>
                    </a:cubicBezTo>
                    <a:cubicBezTo>
                      <a:pt x="1969" y="1004"/>
                      <a:pt x="1972" y="1004"/>
                      <a:pt x="1973" y="1006"/>
                    </a:cubicBezTo>
                    <a:cubicBezTo>
                      <a:pt x="1974" y="1008"/>
                      <a:pt x="1973" y="1010"/>
                      <a:pt x="1973" y="1012"/>
                    </a:cubicBezTo>
                    <a:cubicBezTo>
                      <a:pt x="1972" y="1013"/>
                      <a:pt x="1973" y="1014"/>
                      <a:pt x="1974" y="1014"/>
                    </a:cubicBezTo>
                    <a:cubicBezTo>
                      <a:pt x="1975" y="1013"/>
                      <a:pt x="1975" y="1012"/>
                      <a:pt x="1975" y="1011"/>
                    </a:cubicBezTo>
                    <a:cubicBezTo>
                      <a:pt x="1976" y="1010"/>
                      <a:pt x="1976" y="1008"/>
                      <a:pt x="1976" y="1007"/>
                    </a:cubicBezTo>
                    <a:cubicBezTo>
                      <a:pt x="1976" y="1005"/>
                      <a:pt x="1976" y="1004"/>
                      <a:pt x="1976" y="1002"/>
                    </a:cubicBezTo>
                    <a:cubicBezTo>
                      <a:pt x="1976" y="999"/>
                      <a:pt x="1974" y="1000"/>
                      <a:pt x="1972" y="1001"/>
                    </a:cubicBezTo>
                    <a:cubicBezTo>
                      <a:pt x="1970" y="1002"/>
                      <a:pt x="1969" y="1002"/>
                      <a:pt x="1969" y="999"/>
                    </a:cubicBezTo>
                    <a:cubicBezTo>
                      <a:pt x="1969" y="997"/>
                      <a:pt x="1969" y="993"/>
                      <a:pt x="1968" y="992"/>
                    </a:cubicBezTo>
                    <a:cubicBezTo>
                      <a:pt x="1966" y="990"/>
                      <a:pt x="1964" y="988"/>
                      <a:pt x="1962" y="986"/>
                    </a:cubicBezTo>
                    <a:cubicBezTo>
                      <a:pt x="1958" y="983"/>
                      <a:pt x="1957" y="978"/>
                      <a:pt x="1959" y="973"/>
                    </a:cubicBezTo>
                    <a:cubicBezTo>
                      <a:pt x="1960" y="970"/>
                      <a:pt x="1962" y="968"/>
                      <a:pt x="1962" y="965"/>
                    </a:cubicBezTo>
                    <a:cubicBezTo>
                      <a:pt x="1963" y="962"/>
                      <a:pt x="1965" y="959"/>
                      <a:pt x="1965" y="956"/>
                    </a:cubicBezTo>
                    <a:cubicBezTo>
                      <a:pt x="1966" y="954"/>
                      <a:pt x="1966" y="952"/>
                      <a:pt x="1967" y="950"/>
                    </a:cubicBezTo>
                    <a:cubicBezTo>
                      <a:pt x="1967" y="947"/>
                      <a:pt x="1969" y="947"/>
                      <a:pt x="1972" y="946"/>
                    </a:cubicBezTo>
                    <a:cubicBezTo>
                      <a:pt x="1974" y="945"/>
                      <a:pt x="1975" y="942"/>
                      <a:pt x="1978" y="943"/>
                    </a:cubicBezTo>
                    <a:cubicBezTo>
                      <a:pt x="1979" y="944"/>
                      <a:pt x="1980" y="945"/>
                      <a:pt x="1981" y="945"/>
                    </a:cubicBezTo>
                    <a:cubicBezTo>
                      <a:pt x="1982" y="946"/>
                      <a:pt x="1983" y="946"/>
                      <a:pt x="1985" y="946"/>
                    </a:cubicBezTo>
                    <a:cubicBezTo>
                      <a:pt x="1988" y="946"/>
                      <a:pt x="1988" y="948"/>
                      <a:pt x="1989" y="950"/>
                    </a:cubicBezTo>
                    <a:cubicBezTo>
                      <a:pt x="1990" y="952"/>
                      <a:pt x="1991" y="954"/>
                      <a:pt x="1992" y="956"/>
                    </a:cubicBezTo>
                    <a:cubicBezTo>
                      <a:pt x="1993" y="957"/>
                      <a:pt x="1993" y="959"/>
                      <a:pt x="1995" y="959"/>
                    </a:cubicBezTo>
                    <a:cubicBezTo>
                      <a:pt x="1996" y="961"/>
                      <a:pt x="1996" y="957"/>
                      <a:pt x="1996" y="957"/>
                    </a:cubicBezTo>
                    <a:cubicBezTo>
                      <a:pt x="1995" y="954"/>
                      <a:pt x="1993" y="952"/>
                      <a:pt x="1992" y="950"/>
                    </a:cubicBezTo>
                    <a:cubicBezTo>
                      <a:pt x="1992" y="949"/>
                      <a:pt x="1991" y="948"/>
                      <a:pt x="1991" y="946"/>
                    </a:cubicBezTo>
                    <a:cubicBezTo>
                      <a:pt x="1990" y="945"/>
                      <a:pt x="1990" y="944"/>
                      <a:pt x="1990" y="943"/>
                    </a:cubicBezTo>
                    <a:cubicBezTo>
                      <a:pt x="1989" y="942"/>
                      <a:pt x="1988" y="941"/>
                      <a:pt x="1988" y="940"/>
                    </a:cubicBezTo>
                    <a:cubicBezTo>
                      <a:pt x="1987" y="939"/>
                      <a:pt x="1987" y="937"/>
                      <a:pt x="1986" y="936"/>
                    </a:cubicBezTo>
                    <a:cubicBezTo>
                      <a:pt x="1985" y="933"/>
                      <a:pt x="1985" y="930"/>
                      <a:pt x="1984" y="927"/>
                    </a:cubicBezTo>
                    <a:cubicBezTo>
                      <a:pt x="1982" y="921"/>
                      <a:pt x="1979" y="915"/>
                      <a:pt x="1978" y="909"/>
                    </a:cubicBezTo>
                    <a:cubicBezTo>
                      <a:pt x="1977" y="907"/>
                      <a:pt x="1977" y="906"/>
                      <a:pt x="1977" y="905"/>
                    </a:cubicBezTo>
                    <a:cubicBezTo>
                      <a:pt x="1976" y="903"/>
                      <a:pt x="1976" y="903"/>
                      <a:pt x="1975" y="902"/>
                    </a:cubicBezTo>
                    <a:cubicBezTo>
                      <a:pt x="1973" y="900"/>
                      <a:pt x="1974" y="896"/>
                      <a:pt x="1973" y="894"/>
                    </a:cubicBezTo>
                    <a:cubicBezTo>
                      <a:pt x="1973" y="893"/>
                      <a:pt x="1973" y="893"/>
                      <a:pt x="1973" y="894"/>
                    </a:cubicBezTo>
                    <a:cubicBezTo>
                      <a:pt x="1972" y="894"/>
                      <a:pt x="1972" y="895"/>
                      <a:pt x="1971" y="895"/>
                    </a:cubicBezTo>
                    <a:cubicBezTo>
                      <a:pt x="1968" y="896"/>
                      <a:pt x="1969" y="892"/>
                      <a:pt x="1969" y="891"/>
                    </a:cubicBezTo>
                    <a:cubicBezTo>
                      <a:pt x="1969" y="889"/>
                      <a:pt x="1969" y="888"/>
                      <a:pt x="1969" y="886"/>
                    </a:cubicBezTo>
                    <a:cubicBezTo>
                      <a:pt x="1969" y="885"/>
                      <a:pt x="1968" y="884"/>
                      <a:pt x="1968" y="882"/>
                    </a:cubicBezTo>
                    <a:cubicBezTo>
                      <a:pt x="1967" y="879"/>
                      <a:pt x="1969" y="877"/>
                      <a:pt x="1970" y="875"/>
                    </a:cubicBezTo>
                    <a:cubicBezTo>
                      <a:pt x="1971" y="872"/>
                      <a:pt x="1972" y="869"/>
                      <a:pt x="1971" y="867"/>
                    </a:cubicBezTo>
                    <a:cubicBezTo>
                      <a:pt x="1970" y="866"/>
                      <a:pt x="1969" y="865"/>
                      <a:pt x="1969" y="864"/>
                    </a:cubicBezTo>
                    <a:cubicBezTo>
                      <a:pt x="1968" y="862"/>
                      <a:pt x="1968" y="860"/>
                      <a:pt x="1967" y="859"/>
                    </a:cubicBezTo>
                    <a:cubicBezTo>
                      <a:pt x="1967" y="858"/>
                      <a:pt x="1967" y="856"/>
                      <a:pt x="1968" y="855"/>
                    </a:cubicBezTo>
                    <a:cubicBezTo>
                      <a:pt x="1968" y="854"/>
                      <a:pt x="1969" y="855"/>
                      <a:pt x="1969" y="856"/>
                    </a:cubicBezTo>
                    <a:cubicBezTo>
                      <a:pt x="1969" y="856"/>
                      <a:pt x="1970" y="863"/>
                      <a:pt x="1971" y="861"/>
                    </a:cubicBezTo>
                    <a:cubicBezTo>
                      <a:pt x="1972" y="860"/>
                      <a:pt x="1971" y="859"/>
                      <a:pt x="1971" y="858"/>
                    </a:cubicBezTo>
                    <a:cubicBezTo>
                      <a:pt x="1971" y="857"/>
                      <a:pt x="1970" y="856"/>
                      <a:pt x="1970" y="855"/>
                    </a:cubicBezTo>
                    <a:cubicBezTo>
                      <a:pt x="1970" y="853"/>
                      <a:pt x="1969" y="852"/>
                      <a:pt x="1969" y="851"/>
                    </a:cubicBezTo>
                    <a:cubicBezTo>
                      <a:pt x="1968" y="850"/>
                      <a:pt x="1967" y="848"/>
                      <a:pt x="1966" y="847"/>
                    </a:cubicBezTo>
                    <a:cubicBezTo>
                      <a:pt x="1965" y="845"/>
                      <a:pt x="1963" y="842"/>
                      <a:pt x="1964" y="840"/>
                    </a:cubicBezTo>
                    <a:cubicBezTo>
                      <a:pt x="1965" y="838"/>
                      <a:pt x="1967" y="837"/>
                      <a:pt x="1965" y="834"/>
                    </a:cubicBezTo>
                    <a:cubicBezTo>
                      <a:pt x="1964" y="833"/>
                      <a:pt x="1964" y="832"/>
                      <a:pt x="1963" y="831"/>
                    </a:cubicBezTo>
                    <a:cubicBezTo>
                      <a:pt x="1963" y="830"/>
                      <a:pt x="1961" y="830"/>
                      <a:pt x="1961" y="832"/>
                    </a:cubicBezTo>
                    <a:cubicBezTo>
                      <a:pt x="1961" y="835"/>
                      <a:pt x="1959" y="834"/>
                      <a:pt x="1957" y="833"/>
                    </a:cubicBezTo>
                    <a:cubicBezTo>
                      <a:pt x="1956" y="833"/>
                      <a:pt x="1953" y="832"/>
                      <a:pt x="1954" y="834"/>
                    </a:cubicBezTo>
                    <a:cubicBezTo>
                      <a:pt x="1955" y="835"/>
                      <a:pt x="1956" y="837"/>
                      <a:pt x="1958" y="837"/>
                    </a:cubicBezTo>
                    <a:cubicBezTo>
                      <a:pt x="1960" y="837"/>
                      <a:pt x="1961" y="838"/>
                      <a:pt x="1961" y="840"/>
                    </a:cubicBezTo>
                    <a:cubicBezTo>
                      <a:pt x="1960" y="842"/>
                      <a:pt x="1958" y="843"/>
                      <a:pt x="1961" y="845"/>
                    </a:cubicBezTo>
                    <a:cubicBezTo>
                      <a:pt x="1961" y="845"/>
                      <a:pt x="1963" y="847"/>
                      <a:pt x="1962" y="847"/>
                    </a:cubicBezTo>
                    <a:cubicBezTo>
                      <a:pt x="1959" y="847"/>
                      <a:pt x="1959" y="849"/>
                      <a:pt x="1961" y="850"/>
                    </a:cubicBezTo>
                    <a:cubicBezTo>
                      <a:pt x="1962" y="851"/>
                      <a:pt x="1960" y="852"/>
                      <a:pt x="1959" y="852"/>
                    </a:cubicBezTo>
                    <a:cubicBezTo>
                      <a:pt x="1957" y="853"/>
                      <a:pt x="1956" y="855"/>
                      <a:pt x="1954" y="853"/>
                    </a:cubicBezTo>
                    <a:cubicBezTo>
                      <a:pt x="1953" y="851"/>
                      <a:pt x="1953" y="850"/>
                      <a:pt x="1951" y="850"/>
                    </a:cubicBezTo>
                    <a:cubicBezTo>
                      <a:pt x="1949" y="850"/>
                      <a:pt x="1949" y="853"/>
                      <a:pt x="1947" y="853"/>
                    </a:cubicBezTo>
                    <a:cubicBezTo>
                      <a:pt x="1945" y="853"/>
                      <a:pt x="1945" y="854"/>
                      <a:pt x="1945" y="856"/>
                    </a:cubicBezTo>
                    <a:cubicBezTo>
                      <a:pt x="1946" y="858"/>
                      <a:pt x="1948" y="859"/>
                      <a:pt x="1948" y="862"/>
                    </a:cubicBezTo>
                    <a:cubicBezTo>
                      <a:pt x="1948" y="864"/>
                      <a:pt x="1948" y="866"/>
                      <a:pt x="1947" y="868"/>
                    </a:cubicBezTo>
                    <a:cubicBezTo>
                      <a:pt x="1945" y="871"/>
                      <a:pt x="1945" y="873"/>
                      <a:pt x="1946" y="876"/>
                    </a:cubicBezTo>
                    <a:cubicBezTo>
                      <a:pt x="1946" y="880"/>
                      <a:pt x="1944" y="884"/>
                      <a:pt x="1945" y="888"/>
                    </a:cubicBezTo>
                    <a:cubicBezTo>
                      <a:pt x="1945" y="888"/>
                      <a:pt x="1945" y="888"/>
                      <a:pt x="1945" y="887"/>
                    </a:cubicBezTo>
                    <a:cubicBezTo>
                      <a:pt x="1945" y="889"/>
                      <a:pt x="1945" y="887"/>
                      <a:pt x="1945" y="887"/>
                    </a:cubicBezTo>
                    <a:close/>
                    <a:moveTo>
                      <a:pt x="2157" y="955"/>
                    </a:moveTo>
                    <a:cubicBezTo>
                      <a:pt x="2158" y="954"/>
                      <a:pt x="2156" y="953"/>
                      <a:pt x="2156" y="954"/>
                    </a:cubicBezTo>
                    <a:cubicBezTo>
                      <a:pt x="2155" y="954"/>
                      <a:pt x="2155" y="955"/>
                      <a:pt x="2155" y="955"/>
                    </a:cubicBezTo>
                    <a:cubicBezTo>
                      <a:pt x="2155" y="956"/>
                      <a:pt x="2154" y="956"/>
                      <a:pt x="2154" y="957"/>
                    </a:cubicBezTo>
                    <a:cubicBezTo>
                      <a:pt x="2153" y="957"/>
                      <a:pt x="2154" y="958"/>
                      <a:pt x="2154" y="958"/>
                    </a:cubicBezTo>
                    <a:cubicBezTo>
                      <a:pt x="2155" y="957"/>
                      <a:pt x="2155" y="957"/>
                      <a:pt x="2156" y="956"/>
                    </a:cubicBezTo>
                    <a:cubicBezTo>
                      <a:pt x="2156" y="956"/>
                      <a:pt x="2157" y="955"/>
                      <a:pt x="2157" y="955"/>
                    </a:cubicBezTo>
                    <a:cubicBezTo>
                      <a:pt x="2157" y="955"/>
                      <a:pt x="2157" y="955"/>
                      <a:pt x="2157" y="955"/>
                    </a:cubicBezTo>
                    <a:cubicBezTo>
                      <a:pt x="2158" y="954"/>
                      <a:pt x="2157" y="955"/>
                      <a:pt x="2157" y="955"/>
                    </a:cubicBezTo>
                    <a:close/>
                    <a:moveTo>
                      <a:pt x="2189" y="913"/>
                    </a:moveTo>
                    <a:cubicBezTo>
                      <a:pt x="2186" y="913"/>
                      <a:pt x="2184" y="915"/>
                      <a:pt x="2183" y="917"/>
                    </a:cubicBezTo>
                    <a:cubicBezTo>
                      <a:pt x="2182" y="919"/>
                      <a:pt x="2182" y="921"/>
                      <a:pt x="2180" y="922"/>
                    </a:cubicBezTo>
                    <a:cubicBezTo>
                      <a:pt x="2178" y="922"/>
                      <a:pt x="2177" y="922"/>
                      <a:pt x="2175" y="922"/>
                    </a:cubicBezTo>
                    <a:cubicBezTo>
                      <a:pt x="2174" y="922"/>
                      <a:pt x="2173" y="922"/>
                      <a:pt x="2173" y="923"/>
                    </a:cubicBezTo>
                    <a:cubicBezTo>
                      <a:pt x="2172" y="924"/>
                      <a:pt x="2172" y="926"/>
                      <a:pt x="2173" y="927"/>
                    </a:cubicBezTo>
                    <a:cubicBezTo>
                      <a:pt x="2173" y="929"/>
                      <a:pt x="2174" y="930"/>
                      <a:pt x="2175" y="929"/>
                    </a:cubicBezTo>
                    <a:cubicBezTo>
                      <a:pt x="2178" y="928"/>
                      <a:pt x="2180" y="925"/>
                      <a:pt x="2182" y="924"/>
                    </a:cubicBezTo>
                    <a:cubicBezTo>
                      <a:pt x="2183" y="923"/>
                      <a:pt x="2184" y="923"/>
                      <a:pt x="2185" y="922"/>
                    </a:cubicBezTo>
                    <a:cubicBezTo>
                      <a:pt x="2186" y="921"/>
                      <a:pt x="2187" y="921"/>
                      <a:pt x="2188" y="920"/>
                    </a:cubicBezTo>
                    <a:cubicBezTo>
                      <a:pt x="2190" y="919"/>
                      <a:pt x="2190" y="918"/>
                      <a:pt x="2190" y="916"/>
                    </a:cubicBezTo>
                    <a:cubicBezTo>
                      <a:pt x="2191" y="913"/>
                      <a:pt x="2190" y="913"/>
                      <a:pt x="2187" y="913"/>
                    </a:cubicBezTo>
                    <a:cubicBezTo>
                      <a:pt x="2188" y="913"/>
                      <a:pt x="2188" y="913"/>
                      <a:pt x="2189" y="913"/>
                    </a:cubicBezTo>
                    <a:cubicBezTo>
                      <a:pt x="2186" y="913"/>
                      <a:pt x="2189" y="913"/>
                      <a:pt x="2189" y="913"/>
                    </a:cubicBezTo>
                    <a:close/>
                    <a:moveTo>
                      <a:pt x="2165" y="945"/>
                    </a:moveTo>
                    <a:cubicBezTo>
                      <a:pt x="2166" y="945"/>
                      <a:pt x="2168" y="945"/>
                      <a:pt x="2168" y="943"/>
                    </a:cubicBezTo>
                    <a:cubicBezTo>
                      <a:pt x="2168" y="942"/>
                      <a:pt x="2168" y="941"/>
                      <a:pt x="2167" y="940"/>
                    </a:cubicBezTo>
                    <a:cubicBezTo>
                      <a:pt x="2167" y="940"/>
                      <a:pt x="2167" y="939"/>
                      <a:pt x="2167" y="939"/>
                    </a:cubicBezTo>
                    <a:cubicBezTo>
                      <a:pt x="2166" y="940"/>
                      <a:pt x="2166" y="941"/>
                      <a:pt x="2165" y="941"/>
                    </a:cubicBezTo>
                    <a:cubicBezTo>
                      <a:pt x="2165" y="942"/>
                      <a:pt x="2164" y="943"/>
                      <a:pt x="2163" y="944"/>
                    </a:cubicBezTo>
                    <a:cubicBezTo>
                      <a:pt x="2163" y="945"/>
                      <a:pt x="2165" y="945"/>
                      <a:pt x="2165" y="945"/>
                    </a:cubicBezTo>
                    <a:cubicBezTo>
                      <a:pt x="2165" y="945"/>
                      <a:pt x="2165" y="945"/>
                      <a:pt x="2165" y="945"/>
                    </a:cubicBezTo>
                    <a:cubicBezTo>
                      <a:pt x="2166" y="945"/>
                      <a:pt x="2165" y="945"/>
                      <a:pt x="2165" y="945"/>
                    </a:cubicBezTo>
                    <a:close/>
                    <a:moveTo>
                      <a:pt x="2128" y="988"/>
                    </a:moveTo>
                    <a:cubicBezTo>
                      <a:pt x="2127" y="988"/>
                      <a:pt x="2127" y="990"/>
                      <a:pt x="2128" y="989"/>
                    </a:cubicBezTo>
                    <a:cubicBezTo>
                      <a:pt x="2130" y="988"/>
                      <a:pt x="2129" y="987"/>
                      <a:pt x="2127" y="988"/>
                    </a:cubicBezTo>
                    <a:cubicBezTo>
                      <a:pt x="2127" y="988"/>
                      <a:pt x="2127" y="988"/>
                      <a:pt x="2128" y="988"/>
                    </a:cubicBezTo>
                    <a:cubicBezTo>
                      <a:pt x="2127" y="988"/>
                      <a:pt x="2128" y="988"/>
                      <a:pt x="2128" y="988"/>
                    </a:cubicBezTo>
                    <a:close/>
                    <a:moveTo>
                      <a:pt x="2123" y="994"/>
                    </a:moveTo>
                    <a:cubicBezTo>
                      <a:pt x="2125" y="992"/>
                      <a:pt x="2122" y="993"/>
                      <a:pt x="2121" y="994"/>
                    </a:cubicBezTo>
                    <a:cubicBezTo>
                      <a:pt x="2120" y="995"/>
                      <a:pt x="2120" y="996"/>
                      <a:pt x="2119" y="996"/>
                    </a:cubicBezTo>
                    <a:cubicBezTo>
                      <a:pt x="2117" y="997"/>
                      <a:pt x="2116" y="997"/>
                      <a:pt x="2115" y="998"/>
                    </a:cubicBezTo>
                    <a:cubicBezTo>
                      <a:pt x="2114" y="999"/>
                      <a:pt x="2115" y="1000"/>
                      <a:pt x="2116" y="999"/>
                    </a:cubicBezTo>
                    <a:cubicBezTo>
                      <a:pt x="2117" y="999"/>
                      <a:pt x="2117" y="998"/>
                      <a:pt x="2118" y="998"/>
                    </a:cubicBezTo>
                    <a:cubicBezTo>
                      <a:pt x="2119" y="997"/>
                      <a:pt x="2120" y="997"/>
                      <a:pt x="2121" y="997"/>
                    </a:cubicBezTo>
                    <a:cubicBezTo>
                      <a:pt x="2122" y="996"/>
                      <a:pt x="2122" y="995"/>
                      <a:pt x="2123" y="994"/>
                    </a:cubicBezTo>
                    <a:cubicBezTo>
                      <a:pt x="2123" y="994"/>
                      <a:pt x="2123" y="994"/>
                      <a:pt x="2123" y="994"/>
                    </a:cubicBezTo>
                    <a:cubicBezTo>
                      <a:pt x="2123" y="994"/>
                      <a:pt x="2123" y="994"/>
                      <a:pt x="2123" y="994"/>
                    </a:cubicBezTo>
                    <a:close/>
                    <a:moveTo>
                      <a:pt x="2095" y="1012"/>
                    </a:moveTo>
                    <a:cubicBezTo>
                      <a:pt x="2095" y="1011"/>
                      <a:pt x="2093" y="1012"/>
                      <a:pt x="2092" y="1013"/>
                    </a:cubicBezTo>
                    <a:cubicBezTo>
                      <a:pt x="2090" y="1014"/>
                      <a:pt x="2087" y="1013"/>
                      <a:pt x="2086" y="1015"/>
                    </a:cubicBezTo>
                    <a:cubicBezTo>
                      <a:pt x="2085" y="1016"/>
                      <a:pt x="2085" y="1017"/>
                      <a:pt x="2084" y="1018"/>
                    </a:cubicBezTo>
                    <a:cubicBezTo>
                      <a:pt x="2083" y="1019"/>
                      <a:pt x="2082" y="1019"/>
                      <a:pt x="2081" y="1020"/>
                    </a:cubicBezTo>
                    <a:cubicBezTo>
                      <a:pt x="2081" y="1020"/>
                      <a:pt x="2077" y="1024"/>
                      <a:pt x="2077" y="1025"/>
                    </a:cubicBezTo>
                    <a:cubicBezTo>
                      <a:pt x="2078" y="1025"/>
                      <a:pt x="2081" y="1022"/>
                      <a:pt x="2082" y="1022"/>
                    </a:cubicBezTo>
                    <a:cubicBezTo>
                      <a:pt x="2084" y="1020"/>
                      <a:pt x="2086" y="1019"/>
                      <a:pt x="2088" y="1018"/>
                    </a:cubicBezTo>
                    <a:cubicBezTo>
                      <a:pt x="2090" y="1015"/>
                      <a:pt x="2095" y="1016"/>
                      <a:pt x="2095" y="1012"/>
                    </a:cubicBezTo>
                    <a:cubicBezTo>
                      <a:pt x="2095" y="1012"/>
                      <a:pt x="2095" y="1012"/>
                      <a:pt x="2095" y="1012"/>
                    </a:cubicBezTo>
                    <a:cubicBezTo>
                      <a:pt x="2095" y="1011"/>
                      <a:pt x="2095" y="1012"/>
                      <a:pt x="2095" y="1012"/>
                    </a:cubicBezTo>
                    <a:close/>
                    <a:moveTo>
                      <a:pt x="2142" y="973"/>
                    </a:moveTo>
                    <a:cubicBezTo>
                      <a:pt x="2144" y="972"/>
                      <a:pt x="2140" y="970"/>
                      <a:pt x="2139" y="972"/>
                    </a:cubicBezTo>
                    <a:cubicBezTo>
                      <a:pt x="2139" y="973"/>
                      <a:pt x="2141" y="974"/>
                      <a:pt x="2142" y="973"/>
                    </a:cubicBezTo>
                    <a:cubicBezTo>
                      <a:pt x="2142" y="973"/>
                      <a:pt x="2142" y="973"/>
                      <a:pt x="2142" y="973"/>
                    </a:cubicBezTo>
                    <a:cubicBezTo>
                      <a:pt x="2143" y="972"/>
                      <a:pt x="2142" y="973"/>
                      <a:pt x="2142" y="973"/>
                    </a:cubicBezTo>
                    <a:close/>
                    <a:moveTo>
                      <a:pt x="2137" y="978"/>
                    </a:moveTo>
                    <a:cubicBezTo>
                      <a:pt x="2137" y="978"/>
                      <a:pt x="2136" y="979"/>
                      <a:pt x="2136" y="980"/>
                    </a:cubicBezTo>
                    <a:cubicBezTo>
                      <a:pt x="2136" y="981"/>
                      <a:pt x="2137" y="980"/>
                      <a:pt x="2137" y="980"/>
                    </a:cubicBezTo>
                    <a:cubicBezTo>
                      <a:pt x="2138" y="979"/>
                      <a:pt x="2139" y="978"/>
                      <a:pt x="2138" y="977"/>
                    </a:cubicBezTo>
                    <a:cubicBezTo>
                      <a:pt x="2137" y="977"/>
                      <a:pt x="2137" y="977"/>
                      <a:pt x="2137" y="978"/>
                    </a:cubicBezTo>
                    <a:cubicBezTo>
                      <a:pt x="2137" y="978"/>
                      <a:pt x="2137" y="978"/>
                      <a:pt x="2137" y="978"/>
                    </a:cubicBezTo>
                    <a:cubicBezTo>
                      <a:pt x="2137" y="978"/>
                      <a:pt x="2137" y="978"/>
                      <a:pt x="2137" y="978"/>
                    </a:cubicBezTo>
                    <a:close/>
                    <a:moveTo>
                      <a:pt x="2061" y="1032"/>
                    </a:moveTo>
                    <a:cubicBezTo>
                      <a:pt x="2062" y="1031"/>
                      <a:pt x="2063" y="1031"/>
                      <a:pt x="2064" y="1031"/>
                    </a:cubicBezTo>
                    <a:cubicBezTo>
                      <a:pt x="2065" y="1030"/>
                      <a:pt x="2066" y="1030"/>
                      <a:pt x="2066" y="1030"/>
                    </a:cubicBezTo>
                    <a:cubicBezTo>
                      <a:pt x="2067" y="1027"/>
                      <a:pt x="2064" y="1026"/>
                      <a:pt x="2063" y="1027"/>
                    </a:cubicBezTo>
                    <a:cubicBezTo>
                      <a:pt x="2061" y="1028"/>
                      <a:pt x="2060" y="1030"/>
                      <a:pt x="2059" y="1031"/>
                    </a:cubicBezTo>
                    <a:cubicBezTo>
                      <a:pt x="2058" y="1031"/>
                      <a:pt x="2058" y="1031"/>
                      <a:pt x="2058" y="1032"/>
                    </a:cubicBezTo>
                    <a:cubicBezTo>
                      <a:pt x="2060" y="1032"/>
                      <a:pt x="2060" y="1032"/>
                      <a:pt x="2062" y="1031"/>
                    </a:cubicBezTo>
                    <a:cubicBezTo>
                      <a:pt x="2061" y="1031"/>
                      <a:pt x="2061" y="1031"/>
                      <a:pt x="2061" y="1032"/>
                    </a:cubicBezTo>
                    <a:cubicBezTo>
                      <a:pt x="2062" y="1031"/>
                      <a:pt x="2061" y="1032"/>
                      <a:pt x="2061" y="1032"/>
                    </a:cubicBezTo>
                    <a:close/>
                    <a:moveTo>
                      <a:pt x="2054" y="1033"/>
                    </a:moveTo>
                    <a:cubicBezTo>
                      <a:pt x="2054" y="1032"/>
                      <a:pt x="2053" y="1032"/>
                      <a:pt x="2052" y="1032"/>
                    </a:cubicBezTo>
                    <a:cubicBezTo>
                      <a:pt x="2052" y="1032"/>
                      <a:pt x="2051" y="1031"/>
                      <a:pt x="2051" y="1031"/>
                    </a:cubicBezTo>
                    <a:cubicBezTo>
                      <a:pt x="2050" y="1029"/>
                      <a:pt x="2048" y="1031"/>
                      <a:pt x="2048" y="1032"/>
                    </a:cubicBezTo>
                    <a:cubicBezTo>
                      <a:pt x="2046" y="1033"/>
                      <a:pt x="2042" y="1036"/>
                      <a:pt x="2044" y="1038"/>
                    </a:cubicBezTo>
                    <a:cubicBezTo>
                      <a:pt x="2046" y="1039"/>
                      <a:pt x="2049" y="1037"/>
                      <a:pt x="2051" y="1036"/>
                    </a:cubicBezTo>
                    <a:cubicBezTo>
                      <a:pt x="2052" y="1035"/>
                      <a:pt x="2057" y="1033"/>
                      <a:pt x="2054" y="1032"/>
                    </a:cubicBezTo>
                    <a:cubicBezTo>
                      <a:pt x="2054" y="1033"/>
                      <a:pt x="2054" y="1033"/>
                      <a:pt x="2054" y="1033"/>
                    </a:cubicBezTo>
                    <a:cubicBezTo>
                      <a:pt x="2053" y="1032"/>
                      <a:pt x="2054" y="1033"/>
                      <a:pt x="2054" y="1033"/>
                    </a:cubicBezTo>
                    <a:close/>
                    <a:moveTo>
                      <a:pt x="2035" y="1048"/>
                    </a:moveTo>
                    <a:cubicBezTo>
                      <a:pt x="2036" y="1048"/>
                      <a:pt x="2037" y="1046"/>
                      <a:pt x="2038" y="1045"/>
                    </a:cubicBezTo>
                    <a:cubicBezTo>
                      <a:pt x="2040" y="1044"/>
                      <a:pt x="2041" y="1043"/>
                      <a:pt x="2042" y="1042"/>
                    </a:cubicBezTo>
                    <a:cubicBezTo>
                      <a:pt x="2042" y="1041"/>
                      <a:pt x="2044" y="1039"/>
                      <a:pt x="2042" y="1039"/>
                    </a:cubicBezTo>
                    <a:cubicBezTo>
                      <a:pt x="2041" y="1039"/>
                      <a:pt x="2040" y="1040"/>
                      <a:pt x="2040" y="1040"/>
                    </a:cubicBezTo>
                    <a:cubicBezTo>
                      <a:pt x="2039" y="1041"/>
                      <a:pt x="2037" y="1041"/>
                      <a:pt x="2036" y="1042"/>
                    </a:cubicBezTo>
                    <a:cubicBezTo>
                      <a:pt x="2035" y="1043"/>
                      <a:pt x="2034" y="1045"/>
                      <a:pt x="2033" y="1046"/>
                    </a:cubicBezTo>
                    <a:cubicBezTo>
                      <a:pt x="2033" y="1047"/>
                      <a:pt x="2032" y="1049"/>
                      <a:pt x="2033" y="1049"/>
                    </a:cubicBezTo>
                    <a:cubicBezTo>
                      <a:pt x="2034" y="1049"/>
                      <a:pt x="2035" y="1048"/>
                      <a:pt x="2035" y="1048"/>
                    </a:cubicBezTo>
                    <a:cubicBezTo>
                      <a:pt x="2035" y="1048"/>
                      <a:pt x="2035" y="1048"/>
                      <a:pt x="2035" y="1048"/>
                    </a:cubicBezTo>
                    <a:cubicBezTo>
                      <a:pt x="2036" y="1048"/>
                      <a:pt x="2035" y="1048"/>
                      <a:pt x="2035" y="1048"/>
                    </a:cubicBezTo>
                    <a:close/>
                    <a:moveTo>
                      <a:pt x="2023" y="1050"/>
                    </a:moveTo>
                    <a:cubicBezTo>
                      <a:pt x="2021" y="1050"/>
                      <a:pt x="2019" y="1048"/>
                      <a:pt x="2018" y="1049"/>
                    </a:cubicBezTo>
                    <a:cubicBezTo>
                      <a:pt x="2017" y="1049"/>
                      <a:pt x="2017" y="1051"/>
                      <a:pt x="2016" y="1052"/>
                    </a:cubicBezTo>
                    <a:cubicBezTo>
                      <a:pt x="2016" y="1053"/>
                      <a:pt x="2015" y="1054"/>
                      <a:pt x="2013" y="1055"/>
                    </a:cubicBezTo>
                    <a:cubicBezTo>
                      <a:pt x="2012" y="1056"/>
                      <a:pt x="2010" y="1058"/>
                      <a:pt x="2009" y="1060"/>
                    </a:cubicBezTo>
                    <a:cubicBezTo>
                      <a:pt x="2008" y="1061"/>
                      <a:pt x="2009" y="1064"/>
                      <a:pt x="2010" y="1062"/>
                    </a:cubicBezTo>
                    <a:cubicBezTo>
                      <a:pt x="2011" y="1059"/>
                      <a:pt x="2013" y="1058"/>
                      <a:pt x="2015" y="1057"/>
                    </a:cubicBezTo>
                    <a:cubicBezTo>
                      <a:pt x="2016" y="1056"/>
                      <a:pt x="2017" y="1056"/>
                      <a:pt x="2018" y="1055"/>
                    </a:cubicBezTo>
                    <a:cubicBezTo>
                      <a:pt x="2019" y="1054"/>
                      <a:pt x="2020" y="1053"/>
                      <a:pt x="2021" y="1052"/>
                    </a:cubicBezTo>
                    <a:cubicBezTo>
                      <a:pt x="2022" y="1052"/>
                      <a:pt x="2026" y="1051"/>
                      <a:pt x="2026" y="1050"/>
                    </a:cubicBezTo>
                    <a:cubicBezTo>
                      <a:pt x="2026" y="1049"/>
                      <a:pt x="2023" y="1050"/>
                      <a:pt x="2022" y="1050"/>
                    </a:cubicBezTo>
                    <a:cubicBezTo>
                      <a:pt x="2023" y="1050"/>
                      <a:pt x="2023" y="1050"/>
                      <a:pt x="2023" y="1050"/>
                    </a:cubicBezTo>
                    <a:cubicBezTo>
                      <a:pt x="2022" y="1050"/>
                      <a:pt x="2023" y="1050"/>
                      <a:pt x="2023" y="1050"/>
                    </a:cubicBezTo>
                    <a:close/>
                    <a:moveTo>
                      <a:pt x="92" y="679"/>
                    </a:moveTo>
                    <a:cubicBezTo>
                      <a:pt x="91" y="680"/>
                      <a:pt x="91" y="680"/>
                      <a:pt x="90" y="680"/>
                    </a:cubicBezTo>
                    <a:cubicBezTo>
                      <a:pt x="89" y="680"/>
                      <a:pt x="88" y="680"/>
                      <a:pt x="88" y="681"/>
                    </a:cubicBezTo>
                    <a:cubicBezTo>
                      <a:pt x="87" y="683"/>
                      <a:pt x="89" y="685"/>
                      <a:pt x="88" y="687"/>
                    </a:cubicBezTo>
                    <a:cubicBezTo>
                      <a:pt x="88" y="689"/>
                      <a:pt x="85" y="689"/>
                      <a:pt x="83" y="688"/>
                    </a:cubicBezTo>
                    <a:cubicBezTo>
                      <a:pt x="80" y="687"/>
                      <a:pt x="78" y="685"/>
                      <a:pt x="75" y="685"/>
                    </a:cubicBezTo>
                    <a:cubicBezTo>
                      <a:pt x="73" y="685"/>
                      <a:pt x="71" y="686"/>
                      <a:pt x="71" y="689"/>
                    </a:cubicBezTo>
                    <a:cubicBezTo>
                      <a:pt x="70" y="691"/>
                      <a:pt x="71" y="694"/>
                      <a:pt x="68" y="695"/>
                    </a:cubicBezTo>
                    <a:cubicBezTo>
                      <a:pt x="67" y="695"/>
                      <a:pt x="64" y="695"/>
                      <a:pt x="63" y="694"/>
                    </a:cubicBezTo>
                    <a:cubicBezTo>
                      <a:pt x="62" y="692"/>
                      <a:pt x="62" y="690"/>
                      <a:pt x="62" y="689"/>
                    </a:cubicBezTo>
                    <a:cubicBezTo>
                      <a:pt x="62" y="686"/>
                      <a:pt x="60" y="684"/>
                      <a:pt x="59" y="682"/>
                    </a:cubicBezTo>
                    <a:cubicBezTo>
                      <a:pt x="56" y="680"/>
                      <a:pt x="55" y="678"/>
                      <a:pt x="54" y="675"/>
                    </a:cubicBezTo>
                    <a:cubicBezTo>
                      <a:pt x="53" y="673"/>
                      <a:pt x="52" y="670"/>
                      <a:pt x="50" y="668"/>
                    </a:cubicBezTo>
                    <a:cubicBezTo>
                      <a:pt x="48" y="667"/>
                      <a:pt x="45" y="667"/>
                      <a:pt x="43" y="665"/>
                    </a:cubicBezTo>
                    <a:cubicBezTo>
                      <a:pt x="42" y="664"/>
                      <a:pt x="42" y="663"/>
                      <a:pt x="42" y="662"/>
                    </a:cubicBezTo>
                    <a:cubicBezTo>
                      <a:pt x="43" y="661"/>
                      <a:pt x="44" y="662"/>
                      <a:pt x="45" y="661"/>
                    </a:cubicBezTo>
                    <a:cubicBezTo>
                      <a:pt x="45" y="660"/>
                      <a:pt x="46" y="659"/>
                      <a:pt x="46" y="658"/>
                    </a:cubicBezTo>
                    <a:cubicBezTo>
                      <a:pt x="47" y="657"/>
                      <a:pt x="47" y="655"/>
                      <a:pt x="47" y="654"/>
                    </a:cubicBezTo>
                    <a:cubicBezTo>
                      <a:pt x="49" y="653"/>
                      <a:pt x="52" y="654"/>
                      <a:pt x="54" y="653"/>
                    </a:cubicBezTo>
                    <a:cubicBezTo>
                      <a:pt x="54" y="653"/>
                      <a:pt x="55" y="652"/>
                      <a:pt x="55" y="651"/>
                    </a:cubicBezTo>
                    <a:cubicBezTo>
                      <a:pt x="56" y="650"/>
                      <a:pt x="57" y="649"/>
                      <a:pt x="58" y="649"/>
                    </a:cubicBezTo>
                    <a:cubicBezTo>
                      <a:pt x="60" y="648"/>
                      <a:pt x="62" y="649"/>
                      <a:pt x="63" y="650"/>
                    </a:cubicBezTo>
                    <a:cubicBezTo>
                      <a:pt x="65" y="651"/>
                      <a:pt x="67" y="652"/>
                      <a:pt x="69" y="653"/>
                    </a:cubicBezTo>
                    <a:cubicBezTo>
                      <a:pt x="71" y="653"/>
                      <a:pt x="72" y="655"/>
                      <a:pt x="73" y="657"/>
                    </a:cubicBezTo>
                    <a:cubicBezTo>
                      <a:pt x="75" y="658"/>
                      <a:pt x="77" y="659"/>
                      <a:pt x="79" y="660"/>
                    </a:cubicBezTo>
                    <a:cubicBezTo>
                      <a:pt x="83" y="662"/>
                      <a:pt x="86" y="663"/>
                      <a:pt x="88" y="667"/>
                    </a:cubicBezTo>
                    <a:cubicBezTo>
                      <a:pt x="89" y="670"/>
                      <a:pt x="90" y="671"/>
                      <a:pt x="92" y="673"/>
                    </a:cubicBezTo>
                    <a:cubicBezTo>
                      <a:pt x="93" y="675"/>
                      <a:pt x="93" y="677"/>
                      <a:pt x="92" y="679"/>
                    </a:cubicBezTo>
                    <a:cubicBezTo>
                      <a:pt x="91" y="680"/>
                      <a:pt x="92" y="679"/>
                      <a:pt x="92" y="679"/>
                    </a:cubicBezTo>
                    <a:close/>
                    <a:moveTo>
                      <a:pt x="152" y="661"/>
                    </a:moveTo>
                    <a:cubicBezTo>
                      <a:pt x="153" y="663"/>
                      <a:pt x="153" y="665"/>
                      <a:pt x="150" y="666"/>
                    </a:cubicBezTo>
                    <a:cubicBezTo>
                      <a:pt x="149" y="666"/>
                      <a:pt x="149" y="667"/>
                      <a:pt x="148" y="668"/>
                    </a:cubicBezTo>
                    <a:cubicBezTo>
                      <a:pt x="147" y="669"/>
                      <a:pt x="145" y="668"/>
                      <a:pt x="143" y="668"/>
                    </a:cubicBezTo>
                    <a:cubicBezTo>
                      <a:pt x="142" y="668"/>
                      <a:pt x="136" y="669"/>
                      <a:pt x="137" y="667"/>
                    </a:cubicBezTo>
                    <a:cubicBezTo>
                      <a:pt x="138" y="665"/>
                      <a:pt x="140" y="664"/>
                      <a:pt x="139" y="661"/>
                    </a:cubicBezTo>
                    <a:cubicBezTo>
                      <a:pt x="139" y="659"/>
                      <a:pt x="136" y="659"/>
                      <a:pt x="135" y="658"/>
                    </a:cubicBezTo>
                    <a:cubicBezTo>
                      <a:pt x="133" y="658"/>
                      <a:pt x="131" y="658"/>
                      <a:pt x="129" y="656"/>
                    </a:cubicBezTo>
                    <a:cubicBezTo>
                      <a:pt x="128" y="654"/>
                      <a:pt x="126" y="652"/>
                      <a:pt x="124" y="651"/>
                    </a:cubicBezTo>
                    <a:cubicBezTo>
                      <a:pt x="122" y="649"/>
                      <a:pt x="120" y="648"/>
                      <a:pt x="118" y="646"/>
                    </a:cubicBezTo>
                    <a:cubicBezTo>
                      <a:pt x="117" y="646"/>
                      <a:pt x="120" y="645"/>
                      <a:pt x="120" y="643"/>
                    </a:cubicBezTo>
                    <a:cubicBezTo>
                      <a:pt x="120" y="641"/>
                      <a:pt x="117" y="639"/>
                      <a:pt x="116" y="637"/>
                    </a:cubicBezTo>
                    <a:cubicBezTo>
                      <a:pt x="115" y="636"/>
                      <a:pt x="115" y="635"/>
                      <a:pt x="115" y="634"/>
                    </a:cubicBezTo>
                    <a:cubicBezTo>
                      <a:pt x="115" y="633"/>
                      <a:pt x="114" y="632"/>
                      <a:pt x="113" y="632"/>
                    </a:cubicBezTo>
                    <a:cubicBezTo>
                      <a:pt x="113" y="631"/>
                      <a:pt x="113" y="630"/>
                      <a:pt x="113" y="630"/>
                    </a:cubicBezTo>
                    <a:cubicBezTo>
                      <a:pt x="114" y="630"/>
                      <a:pt x="115" y="631"/>
                      <a:pt x="115" y="631"/>
                    </a:cubicBezTo>
                    <a:cubicBezTo>
                      <a:pt x="117" y="633"/>
                      <a:pt x="118" y="634"/>
                      <a:pt x="119" y="636"/>
                    </a:cubicBezTo>
                    <a:cubicBezTo>
                      <a:pt x="119" y="638"/>
                      <a:pt x="121" y="639"/>
                      <a:pt x="123" y="638"/>
                    </a:cubicBezTo>
                    <a:cubicBezTo>
                      <a:pt x="125" y="637"/>
                      <a:pt x="122" y="634"/>
                      <a:pt x="121" y="633"/>
                    </a:cubicBezTo>
                    <a:cubicBezTo>
                      <a:pt x="120" y="632"/>
                      <a:pt x="121" y="631"/>
                      <a:pt x="121" y="629"/>
                    </a:cubicBezTo>
                    <a:cubicBezTo>
                      <a:pt x="121" y="629"/>
                      <a:pt x="121" y="627"/>
                      <a:pt x="122" y="627"/>
                    </a:cubicBezTo>
                    <a:cubicBezTo>
                      <a:pt x="123" y="627"/>
                      <a:pt x="123" y="629"/>
                      <a:pt x="124" y="629"/>
                    </a:cubicBezTo>
                    <a:cubicBezTo>
                      <a:pt x="124" y="631"/>
                      <a:pt x="125" y="632"/>
                      <a:pt x="126" y="633"/>
                    </a:cubicBezTo>
                    <a:cubicBezTo>
                      <a:pt x="127" y="635"/>
                      <a:pt x="128" y="639"/>
                      <a:pt x="129" y="638"/>
                    </a:cubicBezTo>
                    <a:cubicBezTo>
                      <a:pt x="130" y="638"/>
                      <a:pt x="130" y="637"/>
                      <a:pt x="130" y="636"/>
                    </a:cubicBezTo>
                    <a:cubicBezTo>
                      <a:pt x="131" y="636"/>
                      <a:pt x="131" y="636"/>
                      <a:pt x="132" y="636"/>
                    </a:cubicBezTo>
                    <a:cubicBezTo>
                      <a:pt x="133" y="636"/>
                      <a:pt x="133" y="636"/>
                      <a:pt x="134" y="636"/>
                    </a:cubicBezTo>
                    <a:cubicBezTo>
                      <a:pt x="136" y="634"/>
                      <a:pt x="136" y="632"/>
                      <a:pt x="135" y="629"/>
                    </a:cubicBezTo>
                    <a:cubicBezTo>
                      <a:pt x="134" y="625"/>
                      <a:pt x="132" y="630"/>
                      <a:pt x="129" y="629"/>
                    </a:cubicBezTo>
                    <a:cubicBezTo>
                      <a:pt x="128" y="629"/>
                      <a:pt x="127" y="628"/>
                      <a:pt x="127" y="627"/>
                    </a:cubicBezTo>
                    <a:cubicBezTo>
                      <a:pt x="126" y="625"/>
                      <a:pt x="125" y="624"/>
                      <a:pt x="124" y="623"/>
                    </a:cubicBezTo>
                    <a:cubicBezTo>
                      <a:pt x="123" y="623"/>
                      <a:pt x="122" y="622"/>
                      <a:pt x="121" y="621"/>
                    </a:cubicBezTo>
                    <a:cubicBezTo>
                      <a:pt x="121" y="620"/>
                      <a:pt x="120" y="619"/>
                      <a:pt x="120" y="618"/>
                    </a:cubicBezTo>
                    <a:cubicBezTo>
                      <a:pt x="120" y="618"/>
                      <a:pt x="120" y="616"/>
                      <a:pt x="121" y="616"/>
                    </a:cubicBezTo>
                    <a:cubicBezTo>
                      <a:pt x="122" y="617"/>
                      <a:pt x="123" y="618"/>
                      <a:pt x="124" y="619"/>
                    </a:cubicBezTo>
                    <a:cubicBezTo>
                      <a:pt x="125" y="620"/>
                      <a:pt x="127" y="621"/>
                      <a:pt x="128" y="622"/>
                    </a:cubicBezTo>
                    <a:cubicBezTo>
                      <a:pt x="131" y="623"/>
                      <a:pt x="134" y="624"/>
                      <a:pt x="137" y="624"/>
                    </a:cubicBezTo>
                    <a:cubicBezTo>
                      <a:pt x="139" y="625"/>
                      <a:pt x="142" y="627"/>
                      <a:pt x="142" y="629"/>
                    </a:cubicBezTo>
                    <a:cubicBezTo>
                      <a:pt x="142" y="632"/>
                      <a:pt x="142" y="637"/>
                      <a:pt x="140" y="638"/>
                    </a:cubicBezTo>
                    <a:cubicBezTo>
                      <a:pt x="138" y="638"/>
                      <a:pt x="141" y="641"/>
                      <a:pt x="142" y="642"/>
                    </a:cubicBezTo>
                    <a:cubicBezTo>
                      <a:pt x="143" y="643"/>
                      <a:pt x="144" y="643"/>
                      <a:pt x="144" y="645"/>
                    </a:cubicBezTo>
                    <a:cubicBezTo>
                      <a:pt x="145" y="647"/>
                      <a:pt x="145" y="648"/>
                      <a:pt x="146" y="649"/>
                    </a:cubicBezTo>
                    <a:cubicBezTo>
                      <a:pt x="147" y="650"/>
                      <a:pt x="148" y="651"/>
                      <a:pt x="149" y="652"/>
                    </a:cubicBezTo>
                    <a:cubicBezTo>
                      <a:pt x="150" y="652"/>
                      <a:pt x="152" y="653"/>
                      <a:pt x="153" y="654"/>
                    </a:cubicBezTo>
                    <a:cubicBezTo>
                      <a:pt x="154" y="656"/>
                      <a:pt x="151" y="658"/>
                      <a:pt x="152" y="661"/>
                    </a:cubicBezTo>
                    <a:cubicBezTo>
                      <a:pt x="153" y="662"/>
                      <a:pt x="152" y="661"/>
                      <a:pt x="152" y="661"/>
                    </a:cubicBezTo>
                    <a:close/>
                    <a:moveTo>
                      <a:pt x="1401" y="815"/>
                    </a:moveTo>
                    <a:cubicBezTo>
                      <a:pt x="1400" y="818"/>
                      <a:pt x="1399" y="820"/>
                      <a:pt x="1398" y="823"/>
                    </a:cubicBezTo>
                    <a:cubicBezTo>
                      <a:pt x="1396" y="825"/>
                      <a:pt x="1395" y="827"/>
                      <a:pt x="1395" y="830"/>
                    </a:cubicBezTo>
                    <a:cubicBezTo>
                      <a:pt x="1395" y="832"/>
                      <a:pt x="1396" y="835"/>
                      <a:pt x="1395" y="838"/>
                    </a:cubicBezTo>
                    <a:cubicBezTo>
                      <a:pt x="1395" y="840"/>
                      <a:pt x="1394" y="843"/>
                      <a:pt x="1393" y="845"/>
                    </a:cubicBezTo>
                    <a:cubicBezTo>
                      <a:pt x="1390" y="850"/>
                      <a:pt x="1385" y="839"/>
                      <a:pt x="1383" y="845"/>
                    </a:cubicBezTo>
                    <a:cubicBezTo>
                      <a:pt x="1382" y="846"/>
                      <a:pt x="1382" y="848"/>
                      <a:pt x="1382" y="849"/>
                    </a:cubicBezTo>
                    <a:cubicBezTo>
                      <a:pt x="1382" y="851"/>
                      <a:pt x="1385" y="850"/>
                      <a:pt x="1386" y="850"/>
                    </a:cubicBezTo>
                    <a:cubicBezTo>
                      <a:pt x="1388" y="850"/>
                      <a:pt x="1386" y="852"/>
                      <a:pt x="1385" y="853"/>
                    </a:cubicBezTo>
                    <a:cubicBezTo>
                      <a:pt x="1383" y="854"/>
                      <a:pt x="1381" y="855"/>
                      <a:pt x="1379" y="857"/>
                    </a:cubicBezTo>
                    <a:cubicBezTo>
                      <a:pt x="1378" y="859"/>
                      <a:pt x="1377" y="861"/>
                      <a:pt x="1375" y="863"/>
                    </a:cubicBezTo>
                    <a:cubicBezTo>
                      <a:pt x="1374" y="865"/>
                      <a:pt x="1371" y="866"/>
                      <a:pt x="1369" y="867"/>
                    </a:cubicBezTo>
                    <a:cubicBezTo>
                      <a:pt x="1366" y="867"/>
                      <a:pt x="1363" y="868"/>
                      <a:pt x="1361" y="870"/>
                    </a:cubicBezTo>
                    <a:cubicBezTo>
                      <a:pt x="1359" y="871"/>
                      <a:pt x="1357" y="873"/>
                      <a:pt x="1354" y="875"/>
                    </a:cubicBezTo>
                    <a:cubicBezTo>
                      <a:pt x="1352" y="876"/>
                      <a:pt x="1350" y="876"/>
                      <a:pt x="1347" y="877"/>
                    </a:cubicBezTo>
                    <a:cubicBezTo>
                      <a:pt x="1344" y="877"/>
                      <a:pt x="1343" y="878"/>
                      <a:pt x="1342" y="881"/>
                    </a:cubicBezTo>
                    <a:cubicBezTo>
                      <a:pt x="1341" y="883"/>
                      <a:pt x="1340" y="886"/>
                      <a:pt x="1338" y="888"/>
                    </a:cubicBezTo>
                    <a:cubicBezTo>
                      <a:pt x="1336" y="890"/>
                      <a:pt x="1333" y="891"/>
                      <a:pt x="1331" y="892"/>
                    </a:cubicBezTo>
                    <a:cubicBezTo>
                      <a:pt x="1325" y="894"/>
                      <a:pt x="1319" y="896"/>
                      <a:pt x="1313" y="896"/>
                    </a:cubicBezTo>
                    <a:cubicBezTo>
                      <a:pt x="1310" y="896"/>
                      <a:pt x="1307" y="896"/>
                      <a:pt x="1304" y="895"/>
                    </a:cubicBezTo>
                    <a:cubicBezTo>
                      <a:pt x="1303" y="895"/>
                      <a:pt x="1299" y="895"/>
                      <a:pt x="1298" y="893"/>
                    </a:cubicBezTo>
                    <a:cubicBezTo>
                      <a:pt x="1298" y="891"/>
                      <a:pt x="1301" y="890"/>
                      <a:pt x="1303" y="889"/>
                    </a:cubicBezTo>
                    <a:cubicBezTo>
                      <a:pt x="1305" y="888"/>
                      <a:pt x="1308" y="888"/>
                      <a:pt x="1311" y="887"/>
                    </a:cubicBezTo>
                    <a:cubicBezTo>
                      <a:pt x="1316" y="887"/>
                      <a:pt x="1321" y="886"/>
                      <a:pt x="1326" y="884"/>
                    </a:cubicBezTo>
                    <a:cubicBezTo>
                      <a:pt x="1328" y="883"/>
                      <a:pt x="1330" y="881"/>
                      <a:pt x="1331" y="879"/>
                    </a:cubicBezTo>
                    <a:cubicBezTo>
                      <a:pt x="1333" y="877"/>
                      <a:pt x="1334" y="874"/>
                      <a:pt x="1336" y="873"/>
                    </a:cubicBezTo>
                    <a:cubicBezTo>
                      <a:pt x="1340" y="870"/>
                      <a:pt x="1345" y="870"/>
                      <a:pt x="1348" y="866"/>
                    </a:cubicBezTo>
                    <a:cubicBezTo>
                      <a:pt x="1349" y="864"/>
                      <a:pt x="1348" y="861"/>
                      <a:pt x="1350" y="860"/>
                    </a:cubicBezTo>
                    <a:cubicBezTo>
                      <a:pt x="1352" y="858"/>
                      <a:pt x="1355" y="857"/>
                      <a:pt x="1357" y="855"/>
                    </a:cubicBezTo>
                    <a:cubicBezTo>
                      <a:pt x="1364" y="850"/>
                      <a:pt x="1370" y="844"/>
                      <a:pt x="1375" y="838"/>
                    </a:cubicBezTo>
                    <a:cubicBezTo>
                      <a:pt x="1378" y="834"/>
                      <a:pt x="1380" y="831"/>
                      <a:pt x="1383" y="827"/>
                    </a:cubicBezTo>
                    <a:cubicBezTo>
                      <a:pt x="1384" y="825"/>
                      <a:pt x="1386" y="824"/>
                      <a:pt x="1387" y="822"/>
                    </a:cubicBezTo>
                    <a:cubicBezTo>
                      <a:pt x="1387" y="820"/>
                      <a:pt x="1388" y="818"/>
                      <a:pt x="1388" y="816"/>
                    </a:cubicBezTo>
                    <a:cubicBezTo>
                      <a:pt x="1389" y="812"/>
                      <a:pt x="1390" y="807"/>
                      <a:pt x="1392" y="804"/>
                    </a:cubicBezTo>
                    <a:cubicBezTo>
                      <a:pt x="1393" y="802"/>
                      <a:pt x="1394" y="801"/>
                      <a:pt x="1395" y="800"/>
                    </a:cubicBezTo>
                    <a:cubicBezTo>
                      <a:pt x="1397" y="799"/>
                      <a:pt x="1398" y="797"/>
                      <a:pt x="1399" y="797"/>
                    </a:cubicBezTo>
                    <a:cubicBezTo>
                      <a:pt x="1406" y="793"/>
                      <a:pt x="1401" y="813"/>
                      <a:pt x="1401" y="815"/>
                    </a:cubicBezTo>
                    <a:cubicBezTo>
                      <a:pt x="1400" y="817"/>
                      <a:pt x="1401" y="815"/>
                      <a:pt x="1401" y="815"/>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67" name="Freeform 394">
                <a:extLst>
                  <a:ext uri="{FF2B5EF4-FFF2-40B4-BE49-F238E27FC236}">
                    <a16:creationId xmlns:a16="http://schemas.microsoft.com/office/drawing/2014/main" id="{5E09D894-65C7-5FDC-3A97-0F35EA1FCCE6}"/>
                  </a:ext>
                </a:extLst>
              </p:cNvPr>
              <p:cNvSpPr/>
              <p:nvPr>
                <p:custDataLst>
                  <p:tags r:id="rId205"/>
                </p:custDataLst>
              </p:nvPr>
            </p:nvSpPr>
            <p:spPr bwMode="auto">
              <a:xfrm>
                <a:off x="5621034" y="3096814"/>
                <a:ext cx="110973" cy="57400"/>
              </a:xfrm>
              <a:custGeom>
                <a:avLst/>
                <a:gdLst>
                  <a:gd name="T0" fmla="*/ 23 w 75"/>
                  <a:gd name="T1" fmla="*/ 8 h 39"/>
                  <a:gd name="T2" fmla="*/ 17 w 75"/>
                  <a:gd name="T3" fmla="*/ 9 h 39"/>
                  <a:gd name="T4" fmla="*/ 12 w 75"/>
                  <a:gd name="T5" fmla="*/ 15 h 39"/>
                  <a:gd name="T6" fmla="*/ 9 w 75"/>
                  <a:gd name="T7" fmla="*/ 18 h 39"/>
                  <a:gd name="T8" fmla="*/ 7 w 75"/>
                  <a:gd name="T9" fmla="*/ 20 h 39"/>
                  <a:gd name="T10" fmla="*/ 4 w 75"/>
                  <a:gd name="T11" fmla="*/ 23 h 39"/>
                  <a:gd name="T12" fmla="*/ 2 w 75"/>
                  <a:gd name="T13" fmla="*/ 27 h 39"/>
                  <a:gd name="T14" fmla="*/ 2 w 75"/>
                  <a:gd name="T15" fmla="*/ 31 h 39"/>
                  <a:gd name="T16" fmla="*/ 8 w 75"/>
                  <a:gd name="T17" fmla="*/ 28 h 39"/>
                  <a:gd name="T18" fmla="*/ 14 w 75"/>
                  <a:gd name="T19" fmla="*/ 29 h 39"/>
                  <a:gd name="T20" fmla="*/ 15 w 75"/>
                  <a:gd name="T21" fmla="*/ 32 h 39"/>
                  <a:gd name="T22" fmla="*/ 16 w 75"/>
                  <a:gd name="T23" fmla="*/ 36 h 39"/>
                  <a:gd name="T24" fmla="*/ 17 w 75"/>
                  <a:gd name="T25" fmla="*/ 38 h 39"/>
                  <a:gd name="T26" fmla="*/ 19 w 75"/>
                  <a:gd name="T27" fmla="*/ 37 h 39"/>
                  <a:gd name="T28" fmla="*/ 23 w 75"/>
                  <a:gd name="T29" fmla="*/ 37 h 39"/>
                  <a:gd name="T30" fmla="*/ 30 w 75"/>
                  <a:gd name="T31" fmla="*/ 37 h 39"/>
                  <a:gd name="T32" fmla="*/ 38 w 75"/>
                  <a:gd name="T33" fmla="*/ 29 h 39"/>
                  <a:gd name="T34" fmla="*/ 42 w 75"/>
                  <a:gd name="T35" fmla="*/ 31 h 39"/>
                  <a:gd name="T36" fmla="*/ 47 w 75"/>
                  <a:gd name="T37" fmla="*/ 37 h 39"/>
                  <a:gd name="T38" fmla="*/ 49 w 75"/>
                  <a:gd name="T39" fmla="*/ 38 h 39"/>
                  <a:gd name="T40" fmla="*/ 52 w 75"/>
                  <a:gd name="T41" fmla="*/ 35 h 39"/>
                  <a:gd name="T42" fmla="*/ 55 w 75"/>
                  <a:gd name="T43" fmla="*/ 30 h 39"/>
                  <a:gd name="T44" fmla="*/ 58 w 75"/>
                  <a:gd name="T45" fmla="*/ 27 h 39"/>
                  <a:gd name="T46" fmla="*/ 64 w 75"/>
                  <a:gd name="T47" fmla="*/ 29 h 39"/>
                  <a:gd name="T48" fmla="*/ 67 w 75"/>
                  <a:gd name="T49" fmla="*/ 31 h 39"/>
                  <a:gd name="T50" fmla="*/ 68 w 75"/>
                  <a:gd name="T51" fmla="*/ 29 h 39"/>
                  <a:gd name="T52" fmla="*/ 69 w 75"/>
                  <a:gd name="T53" fmla="*/ 25 h 39"/>
                  <a:gd name="T54" fmla="*/ 74 w 75"/>
                  <a:gd name="T55" fmla="*/ 24 h 39"/>
                  <a:gd name="T56" fmla="*/ 75 w 75"/>
                  <a:gd name="T57" fmla="*/ 18 h 39"/>
                  <a:gd name="T58" fmla="*/ 72 w 75"/>
                  <a:gd name="T59" fmla="*/ 20 h 39"/>
                  <a:gd name="T60" fmla="*/ 66 w 75"/>
                  <a:gd name="T61" fmla="*/ 18 h 39"/>
                  <a:gd name="T62" fmla="*/ 60 w 75"/>
                  <a:gd name="T63" fmla="*/ 14 h 39"/>
                  <a:gd name="T64" fmla="*/ 60 w 75"/>
                  <a:gd name="T65" fmla="*/ 7 h 39"/>
                  <a:gd name="T66" fmla="*/ 60 w 75"/>
                  <a:gd name="T67" fmla="*/ 6 h 39"/>
                  <a:gd name="T68" fmla="*/ 58 w 75"/>
                  <a:gd name="T69" fmla="*/ 5 h 39"/>
                  <a:gd name="T70" fmla="*/ 55 w 75"/>
                  <a:gd name="T71" fmla="*/ 4 h 39"/>
                  <a:gd name="T72" fmla="*/ 47 w 75"/>
                  <a:gd name="T73" fmla="*/ 2 h 39"/>
                  <a:gd name="T74" fmla="*/ 42 w 75"/>
                  <a:gd name="T75" fmla="*/ 2 h 39"/>
                  <a:gd name="T76" fmla="*/ 36 w 75"/>
                  <a:gd name="T77" fmla="*/ 5 h 39"/>
                  <a:gd name="T78" fmla="*/ 28 w 75"/>
                  <a:gd name="T79" fmla="*/ 5 h 39"/>
                  <a:gd name="T80" fmla="*/ 22 w 75"/>
                  <a:gd name="T81" fmla="*/ 8 h 39"/>
                  <a:gd name="T82" fmla="*/ 23 w 75"/>
                  <a:gd name="T83" fmla="*/ 8 h 39"/>
                  <a:gd name="T84" fmla="*/ 23 w 75"/>
                  <a:gd name="T85"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 h="39">
                    <a:moveTo>
                      <a:pt x="23" y="8"/>
                    </a:moveTo>
                    <a:cubicBezTo>
                      <a:pt x="21" y="8"/>
                      <a:pt x="19" y="7"/>
                      <a:pt x="17" y="9"/>
                    </a:cubicBezTo>
                    <a:cubicBezTo>
                      <a:pt x="16" y="11"/>
                      <a:pt x="15" y="14"/>
                      <a:pt x="12" y="15"/>
                    </a:cubicBezTo>
                    <a:cubicBezTo>
                      <a:pt x="11" y="16"/>
                      <a:pt x="10" y="17"/>
                      <a:pt x="9" y="18"/>
                    </a:cubicBezTo>
                    <a:cubicBezTo>
                      <a:pt x="8" y="18"/>
                      <a:pt x="8" y="19"/>
                      <a:pt x="7" y="20"/>
                    </a:cubicBezTo>
                    <a:cubicBezTo>
                      <a:pt x="6" y="21"/>
                      <a:pt x="5" y="22"/>
                      <a:pt x="4" y="23"/>
                    </a:cubicBezTo>
                    <a:cubicBezTo>
                      <a:pt x="3" y="25"/>
                      <a:pt x="3" y="26"/>
                      <a:pt x="2" y="27"/>
                    </a:cubicBezTo>
                    <a:cubicBezTo>
                      <a:pt x="2" y="28"/>
                      <a:pt x="0" y="32"/>
                      <a:pt x="2" y="31"/>
                    </a:cubicBezTo>
                    <a:cubicBezTo>
                      <a:pt x="4" y="30"/>
                      <a:pt x="6" y="28"/>
                      <a:pt x="8" y="28"/>
                    </a:cubicBezTo>
                    <a:cubicBezTo>
                      <a:pt x="10" y="27"/>
                      <a:pt x="13" y="27"/>
                      <a:pt x="14" y="29"/>
                    </a:cubicBezTo>
                    <a:cubicBezTo>
                      <a:pt x="15" y="30"/>
                      <a:pt x="15" y="31"/>
                      <a:pt x="15" y="32"/>
                    </a:cubicBezTo>
                    <a:cubicBezTo>
                      <a:pt x="15" y="33"/>
                      <a:pt x="16" y="34"/>
                      <a:pt x="16" y="36"/>
                    </a:cubicBezTo>
                    <a:cubicBezTo>
                      <a:pt x="17" y="36"/>
                      <a:pt x="17" y="37"/>
                      <a:pt x="17" y="38"/>
                    </a:cubicBezTo>
                    <a:cubicBezTo>
                      <a:pt x="17" y="38"/>
                      <a:pt x="18" y="38"/>
                      <a:pt x="19" y="37"/>
                    </a:cubicBezTo>
                    <a:cubicBezTo>
                      <a:pt x="20" y="37"/>
                      <a:pt x="21" y="37"/>
                      <a:pt x="23" y="37"/>
                    </a:cubicBezTo>
                    <a:cubicBezTo>
                      <a:pt x="25" y="36"/>
                      <a:pt x="28" y="37"/>
                      <a:pt x="30" y="37"/>
                    </a:cubicBezTo>
                    <a:cubicBezTo>
                      <a:pt x="34" y="36"/>
                      <a:pt x="34" y="31"/>
                      <a:pt x="38" y="29"/>
                    </a:cubicBezTo>
                    <a:cubicBezTo>
                      <a:pt x="40" y="28"/>
                      <a:pt x="41" y="29"/>
                      <a:pt x="42" y="31"/>
                    </a:cubicBezTo>
                    <a:cubicBezTo>
                      <a:pt x="43" y="33"/>
                      <a:pt x="45" y="35"/>
                      <a:pt x="47" y="37"/>
                    </a:cubicBezTo>
                    <a:cubicBezTo>
                      <a:pt x="48" y="38"/>
                      <a:pt x="48" y="39"/>
                      <a:pt x="49" y="38"/>
                    </a:cubicBezTo>
                    <a:cubicBezTo>
                      <a:pt x="50" y="37"/>
                      <a:pt x="51" y="36"/>
                      <a:pt x="52" y="35"/>
                    </a:cubicBezTo>
                    <a:cubicBezTo>
                      <a:pt x="53" y="34"/>
                      <a:pt x="54" y="32"/>
                      <a:pt x="55" y="30"/>
                    </a:cubicBezTo>
                    <a:cubicBezTo>
                      <a:pt x="55" y="29"/>
                      <a:pt x="56" y="28"/>
                      <a:pt x="58" y="27"/>
                    </a:cubicBezTo>
                    <a:cubicBezTo>
                      <a:pt x="60" y="27"/>
                      <a:pt x="62" y="28"/>
                      <a:pt x="64" y="29"/>
                    </a:cubicBezTo>
                    <a:cubicBezTo>
                      <a:pt x="65" y="30"/>
                      <a:pt x="66" y="31"/>
                      <a:pt x="67" y="31"/>
                    </a:cubicBezTo>
                    <a:cubicBezTo>
                      <a:pt x="68" y="31"/>
                      <a:pt x="68" y="30"/>
                      <a:pt x="68" y="29"/>
                    </a:cubicBezTo>
                    <a:cubicBezTo>
                      <a:pt x="68" y="28"/>
                      <a:pt x="68" y="27"/>
                      <a:pt x="69" y="25"/>
                    </a:cubicBezTo>
                    <a:cubicBezTo>
                      <a:pt x="70" y="23"/>
                      <a:pt x="72" y="24"/>
                      <a:pt x="74" y="24"/>
                    </a:cubicBezTo>
                    <a:cubicBezTo>
                      <a:pt x="75" y="24"/>
                      <a:pt x="75" y="19"/>
                      <a:pt x="75" y="18"/>
                    </a:cubicBezTo>
                    <a:cubicBezTo>
                      <a:pt x="75" y="17"/>
                      <a:pt x="72" y="20"/>
                      <a:pt x="72" y="20"/>
                    </a:cubicBezTo>
                    <a:cubicBezTo>
                      <a:pt x="70" y="20"/>
                      <a:pt x="67" y="19"/>
                      <a:pt x="66" y="18"/>
                    </a:cubicBezTo>
                    <a:cubicBezTo>
                      <a:pt x="64" y="17"/>
                      <a:pt x="61" y="16"/>
                      <a:pt x="60" y="14"/>
                    </a:cubicBezTo>
                    <a:cubicBezTo>
                      <a:pt x="59" y="12"/>
                      <a:pt x="60" y="10"/>
                      <a:pt x="60" y="7"/>
                    </a:cubicBezTo>
                    <a:cubicBezTo>
                      <a:pt x="60" y="7"/>
                      <a:pt x="60" y="6"/>
                      <a:pt x="60" y="6"/>
                    </a:cubicBezTo>
                    <a:cubicBezTo>
                      <a:pt x="60" y="6"/>
                      <a:pt x="59" y="5"/>
                      <a:pt x="58" y="5"/>
                    </a:cubicBezTo>
                    <a:cubicBezTo>
                      <a:pt x="57" y="5"/>
                      <a:pt x="56" y="4"/>
                      <a:pt x="55" y="4"/>
                    </a:cubicBezTo>
                    <a:cubicBezTo>
                      <a:pt x="52" y="3"/>
                      <a:pt x="49" y="4"/>
                      <a:pt x="47" y="2"/>
                    </a:cubicBezTo>
                    <a:cubicBezTo>
                      <a:pt x="45" y="1"/>
                      <a:pt x="44" y="0"/>
                      <a:pt x="42" y="2"/>
                    </a:cubicBezTo>
                    <a:cubicBezTo>
                      <a:pt x="40" y="3"/>
                      <a:pt x="38" y="4"/>
                      <a:pt x="36" y="5"/>
                    </a:cubicBezTo>
                    <a:cubicBezTo>
                      <a:pt x="33" y="5"/>
                      <a:pt x="31" y="5"/>
                      <a:pt x="28" y="5"/>
                    </a:cubicBezTo>
                    <a:cubicBezTo>
                      <a:pt x="26" y="6"/>
                      <a:pt x="24" y="7"/>
                      <a:pt x="22" y="8"/>
                    </a:cubicBezTo>
                    <a:cubicBezTo>
                      <a:pt x="22" y="8"/>
                      <a:pt x="23" y="8"/>
                      <a:pt x="23" y="8"/>
                    </a:cubicBezTo>
                    <a:cubicBezTo>
                      <a:pt x="21" y="8"/>
                      <a:pt x="23" y="8"/>
                      <a:pt x="23" y="8"/>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68" name="Freeform 398">
                <a:extLst>
                  <a:ext uri="{FF2B5EF4-FFF2-40B4-BE49-F238E27FC236}">
                    <a16:creationId xmlns:a16="http://schemas.microsoft.com/office/drawing/2014/main" id="{5AE5CFDF-1E37-BE27-6F50-A3A79DEBC950}"/>
                  </a:ext>
                </a:extLst>
              </p:cNvPr>
              <p:cNvSpPr/>
              <p:nvPr>
                <p:custDataLst>
                  <p:tags r:id="rId206"/>
                </p:custDataLst>
              </p:nvPr>
            </p:nvSpPr>
            <p:spPr bwMode="auto">
              <a:xfrm>
                <a:off x="6064924" y="4095568"/>
                <a:ext cx="307407" cy="220670"/>
              </a:xfrm>
              <a:custGeom>
                <a:avLst/>
                <a:gdLst>
                  <a:gd name="T0" fmla="*/ 198 w 207"/>
                  <a:gd name="T1" fmla="*/ 129 h 148"/>
                  <a:gd name="T2" fmla="*/ 207 w 207"/>
                  <a:gd name="T3" fmla="*/ 127 h 148"/>
                  <a:gd name="T4" fmla="*/ 203 w 207"/>
                  <a:gd name="T5" fmla="*/ 118 h 148"/>
                  <a:gd name="T6" fmla="*/ 194 w 207"/>
                  <a:gd name="T7" fmla="*/ 110 h 148"/>
                  <a:gd name="T8" fmla="*/ 189 w 207"/>
                  <a:gd name="T9" fmla="*/ 98 h 148"/>
                  <a:gd name="T10" fmla="*/ 178 w 207"/>
                  <a:gd name="T11" fmla="*/ 86 h 148"/>
                  <a:gd name="T12" fmla="*/ 165 w 207"/>
                  <a:gd name="T13" fmla="*/ 77 h 148"/>
                  <a:gd name="T14" fmla="*/ 163 w 207"/>
                  <a:gd name="T15" fmla="*/ 66 h 148"/>
                  <a:gd name="T16" fmla="*/ 175 w 207"/>
                  <a:gd name="T17" fmla="*/ 64 h 148"/>
                  <a:gd name="T18" fmla="*/ 178 w 207"/>
                  <a:gd name="T19" fmla="*/ 55 h 148"/>
                  <a:gd name="T20" fmla="*/ 178 w 207"/>
                  <a:gd name="T21" fmla="*/ 47 h 148"/>
                  <a:gd name="T22" fmla="*/ 176 w 207"/>
                  <a:gd name="T23" fmla="*/ 41 h 148"/>
                  <a:gd name="T24" fmla="*/ 169 w 207"/>
                  <a:gd name="T25" fmla="*/ 30 h 148"/>
                  <a:gd name="T26" fmla="*/ 162 w 207"/>
                  <a:gd name="T27" fmla="*/ 17 h 148"/>
                  <a:gd name="T28" fmla="*/ 164 w 207"/>
                  <a:gd name="T29" fmla="*/ 1 h 148"/>
                  <a:gd name="T30" fmla="*/ 158 w 207"/>
                  <a:gd name="T31" fmla="*/ 4 h 148"/>
                  <a:gd name="T32" fmla="*/ 150 w 207"/>
                  <a:gd name="T33" fmla="*/ 8 h 148"/>
                  <a:gd name="T34" fmla="*/ 151 w 207"/>
                  <a:gd name="T35" fmla="*/ 17 h 148"/>
                  <a:gd name="T36" fmla="*/ 149 w 207"/>
                  <a:gd name="T37" fmla="*/ 24 h 148"/>
                  <a:gd name="T38" fmla="*/ 140 w 207"/>
                  <a:gd name="T39" fmla="*/ 35 h 148"/>
                  <a:gd name="T40" fmla="*/ 127 w 207"/>
                  <a:gd name="T41" fmla="*/ 45 h 148"/>
                  <a:gd name="T42" fmla="*/ 108 w 207"/>
                  <a:gd name="T43" fmla="*/ 36 h 148"/>
                  <a:gd name="T44" fmla="*/ 102 w 207"/>
                  <a:gd name="T45" fmla="*/ 40 h 148"/>
                  <a:gd name="T46" fmla="*/ 99 w 207"/>
                  <a:gd name="T47" fmla="*/ 45 h 148"/>
                  <a:gd name="T48" fmla="*/ 86 w 207"/>
                  <a:gd name="T49" fmla="*/ 51 h 148"/>
                  <a:gd name="T50" fmla="*/ 75 w 207"/>
                  <a:gd name="T51" fmla="*/ 48 h 148"/>
                  <a:gd name="T52" fmla="*/ 59 w 207"/>
                  <a:gd name="T53" fmla="*/ 47 h 148"/>
                  <a:gd name="T54" fmla="*/ 44 w 207"/>
                  <a:gd name="T55" fmla="*/ 45 h 148"/>
                  <a:gd name="T56" fmla="*/ 39 w 207"/>
                  <a:gd name="T57" fmla="*/ 34 h 148"/>
                  <a:gd name="T58" fmla="*/ 28 w 207"/>
                  <a:gd name="T59" fmla="*/ 35 h 148"/>
                  <a:gd name="T60" fmla="*/ 16 w 207"/>
                  <a:gd name="T61" fmla="*/ 43 h 148"/>
                  <a:gd name="T62" fmla="*/ 3 w 207"/>
                  <a:gd name="T63" fmla="*/ 46 h 148"/>
                  <a:gd name="T64" fmla="*/ 0 w 207"/>
                  <a:gd name="T65" fmla="*/ 56 h 148"/>
                  <a:gd name="T66" fmla="*/ 7 w 207"/>
                  <a:gd name="T67" fmla="*/ 60 h 148"/>
                  <a:gd name="T68" fmla="*/ 12 w 207"/>
                  <a:gd name="T69" fmla="*/ 67 h 148"/>
                  <a:gd name="T70" fmla="*/ 24 w 207"/>
                  <a:gd name="T71" fmla="*/ 70 h 148"/>
                  <a:gd name="T72" fmla="*/ 30 w 207"/>
                  <a:gd name="T73" fmla="*/ 79 h 148"/>
                  <a:gd name="T74" fmla="*/ 46 w 207"/>
                  <a:gd name="T75" fmla="*/ 93 h 148"/>
                  <a:gd name="T76" fmla="*/ 52 w 207"/>
                  <a:gd name="T77" fmla="*/ 105 h 148"/>
                  <a:gd name="T78" fmla="*/ 63 w 207"/>
                  <a:gd name="T79" fmla="*/ 116 h 148"/>
                  <a:gd name="T80" fmla="*/ 66 w 207"/>
                  <a:gd name="T81" fmla="*/ 122 h 148"/>
                  <a:gd name="T82" fmla="*/ 75 w 207"/>
                  <a:gd name="T83" fmla="*/ 132 h 148"/>
                  <a:gd name="T84" fmla="*/ 91 w 207"/>
                  <a:gd name="T85" fmla="*/ 134 h 148"/>
                  <a:gd name="T86" fmla="*/ 106 w 207"/>
                  <a:gd name="T87" fmla="*/ 131 h 148"/>
                  <a:gd name="T88" fmla="*/ 113 w 207"/>
                  <a:gd name="T89" fmla="*/ 140 h 148"/>
                  <a:gd name="T90" fmla="*/ 120 w 207"/>
                  <a:gd name="T91" fmla="*/ 143 h 148"/>
                  <a:gd name="T92" fmla="*/ 123 w 207"/>
                  <a:gd name="T93" fmla="*/ 148 h 148"/>
                  <a:gd name="T94" fmla="*/ 128 w 207"/>
                  <a:gd name="T95" fmla="*/ 144 h 148"/>
                  <a:gd name="T96" fmla="*/ 141 w 207"/>
                  <a:gd name="T97" fmla="*/ 144 h 148"/>
                  <a:gd name="T98" fmla="*/ 148 w 207"/>
                  <a:gd name="T99" fmla="*/ 147 h 148"/>
                  <a:gd name="T100" fmla="*/ 160 w 207"/>
                  <a:gd name="T101" fmla="*/ 143 h 148"/>
                  <a:gd name="T102" fmla="*/ 175 w 207"/>
                  <a:gd name="T103" fmla="*/ 137 h 148"/>
                  <a:gd name="T104" fmla="*/ 182 w 207"/>
                  <a:gd name="T105" fmla="*/ 13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6" h="148">
                    <a:moveTo>
                      <a:pt x="182" y="131"/>
                    </a:moveTo>
                    <a:cubicBezTo>
                      <a:pt x="186" y="128"/>
                      <a:pt x="193" y="129"/>
                      <a:pt x="198" y="129"/>
                    </a:cubicBezTo>
                    <a:cubicBezTo>
                      <a:pt x="201" y="129"/>
                      <a:pt x="203" y="129"/>
                      <a:pt x="206" y="129"/>
                    </a:cubicBezTo>
                    <a:cubicBezTo>
                      <a:pt x="207" y="129"/>
                      <a:pt x="207" y="128"/>
                      <a:pt x="207" y="127"/>
                    </a:cubicBezTo>
                    <a:cubicBezTo>
                      <a:pt x="207" y="125"/>
                      <a:pt x="207" y="123"/>
                      <a:pt x="207" y="121"/>
                    </a:cubicBezTo>
                    <a:cubicBezTo>
                      <a:pt x="207" y="119"/>
                      <a:pt x="205" y="119"/>
                      <a:pt x="203" y="118"/>
                    </a:cubicBezTo>
                    <a:cubicBezTo>
                      <a:pt x="200" y="116"/>
                      <a:pt x="197" y="115"/>
                      <a:pt x="196" y="113"/>
                    </a:cubicBezTo>
                    <a:cubicBezTo>
                      <a:pt x="195" y="112"/>
                      <a:pt x="194" y="111"/>
                      <a:pt x="194" y="110"/>
                    </a:cubicBezTo>
                    <a:cubicBezTo>
                      <a:pt x="194" y="108"/>
                      <a:pt x="193" y="107"/>
                      <a:pt x="193" y="106"/>
                    </a:cubicBezTo>
                    <a:cubicBezTo>
                      <a:pt x="192" y="103"/>
                      <a:pt x="191" y="100"/>
                      <a:pt x="189" y="98"/>
                    </a:cubicBezTo>
                    <a:cubicBezTo>
                      <a:pt x="188" y="96"/>
                      <a:pt x="186" y="94"/>
                      <a:pt x="184" y="93"/>
                    </a:cubicBezTo>
                    <a:cubicBezTo>
                      <a:pt x="182" y="90"/>
                      <a:pt x="180" y="88"/>
                      <a:pt x="178" y="86"/>
                    </a:cubicBezTo>
                    <a:cubicBezTo>
                      <a:pt x="176" y="84"/>
                      <a:pt x="175" y="82"/>
                      <a:pt x="173" y="81"/>
                    </a:cubicBezTo>
                    <a:cubicBezTo>
                      <a:pt x="171" y="79"/>
                      <a:pt x="168" y="78"/>
                      <a:pt x="165" y="77"/>
                    </a:cubicBezTo>
                    <a:cubicBezTo>
                      <a:pt x="164" y="76"/>
                      <a:pt x="161" y="76"/>
                      <a:pt x="161" y="73"/>
                    </a:cubicBezTo>
                    <a:cubicBezTo>
                      <a:pt x="160" y="71"/>
                      <a:pt x="162" y="68"/>
                      <a:pt x="163" y="66"/>
                    </a:cubicBezTo>
                    <a:cubicBezTo>
                      <a:pt x="165" y="64"/>
                      <a:pt x="167" y="64"/>
                      <a:pt x="170" y="64"/>
                    </a:cubicBezTo>
                    <a:cubicBezTo>
                      <a:pt x="172" y="64"/>
                      <a:pt x="173" y="64"/>
                      <a:pt x="175" y="64"/>
                    </a:cubicBezTo>
                    <a:cubicBezTo>
                      <a:pt x="176" y="64"/>
                      <a:pt x="177" y="64"/>
                      <a:pt x="178" y="63"/>
                    </a:cubicBezTo>
                    <a:cubicBezTo>
                      <a:pt x="178" y="60"/>
                      <a:pt x="178" y="57"/>
                      <a:pt x="178" y="55"/>
                    </a:cubicBezTo>
                    <a:cubicBezTo>
                      <a:pt x="178" y="53"/>
                      <a:pt x="178" y="52"/>
                      <a:pt x="178" y="50"/>
                    </a:cubicBezTo>
                    <a:cubicBezTo>
                      <a:pt x="178" y="49"/>
                      <a:pt x="178" y="48"/>
                      <a:pt x="178" y="47"/>
                    </a:cubicBezTo>
                    <a:cubicBezTo>
                      <a:pt x="178" y="46"/>
                      <a:pt x="177" y="45"/>
                      <a:pt x="176" y="44"/>
                    </a:cubicBezTo>
                    <a:cubicBezTo>
                      <a:pt x="176" y="43"/>
                      <a:pt x="176" y="42"/>
                      <a:pt x="176" y="41"/>
                    </a:cubicBezTo>
                    <a:cubicBezTo>
                      <a:pt x="176" y="39"/>
                      <a:pt x="176" y="36"/>
                      <a:pt x="175" y="34"/>
                    </a:cubicBezTo>
                    <a:cubicBezTo>
                      <a:pt x="173" y="32"/>
                      <a:pt x="171" y="31"/>
                      <a:pt x="169" y="30"/>
                    </a:cubicBezTo>
                    <a:cubicBezTo>
                      <a:pt x="167" y="28"/>
                      <a:pt x="165" y="27"/>
                      <a:pt x="164" y="24"/>
                    </a:cubicBezTo>
                    <a:cubicBezTo>
                      <a:pt x="163" y="22"/>
                      <a:pt x="163" y="19"/>
                      <a:pt x="162" y="17"/>
                    </a:cubicBezTo>
                    <a:cubicBezTo>
                      <a:pt x="162" y="14"/>
                      <a:pt x="161" y="11"/>
                      <a:pt x="162" y="8"/>
                    </a:cubicBezTo>
                    <a:cubicBezTo>
                      <a:pt x="163" y="6"/>
                      <a:pt x="165" y="2"/>
                      <a:pt x="164" y="1"/>
                    </a:cubicBezTo>
                    <a:cubicBezTo>
                      <a:pt x="163" y="1"/>
                      <a:pt x="159" y="0"/>
                      <a:pt x="158" y="1"/>
                    </a:cubicBezTo>
                    <a:cubicBezTo>
                      <a:pt x="158" y="2"/>
                      <a:pt x="158" y="3"/>
                      <a:pt x="158" y="4"/>
                    </a:cubicBezTo>
                    <a:cubicBezTo>
                      <a:pt x="157" y="5"/>
                      <a:pt x="157" y="6"/>
                      <a:pt x="156" y="6"/>
                    </a:cubicBezTo>
                    <a:cubicBezTo>
                      <a:pt x="155" y="7"/>
                      <a:pt x="149" y="6"/>
                      <a:pt x="150" y="8"/>
                    </a:cubicBezTo>
                    <a:cubicBezTo>
                      <a:pt x="150" y="10"/>
                      <a:pt x="151" y="11"/>
                      <a:pt x="151" y="13"/>
                    </a:cubicBezTo>
                    <a:cubicBezTo>
                      <a:pt x="151" y="14"/>
                      <a:pt x="151" y="16"/>
                      <a:pt x="151" y="17"/>
                    </a:cubicBezTo>
                    <a:cubicBezTo>
                      <a:pt x="152" y="18"/>
                      <a:pt x="152" y="20"/>
                      <a:pt x="152" y="21"/>
                    </a:cubicBezTo>
                    <a:cubicBezTo>
                      <a:pt x="151" y="22"/>
                      <a:pt x="150" y="23"/>
                      <a:pt x="149" y="24"/>
                    </a:cubicBezTo>
                    <a:cubicBezTo>
                      <a:pt x="148" y="25"/>
                      <a:pt x="147" y="26"/>
                      <a:pt x="146" y="27"/>
                    </a:cubicBezTo>
                    <a:cubicBezTo>
                      <a:pt x="144" y="30"/>
                      <a:pt x="142" y="32"/>
                      <a:pt x="140" y="35"/>
                    </a:cubicBezTo>
                    <a:cubicBezTo>
                      <a:pt x="138" y="37"/>
                      <a:pt x="135" y="39"/>
                      <a:pt x="133" y="41"/>
                    </a:cubicBezTo>
                    <a:cubicBezTo>
                      <a:pt x="131" y="43"/>
                      <a:pt x="130" y="45"/>
                      <a:pt x="127" y="45"/>
                    </a:cubicBezTo>
                    <a:cubicBezTo>
                      <a:pt x="122" y="45"/>
                      <a:pt x="118" y="42"/>
                      <a:pt x="114" y="39"/>
                    </a:cubicBezTo>
                    <a:cubicBezTo>
                      <a:pt x="112" y="38"/>
                      <a:pt x="111" y="36"/>
                      <a:pt x="108" y="36"/>
                    </a:cubicBezTo>
                    <a:cubicBezTo>
                      <a:pt x="107" y="36"/>
                      <a:pt x="106" y="37"/>
                      <a:pt x="105" y="38"/>
                    </a:cubicBezTo>
                    <a:cubicBezTo>
                      <a:pt x="104" y="39"/>
                      <a:pt x="103" y="39"/>
                      <a:pt x="102" y="40"/>
                    </a:cubicBezTo>
                    <a:cubicBezTo>
                      <a:pt x="102" y="41"/>
                      <a:pt x="102" y="42"/>
                      <a:pt x="101" y="43"/>
                    </a:cubicBezTo>
                    <a:cubicBezTo>
                      <a:pt x="101" y="44"/>
                      <a:pt x="100" y="44"/>
                      <a:pt x="99" y="45"/>
                    </a:cubicBezTo>
                    <a:cubicBezTo>
                      <a:pt x="96" y="46"/>
                      <a:pt x="93" y="43"/>
                      <a:pt x="91" y="46"/>
                    </a:cubicBezTo>
                    <a:cubicBezTo>
                      <a:pt x="89" y="48"/>
                      <a:pt x="89" y="50"/>
                      <a:pt x="86" y="51"/>
                    </a:cubicBezTo>
                    <a:cubicBezTo>
                      <a:pt x="84" y="52"/>
                      <a:pt x="82" y="52"/>
                      <a:pt x="80" y="51"/>
                    </a:cubicBezTo>
                    <a:cubicBezTo>
                      <a:pt x="77" y="51"/>
                      <a:pt x="76" y="50"/>
                      <a:pt x="75" y="48"/>
                    </a:cubicBezTo>
                    <a:cubicBezTo>
                      <a:pt x="73" y="45"/>
                      <a:pt x="70" y="46"/>
                      <a:pt x="67" y="46"/>
                    </a:cubicBezTo>
                    <a:cubicBezTo>
                      <a:pt x="64" y="46"/>
                      <a:pt x="62" y="46"/>
                      <a:pt x="59" y="47"/>
                    </a:cubicBezTo>
                    <a:cubicBezTo>
                      <a:pt x="56" y="48"/>
                      <a:pt x="53" y="49"/>
                      <a:pt x="50" y="49"/>
                    </a:cubicBezTo>
                    <a:cubicBezTo>
                      <a:pt x="48" y="48"/>
                      <a:pt x="45" y="47"/>
                      <a:pt x="44" y="45"/>
                    </a:cubicBezTo>
                    <a:cubicBezTo>
                      <a:pt x="44" y="43"/>
                      <a:pt x="44" y="39"/>
                      <a:pt x="42" y="38"/>
                    </a:cubicBezTo>
                    <a:cubicBezTo>
                      <a:pt x="40" y="37"/>
                      <a:pt x="40" y="35"/>
                      <a:pt x="39" y="34"/>
                    </a:cubicBezTo>
                    <a:cubicBezTo>
                      <a:pt x="38" y="32"/>
                      <a:pt x="36" y="33"/>
                      <a:pt x="34" y="33"/>
                    </a:cubicBezTo>
                    <a:cubicBezTo>
                      <a:pt x="32" y="33"/>
                      <a:pt x="30" y="34"/>
                      <a:pt x="28" y="35"/>
                    </a:cubicBezTo>
                    <a:cubicBezTo>
                      <a:pt x="26" y="36"/>
                      <a:pt x="26" y="38"/>
                      <a:pt x="25" y="40"/>
                    </a:cubicBezTo>
                    <a:cubicBezTo>
                      <a:pt x="23" y="44"/>
                      <a:pt x="19" y="43"/>
                      <a:pt x="16" y="43"/>
                    </a:cubicBezTo>
                    <a:cubicBezTo>
                      <a:pt x="14" y="43"/>
                      <a:pt x="12" y="43"/>
                      <a:pt x="10" y="44"/>
                    </a:cubicBezTo>
                    <a:cubicBezTo>
                      <a:pt x="7" y="46"/>
                      <a:pt x="6" y="46"/>
                      <a:pt x="3" y="46"/>
                    </a:cubicBezTo>
                    <a:cubicBezTo>
                      <a:pt x="3" y="48"/>
                      <a:pt x="3" y="51"/>
                      <a:pt x="1" y="53"/>
                    </a:cubicBezTo>
                    <a:cubicBezTo>
                      <a:pt x="0" y="54"/>
                      <a:pt x="0" y="54"/>
                      <a:pt x="0" y="56"/>
                    </a:cubicBezTo>
                    <a:cubicBezTo>
                      <a:pt x="0" y="57"/>
                      <a:pt x="0" y="58"/>
                      <a:pt x="0" y="59"/>
                    </a:cubicBezTo>
                    <a:cubicBezTo>
                      <a:pt x="0" y="62"/>
                      <a:pt x="5" y="60"/>
                      <a:pt x="7" y="60"/>
                    </a:cubicBezTo>
                    <a:cubicBezTo>
                      <a:pt x="9" y="60"/>
                      <a:pt x="11" y="61"/>
                      <a:pt x="12" y="64"/>
                    </a:cubicBezTo>
                    <a:cubicBezTo>
                      <a:pt x="12" y="65"/>
                      <a:pt x="12" y="66"/>
                      <a:pt x="12" y="67"/>
                    </a:cubicBezTo>
                    <a:cubicBezTo>
                      <a:pt x="13" y="68"/>
                      <a:pt x="15" y="68"/>
                      <a:pt x="16" y="68"/>
                    </a:cubicBezTo>
                    <a:cubicBezTo>
                      <a:pt x="18" y="69"/>
                      <a:pt x="21" y="69"/>
                      <a:pt x="24" y="70"/>
                    </a:cubicBezTo>
                    <a:cubicBezTo>
                      <a:pt x="26" y="72"/>
                      <a:pt x="28" y="74"/>
                      <a:pt x="29" y="76"/>
                    </a:cubicBezTo>
                    <a:cubicBezTo>
                      <a:pt x="29" y="77"/>
                      <a:pt x="29" y="78"/>
                      <a:pt x="30" y="79"/>
                    </a:cubicBezTo>
                    <a:cubicBezTo>
                      <a:pt x="31" y="80"/>
                      <a:pt x="32" y="81"/>
                      <a:pt x="33" y="81"/>
                    </a:cubicBezTo>
                    <a:cubicBezTo>
                      <a:pt x="37" y="85"/>
                      <a:pt x="42" y="89"/>
                      <a:pt x="46" y="93"/>
                    </a:cubicBezTo>
                    <a:cubicBezTo>
                      <a:pt x="48" y="95"/>
                      <a:pt x="49" y="97"/>
                      <a:pt x="49" y="100"/>
                    </a:cubicBezTo>
                    <a:cubicBezTo>
                      <a:pt x="49" y="102"/>
                      <a:pt x="50" y="103"/>
                      <a:pt x="52" y="105"/>
                    </a:cubicBezTo>
                    <a:cubicBezTo>
                      <a:pt x="55" y="106"/>
                      <a:pt x="57" y="108"/>
                      <a:pt x="60" y="109"/>
                    </a:cubicBezTo>
                    <a:cubicBezTo>
                      <a:pt x="62" y="111"/>
                      <a:pt x="64" y="113"/>
                      <a:pt x="63" y="116"/>
                    </a:cubicBezTo>
                    <a:cubicBezTo>
                      <a:pt x="63" y="117"/>
                      <a:pt x="63" y="118"/>
                      <a:pt x="63" y="119"/>
                    </a:cubicBezTo>
                    <a:cubicBezTo>
                      <a:pt x="64" y="120"/>
                      <a:pt x="65" y="121"/>
                      <a:pt x="66" y="122"/>
                    </a:cubicBezTo>
                    <a:cubicBezTo>
                      <a:pt x="68" y="124"/>
                      <a:pt x="70" y="125"/>
                      <a:pt x="71" y="128"/>
                    </a:cubicBezTo>
                    <a:cubicBezTo>
                      <a:pt x="72" y="130"/>
                      <a:pt x="73" y="131"/>
                      <a:pt x="75" y="132"/>
                    </a:cubicBezTo>
                    <a:cubicBezTo>
                      <a:pt x="78" y="134"/>
                      <a:pt x="80" y="136"/>
                      <a:pt x="83" y="134"/>
                    </a:cubicBezTo>
                    <a:cubicBezTo>
                      <a:pt x="86" y="133"/>
                      <a:pt x="88" y="133"/>
                      <a:pt x="91" y="134"/>
                    </a:cubicBezTo>
                    <a:cubicBezTo>
                      <a:pt x="95" y="134"/>
                      <a:pt x="96" y="133"/>
                      <a:pt x="99" y="132"/>
                    </a:cubicBezTo>
                    <a:cubicBezTo>
                      <a:pt x="101" y="131"/>
                      <a:pt x="104" y="130"/>
                      <a:pt x="106" y="131"/>
                    </a:cubicBezTo>
                    <a:cubicBezTo>
                      <a:pt x="108" y="132"/>
                      <a:pt x="107" y="135"/>
                      <a:pt x="108" y="136"/>
                    </a:cubicBezTo>
                    <a:cubicBezTo>
                      <a:pt x="109" y="138"/>
                      <a:pt x="111" y="139"/>
                      <a:pt x="113" y="140"/>
                    </a:cubicBezTo>
                    <a:cubicBezTo>
                      <a:pt x="114" y="140"/>
                      <a:pt x="115" y="141"/>
                      <a:pt x="117" y="141"/>
                    </a:cubicBezTo>
                    <a:cubicBezTo>
                      <a:pt x="118" y="142"/>
                      <a:pt x="120" y="141"/>
                      <a:pt x="120" y="143"/>
                    </a:cubicBezTo>
                    <a:cubicBezTo>
                      <a:pt x="120" y="144"/>
                      <a:pt x="120" y="145"/>
                      <a:pt x="120" y="146"/>
                    </a:cubicBezTo>
                    <a:cubicBezTo>
                      <a:pt x="120" y="147"/>
                      <a:pt x="122" y="148"/>
                      <a:pt x="123" y="148"/>
                    </a:cubicBezTo>
                    <a:cubicBezTo>
                      <a:pt x="124" y="148"/>
                      <a:pt x="124" y="147"/>
                      <a:pt x="125" y="146"/>
                    </a:cubicBezTo>
                    <a:cubicBezTo>
                      <a:pt x="126" y="146"/>
                      <a:pt x="127" y="145"/>
                      <a:pt x="128" y="144"/>
                    </a:cubicBezTo>
                    <a:cubicBezTo>
                      <a:pt x="131" y="144"/>
                      <a:pt x="132" y="147"/>
                      <a:pt x="135" y="147"/>
                    </a:cubicBezTo>
                    <a:cubicBezTo>
                      <a:pt x="137" y="146"/>
                      <a:pt x="138" y="143"/>
                      <a:pt x="141" y="144"/>
                    </a:cubicBezTo>
                    <a:cubicBezTo>
                      <a:pt x="143" y="144"/>
                      <a:pt x="143" y="147"/>
                      <a:pt x="145" y="148"/>
                    </a:cubicBezTo>
                    <a:cubicBezTo>
                      <a:pt x="146" y="148"/>
                      <a:pt x="147" y="147"/>
                      <a:pt x="148" y="147"/>
                    </a:cubicBezTo>
                    <a:cubicBezTo>
                      <a:pt x="149" y="146"/>
                      <a:pt x="150" y="145"/>
                      <a:pt x="152" y="144"/>
                    </a:cubicBezTo>
                    <a:cubicBezTo>
                      <a:pt x="154" y="143"/>
                      <a:pt x="157" y="142"/>
                      <a:pt x="160" y="143"/>
                    </a:cubicBezTo>
                    <a:cubicBezTo>
                      <a:pt x="162" y="143"/>
                      <a:pt x="165" y="144"/>
                      <a:pt x="168" y="144"/>
                    </a:cubicBezTo>
                    <a:cubicBezTo>
                      <a:pt x="171" y="143"/>
                      <a:pt x="173" y="140"/>
                      <a:pt x="175" y="137"/>
                    </a:cubicBezTo>
                    <a:cubicBezTo>
                      <a:pt x="178" y="135"/>
                      <a:pt x="180" y="132"/>
                      <a:pt x="183" y="130"/>
                    </a:cubicBezTo>
                    <a:cubicBezTo>
                      <a:pt x="183" y="130"/>
                      <a:pt x="182" y="130"/>
                      <a:pt x="182" y="131"/>
                    </a:cubicBezTo>
                    <a:cubicBezTo>
                      <a:pt x="185" y="129"/>
                      <a:pt x="182" y="131"/>
                      <a:pt x="182" y="131"/>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69" name="Freeform 399">
                <a:extLst>
                  <a:ext uri="{FF2B5EF4-FFF2-40B4-BE49-F238E27FC236}">
                    <a16:creationId xmlns:a16="http://schemas.microsoft.com/office/drawing/2014/main" id="{600BED23-C77D-1226-F00B-00DF39266BEE}"/>
                  </a:ext>
                </a:extLst>
              </p:cNvPr>
              <p:cNvSpPr/>
              <p:nvPr>
                <p:custDataLst>
                  <p:tags r:id="rId207"/>
                </p:custDataLst>
              </p:nvPr>
            </p:nvSpPr>
            <p:spPr bwMode="auto">
              <a:xfrm>
                <a:off x="5811090" y="3803468"/>
                <a:ext cx="264038" cy="409451"/>
              </a:xfrm>
              <a:custGeom>
                <a:avLst/>
                <a:gdLst>
                  <a:gd name="T0" fmla="*/ 8 w 177"/>
                  <a:gd name="T1" fmla="*/ 180 h 275"/>
                  <a:gd name="T2" fmla="*/ 18 w 177"/>
                  <a:gd name="T3" fmla="*/ 183 h 275"/>
                  <a:gd name="T4" fmla="*/ 24 w 177"/>
                  <a:gd name="T5" fmla="*/ 195 h 275"/>
                  <a:gd name="T6" fmla="*/ 28 w 177"/>
                  <a:gd name="T7" fmla="*/ 211 h 275"/>
                  <a:gd name="T8" fmla="*/ 35 w 177"/>
                  <a:gd name="T9" fmla="*/ 236 h 275"/>
                  <a:gd name="T10" fmla="*/ 19 w 177"/>
                  <a:gd name="T11" fmla="*/ 238 h 275"/>
                  <a:gd name="T12" fmla="*/ 10 w 177"/>
                  <a:gd name="T13" fmla="*/ 239 h 275"/>
                  <a:gd name="T14" fmla="*/ 24 w 177"/>
                  <a:gd name="T15" fmla="*/ 256 h 275"/>
                  <a:gd name="T16" fmla="*/ 35 w 177"/>
                  <a:gd name="T17" fmla="*/ 273 h 275"/>
                  <a:gd name="T18" fmla="*/ 45 w 177"/>
                  <a:gd name="T19" fmla="*/ 273 h 275"/>
                  <a:gd name="T20" fmla="*/ 54 w 177"/>
                  <a:gd name="T21" fmla="*/ 275 h 275"/>
                  <a:gd name="T22" fmla="*/ 74 w 177"/>
                  <a:gd name="T23" fmla="*/ 268 h 275"/>
                  <a:gd name="T24" fmla="*/ 90 w 177"/>
                  <a:gd name="T25" fmla="*/ 261 h 275"/>
                  <a:gd name="T26" fmla="*/ 90 w 177"/>
                  <a:gd name="T27" fmla="*/ 255 h 275"/>
                  <a:gd name="T28" fmla="*/ 104 w 177"/>
                  <a:gd name="T29" fmla="*/ 250 h 275"/>
                  <a:gd name="T30" fmla="*/ 127 w 177"/>
                  <a:gd name="T31" fmla="*/ 238 h 275"/>
                  <a:gd name="T32" fmla="*/ 136 w 177"/>
                  <a:gd name="T33" fmla="*/ 229 h 275"/>
                  <a:gd name="T34" fmla="*/ 142 w 177"/>
                  <a:gd name="T35" fmla="*/ 221 h 275"/>
                  <a:gd name="T36" fmla="*/ 158 w 177"/>
                  <a:gd name="T37" fmla="*/ 217 h 275"/>
                  <a:gd name="T38" fmla="*/ 153 w 177"/>
                  <a:gd name="T39" fmla="*/ 209 h 275"/>
                  <a:gd name="T40" fmla="*/ 150 w 177"/>
                  <a:gd name="T41" fmla="*/ 198 h 275"/>
                  <a:gd name="T42" fmla="*/ 142 w 177"/>
                  <a:gd name="T43" fmla="*/ 190 h 275"/>
                  <a:gd name="T44" fmla="*/ 145 w 177"/>
                  <a:gd name="T45" fmla="*/ 179 h 275"/>
                  <a:gd name="T46" fmla="*/ 146 w 177"/>
                  <a:gd name="T47" fmla="*/ 173 h 275"/>
                  <a:gd name="T48" fmla="*/ 147 w 177"/>
                  <a:gd name="T49" fmla="*/ 165 h 275"/>
                  <a:gd name="T50" fmla="*/ 150 w 177"/>
                  <a:gd name="T51" fmla="*/ 154 h 275"/>
                  <a:gd name="T52" fmla="*/ 156 w 177"/>
                  <a:gd name="T53" fmla="*/ 148 h 275"/>
                  <a:gd name="T54" fmla="*/ 171 w 177"/>
                  <a:gd name="T55" fmla="*/ 135 h 275"/>
                  <a:gd name="T56" fmla="*/ 176 w 177"/>
                  <a:gd name="T57" fmla="*/ 129 h 275"/>
                  <a:gd name="T58" fmla="*/ 176 w 177"/>
                  <a:gd name="T59" fmla="*/ 99 h 275"/>
                  <a:gd name="T60" fmla="*/ 176 w 177"/>
                  <a:gd name="T61" fmla="*/ 70 h 275"/>
                  <a:gd name="T62" fmla="*/ 170 w 177"/>
                  <a:gd name="T63" fmla="*/ 66 h 275"/>
                  <a:gd name="T64" fmla="*/ 64 w 177"/>
                  <a:gd name="T65" fmla="*/ 12 h 275"/>
                  <a:gd name="T66" fmla="*/ 43 w 177"/>
                  <a:gd name="T67" fmla="*/ 1 h 275"/>
                  <a:gd name="T68" fmla="*/ 31 w 177"/>
                  <a:gd name="T69" fmla="*/ 6 h 275"/>
                  <a:gd name="T70" fmla="*/ 27 w 177"/>
                  <a:gd name="T71" fmla="*/ 10 h 275"/>
                  <a:gd name="T72" fmla="*/ 29 w 177"/>
                  <a:gd name="T73" fmla="*/ 29 h 275"/>
                  <a:gd name="T74" fmla="*/ 34 w 177"/>
                  <a:gd name="T75" fmla="*/ 41 h 275"/>
                  <a:gd name="T76" fmla="*/ 41 w 177"/>
                  <a:gd name="T77" fmla="*/ 54 h 275"/>
                  <a:gd name="T78" fmla="*/ 38 w 177"/>
                  <a:gd name="T79" fmla="*/ 69 h 275"/>
                  <a:gd name="T80" fmla="*/ 35 w 177"/>
                  <a:gd name="T81" fmla="*/ 99 h 275"/>
                  <a:gd name="T82" fmla="*/ 33 w 177"/>
                  <a:gd name="T83" fmla="*/ 116 h 275"/>
                  <a:gd name="T84" fmla="*/ 5 w 177"/>
                  <a:gd name="T85" fmla="*/ 152 h 275"/>
                  <a:gd name="T86" fmla="*/ 1 w 177"/>
                  <a:gd name="T87" fmla="*/ 165 h 275"/>
                  <a:gd name="T88" fmla="*/ 5 w 177"/>
                  <a:gd name="T89" fmla="*/ 17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7" h="275">
                    <a:moveTo>
                      <a:pt x="5" y="177"/>
                    </a:moveTo>
                    <a:cubicBezTo>
                      <a:pt x="6" y="178"/>
                      <a:pt x="7" y="179"/>
                      <a:pt x="8" y="180"/>
                    </a:cubicBezTo>
                    <a:cubicBezTo>
                      <a:pt x="9" y="181"/>
                      <a:pt x="9" y="181"/>
                      <a:pt x="11" y="181"/>
                    </a:cubicBezTo>
                    <a:cubicBezTo>
                      <a:pt x="13" y="180"/>
                      <a:pt x="16" y="181"/>
                      <a:pt x="18" y="183"/>
                    </a:cubicBezTo>
                    <a:cubicBezTo>
                      <a:pt x="20" y="184"/>
                      <a:pt x="21" y="185"/>
                      <a:pt x="22" y="188"/>
                    </a:cubicBezTo>
                    <a:cubicBezTo>
                      <a:pt x="23" y="190"/>
                      <a:pt x="23" y="193"/>
                      <a:pt x="24" y="195"/>
                    </a:cubicBezTo>
                    <a:cubicBezTo>
                      <a:pt x="25" y="198"/>
                      <a:pt x="27" y="200"/>
                      <a:pt x="28" y="202"/>
                    </a:cubicBezTo>
                    <a:cubicBezTo>
                      <a:pt x="29" y="205"/>
                      <a:pt x="28" y="208"/>
                      <a:pt x="28" y="211"/>
                    </a:cubicBezTo>
                    <a:cubicBezTo>
                      <a:pt x="26" y="216"/>
                      <a:pt x="28" y="223"/>
                      <a:pt x="30" y="227"/>
                    </a:cubicBezTo>
                    <a:cubicBezTo>
                      <a:pt x="32" y="229"/>
                      <a:pt x="37" y="234"/>
                      <a:pt x="35" y="236"/>
                    </a:cubicBezTo>
                    <a:cubicBezTo>
                      <a:pt x="34" y="238"/>
                      <a:pt x="30" y="238"/>
                      <a:pt x="28" y="238"/>
                    </a:cubicBezTo>
                    <a:cubicBezTo>
                      <a:pt x="25" y="239"/>
                      <a:pt x="22" y="239"/>
                      <a:pt x="19" y="238"/>
                    </a:cubicBezTo>
                    <a:cubicBezTo>
                      <a:pt x="17" y="237"/>
                      <a:pt x="15" y="236"/>
                      <a:pt x="13" y="237"/>
                    </a:cubicBezTo>
                    <a:cubicBezTo>
                      <a:pt x="12" y="237"/>
                      <a:pt x="11" y="238"/>
                      <a:pt x="10" y="239"/>
                    </a:cubicBezTo>
                    <a:cubicBezTo>
                      <a:pt x="10" y="241"/>
                      <a:pt x="11" y="242"/>
                      <a:pt x="12" y="243"/>
                    </a:cubicBezTo>
                    <a:cubicBezTo>
                      <a:pt x="15" y="248"/>
                      <a:pt x="20" y="251"/>
                      <a:pt x="24" y="256"/>
                    </a:cubicBezTo>
                    <a:cubicBezTo>
                      <a:pt x="27" y="260"/>
                      <a:pt x="31" y="264"/>
                      <a:pt x="33" y="270"/>
                    </a:cubicBezTo>
                    <a:cubicBezTo>
                      <a:pt x="34" y="271"/>
                      <a:pt x="34" y="272"/>
                      <a:pt x="35" y="273"/>
                    </a:cubicBezTo>
                    <a:cubicBezTo>
                      <a:pt x="35" y="274"/>
                      <a:pt x="35" y="275"/>
                      <a:pt x="36" y="275"/>
                    </a:cubicBezTo>
                    <a:cubicBezTo>
                      <a:pt x="39" y="274"/>
                      <a:pt x="42" y="274"/>
                      <a:pt x="45" y="273"/>
                    </a:cubicBezTo>
                    <a:cubicBezTo>
                      <a:pt x="48" y="273"/>
                      <a:pt x="50" y="271"/>
                      <a:pt x="52" y="273"/>
                    </a:cubicBezTo>
                    <a:cubicBezTo>
                      <a:pt x="53" y="273"/>
                      <a:pt x="53" y="274"/>
                      <a:pt x="54" y="275"/>
                    </a:cubicBezTo>
                    <a:cubicBezTo>
                      <a:pt x="56" y="275"/>
                      <a:pt x="57" y="275"/>
                      <a:pt x="58" y="274"/>
                    </a:cubicBezTo>
                    <a:cubicBezTo>
                      <a:pt x="63" y="271"/>
                      <a:pt x="68" y="268"/>
                      <a:pt x="74" y="268"/>
                    </a:cubicBezTo>
                    <a:cubicBezTo>
                      <a:pt x="77" y="268"/>
                      <a:pt x="81" y="268"/>
                      <a:pt x="83" y="267"/>
                    </a:cubicBezTo>
                    <a:cubicBezTo>
                      <a:pt x="86" y="266"/>
                      <a:pt x="88" y="263"/>
                      <a:pt x="90" y="261"/>
                    </a:cubicBezTo>
                    <a:cubicBezTo>
                      <a:pt x="90" y="260"/>
                      <a:pt x="91" y="259"/>
                      <a:pt x="91" y="258"/>
                    </a:cubicBezTo>
                    <a:cubicBezTo>
                      <a:pt x="91" y="257"/>
                      <a:pt x="90" y="256"/>
                      <a:pt x="90" y="255"/>
                    </a:cubicBezTo>
                    <a:cubicBezTo>
                      <a:pt x="90" y="252"/>
                      <a:pt x="93" y="251"/>
                      <a:pt x="95" y="251"/>
                    </a:cubicBezTo>
                    <a:cubicBezTo>
                      <a:pt x="98" y="251"/>
                      <a:pt x="101" y="251"/>
                      <a:pt x="104" y="250"/>
                    </a:cubicBezTo>
                    <a:cubicBezTo>
                      <a:pt x="107" y="250"/>
                      <a:pt x="110" y="250"/>
                      <a:pt x="113" y="249"/>
                    </a:cubicBezTo>
                    <a:cubicBezTo>
                      <a:pt x="119" y="248"/>
                      <a:pt x="123" y="243"/>
                      <a:pt x="127" y="238"/>
                    </a:cubicBezTo>
                    <a:cubicBezTo>
                      <a:pt x="129" y="236"/>
                      <a:pt x="131" y="234"/>
                      <a:pt x="133" y="232"/>
                    </a:cubicBezTo>
                    <a:cubicBezTo>
                      <a:pt x="134" y="231"/>
                      <a:pt x="135" y="230"/>
                      <a:pt x="136" y="229"/>
                    </a:cubicBezTo>
                    <a:cubicBezTo>
                      <a:pt x="137" y="227"/>
                      <a:pt x="137" y="227"/>
                      <a:pt x="137" y="225"/>
                    </a:cubicBezTo>
                    <a:cubicBezTo>
                      <a:pt x="137" y="223"/>
                      <a:pt x="140" y="222"/>
                      <a:pt x="142" y="221"/>
                    </a:cubicBezTo>
                    <a:cubicBezTo>
                      <a:pt x="144" y="219"/>
                      <a:pt x="147" y="218"/>
                      <a:pt x="150" y="218"/>
                    </a:cubicBezTo>
                    <a:cubicBezTo>
                      <a:pt x="151" y="218"/>
                      <a:pt x="157" y="218"/>
                      <a:pt x="158" y="217"/>
                    </a:cubicBezTo>
                    <a:cubicBezTo>
                      <a:pt x="158" y="216"/>
                      <a:pt x="159" y="214"/>
                      <a:pt x="158" y="213"/>
                    </a:cubicBezTo>
                    <a:cubicBezTo>
                      <a:pt x="157" y="211"/>
                      <a:pt x="155" y="210"/>
                      <a:pt x="153" y="209"/>
                    </a:cubicBezTo>
                    <a:cubicBezTo>
                      <a:pt x="151" y="208"/>
                      <a:pt x="153" y="204"/>
                      <a:pt x="153" y="202"/>
                    </a:cubicBezTo>
                    <a:cubicBezTo>
                      <a:pt x="153" y="200"/>
                      <a:pt x="151" y="200"/>
                      <a:pt x="150" y="198"/>
                    </a:cubicBezTo>
                    <a:cubicBezTo>
                      <a:pt x="148" y="196"/>
                      <a:pt x="149" y="194"/>
                      <a:pt x="148" y="191"/>
                    </a:cubicBezTo>
                    <a:cubicBezTo>
                      <a:pt x="147" y="189"/>
                      <a:pt x="144" y="190"/>
                      <a:pt x="142" y="190"/>
                    </a:cubicBezTo>
                    <a:cubicBezTo>
                      <a:pt x="140" y="190"/>
                      <a:pt x="139" y="187"/>
                      <a:pt x="140" y="185"/>
                    </a:cubicBezTo>
                    <a:cubicBezTo>
                      <a:pt x="141" y="183"/>
                      <a:pt x="143" y="181"/>
                      <a:pt x="145" y="179"/>
                    </a:cubicBezTo>
                    <a:cubicBezTo>
                      <a:pt x="146" y="179"/>
                      <a:pt x="147" y="178"/>
                      <a:pt x="147" y="177"/>
                    </a:cubicBezTo>
                    <a:cubicBezTo>
                      <a:pt x="147" y="175"/>
                      <a:pt x="146" y="174"/>
                      <a:pt x="146" y="173"/>
                    </a:cubicBezTo>
                    <a:cubicBezTo>
                      <a:pt x="144" y="172"/>
                      <a:pt x="143" y="169"/>
                      <a:pt x="145" y="167"/>
                    </a:cubicBezTo>
                    <a:cubicBezTo>
                      <a:pt x="146" y="166"/>
                      <a:pt x="146" y="165"/>
                      <a:pt x="147" y="165"/>
                    </a:cubicBezTo>
                    <a:cubicBezTo>
                      <a:pt x="148" y="165"/>
                      <a:pt x="149" y="164"/>
                      <a:pt x="150" y="164"/>
                    </a:cubicBezTo>
                    <a:cubicBezTo>
                      <a:pt x="153" y="161"/>
                      <a:pt x="146" y="156"/>
                      <a:pt x="150" y="154"/>
                    </a:cubicBezTo>
                    <a:cubicBezTo>
                      <a:pt x="151" y="154"/>
                      <a:pt x="153" y="153"/>
                      <a:pt x="154" y="153"/>
                    </a:cubicBezTo>
                    <a:cubicBezTo>
                      <a:pt x="156" y="152"/>
                      <a:pt x="156" y="150"/>
                      <a:pt x="156" y="148"/>
                    </a:cubicBezTo>
                    <a:cubicBezTo>
                      <a:pt x="157" y="143"/>
                      <a:pt x="157" y="137"/>
                      <a:pt x="163" y="135"/>
                    </a:cubicBezTo>
                    <a:cubicBezTo>
                      <a:pt x="165" y="134"/>
                      <a:pt x="168" y="135"/>
                      <a:pt x="171" y="135"/>
                    </a:cubicBezTo>
                    <a:cubicBezTo>
                      <a:pt x="172" y="135"/>
                      <a:pt x="175" y="136"/>
                      <a:pt x="176" y="135"/>
                    </a:cubicBezTo>
                    <a:cubicBezTo>
                      <a:pt x="177" y="134"/>
                      <a:pt x="176" y="130"/>
                      <a:pt x="176" y="129"/>
                    </a:cubicBezTo>
                    <a:cubicBezTo>
                      <a:pt x="176" y="126"/>
                      <a:pt x="176" y="123"/>
                      <a:pt x="176" y="119"/>
                    </a:cubicBezTo>
                    <a:cubicBezTo>
                      <a:pt x="176" y="113"/>
                      <a:pt x="176" y="106"/>
                      <a:pt x="176" y="99"/>
                    </a:cubicBezTo>
                    <a:cubicBezTo>
                      <a:pt x="176" y="93"/>
                      <a:pt x="176" y="86"/>
                      <a:pt x="176" y="80"/>
                    </a:cubicBezTo>
                    <a:cubicBezTo>
                      <a:pt x="176" y="77"/>
                      <a:pt x="176" y="73"/>
                      <a:pt x="176" y="70"/>
                    </a:cubicBezTo>
                    <a:cubicBezTo>
                      <a:pt x="176" y="69"/>
                      <a:pt x="175" y="69"/>
                      <a:pt x="174" y="69"/>
                    </a:cubicBezTo>
                    <a:cubicBezTo>
                      <a:pt x="173" y="68"/>
                      <a:pt x="171" y="67"/>
                      <a:pt x="170" y="66"/>
                    </a:cubicBezTo>
                    <a:cubicBezTo>
                      <a:pt x="146" y="54"/>
                      <a:pt x="123" y="42"/>
                      <a:pt x="99" y="30"/>
                    </a:cubicBezTo>
                    <a:cubicBezTo>
                      <a:pt x="88" y="24"/>
                      <a:pt x="76" y="18"/>
                      <a:pt x="64" y="12"/>
                    </a:cubicBezTo>
                    <a:cubicBezTo>
                      <a:pt x="58" y="9"/>
                      <a:pt x="52" y="6"/>
                      <a:pt x="47" y="3"/>
                    </a:cubicBezTo>
                    <a:cubicBezTo>
                      <a:pt x="45" y="2"/>
                      <a:pt x="44" y="1"/>
                      <a:pt x="43" y="1"/>
                    </a:cubicBezTo>
                    <a:cubicBezTo>
                      <a:pt x="42" y="0"/>
                      <a:pt x="41" y="1"/>
                      <a:pt x="40" y="2"/>
                    </a:cubicBezTo>
                    <a:cubicBezTo>
                      <a:pt x="37" y="3"/>
                      <a:pt x="34" y="4"/>
                      <a:pt x="31" y="6"/>
                    </a:cubicBezTo>
                    <a:cubicBezTo>
                      <a:pt x="30" y="7"/>
                      <a:pt x="28" y="7"/>
                      <a:pt x="27" y="8"/>
                    </a:cubicBezTo>
                    <a:cubicBezTo>
                      <a:pt x="26" y="8"/>
                      <a:pt x="27" y="10"/>
                      <a:pt x="27" y="10"/>
                    </a:cubicBezTo>
                    <a:cubicBezTo>
                      <a:pt x="28" y="13"/>
                      <a:pt x="28" y="17"/>
                      <a:pt x="28" y="20"/>
                    </a:cubicBezTo>
                    <a:cubicBezTo>
                      <a:pt x="29" y="23"/>
                      <a:pt x="29" y="26"/>
                      <a:pt x="29" y="29"/>
                    </a:cubicBezTo>
                    <a:cubicBezTo>
                      <a:pt x="29" y="31"/>
                      <a:pt x="29" y="34"/>
                      <a:pt x="30" y="36"/>
                    </a:cubicBezTo>
                    <a:cubicBezTo>
                      <a:pt x="31" y="38"/>
                      <a:pt x="33" y="39"/>
                      <a:pt x="34" y="41"/>
                    </a:cubicBezTo>
                    <a:cubicBezTo>
                      <a:pt x="35" y="43"/>
                      <a:pt x="35" y="46"/>
                      <a:pt x="36" y="49"/>
                    </a:cubicBezTo>
                    <a:cubicBezTo>
                      <a:pt x="37" y="51"/>
                      <a:pt x="39" y="52"/>
                      <a:pt x="41" y="54"/>
                    </a:cubicBezTo>
                    <a:cubicBezTo>
                      <a:pt x="42" y="56"/>
                      <a:pt x="40" y="59"/>
                      <a:pt x="39" y="61"/>
                    </a:cubicBezTo>
                    <a:cubicBezTo>
                      <a:pt x="38" y="64"/>
                      <a:pt x="38" y="66"/>
                      <a:pt x="38" y="69"/>
                    </a:cubicBezTo>
                    <a:cubicBezTo>
                      <a:pt x="38" y="72"/>
                      <a:pt x="37" y="75"/>
                      <a:pt x="37" y="79"/>
                    </a:cubicBezTo>
                    <a:cubicBezTo>
                      <a:pt x="36" y="85"/>
                      <a:pt x="35" y="92"/>
                      <a:pt x="35" y="99"/>
                    </a:cubicBezTo>
                    <a:cubicBezTo>
                      <a:pt x="34" y="102"/>
                      <a:pt x="34" y="105"/>
                      <a:pt x="34" y="108"/>
                    </a:cubicBezTo>
                    <a:cubicBezTo>
                      <a:pt x="34" y="111"/>
                      <a:pt x="34" y="113"/>
                      <a:pt x="33" y="116"/>
                    </a:cubicBezTo>
                    <a:cubicBezTo>
                      <a:pt x="30" y="121"/>
                      <a:pt x="25" y="125"/>
                      <a:pt x="21" y="129"/>
                    </a:cubicBezTo>
                    <a:cubicBezTo>
                      <a:pt x="15" y="136"/>
                      <a:pt x="10" y="144"/>
                      <a:pt x="5" y="152"/>
                    </a:cubicBezTo>
                    <a:cubicBezTo>
                      <a:pt x="3" y="154"/>
                      <a:pt x="2" y="156"/>
                      <a:pt x="1" y="158"/>
                    </a:cubicBezTo>
                    <a:cubicBezTo>
                      <a:pt x="0" y="160"/>
                      <a:pt x="0" y="162"/>
                      <a:pt x="1" y="165"/>
                    </a:cubicBezTo>
                    <a:cubicBezTo>
                      <a:pt x="1" y="169"/>
                      <a:pt x="3" y="174"/>
                      <a:pt x="6" y="177"/>
                    </a:cubicBezTo>
                    <a:cubicBezTo>
                      <a:pt x="6" y="177"/>
                      <a:pt x="5" y="177"/>
                      <a:pt x="5" y="177"/>
                    </a:cubicBezTo>
                    <a:cubicBezTo>
                      <a:pt x="7" y="178"/>
                      <a:pt x="5" y="177"/>
                      <a:pt x="5" y="177"/>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70" name="Freeform 401">
                <a:extLst>
                  <a:ext uri="{FF2B5EF4-FFF2-40B4-BE49-F238E27FC236}">
                    <a16:creationId xmlns:a16="http://schemas.microsoft.com/office/drawing/2014/main" id="{229C22D0-9B3C-04B3-6ED3-F737E1BC6DEF}"/>
                  </a:ext>
                </a:extLst>
              </p:cNvPr>
              <p:cNvSpPr/>
              <p:nvPr>
                <p:custDataLst>
                  <p:tags r:id="rId208"/>
                </p:custDataLst>
              </p:nvPr>
            </p:nvSpPr>
            <p:spPr bwMode="auto">
              <a:xfrm>
                <a:off x="6202683" y="4437414"/>
                <a:ext cx="44645" cy="40818"/>
              </a:xfrm>
              <a:custGeom>
                <a:avLst/>
                <a:gdLst>
                  <a:gd name="T0" fmla="*/ 29 w 30"/>
                  <a:gd name="T1" fmla="*/ 19 h 28"/>
                  <a:gd name="T2" fmla="*/ 30 w 30"/>
                  <a:gd name="T3" fmla="*/ 14 h 28"/>
                  <a:gd name="T4" fmla="*/ 28 w 30"/>
                  <a:gd name="T5" fmla="*/ 6 h 28"/>
                  <a:gd name="T6" fmla="*/ 25 w 30"/>
                  <a:gd name="T7" fmla="*/ 2 h 28"/>
                  <a:gd name="T8" fmla="*/ 23 w 30"/>
                  <a:gd name="T9" fmla="*/ 1 h 28"/>
                  <a:gd name="T10" fmla="*/ 18 w 30"/>
                  <a:gd name="T11" fmla="*/ 6 h 28"/>
                  <a:gd name="T12" fmla="*/ 11 w 30"/>
                  <a:gd name="T13" fmla="*/ 4 h 28"/>
                  <a:gd name="T14" fmla="*/ 8 w 30"/>
                  <a:gd name="T15" fmla="*/ 6 h 28"/>
                  <a:gd name="T16" fmla="*/ 6 w 30"/>
                  <a:gd name="T17" fmla="*/ 9 h 28"/>
                  <a:gd name="T18" fmla="*/ 4 w 30"/>
                  <a:gd name="T19" fmla="*/ 17 h 28"/>
                  <a:gd name="T20" fmla="*/ 0 w 30"/>
                  <a:gd name="T21" fmla="*/ 22 h 28"/>
                  <a:gd name="T22" fmla="*/ 8 w 30"/>
                  <a:gd name="T23" fmla="*/ 27 h 28"/>
                  <a:gd name="T24" fmla="*/ 13 w 30"/>
                  <a:gd name="T25" fmla="*/ 22 h 28"/>
                  <a:gd name="T26" fmla="*/ 22 w 30"/>
                  <a:gd name="T27" fmla="*/ 19 h 28"/>
                  <a:gd name="T28" fmla="*/ 27 w 30"/>
                  <a:gd name="T29" fmla="*/ 21 h 28"/>
                  <a:gd name="T30" fmla="*/ 29 w 30"/>
                  <a:gd name="T31" fmla="*/ 19 h 28"/>
                  <a:gd name="T32" fmla="*/ 29 w 30"/>
                  <a:gd name="T33"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28">
                    <a:moveTo>
                      <a:pt x="29" y="19"/>
                    </a:moveTo>
                    <a:cubicBezTo>
                      <a:pt x="30" y="19"/>
                      <a:pt x="30" y="15"/>
                      <a:pt x="30" y="14"/>
                    </a:cubicBezTo>
                    <a:cubicBezTo>
                      <a:pt x="30" y="11"/>
                      <a:pt x="29" y="8"/>
                      <a:pt x="28" y="6"/>
                    </a:cubicBezTo>
                    <a:cubicBezTo>
                      <a:pt x="27" y="4"/>
                      <a:pt x="26" y="3"/>
                      <a:pt x="25" y="2"/>
                    </a:cubicBezTo>
                    <a:cubicBezTo>
                      <a:pt x="25" y="1"/>
                      <a:pt x="24" y="0"/>
                      <a:pt x="23" y="1"/>
                    </a:cubicBezTo>
                    <a:cubicBezTo>
                      <a:pt x="22" y="3"/>
                      <a:pt x="20" y="5"/>
                      <a:pt x="18" y="6"/>
                    </a:cubicBezTo>
                    <a:cubicBezTo>
                      <a:pt x="15" y="7"/>
                      <a:pt x="13" y="4"/>
                      <a:pt x="11" y="4"/>
                    </a:cubicBezTo>
                    <a:cubicBezTo>
                      <a:pt x="9" y="4"/>
                      <a:pt x="9" y="5"/>
                      <a:pt x="8" y="6"/>
                    </a:cubicBezTo>
                    <a:cubicBezTo>
                      <a:pt x="8" y="7"/>
                      <a:pt x="7" y="8"/>
                      <a:pt x="6" y="9"/>
                    </a:cubicBezTo>
                    <a:cubicBezTo>
                      <a:pt x="4" y="11"/>
                      <a:pt x="4" y="14"/>
                      <a:pt x="4" y="17"/>
                    </a:cubicBezTo>
                    <a:cubicBezTo>
                      <a:pt x="4" y="19"/>
                      <a:pt x="1" y="20"/>
                      <a:pt x="0" y="22"/>
                    </a:cubicBezTo>
                    <a:cubicBezTo>
                      <a:pt x="3" y="23"/>
                      <a:pt x="5" y="25"/>
                      <a:pt x="8" y="27"/>
                    </a:cubicBezTo>
                    <a:cubicBezTo>
                      <a:pt x="11" y="28"/>
                      <a:pt x="12" y="24"/>
                      <a:pt x="13" y="22"/>
                    </a:cubicBezTo>
                    <a:cubicBezTo>
                      <a:pt x="16" y="20"/>
                      <a:pt x="19" y="19"/>
                      <a:pt x="22" y="19"/>
                    </a:cubicBezTo>
                    <a:cubicBezTo>
                      <a:pt x="24" y="19"/>
                      <a:pt x="25" y="20"/>
                      <a:pt x="27" y="21"/>
                    </a:cubicBezTo>
                    <a:cubicBezTo>
                      <a:pt x="27" y="21"/>
                      <a:pt x="29" y="19"/>
                      <a:pt x="29" y="19"/>
                    </a:cubicBezTo>
                    <a:cubicBezTo>
                      <a:pt x="29" y="19"/>
                      <a:pt x="29" y="19"/>
                      <a:pt x="29" y="19"/>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71" name="Freeform 407">
                <a:extLst>
                  <a:ext uri="{FF2B5EF4-FFF2-40B4-BE49-F238E27FC236}">
                    <a16:creationId xmlns:a16="http://schemas.microsoft.com/office/drawing/2014/main" id="{31DC8E24-C478-43BC-B597-AF6147FDBB5A}"/>
                  </a:ext>
                </a:extLst>
              </p:cNvPr>
              <p:cNvSpPr/>
              <p:nvPr>
                <p:custDataLst>
                  <p:tags r:id="rId209"/>
                </p:custDataLst>
              </p:nvPr>
            </p:nvSpPr>
            <p:spPr bwMode="auto">
              <a:xfrm>
                <a:off x="5936094" y="3230747"/>
                <a:ext cx="42093" cy="45920"/>
              </a:xfrm>
              <a:custGeom>
                <a:avLst/>
                <a:gdLst>
                  <a:gd name="T0" fmla="*/ 1 w 28"/>
                  <a:gd name="T1" fmla="*/ 16 h 31"/>
                  <a:gd name="T2" fmla="*/ 0 w 28"/>
                  <a:gd name="T3" fmla="*/ 20 h 31"/>
                  <a:gd name="T4" fmla="*/ 3 w 28"/>
                  <a:gd name="T5" fmla="*/ 20 h 31"/>
                  <a:gd name="T6" fmla="*/ 5 w 28"/>
                  <a:gd name="T7" fmla="*/ 25 h 31"/>
                  <a:gd name="T8" fmla="*/ 8 w 28"/>
                  <a:gd name="T9" fmla="*/ 27 h 31"/>
                  <a:gd name="T10" fmla="*/ 13 w 28"/>
                  <a:gd name="T11" fmla="*/ 31 h 31"/>
                  <a:gd name="T12" fmla="*/ 14 w 28"/>
                  <a:gd name="T13" fmla="*/ 25 h 31"/>
                  <a:gd name="T14" fmla="*/ 17 w 28"/>
                  <a:gd name="T15" fmla="*/ 21 h 31"/>
                  <a:gd name="T16" fmla="*/ 21 w 28"/>
                  <a:gd name="T17" fmla="*/ 18 h 31"/>
                  <a:gd name="T18" fmla="*/ 26 w 28"/>
                  <a:gd name="T19" fmla="*/ 20 h 31"/>
                  <a:gd name="T20" fmla="*/ 28 w 28"/>
                  <a:gd name="T21" fmla="*/ 13 h 31"/>
                  <a:gd name="T22" fmla="*/ 24 w 28"/>
                  <a:gd name="T23" fmla="*/ 9 h 31"/>
                  <a:gd name="T24" fmla="*/ 21 w 28"/>
                  <a:gd name="T25" fmla="*/ 5 h 31"/>
                  <a:gd name="T26" fmla="*/ 18 w 28"/>
                  <a:gd name="T27" fmla="*/ 4 h 31"/>
                  <a:gd name="T28" fmla="*/ 16 w 28"/>
                  <a:gd name="T29" fmla="*/ 2 h 31"/>
                  <a:gd name="T30" fmla="*/ 12 w 28"/>
                  <a:gd name="T31" fmla="*/ 1 h 31"/>
                  <a:gd name="T32" fmla="*/ 3 w 28"/>
                  <a:gd name="T33" fmla="*/ 7 h 31"/>
                  <a:gd name="T34" fmla="*/ 1 w 28"/>
                  <a:gd name="T35" fmla="*/ 12 h 31"/>
                  <a:gd name="T36" fmla="*/ 1 w 28"/>
                  <a:gd name="T37" fmla="*/ 17 h 31"/>
                  <a:gd name="T38" fmla="*/ 1 w 28"/>
                  <a:gd name="T39" fmla="*/ 16 h 31"/>
                  <a:gd name="T40" fmla="*/ 1 w 28"/>
                  <a:gd name="T4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31">
                    <a:moveTo>
                      <a:pt x="1" y="16"/>
                    </a:moveTo>
                    <a:cubicBezTo>
                      <a:pt x="1" y="17"/>
                      <a:pt x="0" y="19"/>
                      <a:pt x="0" y="20"/>
                    </a:cubicBezTo>
                    <a:cubicBezTo>
                      <a:pt x="1" y="20"/>
                      <a:pt x="2" y="19"/>
                      <a:pt x="3" y="20"/>
                    </a:cubicBezTo>
                    <a:cubicBezTo>
                      <a:pt x="4" y="22"/>
                      <a:pt x="4" y="24"/>
                      <a:pt x="5" y="25"/>
                    </a:cubicBezTo>
                    <a:cubicBezTo>
                      <a:pt x="6" y="26"/>
                      <a:pt x="7" y="27"/>
                      <a:pt x="8" y="27"/>
                    </a:cubicBezTo>
                    <a:cubicBezTo>
                      <a:pt x="10" y="28"/>
                      <a:pt x="12" y="29"/>
                      <a:pt x="13" y="31"/>
                    </a:cubicBezTo>
                    <a:cubicBezTo>
                      <a:pt x="14" y="29"/>
                      <a:pt x="14" y="27"/>
                      <a:pt x="14" y="25"/>
                    </a:cubicBezTo>
                    <a:cubicBezTo>
                      <a:pt x="14" y="23"/>
                      <a:pt x="15" y="22"/>
                      <a:pt x="17" y="21"/>
                    </a:cubicBezTo>
                    <a:cubicBezTo>
                      <a:pt x="18" y="20"/>
                      <a:pt x="19" y="18"/>
                      <a:pt x="21" y="18"/>
                    </a:cubicBezTo>
                    <a:cubicBezTo>
                      <a:pt x="23" y="18"/>
                      <a:pt x="24" y="21"/>
                      <a:pt x="26" y="20"/>
                    </a:cubicBezTo>
                    <a:cubicBezTo>
                      <a:pt x="25" y="17"/>
                      <a:pt x="25" y="15"/>
                      <a:pt x="28" y="13"/>
                    </a:cubicBezTo>
                    <a:cubicBezTo>
                      <a:pt x="27" y="12"/>
                      <a:pt x="25" y="10"/>
                      <a:pt x="24" y="9"/>
                    </a:cubicBezTo>
                    <a:cubicBezTo>
                      <a:pt x="23" y="7"/>
                      <a:pt x="23" y="6"/>
                      <a:pt x="21" y="5"/>
                    </a:cubicBezTo>
                    <a:cubicBezTo>
                      <a:pt x="20" y="5"/>
                      <a:pt x="19" y="5"/>
                      <a:pt x="18" y="4"/>
                    </a:cubicBezTo>
                    <a:cubicBezTo>
                      <a:pt x="17" y="4"/>
                      <a:pt x="17" y="3"/>
                      <a:pt x="16" y="2"/>
                    </a:cubicBezTo>
                    <a:cubicBezTo>
                      <a:pt x="15" y="1"/>
                      <a:pt x="13" y="0"/>
                      <a:pt x="12" y="1"/>
                    </a:cubicBezTo>
                    <a:cubicBezTo>
                      <a:pt x="9" y="2"/>
                      <a:pt x="5" y="4"/>
                      <a:pt x="3" y="7"/>
                    </a:cubicBezTo>
                    <a:cubicBezTo>
                      <a:pt x="2" y="8"/>
                      <a:pt x="1" y="10"/>
                      <a:pt x="1" y="12"/>
                    </a:cubicBezTo>
                    <a:cubicBezTo>
                      <a:pt x="1" y="13"/>
                      <a:pt x="1" y="15"/>
                      <a:pt x="1" y="17"/>
                    </a:cubicBezTo>
                    <a:cubicBezTo>
                      <a:pt x="1" y="17"/>
                      <a:pt x="1" y="16"/>
                      <a:pt x="1" y="16"/>
                    </a:cubicBezTo>
                    <a:cubicBezTo>
                      <a:pt x="1" y="17"/>
                      <a:pt x="1" y="16"/>
                      <a:pt x="1" y="16"/>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72" name="Freeform 414">
                <a:extLst>
                  <a:ext uri="{FF2B5EF4-FFF2-40B4-BE49-F238E27FC236}">
                    <a16:creationId xmlns:a16="http://schemas.microsoft.com/office/drawing/2014/main" id="{260A031B-392B-393D-036F-4F5E74D75188}"/>
                  </a:ext>
                </a:extLst>
              </p:cNvPr>
              <p:cNvSpPr/>
              <p:nvPr>
                <p:custDataLst>
                  <p:tags r:id="rId210"/>
                </p:custDataLst>
              </p:nvPr>
            </p:nvSpPr>
            <p:spPr bwMode="auto">
              <a:xfrm>
                <a:off x="5867215" y="3177174"/>
                <a:ext cx="91840" cy="73982"/>
              </a:xfrm>
              <a:custGeom>
                <a:avLst/>
                <a:gdLst>
                  <a:gd name="T0" fmla="*/ 49 w 61"/>
                  <a:gd name="T1" fmla="*/ 40 h 50"/>
                  <a:gd name="T2" fmla="*/ 55 w 61"/>
                  <a:gd name="T3" fmla="*/ 36 h 50"/>
                  <a:gd name="T4" fmla="*/ 60 w 61"/>
                  <a:gd name="T5" fmla="*/ 33 h 50"/>
                  <a:gd name="T6" fmla="*/ 59 w 61"/>
                  <a:gd name="T7" fmla="*/ 27 h 50"/>
                  <a:gd name="T8" fmla="*/ 60 w 61"/>
                  <a:gd name="T9" fmla="*/ 25 h 50"/>
                  <a:gd name="T10" fmla="*/ 59 w 61"/>
                  <a:gd name="T11" fmla="*/ 22 h 50"/>
                  <a:gd name="T12" fmla="*/ 56 w 61"/>
                  <a:gd name="T13" fmla="*/ 15 h 50"/>
                  <a:gd name="T14" fmla="*/ 57 w 61"/>
                  <a:gd name="T15" fmla="*/ 9 h 50"/>
                  <a:gd name="T16" fmla="*/ 54 w 61"/>
                  <a:gd name="T17" fmla="*/ 9 h 50"/>
                  <a:gd name="T18" fmla="*/ 50 w 61"/>
                  <a:gd name="T19" fmla="*/ 9 h 50"/>
                  <a:gd name="T20" fmla="*/ 47 w 61"/>
                  <a:gd name="T21" fmla="*/ 4 h 50"/>
                  <a:gd name="T22" fmla="*/ 38 w 61"/>
                  <a:gd name="T23" fmla="*/ 3 h 50"/>
                  <a:gd name="T24" fmla="*/ 29 w 61"/>
                  <a:gd name="T25" fmla="*/ 4 h 50"/>
                  <a:gd name="T26" fmla="*/ 21 w 61"/>
                  <a:gd name="T27" fmla="*/ 3 h 50"/>
                  <a:gd name="T28" fmla="*/ 16 w 61"/>
                  <a:gd name="T29" fmla="*/ 1 h 50"/>
                  <a:gd name="T30" fmla="*/ 11 w 61"/>
                  <a:gd name="T31" fmla="*/ 5 h 50"/>
                  <a:gd name="T32" fmla="*/ 5 w 61"/>
                  <a:gd name="T33" fmla="*/ 4 h 50"/>
                  <a:gd name="T34" fmla="*/ 1 w 61"/>
                  <a:gd name="T35" fmla="*/ 2 h 50"/>
                  <a:gd name="T36" fmla="*/ 1 w 61"/>
                  <a:gd name="T37" fmla="*/ 8 h 50"/>
                  <a:gd name="T38" fmla="*/ 10 w 61"/>
                  <a:gd name="T39" fmla="*/ 17 h 50"/>
                  <a:gd name="T40" fmla="*/ 13 w 61"/>
                  <a:gd name="T41" fmla="*/ 24 h 50"/>
                  <a:gd name="T42" fmla="*/ 20 w 61"/>
                  <a:gd name="T43" fmla="*/ 29 h 50"/>
                  <a:gd name="T44" fmla="*/ 32 w 61"/>
                  <a:gd name="T45" fmla="*/ 38 h 50"/>
                  <a:gd name="T46" fmla="*/ 37 w 61"/>
                  <a:gd name="T47" fmla="*/ 45 h 50"/>
                  <a:gd name="T48" fmla="*/ 40 w 61"/>
                  <a:gd name="T49" fmla="*/ 47 h 50"/>
                  <a:gd name="T50" fmla="*/ 45 w 61"/>
                  <a:gd name="T51" fmla="*/ 50 h 50"/>
                  <a:gd name="T52" fmla="*/ 49 w 61"/>
                  <a:gd name="T53" fmla="*/ 40 h 50"/>
                  <a:gd name="T54" fmla="*/ 49 w 61"/>
                  <a:gd name="T55" fmla="*/ 40 h 50"/>
                  <a:gd name="T56" fmla="*/ 49 w 61"/>
                  <a:gd name="T57" fmla="*/ 4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 h="50">
                    <a:moveTo>
                      <a:pt x="49" y="40"/>
                    </a:moveTo>
                    <a:cubicBezTo>
                      <a:pt x="50" y="38"/>
                      <a:pt x="53" y="37"/>
                      <a:pt x="55" y="36"/>
                    </a:cubicBezTo>
                    <a:cubicBezTo>
                      <a:pt x="56" y="35"/>
                      <a:pt x="59" y="34"/>
                      <a:pt x="60" y="33"/>
                    </a:cubicBezTo>
                    <a:cubicBezTo>
                      <a:pt x="61" y="31"/>
                      <a:pt x="58" y="29"/>
                      <a:pt x="59" y="27"/>
                    </a:cubicBezTo>
                    <a:cubicBezTo>
                      <a:pt x="59" y="26"/>
                      <a:pt x="60" y="25"/>
                      <a:pt x="60" y="25"/>
                    </a:cubicBezTo>
                    <a:cubicBezTo>
                      <a:pt x="61" y="23"/>
                      <a:pt x="60" y="22"/>
                      <a:pt x="59" y="22"/>
                    </a:cubicBezTo>
                    <a:cubicBezTo>
                      <a:pt x="57" y="20"/>
                      <a:pt x="56" y="17"/>
                      <a:pt x="56" y="15"/>
                    </a:cubicBezTo>
                    <a:cubicBezTo>
                      <a:pt x="57" y="13"/>
                      <a:pt x="60" y="10"/>
                      <a:pt x="57" y="9"/>
                    </a:cubicBezTo>
                    <a:cubicBezTo>
                      <a:pt x="56" y="8"/>
                      <a:pt x="55" y="9"/>
                      <a:pt x="54" y="9"/>
                    </a:cubicBezTo>
                    <a:cubicBezTo>
                      <a:pt x="53" y="9"/>
                      <a:pt x="52" y="9"/>
                      <a:pt x="50" y="9"/>
                    </a:cubicBezTo>
                    <a:cubicBezTo>
                      <a:pt x="48" y="8"/>
                      <a:pt x="49" y="5"/>
                      <a:pt x="47" y="4"/>
                    </a:cubicBezTo>
                    <a:cubicBezTo>
                      <a:pt x="44" y="3"/>
                      <a:pt x="41" y="3"/>
                      <a:pt x="38" y="3"/>
                    </a:cubicBezTo>
                    <a:cubicBezTo>
                      <a:pt x="35" y="3"/>
                      <a:pt x="32" y="3"/>
                      <a:pt x="29" y="4"/>
                    </a:cubicBezTo>
                    <a:cubicBezTo>
                      <a:pt x="26" y="4"/>
                      <a:pt x="24" y="5"/>
                      <a:pt x="21" y="3"/>
                    </a:cubicBezTo>
                    <a:cubicBezTo>
                      <a:pt x="20" y="2"/>
                      <a:pt x="18" y="0"/>
                      <a:pt x="16" y="1"/>
                    </a:cubicBezTo>
                    <a:cubicBezTo>
                      <a:pt x="13" y="1"/>
                      <a:pt x="12" y="3"/>
                      <a:pt x="11" y="5"/>
                    </a:cubicBezTo>
                    <a:cubicBezTo>
                      <a:pt x="10" y="7"/>
                      <a:pt x="7" y="6"/>
                      <a:pt x="5" y="4"/>
                    </a:cubicBezTo>
                    <a:cubicBezTo>
                      <a:pt x="4" y="4"/>
                      <a:pt x="2" y="1"/>
                      <a:pt x="1" y="2"/>
                    </a:cubicBezTo>
                    <a:cubicBezTo>
                      <a:pt x="0" y="3"/>
                      <a:pt x="1" y="6"/>
                      <a:pt x="1" y="8"/>
                    </a:cubicBezTo>
                    <a:cubicBezTo>
                      <a:pt x="1" y="12"/>
                      <a:pt x="8" y="13"/>
                      <a:pt x="10" y="17"/>
                    </a:cubicBezTo>
                    <a:cubicBezTo>
                      <a:pt x="11" y="20"/>
                      <a:pt x="11" y="22"/>
                      <a:pt x="13" y="24"/>
                    </a:cubicBezTo>
                    <a:cubicBezTo>
                      <a:pt x="15" y="26"/>
                      <a:pt x="17" y="27"/>
                      <a:pt x="20" y="29"/>
                    </a:cubicBezTo>
                    <a:cubicBezTo>
                      <a:pt x="24" y="32"/>
                      <a:pt x="29" y="34"/>
                      <a:pt x="32" y="38"/>
                    </a:cubicBezTo>
                    <a:cubicBezTo>
                      <a:pt x="34" y="40"/>
                      <a:pt x="34" y="44"/>
                      <a:pt x="37" y="45"/>
                    </a:cubicBezTo>
                    <a:cubicBezTo>
                      <a:pt x="38" y="46"/>
                      <a:pt x="39" y="46"/>
                      <a:pt x="40" y="47"/>
                    </a:cubicBezTo>
                    <a:cubicBezTo>
                      <a:pt x="42" y="48"/>
                      <a:pt x="43" y="49"/>
                      <a:pt x="45" y="50"/>
                    </a:cubicBezTo>
                    <a:cubicBezTo>
                      <a:pt x="44" y="45"/>
                      <a:pt x="46" y="43"/>
                      <a:pt x="49" y="40"/>
                    </a:cubicBezTo>
                    <a:cubicBezTo>
                      <a:pt x="49" y="40"/>
                      <a:pt x="49" y="40"/>
                      <a:pt x="49" y="40"/>
                    </a:cubicBezTo>
                    <a:cubicBezTo>
                      <a:pt x="50" y="39"/>
                      <a:pt x="49" y="40"/>
                      <a:pt x="49" y="40"/>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73" name="Freeform 416">
                <a:extLst>
                  <a:ext uri="{FF2B5EF4-FFF2-40B4-BE49-F238E27FC236}">
                    <a16:creationId xmlns:a16="http://schemas.microsoft.com/office/drawing/2014/main" id="{145910D3-C584-2E84-D8EB-9E99E2C6B536}"/>
                  </a:ext>
                </a:extLst>
              </p:cNvPr>
              <p:cNvSpPr>
                <a:spLocks noEditPoints="1"/>
              </p:cNvSpPr>
              <p:nvPr>
                <p:custDataLst>
                  <p:tags r:id="rId211"/>
                </p:custDataLst>
              </p:nvPr>
            </p:nvSpPr>
            <p:spPr bwMode="auto">
              <a:xfrm>
                <a:off x="5266431" y="2578942"/>
                <a:ext cx="246181" cy="442616"/>
              </a:xfrm>
              <a:custGeom>
                <a:avLst/>
                <a:gdLst>
                  <a:gd name="T0" fmla="*/ 46 w 165"/>
                  <a:gd name="T1" fmla="*/ 145 h 297"/>
                  <a:gd name="T2" fmla="*/ 38 w 165"/>
                  <a:gd name="T3" fmla="*/ 168 h 297"/>
                  <a:gd name="T4" fmla="*/ 43 w 165"/>
                  <a:gd name="T5" fmla="*/ 158 h 297"/>
                  <a:gd name="T6" fmla="*/ 55 w 165"/>
                  <a:gd name="T7" fmla="*/ 155 h 297"/>
                  <a:gd name="T8" fmla="*/ 50 w 165"/>
                  <a:gd name="T9" fmla="*/ 183 h 297"/>
                  <a:gd name="T10" fmla="*/ 59 w 165"/>
                  <a:gd name="T11" fmla="*/ 190 h 297"/>
                  <a:gd name="T12" fmla="*/ 76 w 165"/>
                  <a:gd name="T13" fmla="*/ 183 h 297"/>
                  <a:gd name="T14" fmla="*/ 82 w 165"/>
                  <a:gd name="T15" fmla="*/ 203 h 297"/>
                  <a:gd name="T16" fmla="*/ 86 w 165"/>
                  <a:gd name="T17" fmla="*/ 223 h 297"/>
                  <a:gd name="T18" fmla="*/ 59 w 165"/>
                  <a:gd name="T19" fmla="*/ 231 h 297"/>
                  <a:gd name="T20" fmla="*/ 48 w 165"/>
                  <a:gd name="T21" fmla="*/ 253 h 297"/>
                  <a:gd name="T22" fmla="*/ 67 w 165"/>
                  <a:gd name="T23" fmla="*/ 263 h 297"/>
                  <a:gd name="T24" fmla="*/ 71 w 165"/>
                  <a:gd name="T25" fmla="*/ 272 h 297"/>
                  <a:gd name="T26" fmla="*/ 41 w 165"/>
                  <a:gd name="T27" fmla="*/ 294 h 297"/>
                  <a:gd name="T28" fmla="*/ 65 w 165"/>
                  <a:gd name="T29" fmla="*/ 289 h 297"/>
                  <a:gd name="T30" fmla="*/ 91 w 165"/>
                  <a:gd name="T31" fmla="*/ 283 h 297"/>
                  <a:gd name="T32" fmla="*/ 123 w 165"/>
                  <a:gd name="T33" fmla="*/ 280 h 297"/>
                  <a:gd name="T34" fmla="*/ 142 w 165"/>
                  <a:gd name="T35" fmla="*/ 266 h 297"/>
                  <a:gd name="T36" fmla="*/ 156 w 165"/>
                  <a:gd name="T37" fmla="*/ 257 h 297"/>
                  <a:gd name="T38" fmla="*/ 143 w 165"/>
                  <a:gd name="T39" fmla="*/ 232 h 297"/>
                  <a:gd name="T40" fmla="*/ 124 w 165"/>
                  <a:gd name="T41" fmla="*/ 214 h 297"/>
                  <a:gd name="T42" fmla="*/ 113 w 165"/>
                  <a:gd name="T43" fmla="*/ 188 h 297"/>
                  <a:gd name="T44" fmla="*/ 83 w 165"/>
                  <a:gd name="T45" fmla="*/ 155 h 297"/>
                  <a:gd name="T46" fmla="*/ 99 w 165"/>
                  <a:gd name="T47" fmla="*/ 130 h 297"/>
                  <a:gd name="T48" fmla="*/ 62 w 165"/>
                  <a:gd name="T49" fmla="*/ 121 h 297"/>
                  <a:gd name="T50" fmla="*/ 65 w 165"/>
                  <a:gd name="T51" fmla="*/ 114 h 297"/>
                  <a:gd name="T52" fmla="*/ 80 w 165"/>
                  <a:gd name="T53" fmla="*/ 95 h 297"/>
                  <a:gd name="T54" fmla="*/ 49 w 165"/>
                  <a:gd name="T55" fmla="*/ 100 h 297"/>
                  <a:gd name="T56" fmla="*/ 43 w 165"/>
                  <a:gd name="T57" fmla="*/ 115 h 297"/>
                  <a:gd name="T58" fmla="*/ 41 w 165"/>
                  <a:gd name="T59" fmla="*/ 125 h 297"/>
                  <a:gd name="T60" fmla="*/ 33 w 165"/>
                  <a:gd name="T61" fmla="*/ 142 h 297"/>
                  <a:gd name="T62" fmla="*/ 111 w 165"/>
                  <a:gd name="T63" fmla="*/ 282 h 297"/>
                  <a:gd name="T64" fmla="*/ 11 w 165"/>
                  <a:gd name="T65" fmla="*/ 7 h 297"/>
                  <a:gd name="T66" fmla="*/ 18 w 165"/>
                  <a:gd name="T67" fmla="*/ 10 h 297"/>
                  <a:gd name="T68" fmla="*/ 20 w 165"/>
                  <a:gd name="T69" fmla="*/ 5 h 297"/>
                  <a:gd name="T70" fmla="*/ 9 w 165"/>
                  <a:gd name="T71" fmla="*/ 129 h 297"/>
                  <a:gd name="T72" fmla="*/ 20 w 165"/>
                  <a:gd name="T73" fmla="*/ 24 h 297"/>
                  <a:gd name="T74" fmla="*/ 29 w 165"/>
                  <a:gd name="T75" fmla="*/ 145 h 297"/>
                  <a:gd name="T76" fmla="*/ 25 w 165"/>
                  <a:gd name="T77" fmla="*/ 126 h 297"/>
                  <a:gd name="T78" fmla="*/ 26 w 165"/>
                  <a:gd name="T79" fmla="*/ 110 h 297"/>
                  <a:gd name="T80" fmla="*/ 17 w 165"/>
                  <a:gd name="T81" fmla="*/ 111 h 297"/>
                  <a:gd name="T82" fmla="*/ 23 w 165"/>
                  <a:gd name="T83" fmla="*/ 101 h 297"/>
                  <a:gd name="T84" fmla="*/ 24 w 165"/>
                  <a:gd name="T85" fmla="*/ 3 h 297"/>
                  <a:gd name="T86" fmla="*/ 64 w 165"/>
                  <a:gd name="T87" fmla="*/ 223 h 297"/>
                  <a:gd name="T88" fmla="*/ 54 w 165"/>
                  <a:gd name="T89" fmla="*/ 204 h 297"/>
                  <a:gd name="T90" fmla="*/ 79 w 165"/>
                  <a:gd name="T91" fmla="*/ 89 h 297"/>
                  <a:gd name="T92" fmla="*/ 78 w 165"/>
                  <a:gd name="T93" fmla="*/ 85 h 297"/>
                  <a:gd name="T94" fmla="*/ 34 w 165"/>
                  <a:gd name="T95" fmla="*/ 130 h 297"/>
                  <a:gd name="T96" fmla="*/ 122 w 165"/>
                  <a:gd name="T97" fmla="*/ 41 h 297"/>
                  <a:gd name="T98" fmla="*/ 113 w 165"/>
                  <a:gd name="T99" fmla="*/ 64 h 297"/>
                  <a:gd name="T100" fmla="*/ 111 w 165"/>
                  <a:gd name="T101" fmla="*/ 50 h 297"/>
                  <a:gd name="T102" fmla="*/ 27 w 165"/>
                  <a:gd name="T103" fmla="*/ 164 h 297"/>
                  <a:gd name="T104" fmla="*/ 33 w 165"/>
                  <a:gd name="T105" fmla="*/ 160 h 297"/>
                  <a:gd name="T106" fmla="*/ 33 w 165"/>
                  <a:gd name="T107" fmla="*/ 148 h 297"/>
                  <a:gd name="T108" fmla="*/ 22 w 165"/>
                  <a:gd name="T109" fmla="*/ 202 h 297"/>
                  <a:gd name="T110" fmla="*/ 38 w 165"/>
                  <a:gd name="T111" fmla="*/ 192 h 297"/>
                  <a:gd name="T112" fmla="*/ 14 w 165"/>
                  <a:gd name="T113" fmla="*/ 183 h 297"/>
                  <a:gd name="T114" fmla="*/ 17 w 165"/>
                  <a:gd name="T115" fmla="*/ 199 h 297"/>
                  <a:gd name="T116" fmla="*/ 28 w 165"/>
                  <a:gd name="T117" fmla="*/ 152 h 297"/>
                  <a:gd name="T118" fmla="*/ 30 w 165"/>
                  <a:gd name="T119" fmla="*/ 157 h 297"/>
                  <a:gd name="T120" fmla="*/ 19 w 165"/>
                  <a:gd name="T121" fmla="*/ 148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5" h="297">
                    <a:moveTo>
                      <a:pt x="34" y="144"/>
                    </a:moveTo>
                    <a:cubicBezTo>
                      <a:pt x="35" y="145"/>
                      <a:pt x="36" y="145"/>
                      <a:pt x="37" y="146"/>
                    </a:cubicBezTo>
                    <a:cubicBezTo>
                      <a:pt x="38" y="146"/>
                      <a:pt x="39" y="146"/>
                      <a:pt x="40" y="145"/>
                    </a:cubicBezTo>
                    <a:cubicBezTo>
                      <a:pt x="41" y="145"/>
                      <a:pt x="41" y="144"/>
                      <a:pt x="42" y="143"/>
                    </a:cubicBezTo>
                    <a:cubicBezTo>
                      <a:pt x="43" y="142"/>
                      <a:pt x="44" y="142"/>
                      <a:pt x="45" y="141"/>
                    </a:cubicBezTo>
                    <a:cubicBezTo>
                      <a:pt x="45" y="140"/>
                      <a:pt x="46" y="139"/>
                      <a:pt x="47" y="139"/>
                    </a:cubicBezTo>
                    <a:cubicBezTo>
                      <a:pt x="49" y="139"/>
                      <a:pt x="48" y="139"/>
                      <a:pt x="48" y="140"/>
                    </a:cubicBezTo>
                    <a:cubicBezTo>
                      <a:pt x="49" y="142"/>
                      <a:pt x="52" y="142"/>
                      <a:pt x="49" y="143"/>
                    </a:cubicBezTo>
                    <a:cubicBezTo>
                      <a:pt x="48" y="143"/>
                      <a:pt x="46" y="144"/>
                      <a:pt x="46" y="145"/>
                    </a:cubicBezTo>
                    <a:cubicBezTo>
                      <a:pt x="45" y="147"/>
                      <a:pt x="48" y="146"/>
                      <a:pt x="49" y="146"/>
                    </a:cubicBezTo>
                    <a:cubicBezTo>
                      <a:pt x="50" y="147"/>
                      <a:pt x="47" y="149"/>
                      <a:pt x="46" y="149"/>
                    </a:cubicBezTo>
                    <a:cubicBezTo>
                      <a:pt x="45" y="150"/>
                      <a:pt x="44" y="149"/>
                      <a:pt x="43" y="150"/>
                    </a:cubicBezTo>
                    <a:cubicBezTo>
                      <a:pt x="42" y="150"/>
                      <a:pt x="41" y="151"/>
                      <a:pt x="41" y="152"/>
                    </a:cubicBezTo>
                    <a:cubicBezTo>
                      <a:pt x="40" y="155"/>
                      <a:pt x="41" y="157"/>
                      <a:pt x="40" y="159"/>
                    </a:cubicBezTo>
                    <a:cubicBezTo>
                      <a:pt x="39" y="160"/>
                      <a:pt x="39" y="161"/>
                      <a:pt x="39" y="161"/>
                    </a:cubicBezTo>
                    <a:cubicBezTo>
                      <a:pt x="39" y="163"/>
                      <a:pt x="41" y="162"/>
                      <a:pt x="41" y="163"/>
                    </a:cubicBezTo>
                    <a:cubicBezTo>
                      <a:pt x="41" y="164"/>
                      <a:pt x="40" y="165"/>
                      <a:pt x="39" y="166"/>
                    </a:cubicBezTo>
                    <a:cubicBezTo>
                      <a:pt x="38" y="166"/>
                      <a:pt x="38" y="167"/>
                      <a:pt x="38" y="168"/>
                    </a:cubicBezTo>
                    <a:cubicBezTo>
                      <a:pt x="38" y="170"/>
                      <a:pt x="36" y="172"/>
                      <a:pt x="37" y="174"/>
                    </a:cubicBezTo>
                    <a:cubicBezTo>
                      <a:pt x="37" y="175"/>
                      <a:pt x="42" y="174"/>
                      <a:pt x="42" y="173"/>
                    </a:cubicBezTo>
                    <a:cubicBezTo>
                      <a:pt x="43" y="172"/>
                      <a:pt x="42" y="171"/>
                      <a:pt x="42" y="169"/>
                    </a:cubicBezTo>
                    <a:cubicBezTo>
                      <a:pt x="42" y="169"/>
                      <a:pt x="42" y="166"/>
                      <a:pt x="43" y="166"/>
                    </a:cubicBezTo>
                    <a:cubicBezTo>
                      <a:pt x="45" y="167"/>
                      <a:pt x="45" y="170"/>
                      <a:pt x="45" y="171"/>
                    </a:cubicBezTo>
                    <a:cubicBezTo>
                      <a:pt x="46" y="173"/>
                      <a:pt x="50" y="171"/>
                      <a:pt x="49" y="170"/>
                    </a:cubicBezTo>
                    <a:cubicBezTo>
                      <a:pt x="48" y="169"/>
                      <a:pt x="47" y="168"/>
                      <a:pt x="46" y="167"/>
                    </a:cubicBezTo>
                    <a:cubicBezTo>
                      <a:pt x="46" y="166"/>
                      <a:pt x="45" y="165"/>
                      <a:pt x="44" y="164"/>
                    </a:cubicBezTo>
                    <a:cubicBezTo>
                      <a:pt x="43" y="162"/>
                      <a:pt x="42" y="160"/>
                      <a:pt x="43" y="158"/>
                    </a:cubicBezTo>
                    <a:cubicBezTo>
                      <a:pt x="44" y="155"/>
                      <a:pt x="47" y="156"/>
                      <a:pt x="48" y="154"/>
                    </a:cubicBezTo>
                    <a:cubicBezTo>
                      <a:pt x="49" y="153"/>
                      <a:pt x="50" y="152"/>
                      <a:pt x="51" y="152"/>
                    </a:cubicBezTo>
                    <a:cubicBezTo>
                      <a:pt x="52" y="152"/>
                      <a:pt x="51" y="154"/>
                      <a:pt x="50" y="154"/>
                    </a:cubicBezTo>
                    <a:cubicBezTo>
                      <a:pt x="50" y="156"/>
                      <a:pt x="49" y="157"/>
                      <a:pt x="48" y="157"/>
                    </a:cubicBezTo>
                    <a:cubicBezTo>
                      <a:pt x="47" y="158"/>
                      <a:pt x="46" y="159"/>
                      <a:pt x="47" y="160"/>
                    </a:cubicBezTo>
                    <a:cubicBezTo>
                      <a:pt x="48" y="160"/>
                      <a:pt x="49" y="160"/>
                      <a:pt x="50" y="159"/>
                    </a:cubicBezTo>
                    <a:cubicBezTo>
                      <a:pt x="51" y="159"/>
                      <a:pt x="51" y="158"/>
                      <a:pt x="51" y="157"/>
                    </a:cubicBezTo>
                    <a:cubicBezTo>
                      <a:pt x="52" y="156"/>
                      <a:pt x="52" y="155"/>
                      <a:pt x="53" y="155"/>
                    </a:cubicBezTo>
                    <a:cubicBezTo>
                      <a:pt x="53" y="154"/>
                      <a:pt x="55" y="154"/>
                      <a:pt x="55" y="155"/>
                    </a:cubicBezTo>
                    <a:cubicBezTo>
                      <a:pt x="56" y="157"/>
                      <a:pt x="55" y="159"/>
                      <a:pt x="57" y="159"/>
                    </a:cubicBezTo>
                    <a:cubicBezTo>
                      <a:pt x="58" y="160"/>
                      <a:pt x="61" y="161"/>
                      <a:pt x="58" y="162"/>
                    </a:cubicBezTo>
                    <a:cubicBezTo>
                      <a:pt x="57" y="162"/>
                      <a:pt x="53" y="160"/>
                      <a:pt x="53" y="163"/>
                    </a:cubicBezTo>
                    <a:cubicBezTo>
                      <a:pt x="54" y="164"/>
                      <a:pt x="54" y="165"/>
                      <a:pt x="54" y="166"/>
                    </a:cubicBezTo>
                    <a:cubicBezTo>
                      <a:pt x="54" y="168"/>
                      <a:pt x="54" y="169"/>
                      <a:pt x="55" y="170"/>
                    </a:cubicBezTo>
                    <a:cubicBezTo>
                      <a:pt x="57" y="171"/>
                      <a:pt x="57" y="173"/>
                      <a:pt x="55" y="174"/>
                    </a:cubicBezTo>
                    <a:cubicBezTo>
                      <a:pt x="55" y="175"/>
                      <a:pt x="54" y="176"/>
                      <a:pt x="53" y="177"/>
                    </a:cubicBezTo>
                    <a:cubicBezTo>
                      <a:pt x="53" y="178"/>
                      <a:pt x="53" y="179"/>
                      <a:pt x="52" y="181"/>
                    </a:cubicBezTo>
                    <a:cubicBezTo>
                      <a:pt x="52" y="182"/>
                      <a:pt x="51" y="183"/>
                      <a:pt x="50" y="183"/>
                    </a:cubicBezTo>
                    <a:cubicBezTo>
                      <a:pt x="49" y="184"/>
                      <a:pt x="48" y="184"/>
                      <a:pt x="48" y="185"/>
                    </a:cubicBezTo>
                    <a:cubicBezTo>
                      <a:pt x="48" y="186"/>
                      <a:pt x="49" y="187"/>
                      <a:pt x="50" y="187"/>
                    </a:cubicBezTo>
                    <a:cubicBezTo>
                      <a:pt x="50" y="188"/>
                      <a:pt x="50" y="190"/>
                      <a:pt x="51" y="189"/>
                    </a:cubicBezTo>
                    <a:cubicBezTo>
                      <a:pt x="52" y="189"/>
                      <a:pt x="51" y="187"/>
                      <a:pt x="51" y="187"/>
                    </a:cubicBezTo>
                    <a:cubicBezTo>
                      <a:pt x="51" y="187"/>
                      <a:pt x="52" y="187"/>
                      <a:pt x="52" y="186"/>
                    </a:cubicBezTo>
                    <a:cubicBezTo>
                      <a:pt x="52" y="186"/>
                      <a:pt x="52" y="186"/>
                      <a:pt x="53" y="185"/>
                    </a:cubicBezTo>
                    <a:cubicBezTo>
                      <a:pt x="53" y="184"/>
                      <a:pt x="55" y="186"/>
                      <a:pt x="55" y="186"/>
                    </a:cubicBezTo>
                    <a:cubicBezTo>
                      <a:pt x="56" y="187"/>
                      <a:pt x="56" y="188"/>
                      <a:pt x="57" y="188"/>
                    </a:cubicBezTo>
                    <a:cubicBezTo>
                      <a:pt x="58" y="189"/>
                      <a:pt x="58" y="190"/>
                      <a:pt x="59" y="190"/>
                    </a:cubicBezTo>
                    <a:cubicBezTo>
                      <a:pt x="60" y="190"/>
                      <a:pt x="60" y="188"/>
                      <a:pt x="60" y="187"/>
                    </a:cubicBezTo>
                    <a:cubicBezTo>
                      <a:pt x="60" y="187"/>
                      <a:pt x="59" y="185"/>
                      <a:pt x="60" y="185"/>
                    </a:cubicBezTo>
                    <a:cubicBezTo>
                      <a:pt x="61" y="184"/>
                      <a:pt x="61" y="185"/>
                      <a:pt x="62" y="186"/>
                    </a:cubicBezTo>
                    <a:cubicBezTo>
                      <a:pt x="63" y="186"/>
                      <a:pt x="65" y="186"/>
                      <a:pt x="65" y="187"/>
                    </a:cubicBezTo>
                    <a:cubicBezTo>
                      <a:pt x="66" y="188"/>
                      <a:pt x="66" y="188"/>
                      <a:pt x="67" y="188"/>
                    </a:cubicBezTo>
                    <a:cubicBezTo>
                      <a:pt x="68" y="188"/>
                      <a:pt x="69" y="189"/>
                      <a:pt x="69" y="188"/>
                    </a:cubicBezTo>
                    <a:cubicBezTo>
                      <a:pt x="69" y="188"/>
                      <a:pt x="69" y="187"/>
                      <a:pt x="70" y="187"/>
                    </a:cubicBezTo>
                    <a:cubicBezTo>
                      <a:pt x="70" y="187"/>
                      <a:pt x="71" y="186"/>
                      <a:pt x="71" y="186"/>
                    </a:cubicBezTo>
                    <a:cubicBezTo>
                      <a:pt x="73" y="184"/>
                      <a:pt x="74" y="182"/>
                      <a:pt x="76" y="183"/>
                    </a:cubicBezTo>
                    <a:cubicBezTo>
                      <a:pt x="78" y="184"/>
                      <a:pt x="79" y="183"/>
                      <a:pt x="80" y="183"/>
                    </a:cubicBezTo>
                    <a:cubicBezTo>
                      <a:pt x="82" y="183"/>
                      <a:pt x="83" y="184"/>
                      <a:pt x="81" y="185"/>
                    </a:cubicBezTo>
                    <a:cubicBezTo>
                      <a:pt x="79" y="185"/>
                      <a:pt x="77" y="186"/>
                      <a:pt x="76" y="188"/>
                    </a:cubicBezTo>
                    <a:cubicBezTo>
                      <a:pt x="76" y="189"/>
                      <a:pt x="76" y="190"/>
                      <a:pt x="75" y="191"/>
                    </a:cubicBezTo>
                    <a:cubicBezTo>
                      <a:pt x="75" y="192"/>
                      <a:pt x="74" y="193"/>
                      <a:pt x="74" y="194"/>
                    </a:cubicBezTo>
                    <a:cubicBezTo>
                      <a:pt x="74" y="195"/>
                      <a:pt x="75" y="196"/>
                      <a:pt x="76" y="197"/>
                    </a:cubicBezTo>
                    <a:cubicBezTo>
                      <a:pt x="77" y="198"/>
                      <a:pt x="77" y="199"/>
                      <a:pt x="78" y="200"/>
                    </a:cubicBezTo>
                    <a:cubicBezTo>
                      <a:pt x="79" y="200"/>
                      <a:pt x="80" y="201"/>
                      <a:pt x="80" y="202"/>
                    </a:cubicBezTo>
                    <a:cubicBezTo>
                      <a:pt x="81" y="203"/>
                      <a:pt x="81" y="203"/>
                      <a:pt x="82" y="203"/>
                    </a:cubicBezTo>
                    <a:cubicBezTo>
                      <a:pt x="84" y="203"/>
                      <a:pt x="84" y="200"/>
                      <a:pt x="86" y="202"/>
                    </a:cubicBezTo>
                    <a:cubicBezTo>
                      <a:pt x="89" y="203"/>
                      <a:pt x="86" y="206"/>
                      <a:pt x="85" y="207"/>
                    </a:cubicBezTo>
                    <a:cubicBezTo>
                      <a:pt x="84" y="209"/>
                      <a:pt x="84" y="211"/>
                      <a:pt x="86" y="213"/>
                    </a:cubicBezTo>
                    <a:cubicBezTo>
                      <a:pt x="87" y="215"/>
                      <a:pt x="84" y="215"/>
                      <a:pt x="83" y="216"/>
                    </a:cubicBezTo>
                    <a:cubicBezTo>
                      <a:pt x="83" y="217"/>
                      <a:pt x="83" y="217"/>
                      <a:pt x="84" y="217"/>
                    </a:cubicBezTo>
                    <a:cubicBezTo>
                      <a:pt x="85" y="218"/>
                      <a:pt x="85" y="218"/>
                      <a:pt x="85" y="219"/>
                    </a:cubicBezTo>
                    <a:cubicBezTo>
                      <a:pt x="86" y="220"/>
                      <a:pt x="86" y="220"/>
                      <a:pt x="87" y="221"/>
                    </a:cubicBezTo>
                    <a:cubicBezTo>
                      <a:pt x="88" y="221"/>
                      <a:pt x="89" y="222"/>
                      <a:pt x="88" y="223"/>
                    </a:cubicBezTo>
                    <a:cubicBezTo>
                      <a:pt x="87" y="224"/>
                      <a:pt x="87" y="224"/>
                      <a:pt x="86" y="223"/>
                    </a:cubicBezTo>
                    <a:cubicBezTo>
                      <a:pt x="84" y="223"/>
                      <a:pt x="85" y="222"/>
                      <a:pt x="84" y="221"/>
                    </a:cubicBezTo>
                    <a:cubicBezTo>
                      <a:pt x="84" y="221"/>
                      <a:pt x="83" y="222"/>
                      <a:pt x="83" y="223"/>
                    </a:cubicBezTo>
                    <a:cubicBezTo>
                      <a:pt x="83" y="223"/>
                      <a:pt x="84" y="224"/>
                      <a:pt x="83" y="225"/>
                    </a:cubicBezTo>
                    <a:cubicBezTo>
                      <a:pt x="82" y="226"/>
                      <a:pt x="80" y="224"/>
                      <a:pt x="79" y="224"/>
                    </a:cubicBezTo>
                    <a:cubicBezTo>
                      <a:pt x="77" y="224"/>
                      <a:pt x="76" y="224"/>
                      <a:pt x="74" y="224"/>
                    </a:cubicBezTo>
                    <a:cubicBezTo>
                      <a:pt x="73" y="224"/>
                      <a:pt x="71" y="223"/>
                      <a:pt x="70" y="223"/>
                    </a:cubicBezTo>
                    <a:cubicBezTo>
                      <a:pt x="68" y="223"/>
                      <a:pt x="68" y="224"/>
                      <a:pt x="67" y="225"/>
                    </a:cubicBezTo>
                    <a:cubicBezTo>
                      <a:pt x="66" y="225"/>
                      <a:pt x="65" y="226"/>
                      <a:pt x="64" y="226"/>
                    </a:cubicBezTo>
                    <a:cubicBezTo>
                      <a:pt x="62" y="227"/>
                      <a:pt x="61" y="230"/>
                      <a:pt x="59" y="231"/>
                    </a:cubicBezTo>
                    <a:cubicBezTo>
                      <a:pt x="59" y="231"/>
                      <a:pt x="58" y="232"/>
                      <a:pt x="58" y="232"/>
                    </a:cubicBezTo>
                    <a:cubicBezTo>
                      <a:pt x="59" y="233"/>
                      <a:pt x="60" y="233"/>
                      <a:pt x="60" y="233"/>
                    </a:cubicBezTo>
                    <a:cubicBezTo>
                      <a:pt x="62" y="232"/>
                      <a:pt x="65" y="230"/>
                      <a:pt x="66" y="232"/>
                    </a:cubicBezTo>
                    <a:cubicBezTo>
                      <a:pt x="67" y="234"/>
                      <a:pt x="66" y="236"/>
                      <a:pt x="66" y="237"/>
                    </a:cubicBezTo>
                    <a:cubicBezTo>
                      <a:pt x="66" y="239"/>
                      <a:pt x="69" y="239"/>
                      <a:pt x="70" y="240"/>
                    </a:cubicBezTo>
                    <a:cubicBezTo>
                      <a:pt x="70" y="241"/>
                      <a:pt x="69" y="242"/>
                      <a:pt x="68" y="242"/>
                    </a:cubicBezTo>
                    <a:cubicBezTo>
                      <a:pt x="67" y="243"/>
                      <a:pt x="67" y="244"/>
                      <a:pt x="66" y="245"/>
                    </a:cubicBezTo>
                    <a:cubicBezTo>
                      <a:pt x="64" y="247"/>
                      <a:pt x="62" y="249"/>
                      <a:pt x="59" y="250"/>
                    </a:cubicBezTo>
                    <a:cubicBezTo>
                      <a:pt x="56" y="252"/>
                      <a:pt x="52" y="252"/>
                      <a:pt x="48" y="253"/>
                    </a:cubicBezTo>
                    <a:cubicBezTo>
                      <a:pt x="48" y="254"/>
                      <a:pt x="45" y="254"/>
                      <a:pt x="46" y="255"/>
                    </a:cubicBezTo>
                    <a:cubicBezTo>
                      <a:pt x="47" y="256"/>
                      <a:pt x="48" y="257"/>
                      <a:pt x="48" y="257"/>
                    </a:cubicBezTo>
                    <a:cubicBezTo>
                      <a:pt x="50" y="258"/>
                      <a:pt x="51" y="256"/>
                      <a:pt x="52" y="257"/>
                    </a:cubicBezTo>
                    <a:cubicBezTo>
                      <a:pt x="53" y="258"/>
                      <a:pt x="53" y="259"/>
                      <a:pt x="55" y="259"/>
                    </a:cubicBezTo>
                    <a:cubicBezTo>
                      <a:pt x="57" y="258"/>
                      <a:pt x="58" y="257"/>
                      <a:pt x="60" y="257"/>
                    </a:cubicBezTo>
                    <a:cubicBezTo>
                      <a:pt x="61" y="257"/>
                      <a:pt x="61" y="257"/>
                      <a:pt x="62" y="258"/>
                    </a:cubicBezTo>
                    <a:cubicBezTo>
                      <a:pt x="63" y="258"/>
                      <a:pt x="63" y="259"/>
                      <a:pt x="64" y="259"/>
                    </a:cubicBezTo>
                    <a:cubicBezTo>
                      <a:pt x="65" y="259"/>
                      <a:pt x="66" y="259"/>
                      <a:pt x="66" y="260"/>
                    </a:cubicBezTo>
                    <a:cubicBezTo>
                      <a:pt x="67" y="261"/>
                      <a:pt x="65" y="262"/>
                      <a:pt x="67" y="263"/>
                    </a:cubicBezTo>
                    <a:cubicBezTo>
                      <a:pt x="69" y="263"/>
                      <a:pt x="72" y="261"/>
                      <a:pt x="73" y="263"/>
                    </a:cubicBezTo>
                    <a:cubicBezTo>
                      <a:pt x="75" y="266"/>
                      <a:pt x="77" y="265"/>
                      <a:pt x="80" y="264"/>
                    </a:cubicBezTo>
                    <a:cubicBezTo>
                      <a:pt x="82" y="263"/>
                      <a:pt x="85" y="264"/>
                      <a:pt x="87" y="262"/>
                    </a:cubicBezTo>
                    <a:cubicBezTo>
                      <a:pt x="88" y="262"/>
                      <a:pt x="92" y="259"/>
                      <a:pt x="92" y="260"/>
                    </a:cubicBezTo>
                    <a:cubicBezTo>
                      <a:pt x="93" y="262"/>
                      <a:pt x="90" y="264"/>
                      <a:pt x="89" y="264"/>
                    </a:cubicBezTo>
                    <a:cubicBezTo>
                      <a:pt x="88" y="265"/>
                      <a:pt x="87" y="266"/>
                      <a:pt x="86" y="267"/>
                    </a:cubicBezTo>
                    <a:cubicBezTo>
                      <a:pt x="85" y="268"/>
                      <a:pt x="85" y="269"/>
                      <a:pt x="85" y="271"/>
                    </a:cubicBezTo>
                    <a:cubicBezTo>
                      <a:pt x="84" y="273"/>
                      <a:pt x="81" y="271"/>
                      <a:pt x="79" y="271"/>
                    </a:cubicBezTo>
                    <a:cubicBezTo>
                      <a:pt x="76" y="271"/>
                      <a:pt x="74" y="272"/>
                      <a:pt x="71" y="272"/>
                    </a:cubicBezTo>
                    <a:cubicBezTo>
                      <a:pt x="68" y="272"/>
                      <a:pt x="67" y="271"/>
                      <a:pt x="64" y="271"/>
                    </a:cubicBezTo>
                    <a:cubicBezTo>
                      <a:pt x="62" y="272"/>
                      <a:pt x="60" y="275"/>
                      <a:pt x="59" y="277"/>
                    </a:cubicBezTo>
                    <a:cubicBezTo>
                      <a:pt x="58" y="278"/>
                      <a:pt x="58" y="279"/>
                      <a:pt x="57" y="280"/>
                    </a:cubicBezTo>
                    <a:cubicBezTo>
                      <a:pt x="57" y="281"/>
                      <a:pt x="56" y="282"/>
                      <a:pt x="55" y="282"/>
                    </a:cubicBezTo>
                    <a:cubicBezTo>
                      <a:pt x="54" y="284"/>
                      <a:pt x="55" y="286"/>
                      <a:pt x="52" y="287"/>
                    </a:cubicBezTo>
                    <a:cubicBezTo>
                      <a:pt x="51" y="287"/>
                      <a:pt x="50" y="287"/>
                      <a:pt x="49" y="288"/>
                    </a:cubicBezTo>
                    <a:cubicBezTo>
                      <a:pt x="48" y="288"/>
                      <a:pt x="47" y="289"/>
                      <a:pt x="46" y="290"/>
                    </a:cubicBezTo>
                    <a:cubicBezTo>
                      <a:pt x="45" y="291"/>
                      <a:pt x="44" y="291"/>
                      <a:pt x="43" y="292"/>
                    </a:cubicBezTo>
                    <a:cubicBezTo>
                      <a:pt x="43" y="293"/>
                      <a:pt x="42" y="293"/>
                      <a:pt x="41" y="294"/>
                    </a:cubicBezTo>
                    <a:cubicBezTo>
                      <a:pt x="41" y="294"/>
                      <a:pt x="38" y="296"/>
                      <a:pt x="40" y="296"/>
                    </a:cubicBezTo>
                    <a:cubicBezTo>
                      <a:pt x="41" y="296"/>
                      <a:pt x="45" y="294"/>
                      <a:pt x="45" y="296"/>
                    </a:cubicBezTo>
                    <a:cubicBezTo>
                      <a:pt x="45" y="297"/>
                      <a:pt x="46" y="297"/>
                      <a:pt x="47" y="297"/>
                    </a:cubicBezTo>
                    <a:cubicBezTo>
                      <a:pt x="47" y="296"/>
                      <a:pt x="47" y="295"/>
                      <a:pt x="47" y="295"/>
                    </a:cubicBezTo>
                    <a:cubicBezTo>
                      <a:pt x="47" y="293"/>
                      <a:pt x="49" y="292"/>
                      <a:pt x="51" y="292"/>
                    </a:cubicBezTo>
                    <a:cubicBezTo>
                      <a:pt x="54" y="292"/>
                      <a:pt x="56" y="291"/>
                      <a:pt x="58" y="291"/>
                    </a:cubicBezTo>
                    <a:cubicBezTo>
                      <a:pt x="59" y="290"/>
                      <a:pt x="61" y="290"/>
                      <a:pt x="62" y="289"/>
                    </a:cubicBezTo>
                    <a:cubicBezTo>
                      <a:pt x="63" y="289"/>
                      <a:pt x="62" y="287"/>
                      <a:pt x="63" y="287"/>
                    </a:cubicBezTo>
                    <a:cubicBezTo>
                      <a:pt x="64" y="287"/>
                      <a:pt x="65" y="288"/>
                      <a:pt x="65" y="289"/>
                    </a:cubicBezTo>
                    <a:cubicBezTo>
                      <a:pt x="65" y="290"/>
                      <a:pt x="66" y="290"/>
                      <a:pt x="67" y="291"/>
                    </a:cubicBezTo>
                    <a:cubicBezTo>
                      <a:pt x="68" y="291"/>
                      <a:pt x="69" y="292"/>
                      <a:pt x="70" y="292"/>
                    </a:cubicBezTo>
                    <a:cubicBezTo>
                      <a:pt x="71" y="292"/>
                      <a:pt x="71" y="291"/>
                      <a:pt x="72" y="290"/>
                    </a:cubicBezTo>
                    <a:cubicBezTo>
                      <a:pt x="72" y="289"/>
                      <a:pt x="73" y="288"/>
                      <a:pt x="73" y="286"/>
                    </a:cubicBezTo>
                    <a:cubicBezTo>
                      <a:pt x="74" y="285"/>
                      <a:pt x="73" y="284"/>
                      <a:pt x="74" y="283"/>
                    </a:cubicBezTo>
                    <a:cubicBezTo>
                      <a:pt x="76" y="281"/>
                      <a:pt x="78" y="280"/>
                      <a:pt x="81" y="280"/>
                    </a:cubicBezTo>
                    <a:cubicBezTo>
                      <a:pt x="82" y="280"/>
                      <a:pt x="84" y="280"/>
                      <a:pt x="85" y="280"/>
                    </a:cubicBezTo>
                    <a:cubicBezTo>
                      <a:pt x="86" y="280"/>
                      <a:pt x="87" y="281"/>
                      <a:pt x="87" y="282"/>
                    </a:cubicBezTo>
                    <a:cubicBezTo>
                      <a:pt x="88" y="282"/>
                      <a:pt x="90" y="283"/>
                      <a:pt x="91" y="283"/>
                    </a:cubicBezTo>
                    <a:cubicBezTo>
                      <a:pt x="92" y="284"/>
                      <a:pt x="93" y="285"/>
                      <a:pt x="94" y="285"/>
                    </a:cubicBezTo>
                    <a:cubicBezTo>
                      <a:pt x="95" y="285"/>
                      <a:pt x="96" y="284"/>
                      <a:pt x="98" y="284"/>
                    </a:cubicBezTo>
                    <a:cubicBezTo>
                      <a:pt x="99" y="284"/>
                      <a:pt x="100" y="284"/>
                      <a:pt x="100" y="283"/>
                    </a:cubicBezTo>
                    <a:cubicBezTo>
                      <a:pt x="100" y="282"/>
                      <a:pt x="99" y="281"/>
                      <a:pt x="100" y="281"/>
                    </a:cubicBezTo>
                    <a:cubicBezTo>
                      <a:pt x="101" y="280"/>
                      <a:pt x="102" y="281"/>
                      <a:pt x="103" y="281"/>
                    </a:cubicBezTo>
                    <a:cubicBezTo>
                      <a:pt x="105" y="281"/>
                      <a:pt x="107" y="281"/>
                      <a:pt x="108" y="279"/>
                    </a:cubicBezTo>
                    <a:cubicBezTo>
                      <a:pt x="110" y="277"/>
                      <a:pt x="111" y="277"/>
                      <a:pt x="113" y="277"/>
                    </a:cubicBezTo>
                    <a:cubicBezTo>
                      <a:pt x="116" y="278"/>
                      <a:pt x="118" y="277"/>
                      <a:pt x="120" y="279"/>
                    </a:cubicBezTo>
                    <a:cubicBezTo>
                      <a:pt x="121" y="279"/>
                      <a:pt x="122" y="280"/>
                      <a:pt x="123" y="280"/>
                    </a:cubicBezTo>
                    <a:cubicBezTo>
                      <a:pt x="124" y="280"/>
                      <a:pt x="126" y="280"/>
                      <a:pt x="127" y="280"/>
                    </a:cubicBezTo>
                    <a:cubicBezTo>
                      <a:pt x="130" y="279"/>
                      <a:pt x="133" y="280"/>
                      <a:pt x="135" y="280"/>
                    </a:cubicBezTo>
                    <a:cubicBezTo>
                      <a:pt x="139" y="281"/>
                      <a:pt x="142" y="281"/>
                      <a:pt x="145" y="279"/>
                    </a:cubicBezTo>
                    <a:cubicBezTo>
                      <a:pt x="147" y="278"/>
                      <a:pt x="149" y="276"/>
                      <a:pt x="152" y="275"/>
                    </a:cubicBezTo>
                    <a:cubicBezTo>
                      <a:pt x="154" y="274"/>
                      <a:pt x="157" y="273"/>
                      <a:pt x="158" y="272"/>
                    </a:cubicBezTo>
                    <a:cubicBezTo>
                      <a:pt x="160" y="271"/>
                      <a:pt x="160" y="268"/>
                      <a:pt x="158" y="267"/>
                    </a:cubicBezTo>
                    <a:cubicBezTo>
                      <a:pt x="157" y="266"/>
                      <a:pt x="154" y="266"/>
                      <a:pt x="152" y="267"/>
                    </a:cubicBezTo>
                    <a:cubicBezTo>
                      <a:pt x="150" y="268"/>
                      <a:pt x="148" y="267"/>
                      <a:pt x="146" y="266"/>
                    </a:cubicBezTo>
                    <a:cubicBezTo>
                      <a:pt x="145" y="266"/>
                      <a:pt x="144" y="266"/>
                      <a:pt x="142" y="266"/>
                    </a:cubicBezTo>
                    <a:cubicBezTo>
                      <a:pt x="142" y="266"/>
                      <a:pt x="140" y="265"/>
                      <a:pt x="142" y="264"/>
                    </a:cubicBezTo>
                    <a:cubicBezTo>
                      <a:pt x="143" y="264"/>
                      <a:pt x="144" y="263"/>
                      <a:pt x="145" y="263"/>
                    </a:cubicBezTo>
                    <a:cubicBezTo>
                      <a:pt x="146" y="263"/>
                      <a:pt x="147" y="263"/>
                      <a:pt x="148" y="263"/>
                    </a:cubicBezTo>
                    <a:cubicBezTo>
                      <a:pt x="148" y="263"/>
                      <a:pt x="149" y="263"/>
                      <a:pt x="150" y="262"/>
                    </a:cubicBezTo>
                    <a:cubicBezTo>
                      <a:pt x="151" y="262"/>
                      <a:pt x="150" y="260"/>
                      <a:pt x="149" y="260"/>
                    </a:cubicBezTo>
                    <a:cubicBezTo>
                      <a:pt x="149" y="260"/>
                      <a:pt x="145" y="260"/>
                      <a:pt x="146" y="259"/>
                    </a:cubicBezTo>
                    <a:cubicBezTo>
                      <a:pt x="147" y="259"/>
                      <a:pt x="147" y="258"/>
                      <a:pt x="148" y="258"/>
                    </a:cubicBezTo>
                    <a:cubicBezTo>
                      <a:pt x="149" y="258"/>
                      <a:pt x="151" y="258"/>
                      <a:pt x="152" y="258"/>
                    </a:cubicBezTo>
                    <a:cubicBezTo>
                      <a:pt x="153" y="257"/>
                      <a:pt x="155" y="258"/>
                      <a:pt x="156" y="257"/>
                    </a:cubicBezTo>
                    <a:cubicBezTo>
                      <a:pt x="158" y="257"/>
                      <a:pt x="154" y="255"/>
                      <a:pt x="154" y="255"/>
                    </a:cubicBezTo>
                    <a:cubicBezTo>
                      <a:pt x="152" y="254"/>
                      <a:pt x="153" y="252"/>
                      <a:pt x="155" y="252"/>
                    </a:cubicBezTo>
                    <a:cubicBezTo>
                      <a:pt x="156" y="253"/>
                      <a:pt x="157" y="254"/>
                      <a:pt x="158" y="254"/>
                    </a:cubicBezTo>
                    <a:cubicBezTo>
                      <a:pt x="159" y="254"/>
                      <a:pt x="160" y="253"/>
                      <a:pt x="161" y="252"/>
                    </a:cubicBezTo>
                    <a:cubicBezTo>
                      <a:pt x="163" y="251"/>
                      <a:pt x="162" y="248"/>
                      <a:pt x="163" y="246"/>
                    </a:cubicBezTo>
                    <a:cubicBezTo>
                      <a:pt x="164" y="243"/>
                      <a:pt x="165" y="241"/>
                      <a:pt x="164" y="238"/>
                    </a:cubicBezTo>
                    <a:cubicBezTo>
                      <a:pt x="163" y="236"/>
                      <a:pt x="161" y="234"/>
                      <a:pt x="159" y="233"/>
                    </a:cubicBezTo>
                    <a:cubicBezTo>
                      <a:pt x="157" y="232"/>
                      <a:pt x="154" y="232"/>
                      <a:pt x="151" y="231"/>
                    </a:cubicBezTo>
                    <a:cubicBezTo>
                      <a:pt x="148" y="230"/>
                      <a:pt x="145" y="231"/>
                      <a:pt x="143" y="232"/>
                    </a:cubicBezTo>
                    <a:cubicBezTo>
                      <a:pt x="142" y="233"/>
                      <a:pt x="141" y="234"/>
                      <a:pt x="140" y="234"/>
                    </a:cubicBezTo>
                    <a:cubicBezTo>
                      <a:pt x="139" y="234"/>
                      <a:pt x="137" y="234"/>
                      <a:pt x="136" y="233"/>
                    </a:cubicBezTo>
                    <a:cubicBezTo>
                      <a:pt x="135" y="232"/>
                      <a:pt x="136" y="229"/>
                      <a:pt x="138" y="229"/>
                    </a:cubicBezTo>
                    <a:cubicBezTo>
                      <a:pt x="140" y="228"/>
                      <a:pt x="142" y="227"/>
                      <a:pt x="140" y="224"/>
                    </a:cubicBezTo>
                    <a:cubicBezTo>
                      <a:pt x="139" y="222"/>
                      <a:pt x="138" y="221"/>
                      <a:pt x="136" y="220"/>
                    </a:cubicBezTo>
                    <a:cubicBezTo>
                      <a:pt x="135" y="219"/>
                      <a:pt x="134" y="219"/>
                      <a:pt x="134" y="218"/>
                    </a:cubicBezTo>
                    <a:cubicBezTo>
                      <a:pt x="133" y="217"/>
                      <a:pt x="132" y="215"/>
                      <a:pt x="131" y="215"/>
                    </a:cubicBezTo>
                    <a:cubicBezTo>
                      <a:pt x="129" y="214"/>
                      <a:pt x="127" y="215"/>
                      <a:pt x="126" y="215"/>
                    </a:cubicBezTo>
                    <a:cubicBezTo>
                      <a:pt x="125" y="215"/>
                      <a:pt x="122" y="215"/>
                      <a:pt x="124" y="214"/>
                    </a:cubicBezTo>
                    <a:cubicBezTo>
                      <a:pt x="125" y="212"/>
                      <a:pt x="128" y="212"/>
                      <a:pt x="130" y="213"/>
                    </a:cubicBezTo>
                    <a:cubicBezTo>
                      <a:pt x="132" y="213"/>
                      <a:pt x="133" y="215"/>
                      <a:pt x="135" y="216"/>
                    </a:cubicBezTo>
                    <a:cubicBezTo>
                      <a:pt x="138" y="216"/>
                      <a:pt x="135" y="213"/>
                      <a:pt x="135" y="212"/>
                    </a:cubicBezTo>
                    <a:cubicBezTo>
                      <a:pt x="134" y="209"/>
                      <a:pt x="134" y="207"/>
                      <a:pt x="132" y="204"/>
                    </a:cubicBezTo>
                    <a:cubicBezTo>
                      <a:pt x="131" y="202"/>
                      <a:pt x="129" y="201"/>
                      <a:pt x="127" y="199"/>
                    </a:cubicBezTo>
                    <a:cubicBezTo>
                      <a:pt x="125" y="197"/>
                      <a:pt x="124" y="195"/>
                      <a:pt x="122" y="193"/>
                    </a:cubicBezTo>
                    <a:cubicBezTo>
                      <a:pt x="121" y="193"/>
                      <a:pt x="120" y="192"/>
                      <a:pt x="119" y="192"/>
                    </a:cubicBezTo>
                    <a:cubicBezTo>
                      <a:pt x="118" y="192"/>
                      <a:pt x="117" y="191"/>
                      <a:pt x="116" y="190"/>
                    </a:cubicBezTo>
                    <a:cubicBezTo>
                      <a:pt x="115" y="190"/>
                      <a:pt x="114" y="189"/>
                      <a:pt x="113" y="188"/>
                    </a:cubicBezTo>
                    <a:cubicBezTo>
                      <a:pt x="113" y="187"/>
                      <a:pt x="112" y="185"/>
                      <a:pt x="111" y="184"/>
                    </a:cubicBezTo>
                    <a:cubicBezTo>
                      <a:pt x="110" y="182"/>
                      <a:pt x="109" y="179"/>
                      <a:pt x="108" y="176"/>
                    </a:cubicBezTo>
                    <a:cubicBezTo>
                      <a:pt x="108" y="174"/>
                      <a:pt x="108" y="171"/>
                      <a:pt x="106" y="169"/>
                    </a:cubicBezTo>
                    <a:cubicBezTo>
                      <a:pt x="103" y="165"/>
                      <a:pt x="98" y="161"/>
                      <a:pt x="93" y="160"/>
                    </a:cubicBezTo>
                    <a:cubicBezTo>
                      <a:pt x="90" y="160"/>
                      <a:pt x="87" y="160"/>
                      <a:pt x="84" y="160"/>
                    </a:cubicBezTo>
                    <a:cubicBezTo>
                      <a:pt x="81" y="161"/>
                      <a:pt x="78" y="161"/>
                      <a:pt x="75" y="160"/>
                    </a:cubicBezTo>
                    <a:cubicBezTo>
                      <a:pt x="74" y="160"/>
                      <a:pt x="72" y="160"/>
                      <a:pt x="71" y="158"/>
                    </a:cubicBezTo>
                    <a:cubicBezTo>
                      <a:pt x="71" y="156"/>
                      <a:pt x="75" y="158"/>
                      <a:pt x="77" y="158"/>
                    </a:cubicBezTo>
                    <a:cubicBezTo>
                      <a:pt x="79" y="158"/>
                      <a:pt x="81" y="156"/>
                      <a:pt x="83" y="155"/>
                    </a:cubicBezTo>
                    <a:cubicBezTo>
                      <a:pt x="85" y="155"/>
                      <a:pt x="89" y="156"/>
                      <a:pt x="88" y="153"/>
                    </a:cubicBezTo>
                    <a:cubicBezTo>
                      <a:pt x="88" y="152"/>
                      <a:pt x="88" y="149"/>
                      <a:pt x="86" y="149"/>
                    </a:cubicBezTo>
                    <a:cubicBezTo>
                      <a:pt x="86" y="149"/>
                      <a:pt x="79" y="151"/>
                      <a:pt x="80" y="150"/>
                    </a:cubicBezTo>
                    <a:cubicBezTo>
                      <a:pt x="80" y="149"/>
                      <a:pt x="81" y="149"/>
                      <a:pt x="82" y="148"/>
                    </a:cubicBezTo>
                    <a:cubicBezTo>
                      <a:pt x="83" y="148"/>
                      <a:pt x="84" y="148"/>
                      <a:pt x="85" y="148"/>
                    </a:cubicBezTo>
                    <a:cubicBezTo>
                      <a:pt x="88" y="148"/>
                      <a:pt x="90" y="147"/>
                      <a:pt x="91" y="145"/>
                    </a:cubicBezTo>
                    <a:cubicBezTo>
                      <a:pt x="92" y="143"/>
                      <a:pt x="92" y="140"/>
                      <a:pt x="95" y="139"/>
                    </a:cubicBezTo>
                    <a:cubicBezTo>
                      <a:pt x="96" y="139"/>
                      <a:pt x="98" y="138"/>
                      <a:pt x="98" y="136"/>
                    </a:cubicBezTo>
                    <a:cubicBezTo>
                      <a:pt x="99" y="134"/>
                      <a:pt x="99" y="132"/>
                      <a:pt x="99" y="130"/>
                    </a:cubicBezTo>
                    <a:cubicBezTo>
                      <a:pt x="100" y="127"/>
                      <a:pt x="103" y="127"/>
                      <a:pt x="104" y="126"/>
                    </a:cubicBezTo>
                    <a:cubicBezTo>
                      <a:pt x="106" y="124"/>
                      <a:pt x="105" y="121"/>
                      <a:pt x="103" y="120"/>
                    </a:cubicBezTo>
                    <a:cubicBezTo>
                      <a:pt x="102" y="120"/>
                      <a:pt x="101" y="120"/>
                      <a:pt x="100" y="120"/>
                    </a:cubicBezTo>
                    <a:cubicBezTo>
                      <a:pt x="99" y="119"/>
                      <a:pt x="97" y="119"/>
                      <a:pt x="95" y="119"/>
                    </a:cubicBezTo>
                    <a:cubicBezTo>
                      <a:pt x="92" y="119"/>
                      <a:pt x="89" y="120"/>
                      <a:pt x="86" y="119"/>
                    </a:cubicBezTo>
                    <a:cubicBezTo>
                      <a:pt x="84" y="118"/>
                      <a:pt x="82" y="117"/>
                      <a:pt x="79" y="118"/>
                    </a:cubicBezTo>
                    <a:cubicBezTo>
                      <a:pt x="76" y="119"/>
                      <a:pt x="74" y="119"/>
                      <a:pt x="71" y="120"/>
                    </a:cubicBezTo>
                    <a:cubicBezTo>
                      <a:pt x="69" y="121"/>
                      <a:pt x="66" y="124"/>
                      <a:pt x="64" y="123"/>
                    </a:cubicBezTo>
                    <a:cubicBezTo>
                      <a:pt x="63" y="122"/>
                      <a:pt x="63" y="121"/>
                      <a:pt x="62" y="121"/>
                    </a:cubicBezTo>
                    <a:cubicBezTo>
                      <a:pt x="62" y="121"/>
                      <a:pt x="61" y="122"/>
                      <a:pt x="60" y="122"/>
                    </a:cubicBezTo>
                    <a:cubicBezTo>
                      <a:pt x="60" y="122"/>
                      <a:pt x="59" y="121"/>
                      <a:pt x="59" y="121"/>
                    </a:cubicBezTo>
                    <a:cubicBezTo>
                      <a:pt x="60" y="120"/>
                      <a:pt x="61" y="120"/>
                      <a:pt x="61" y="120"/>
                    </a:cubicBezTo>
                    <a:cubicBezTo>
                      <a:pt x="62" y="119"/>
                      <a:pt x="63" y="119"/>
                      <a:pt x="64" y="118"/>
                    </a:cubicBezTo>
                    <a:cubicBezTo>
                      <a:pt x="64" y="118"/>
                      <a:pt x="65" y="118"/>
                      <a:pt x="66" y="118"/>
                    </a:cubicBezTo>
                    <a:cubicBezTo>
                      <a:pt x="67" y="118"/>
                      <a:pt x="67" y="117"/>
                      <a:pt x="67" y="116"/>
                    </a:cubicBezTo>
                    <a:cubicBezTo>
                      <a:pt x="67" y="115"/>
                      <a:pt x="65" y="115"/>
                      <a:pt x="64" y="114"/>
                    </a:cubicBezTo>
                    <a:cubicBezTo>
                      <a:pt x="63" y="114"/>
                      <a:pt x="59" y="114"/>
                      <a:pt x="60" y="113"/>
                    </a:cubicBezTo>
                    <a:cubicBezTo>
                      <a:pt x="61" y="112"/>
                      <a:pt x="63" y="114"/>
                      <a:pt x="65" y="114"/>
                    </a:cubicBezTo>
                    <a:cubicBezTo>
                      <a:pt x="65" y="113"/>
                      <a:pt x="65" y="113"/>
                      <a:pt x="66" y="112"/>
                    </a:cubicBezTo>
                    <a:cubicBezTo>
                      <a:pt x="66" y="111"/>
                      <a:pt x="67" y="111"/>
                      <a:pt x="68" y="111"/>
                    </a:cubicBezTo>
                    <a:cubicBezTo>
                      <a:pt x="69" y="110"/>
                      <a:pt x="70" y="109"/>
                      <a:pt x="72" y="109"/>
                    </a:cubicBezTo>
                    <a:cubicBezTo>
                      <a:pt x="73" y="108"/>
                      <a:pt x="75" y="108"/>
                      <a:pt x="76" y="106"/>
                    </a:cubicBezTo>
                    <a:cubicBezTo>
                      <a:pt x="76" y="106"/>
                      <a:pt x="77" y="105"/>
                      <a:pt x="78" y="104"/>
                    </a:cubicBezTo>
                    <a:cubicBezTo>
                      <a:pt x="79" y="104"/>
                      <a:pt x="80" y="104"/>
                      <a:pt x="80" y="103"/>
                    </a:cubicBezTo>
                    <a:cubicBezTo>
                      <a:pt x="82" y="103"/>
                      <a:pt x="81" y="101"/>
                      <a:pt x="82" y="100"/>
                    </a:cubicBezTo>
                    <a:cubicBezTo>
                      <a:pt x="82" y="99"/>
                      <a:pt x="83" y="98"/>
                      <a:pt x="83" y="97"/>
                    </a:cubicBezTo>
                    <a:cubicBezTo>
                      <a:pt x="85" y="94"/>
                      <a:pt x="82" y="95"/>
                      <a:pt x="80" y="95"/>
                    </a:cubicBezTo>
                    <a:cubicBezTo>
                      <a:pt x="77" y="95"/>
                      <a:pt x="74" y="96"/>
                      <a:pt x="71" y="96"/>
                    </a:cubicBezTo>
                    <a:cubicBezTo>
                      <a:pt x="68" y="96"/>
                      <a:pt x="66" y="96"/>
                      <a:pt x="64" y="98"/>
                    </a:cubicBezTo>
                    <a:cubicBezTo>
                      <a:pt x="63" y="99"/>
                      <a:pt x="62" y="99"/>
                      <a:pt x="61" y="100"/>
                    </a:cubicBezTo>
                    <a:cubicBezTo>
                      <a:pt x="61" y="100"/>
                      <a:pt x="59" y="101"/>
                      <a:pt x="59" y="100"/>
                    </a:cubicBezTo>
                    <a:cubicBezTo>
                      <a:pt x="59" y="99"/>
                      <a:pt x="61" y="97"/>
                      <a:pt x="58" y="97"/>
                    </a:cubicBezTo>
                    <a:cubicBezTo>
                      <a:pt x="56" y="97"/>
                      <a:pt x="56" y="100"/>
                      <a:pt x="54" y="100"/>
                    </a:cubicBezTo>
                    <a:cubicBezTo>
                      <a:pt x="52" y="100"/>
                      <a:pt x="54" y="98"/>
                      <a:pt x="54" y="97"/>
                    </a:cubicBezTo>
                    <a:cubicBezTo>
                      <a:pt x="55" y="96"/>
                      <a:pt x="51" y="96"/>
                      <a:pt x="50" y="97"/>
                    </a:cubicBezTo>
                    <a:cubicBezTo>
                      <a:pt x="50" y="97"/>
                      <a:pt x="49" y="99"/>
                      <a:pt x="49" y="100"/>
                    </a:cubicBezTo>
                    <a:cubicBezTo>
                      <a:pt x="48" y="100"/>
                      <a:pt x="48" y="101"/>
                      <a:pt x="48" y="102"/>
                    </a:cubicBezTo>
                    <a:cubicBezTo>
                      <a:pt x="49" y="103"/>
                      <a:pt x="52" y="104"/>
                      <a:pt x="51" y="105"/>
                    </a:cubicBezTo>
                    <a:cubicBezTo>
                      <a:pt x="50" y="105"/>
                      <a:pt x="49" y="105"/>
                      <a:pt x="47" y="105"/>
                    </a:cubicBezTo>
                    <a:cubicBezTo>
                      <a:pt x="47" y="105"/>
                      <a:pt x="46" y="106"/>
                      <a:pt x="46" y="107"/>
                    </a:cubicBezTo>
                    <a:cubicBezTo>
                      <a:pt x="46" y="108"/>
                      <a:pt x="45" y="108"/>
                      <a:pt x="44" y="109"/>
                    </a:cubicBezTo>
                    <a:cubicBezTo>
                      <a:pt x="44" y="110"/>
                      <a:pt x="45" y="110"/>
                      <a:pt x="46" y="110"/>
                    </a:cubicBezTo>
                    <a:cubicBezTo>
                      <a:pt x="47" y="111"/>
                      <a:pt x="46" y="112"/>
                      <a:pt x="47" y="113"/>
                    </a:cubicBezTo>
                    <a:cubicBezTo>
                      <a:pt x="47" y="113"/>
                      <a:pt x="51" y="114"/>
                      <a:pt x="49" y="115"/>
                    </a:cubicBezTo>
                    <a:cubicBezTo>
                      <a:pt x="48" y="116"/>
                      <a:pt x="44" y="116"/>
                      <a:pt x="43" y="115"/>
                    </a:cubicBezTo>
                    <a:cubicBezTo>
                      <a:pt x="43" y="114"/>
                      <a:pt x="43" y="114"/>
                      <a:pt x="42" y="114"/>
                    </a:cubicBezTo>
                    <a:cubicBezTo>
                      <a:pt x="40" y="113"/>
                      <a:pt x="40" y="114"/>
                      <a:pt x="40" y="115"/>
                    </a:cubicBezTo>
                    <a:cubicBezTo>
                      <a:pt x="39" y="115"/>
                      <a:pt x="38" y="116"/>
                      <a:pt x="38" y="117"/>
                    </a:cubicBezTo>
                    <a:cubicBezTo>
                      <a:pt x="38" y="118"/>
                      <a:pt x="40" y="119"/>
                      <a:pt x="40" y="120"/>
                    </a:cubicBezTo>
                    <a:cubicBezTo>
                      <a:pt x="41" y="120"/>
                      <a:pt x="42" y="121"/>
                      <a:pt x="42" y="122"/>
                    </a:cubicBezTo>
                    <a:cubicBezTo>
                      <a:pt x="41" y="123"/>
                      <a:pt x="40" y="123"/>
                      <a:pt x="39" y="122"/>
                    </a:cubicBezTo>
                    <a:cubicBezTo>
                      <a:pt x="38" y="122"/>
                      <a:pt x="38" y="122"/>
                      <a:pt x="37" y="122"/>
                    </a:cubicBezTo>
                    <a:cubicBezTo>
                      <a:pt x="36" y="123"/>
                      <a:pt x="37" y="124"/>
                      <a:pt x="37" y="124"/>
                    </a:cubicBezTo>
                    <a:cubicBezTo>
                      <a:pt x="38" y="125"/>
                      <a:pt x="39" y="125"/>
                      <a:pt x="41" y="125"/>
                    </a:cubicBezTo>
                    <a:cubicBezTo>
                      <a:pt x="42" y="125"/>
                      <a:pt x="43" y="125"/>
                      <a:pt x="43" y="126"/>
                    </a:cubicBezTo>
                    <a:cubicBezTo>
                      <a:pt x="43" y="127"/>
                      <a:pt x="43" y="129"/>
                      <a:pt x="42" y="129"/>
                    </a:cubicBezTo>
                    <a:cubicBezTo>
                      <a:pt x="40" y="130"/>
                      <a:pt x="42" y="131"/>
                      <a:pt x="43" y="131"/>
                    </a:cubicBezTo>
                    <a:cubicBezTo>
                      <a:pt x="44" y="132"/>
                      <a:pt x="43" y="133"/>
                      <a:pt x="42" y="133"/>
                    </a:cubicBezTo>
                    <a:cubicBezTo>
                      <a:pt x="40" y="133"/>
                      <a:pt x="40" y="134"/>
                      <a:pt x="41" y="135"/>
                    </a:cubicBezTo>
                    <a:cubicBezTo>
                      <a:pt x="42" y="137"/>
                      <a:pt x="38" y="136"/>
                      <a:pt x="38" y="136"/>
                    </a:cubicBezTo>
                    <a:cubicBezTo>
                      <a:pt x="37" y="137"/>
                      <a:pt x="36" y="137"/>
                      <a:pt x="36" y="138"/>
                    </a:cubicBezTo>
                    <a:cubicBezTo>
                      <a:pt x="35" y="139"/>
                      <a:pt x="36" y="140"/>
                      <a:pt x="36" y="141"/>
                    </a:cubicBezTo>
                    <a:cubicBezTo>
                      <a:pt x="36" y="142"/>
                      <a:pt x="34" y="142"/>
                      <a:pt x="33" y="142"/>
                    </a:cubicBezTo>
                    <a:cubicBezTo>
                      <a:pt x="31" y="143"/>
                      <a:pt x="33" y="144"/>
                      <a:pt x="34" y="144"/>
                    </a:cubicBezTo>
                    <a:cubicBezTo>
                      <a:pt x="34" y="144"/>
                      <a:pt x="34" y="144"/>
                      <a:pt x="34" y="144"/>
                    </a:cubicBezTo>
                    <a:cubicBezTo>
                      <a:pt x="34" y="144"/>
                      <a:pt x="34" y="144"/>
                      <a:pt x="34" y="144"/>
                    </a:cubicBezTo>
                    <a:close/>
                    <a:moveTo>
                      <a:pt x="111" y="285"/>
                    </a:moveTo>
                    <a:cubicBezTo>
                      <a:pt x="112" y="285"/>
                      <a:pt x="113" y="285"/>
                      <a:pt x="114" y="284"/>
                    </a:cubicBezTo>
                    <a:cubicBezTo>
                      <a:pt x="114" y="284"/>
                      <a:pt x="115" y="283"/>
                      <a:pt x="116" y="283"/>
                    </a:cubicBezTo>
                    <a:cubicBezTo>
                      <a:pt x="117" y="282"/>
                      <a:pt x="116" y="281"/>
                      <a:pt x="116" y="281"/>
                    </a:cubicBezTo>
                    <a:cubicBezTo>
                      <a:pt x="115" y="281"/>
                      <a:pt x="114" y="281"/>
                      <a:pt x="113" y="280"/>
                    </a:cubicBezTo>
                    <a:cubicBezTo>
                      <a:pt x="111" y="280"/>
                      <a:pt x="111" y="281"/>
                      <a:pt x="111" y="282"/>
                    </a:cubicBezTo>
                    <a:cubicBezTo>
                      <a:pt x="110" y="284"/>
                      <a:pt x="110" y="285"/>
                      <a:pt x="112" y="285"/>
                    </a:cubicBezTo>
                    <a:cubicBezTo>
                      <a:pt x="111" y="285"/>
                      <a:pt x="111" y="285"/>
                      <a:pt x="111" y="285"/>
                    </a:cubicBezTo>
                    <a:cubicBezTo>
                      <a:pt x="112" y="285"/>
                      <a:pt x="111" y="285"/>
                      <a:pt x="111" y="285"/>
                    </a:cubicBezTo>
                    <a:close/>
                    <a:moveTo>
                      <a:pt x="11" y="7"/>
                    </a:moveTo>
                    <a:cubicBezTo>
                      <a:pt x="12" y="8"/>
                      <a:pt x="11" y="8"/>
                      <a:pt x="13" y="8"/>
                    </a:cubicBezTo>
                    <a:cubicBezTo>
                      <a:pt x="14" y="8"/>
                      <a:pt x="14" y="7"/>
                      <a:pt x="13" y="7"/>
                    </a:cubicBezTo>
                    <a:cubicBezTo>
                      <a:pt x="13" y="6"/>
                      <a:pt x="12" y="5"/>
                      <a:pt x="11" y="5"/>
                    </a:cubicBezTo>
                    <a:cubicBezTo>
                      <a:pt x="9" y="5"/>
                      <a:pt x="11" y="7"/>
                      <a:pt x="12" y="7"/>
                    </a:cubicBezTo>
                    <a:cubicBezTo>
                      <a:pt x="12" y="7"/>
                      <a:pt x="11" y="7"/>
                      <a:pt x="11" y="7"/>
                    </a:cubicBezTo>
                    <a:cubicBezTo>
                      <a:pt x="12" y="7"/>
                      <a:pt x="11" y="7"/>
                      <a:pt x="11" y="7"/>
                    </a:cubicBezTo>
                    <a:close/>
                    <a:moveTo>
                      <a:pt x="20" y="13"/>
                    </a:moveTo>
                    <a:cubicBezTo>
                      <a:pt x="19" y="14"/>
                      <a:pt x="21" y="16"/>
                      <a:pt x="22" y="14"/>
                    </a:cubicBezTo>
                    <a:cubicBezTo>
                      <a:pt x="23" y="13"/>
                      <a:pt x="20" y="11"/>
                      <a:pt x="19" y="13"/>
                    </a:cubicBezTo>
                    <a:cubicBezTo>
                      <a:pt x="19" y="13"/>
                      <a:pt x="19" y="13"/>
                      <a:pt x="20" y="13"/>
                    </a:cubicBezTo>
                    <a:cubicBezTo>
                      <a:pt x="19" y="14"/>
                      <a:pt x="20" y="13"/>
                      <a:pt x="20" y="13"/>
                    </a:cubicBezTo>
                    <a:close/>
                    <a:moveTo>
                      <a:pt x="15" y="6"/>
                    </a:moveTo>
                    <a:cubicBezTo>
                      <a:pt x="15" y="6"/>
                      <a:pt x="17" y="6"/>
                      <a:pt x="17" y="7"/>
                    </a:cubicBezTo>
                    <a:cubicBezTo>
                      <a:pt x="18" y="8"/>
                      <a:pt x="18" y="9"/>
                      <a:pt x="18" y="10"/>
                    </a:cubicBezTo>
                    <a:cubicBezTo>
                      <a:pt x="21" y="12"/>
                      <a:pt x="20" y="7"/>
                      <a:pt x="19" y="6"/>
                    </a:cubicBezTo>
                    <a:cubicBezTo>
                      <a:pt x="19" y="5"/>
                      <a:pt x="18" y="5"/>
                      <a:pt x="18" y="5"/>
                    </a:cubicBezTo>
                    <a:cubicBezTo>
                      <a:pt x="16" y="5"/>
                      <a:pt x="16" y="4"/>
                      <a:pt x="15" y="3"/>
                    </a:cubicBezTo>
                    <a:cubicBezTo>
                      <a:pt x="14" y="3"/>
                      <a:pt x="14" y="4"/>
                      <a:pt x="14" y="4"/>
                    </a:cubicBezTo>
                    <a:cubicBezTo>
                      <a:pt x="14" y="5"/>
                      <a:pt x="15" y="6"/>
                      <a:pt x="15" y="6"/>
                    </a:cubicBezTo>
                    <a:cubicBezTo>
                      <a:pt x="15" y="6"/>
                      <a:pt x="15" y="6"/>
                      <a:pt x="15" y="6"/>
                    </a:cubicBezTo>
                    <a:cubicBezTo>
                      <a:pt x="15" y="6"/>
                      <a:pt x="15" y="6"/>
                      <a:pt x="15" y="6"/>
                    </a:cubicBezTo>
                    <a:close/>
                    <a:moveTo>
                      <a:pt x="17" y="2"/>
                    </a:moveTo>
                    <a:cubicBezTo>
                      <a:pt x="18" y="3"/>
                      <a:pt x="19" y="5"/>
                      <a:pt x="20" y="5"/>
                    </a:cubicBezTo>
                    <a:cubicBezTo>
                      <a:pt x="21" y="5"/>
                      <a:pt x="22" y="3"/>
                      <a:pt x="21" y="3"/>
                    </a:cubicBezTo>
                    <a:cubicBezTo>
                      <a:pt x="20" y="2"/>
                      <a:pt x="20" y="0"/>
                      <a:pt x="18" y="0"/>
                    </a:cubicBezTo>
                    <a:cubicBezTo>
                      <a:pt x="17" y="0"/>
                      <a:pt x="16" y="1"/>
                      <a:pt x="17" y="2"/>
                    </a:cubicBezTo>
                    <a:cubicBezTo>
                      <a:pt x="17" y="2"/>
                      <a:pt x="17" y="2"/>
                      <a:pt x="17" y="2"/>
                    </a:cubicBezTo>
                    <a:cubicBezTo>
                      <a:pt x="18" y="3"/>
                      <a:pt x="17" y="2"/>
                      <a:pt x="17" y="2"/>
                    </a:cubicBezTo>
                    <a:close/>
                    <a:moveTo>
                      <a:pt x="9" y="129"/>
                    </a:moveTo>
                    <a:cubicBezTo>
                      <a:pt x="11" y="130"/>
                      <a:pt x="13" y="127"/>
                      <a:pt x="11" y="126"/>
                    </a:cubicBezTo>
                    <a:cubicBezTo>
                      <a:pt x="9" y="126"/>
                      <a:pt x="8" y="127"/>
                      <a:pt x="10" y="129"/>
                    </a:cubicBezTo>
                    <a:cubicBezTo>
                      <a:pt x="9" y="129"/>
                      <a:pt x="9" y="129"/>
                      <a:pt x="9" y="129"/>
                    </a:cubicBezTo>
                    <a:cubicBezTo>
                      <a:pt x="10" y="129"/>
                      <a:pt x="9" y="129"/>
                      <a:pt x="9" y="129"/>
                    </a:cubicBezTo>
                    <a:close/>
                    <a:moveTo>
                      <a:pt x="10" y="121"/>
                    </a:moveTo>
                    <a:cubicBezTo>
                      <a:pt x="10" y="121"/>
                      <a:pt x="11" y="123"/>
                      <a:pt x="12" y="122"/>
                    </a:cubicBezTo>
                    <a:cubicBezTo>
                      <a:pt x="13" y="122"/>
                      <a:pt x="14" y="121"/>
                      <a:pt x="14" y="120"/>
                    </a:cubicBezTo>
                    <a:cubicBezTo>
                      <a:pt x="14" y="120"/>
                      <a:pt x="12" y="120"/>
                      <a:pt x="11" y="119"/>
                    </a:cubicBezTo>
                    <a:cubicBezTo>
                      <a:pt x="10" y="119"/>
                      <a:pt x="9" y="120"/>
                      <a:pt x="10" y="121"/>
                    </a:cubicBezTo>
                    <a:cubicBezTo>
                      <a:pt x="10" y="121"/>
                      <a:pt x="10" y="121"/>
                      <a:pt x="10" y="121"/>
                    </a:cubicBezTo>
                    <a:cubicBezTo>
                      <a:pt x="10" y="121"/>
                      <a:pt x="10" y="121"/>
                      <a:pt x="10" y="121"/>
                    </a:cubicBezTo>
                    <a:close/>
                    <a:moveTo>
                      <a:pt x="20" y="24"/>
                    </a:moveTo>
                    <a:cubicBezTo>
                      <a:pt x="21" y="25"/>
                      <a:pt x="21" y="24"/>
                      <a:pt x="21" y="23"/>
                    </a:cubicBezTo>
                    <a:cubicBezTo>
                      <a:pt x="22" y="22"/>
                      <a:pt x="21" y="21"/>
                      <a:pt x="20" y="20"/>
                    </a:cubicBezTo>
                    <a:cubicBezTo>
                      <a:pt x="20" y="20"/>
                      <a:pt x="17" y="20"/>
                      <a:pt x="18" y="21"/>
                    </a:cubicBezTo>
                    <a:cubicBezTo>
                      <a:pt x="19" y="22"/>
                      <a:pt x="20" y="23"/>
                      <a:pt x="21" y="24"/>
                    </a:cubicBezTo>
                    <a:cubicBezTo>
                      <a:pt x="20" y="24"/>
                      <a:pt x="20" y="24"/>
                      <a:pt x="20" y="24"/>
                    </a:cubicBezTo>
                    <a:cubicBezTo>
                      <a:pt x="21" y="25"/>
                      <a:pt x="20" y="24"/>
                      <a:pt x="20" y="24"/>
                    </a:cubicBezTo>
                    <a:close/>
                    <a:moveTo>
                      <a:pt x="29" y="146"/>
                    </a:moveTo>
                    <a:cubicBezTo>
                      <a:pt x="30" y="146"/>
                      <a:pt x="33" y="147"/>
                      <a:pt x="31" y="146"/>
                    </a:cubicBezTo>
                    <a:cubicBezTo>
                      <a:pt x="31" y="146"/>
                      <a:pt x="29" y="144"/>
                      <a:pt x="29" y="145"/>
                    </a:cubicBezTo>
                    <a:cubicBezTo>
                      <a:pt x="28" y="146"/>
                      <a:pt x="29" y="146"/>
                      <a:pt x="30" y="146"/>
                    </a:cubicBezTo>
                    <a:cubicBezTo>
                      <a:pt x="30" y="146"/>
                      <a:pt x="29" y="146"/>
                      <a:pt x="29" y="146"/>
                    </a:cubicBezTo>
                    <a:cubicBezTo>
                      <a:pt x="30" y="146"/>
                      <a:pt x="29" y="146"/>
                      <a:pt x="29" y="146"/>
                    </a:cubicBezTo>
                    <a:close/>
                    <a:moveTo>
                      <a:pt x="28" y="120"/>
                    </a:moveTo>
                    <a:cubicBezTo>
                      <a:pt x="27" y="120"/>
                      <a:pt x="27" y="120"/>
                      <a:pt x="26" y="121"/>
                    </a:cubicBezTo>
                    <a:cubicBezTo>
                      <a:pt x="26" y="122"/>
                      <a:pt x="27" y="123"/>
                      <a:pt x="26" y="123"/>
                    </a:cubicBezTo>
                    <a:cubicBezTo>
                      <a:pt x="26" y="124"/>
                      <a:pt x="24" y="123"/>
                      <a:pt x="23" y="123"/>
                    </a:cubicBezTo>
                    <a:cubicBezTo>
                      <a:pt x="21" y="123"/>
                      <a:pt x="23" y="125"/>
                      <a:pt x="24" y="125"/>
                    </a:cubicBezTo>
                    <a:cubicBezTo>
                      <a:pt x="24" y="125"/>
                      <a:pt x="25" y="125"/>
                      <a:pt x="25" y="126"/>
                    </a:cubicBezTo>
                    <a:cubicBezTo>
                      <a:pt x="26" y="126"/>
                      <a:pt x="26" y="127"/>
                      <a:pt x="27" y="128"/>
                    </a:cubicBezTo>
                    <a:cubicBezTo>
                      <a:pt x="27" y="129"/>
                      <a:pt x="29" y="130"/>
                      <a:pt x="30" y="129"/>
                    </a:cubicBezTo>
                    <a:cubicBezTo>
                      <a:pt x="31" y="128"/>
                      <a:pt x="31" y="127"/>
                      <a:pt x="30" y="126"/>
                    </a:cubicBezTo>
                    <a:cubicBezTo>
                      <a:pt x="30" y="124"/>
                      <a:pt x="31" y="123"/>
                      <a:pt x="31" y="121"/>
                    </a:cubicBezTo>
                    <a:cubicBezTo>
                      <a:pt x="30" y="120"/>
                      <a:pt x="29" y="119"/>
                      <a:pt x="27" y="120"/>
                    </a:cubicBezTo>
                    <a:cubicBezTo>
                      <a:pt x="27" y="120"/>
                      <a:pt x="28" y="120"/>
                      <a:pt x="28" y="120"/>
                    </a:cubicBezTo>
                    <a:cubicBezTo>
                      <a:pt x="27" y="120"/>
                      <a:pt x="28" y="120"/>
                      <a:pt x="28" y="120"/>
                    </a:cubicBezTo>
                    <a:close/>
                    <a:moveTo>
                      <a:pt x="24" y="112"/>
                    </a:moveTo>
                    <a:cubicBezTo>
                      <a:pt x="24" y="111"/>
                      <a:pt x="26" y="111"/>
                      <a:pt x="26" y="110"/>
                    </a:cubicBezTo>
                    <a:cubicBezTo>
                      <a:pt x="26" y="109"/>
                      <a:pt x="25" y="109"/>
                      <a:pt x="24" y="109"/>
                    </a:cubicBezTo>
                    <a:cubicBezTo>
                      <a:pt x="24" y="109"/>
                      <a:pt x="22" y="110"/>
                      <a:pt x="22" y="111"/>
                    </a:cubicBezTo>
                    <a:cubicBezTo>
                      <a:pt x="23" y="112"/>
                      <a:pt x="23" y="112"/>
                      <a:pt x="24" y="111"/>
                    </a:cubicBezTo>
                    <a:cubicBezTo>
                      <a:pt x="24" y="111"/>
                      <a:pt x="24" y="111"/>
                      <a:pt x="24" y="112"/>
                    </a:cubicBezTo>
                    <a:cubicBezTo>
                      <a:pt x="24" y="111"/>
                      <a:pt x="24" y="112"/>
                      <a:pt x="24" y="112"/>
                    </a:cubicBezTo>
                    <a:close/>
                    <a:moveTo>
                      <a:pt x="20" y="104"/>
                    </a:moveTo>
                    <a:cubicBezTo>
                      <a:pt x="19" y="105"/>
                      <a:pt x="15" y="105"/>
                      <a:pt x="14" y="107"/>
                    </a:cubicBezTo>
                    <a:cubicBezTo>
                      <a:pt x="14" y="107"/>
                      <a:pt x="14" y="109"/>
                      <a:pt x="15" y="109"/>
                    </a:cubicBezTo>
                    <a:cubicBezTo>
                      <a:pt x="15" y="110"/>
                      <a:pt x="16" y="110"/>
                      <a:pt x="17" y="111"/>
                    </a:cubicBezTo>
                    <a:cubicBezTo>
                      <a:pt x="18" y="112"/>
                      <a:pt x="18" y="113"/>
                      <a:pt x="19" y="113"/>
                    </a:cubicBezTo>
                    <a:cubicBezTo>
                      <a:pt x="20" y="113"/>
                      <a:pt x="21" y="113"/>
                      <a:pt x="21" y="112"/>
                    </a:cubicBezTo>
                    <a:cubicBezTo>
                      <a:pt x="21" y="109"/>
                      <a:pt x="22" y="109"/>
                      <a:pt x="24" y="107"/>
                    </a:cubicBezTo>
                    <a:cubicBezTo>
                      <a:pt x="25" y="107"/>
                      <a:pt x="25" y="105"/>
                      <a:pt x="26" y="105"/>
                    </a:cubicBezTo>
                    <a:cubicBezTo>
                      <a:pt x="27" y="104"/>
                      <a:pt x="28" y="104"/>
                      <a:pt x="29" y="104"/>
                    </a:cubicBezTo>
                    <a:cubicBezTo>
                      <a:pt x="30" y="103"/>
                      <a:pt x="31" y="99"/>
                      <a:pt x="29" y="99"/>
                    </a:cubicBezTo>
                    <a:cubicBezTo>
                      <a:pt x="29" y="100"/>
                      <a:pt x="28" y="100"/>
                      <a:pt x="28" y="100"/>
                    </a:cubicBezTo>
                    <a:cubicBezTo>
                      <a:pt x="28" y="100"/>
                      <a:pt x="27" y="100"/>
                      <a:pt x="26" y="100"/>
                    </a:cubicBezTo>
                    <a:cubicBezTo>
                      <a:pt x="25" y="100"/>
                      <a:pt x="24" y="101"/>
                      <a:pt x="23" y="101"/>
                    </a:cubicBezTo>
                    <a:cubicBezTo>
                      <a:pt x="23" y="102"/>
                      <a:pt x="22" y="103"/>
                      <a:pt x="21" y="104"/>
                    </a:cubicBezTo>
                    <a:cubicBezTo>
                      <a:pt x="21" y="104"/>
                      <a:pt x="20" y="104"/>
                      <a:pt x="19" y="105"/>
                    </a:cubicBezTo>
                    <a:cubicBezTo>
                      <a:pt x="19" y="105"/>
                      <a:pt x="20" y="105"/>
                      <a:pt x="20" y="104"/>
                    </a:cubicBezTo>
                    <a:cubicBezTo>
                      <a:pt x="18" y="105"/>
                      <a:pt x="20" y="104"/>
                      <a:pt x="20" y="104"/>
                    </a:cubicBezTo>
                    <a:close/>
                    <a:moveTo>
                      <a:pt x="24" y="3"/>
                    </a:moveTo>
                    <a:cubicBezTo>
                      <a:pt x="26" y="4"/>
                      <a:pt x="26" y="0"/>
                      <a:pt x="25" y="0"/>
                    </a:cubicBezTo>
                    <a:cubicBezTo>
                      <a:pt x="24" y="0"/>
                      <a:pt x="24" y="3"/>
                      <a:pt x="25" y="3"/>
                    </a:cubicBezTo>
                    <a:cubicBezTo>
                      <a:pt x="25" y="3"/>
                      <a:pt x="24" y="3"/>
                      <a:pt x="24" y="3"/>
                    </a:cubicBezTo>
                    <a:cubicBezTo>
                      <a:pt x="26" y="4"/>
                      <a:pt x="24" y="3"/>
                      <a:pt x="24" y="3"/>
                    </a:cubicBezTo>
                    <a:close/>
                    <a:moveTo>
                      <a:pt x="9" y="136"/>
                    </a:moveTo>
                    <a:cubicBezTo>
                      <a:pt x="10" y="136"/>
                      <a:pt x="11" y="136"/>
                      <a:pt x="11" y="135"/>
                    </a:cubicBezTo>
                    <a:cubicBezTo>
                      <a:pt x="11" y="134"/>
                      <a:pt x="10" y="134"/>
                      <a:pt x="10" y="134"/>
                    </a:cubicBezTo>
                    <a:cubicBezTo>
                      <a:pt x="9" y="135"/>
                      <a:pt x="8" y="136"/>
                      <a:pt x="10" y="136"/>
                    </a:cubicBezTo>
                    <a:cubicBezTo>
                      <a:pt x="9" y="136"/>
                      <a:pt x="9" y="136"/>
                      <a:pt x="9" y="136"/>
                    </a:cubicBezTo>
                    <a:cubicBezTo>
                      <a:pt x="10" y="136"/>
                      <a:pt x="9" y="136"/>
                      <a:pt x="9" y="136"/>
                    </a:cubicBezTo>
                    <a:close/>
                    <a:moveTo>
                      <a:pt x="59" y="221"/>
                    </a:moveTo>
                    <a:cubicBezTo>
                      <a:pt x="58" y="222"/>
                      <a:pt x="60" y="224"/>
                      <a:pt x="61" y="225"/>
                    </a:cubicBezTo>
                    <a:cubicBezTo>
                      <a:pt x="62" y="226"/>
                      <a:pt x="63" y="223"/>
                      <a:pt x="64" y="223"/>
                    </a:cubicBezTo>
                    <a:cubicBezTo>
                      <a:pt x="65" y="223"/>
                      <a:pt x="65" y="222"/>
                      <a:pt x="65" y="222"/>
                    </a:cubicBezTo>
                    <a:cubicBezTo>
                      <a:pt x="64" y="221"/>
                      <a:pt x="63" y="221"/>
                      <a:pt x="63" y="221"/>
                    </a:cubicBezTo>
                    <a:cubicBezTo>
                      <a:pt x="61" y="221"/>
                      <a:pt x="59" y="220"/>
                      <a:pt x="59" y="221"/>
                    </a:cubicBezTo>
                    <a:cubicBezTo>
                      <a:pt x="59" y="221"/>
                      <a:pt x="59" y="221"/>
                      <a:pt x="59" y="221"/>
                    </a:cubicBezTo>
                    <a:cubicBezTo>
                      <a:pt x="59" y="221"/>
                      <a:pt x="59" y="221"/>
                      <a:pt x="59" y="221"/>
                    </a:cubicBezTo>
                    <a:close/>
                    <a:moveTo>
                      <a:pt x="61" y="198"/>
                    </a:moveTo>
                    <a:cubicBezTo>
                      <a:pt x="60" y="198"/>
                      <a:pt x="59" y="198"/>
                      <a:pt x="58" y="199"/>
                    </a:cubicBezTo>
                    <a:cubicBezTo>
                      <a:pt x="57" y="199"/>
                      <a:pt x="57" y="200"/>
                      <a:pt x="57" y="201"/>
                    </a:cubicBezTo>
                    <a:cubicBezTo>
                      <a:pt x="56" y="202"/>
                      <a:pt x="55" y="203"/>
                      <a:pt x="54" y="204"/>
                    </a:cubicBezTo>
                    <a:cubicBezTo>
                      <a:pt x="54" y="204"/>
                      <a:pt x="53" y="206"/>
                      <a:pt x="55" y="206"/>
                    </a:cubicBezTo>
                    <a:cubicBezTo>
                      <a:pt x="56" y="206"/>
                      <a:pt x="57" y="205"/>
                      <a:pt x="57" y="204"/>
                    </a:cubicBezTo>
                    <a:cubicBezTo>
                      <a:pt x="58" y="203"/>
                      <a:pt x="59" y="203"/>
                      <a:pt x="60" y="202"/>
                    </a:cubicBezTo>
                    <a:cubicBezTo>
                      <a:pt x="61" y="201"/>
                      <a:pt x="63" y="198"/>
                      <a:pt x="61" y="198"/>
                    </a:cubicBezTo>
                    <a:cubicBezTo>
                      <a:pt x="61" y="198"/>
                      <a:pt x="61" y="198"/>
                      <a:pt x="61" y="198"/>
                    </a:cubicBezTo>
                    <a:cubicBezTo>
                      <a:pt x="59" y="198"/>
                      <a:pt x="61" y="198"/>
                      <a:pt x="61" y="198"/>
                    </a:cubicBezTo>
                    <a:close/>
                    <a:moveTo>
                      <a:pt x="79" y="89"/>
                    </a:moveTo>
                    <a:cubicBezTo>
                      <a:pt x="78" y="90"/>
                      <a:pt x="79" y="92"/>
                      <a:pt x="80" y="91"/>
                    </a:cubicBezTo>
                    <a:cubicBezTo>
                      <a:pt x="81" y="90"/>
                      <a:pt x="79" y="89"/>
                      <a:pt x="79" y="89"/>
                    </a:cubicBezTo>
                    <a:cubicBezTo>
                      <a:pt x="79" y="89"/>
                      <a:pt x="79" y="89"/>
                      <a:pt x="79" y="89"/>
                    </a:cubicBezTo>
                    <a:cubicBezTo>
                      <a:pt x="78" y="90"/>
                      <a:pt x="79" y="89"/>
                      <a:pt x="79" y="89"/>
                    </a:cubicBezTo>
                    <a:close/>
                    <a:moveTo>
                      <a:pt x="78" y="87"/>
                    </a:moveTo>
                    <a:cubicBezTo>
                      <a:pt x="79" y="88"/>
                      <a:pt x="82" y="88"/>
                      <a:pt x="82" y="86"/>
                    </a:cubicBezTo>
                    <a:cubicBezTo>
                      <a:pt x="83" y="86"/>
                      <a:pt x="83" y="85"/>
                      <a:pt x="83" y="85"/>
                    </a:cubicBezTo>
                    <a:cubicBezTo>
                      <a:pt x="84" y="84"/>
                      <a:pt x="85" y="83"/>
                      <a:pt x="84" y="83"/>
                    </a:cubicBezTo>
                    <a:cubicBezTo>
                      <a:pt x="83" y="82"/>
                      <a:pt x="82" y="83"/>
                      <a:pt x="81" y="82"/>
                    </a:cubicBezTo>
                    <a:cubicBezTo>
                      <a:pt x="80" y="82"/>
                      <a:pt x="79" y="82"/>
                      <a:pt x="79" y="83"/>
                    </a:cubicBezTo>
                    <a:cubicBezTo>
                      <a:pt x="79" y="84"/>
                      <a:pt x="79" y="84"/>
                      <a:pt x="78" y="85"/>
                    </a:cubicBezTo>
                    <a:cubicBezTo>
                      <a:pt x="78" y="86"/>
                      <a:pt x="77" y="87"/>
                      <a:pt x="78" y="87"/>
                    </a:cubicBezTo>
                    <a:cubicBezTo>
                      <a:pt x="78" y="87"/>
                      <a:pt x="78" y="87"/>
                      <a:pt x="78" y="87"/>
                    </a:cubicBezTo>
                    <a:cubicBezTo>
                      <a:pt x="79" y="87"/>
                      <a:pt x="78" y="87"/>
                      <a:pt x="78" y="87"/>
                    </a:cubicBezTo>
                    <a:close/>
                    <a:moveTo>
                      <a:pt x="87" y="89"/>
                    </a:moveTo>
                    <a:cubicBezTo>
                      <a:pt x="88" y="88"/>
                      <a:pt x="89" y="87"/>
                      <a:pt x="87" y="87"/>
                    </a:cubicBezTo>
                    <a:cubicBezTo>
                      <a:pt x="84" y="87"/>
                      <a:pt x="85" y="89"/>
                      <a:pt x="87" y="88"/>
                    </a:cubicBezTo>
                    <a:cubicBezTo>
                      <a:pt x="87" y="89"/>
                      <a:pt x="87" y="89"/>
                      <a:pt x="87" y="89"/>
                    </a:cubicBezTo>
                    <a:cubicBezTo>
                      <a:pt x="88" y="88"/>
                      <a:pt x="87" y="89"/>
                      <a:pt x="87" y="89"/>
                    </a:cubicBezTo>
                    <a:close/>
                    <a:moveTo>
                      <a:pt x="34" y="130"/>
                    </a:moveTo>
                    <a:cubicBezTo>
                      <a:pt x="35" y="130"/>
                      <a:pt x="35" y="131"/>
                      <a:pt x="36" y="131"/>
                    </a:cubicBezTo>
                    <a:cubicBezTo>
                      <a:pt x="38" y="131"/>
                      <a:pt x="37" y="130"/>
                      <a:pt x="36" y="129"/>
                    </a:cubicBezTo>
                    <a:cubicBezTo>
                      <a:pt x="35" y="129"/>
                      <a:pt x="34" y="128"/>
                      <a:pt x="33" y="129"/>
                    </a:cubicBezTo>
                    <a:cubicBezTo>
                      <a:pt x="31" y="129"/>
                      <a:pt x="34" y="130"/>
                      <a:pt x="34" y="130"/>
                    </a:cubicBezTo>
                    <a:cubicBezTo>
                      <a:pt x="34" y="130"/>
                      <a:pt x="34" y="130"/>
                      <a:pt x="34" y="130"/>
                    </a:cubicBezTo>
                    <a:cubicBezTo>
                      <a:pt x="34" y="130"/>
                      <a:pt x="34" y="130"/>
                      <a:pt x="34" y="130"/>
                    </a:cubicBezTo>
                    <a:close/>
                    <a:moveTo>
                      <a:pt x="119" y="44"/>
                    </a:moveTo>
                    <a:cubicBezTo>
                      <a:pt x="120" y="44"/>
                      <a:pt x="121" y="43"/>
                      <a:pt x="121" y="42"/>
                    </a:cubicBezTo>
                    <a:cubicBezTo>
                      <a:pt x="122" y="42"/>
                      <a:pt x="122" y="41"/>
                      <a:pt x="122" y="41"/>
                    </a:cubicBezTo>
                    <a:cubicBezTo>
                      <a:pt x="122" y="40"/>
                      <a:pt x="121" y="40"/>
                      <a:pt x="120" y="40"/>
                    </a:cubicBezTo>
                    <a:cubicBezTo>
                      <a:pt x="120" y="41"/>
                      <a:pt x="118" y="44"/>
                      <a:pt x="119" y="44"/>
                    </a:cubicBezTo>
                    <a:cubicBezTo>
                      <a:pt x="119" y="44"/>
                      <a:pt x="119" y="44"/>
                      <a:pt x="119" y="44"/>
                    </a:cubicBezTo>
                    <a:cubicBezTo>
                      <a:pt x="120" y="44"/>
                      <a:pt x="119" y="44"/>
                      <a:pt x="119" y="44"/>
                    </a:cubicBezTo>
                    <a:close/>
                    <a:moveTo>
                      <a:pt x="108" y="55"/>
                    </a:moveTo>
                    <a:cubicBezTo>
                      <a:pt x="110" y="58"/>
                      <a:pt x="111" y="53"/>
                      <a:pt x="113" y="55"/>
                    </a:cubicBezTo>
                    <a:cubicBezTo>
                      <a:pt x="114" y="55"/>
                      <a:pt x="113" y="57"/>
                      <a:pt x="112" y="57"/>
                    </a:cubicBezTo>
                    <a:cubicBezTo>
                      <a:pt x="112" y="59"/>
                      <a:pt x="112" y="60"/>
                      <a:pt x="112" y="61"/>
                    </a:cubicBezTo>
                    <a:cubicBezTo>
                      <a:pt x="112" y="62"/>
                      <a:pt x="112" y="64"/>
                      <a:pt x="113" y="64"/>
                    </a:cubicBezTo>
                    <a:cubicBezTo>
                      <a:pt x="114" y="63"/>
                      <a:pt x="114" y="61"/>
                      <a:pt x="114" y="60"/>
                    </a:cubicBezTo>
                    <a:cubicBezTo>
                      <a:pt x="114" y="59"/>
                      <a:pt x="115" y="58"/>
                      <a:pt x="115" y="57"/>
                    </a:cubicBezTo>
                    <a:cubicBezTo>
                      <a:pt x="116" y="56"/>
                      <a:pt x="115" y="54"/>
                      <a:pt x="116" y="54"/>
                    </a:cubicBezTo>
                    <a:cubicBezTo>
                      <a:pt x="117" y="53"/>
                      <a:pt x="117" y="52"/>
                      <a:pt x="116" y="51"/>
                    </a:cubicBezTo>
                    <a:cubicBezTo>
                      <a:pt x="115" y="50"/>
                      <a:pt x="115" y="50"/>
                      <a:pt x="115" y="49"/>
                    </a:cubicBezTo>
                    <a:cubicBezTo>
                      <a:pt x="114" y="49"/>
                      <a:pt x="114" y="48"/>
                      <a:pt x="114" y="48"/>
                    </a:cubicBezTo>
                    <a:cubicBezTo>
                      <a:pt x="113" y="48"/>
                      <a:pt x="113" y="46"/>
                      <a:pt x="112" y="46"/>
                    </a:cubicBezTo>
                    <a:cubicBezTo>
                      <a:pt x="111" y="46"/>
                      <a:pt x="110" y="47"/>
                      <a:pt x="109" y="47"/>
                    </a:cubicBezTo>
                    <a:cubicBezTo>
                      <a:pt x="108" y="49"/>
                      <a:pt x="111" y="49"/>
                      <a:pt x="111" y="50"/>
                    </a:cubicBezTo>
                    <a:cubicBezTo>
                      <a:pt x="112" y="50"/>
                      <a:pt x="114" y="52"/>
                      <a:pt x="112" y="52"/>
                    </a:cubicBezTo>
                    <a:cubicBezTo>
                      <a:pt x="112" y="53"/>
                      <a:pt x="111" y="53"/>
                      <a:pt x="110" y="52"/>
                    </a:cubicBezTo>
                    <a:cubicBezTo>
                      <a:pt x="110" y="52"/>
                      <a:pt x="109" y="53"/>
                      <a:pt x="109" y="53"/>
                    </a:cubicBezTo>
                    <a:cubicBezTo>
                      <a:pt x="107" y="53"/>
                      <a:pt x="108" y="55"/>
                      <a:pt x="109" y="55"/>
                    </a:cubicBezTo>
                    <a:cubicBezTo>
                      <a:pt x="109" y="55"/>
                      <a:pt x="108" y="55"/>
                      <a:pt x="108" y="55"/>
                    </a:cubicBezTo>
                    <a:cubicBezTo>
                      <a:pt x="109" y="55"/>
                      <a:pt x="108" y="55"/>
                      <a:pt x="108" y="55"/>
                    </a:cubicBezTo>
                    <a:close/>
                    <a:moveTo>
                      <a:pt x="29" y="169"/>
                    </a:moveTo>
                    <a:cubicBezTo>
                      <a:pt x="32" y="167"/>
                      <a:pt x="32" y="160"/>
                      <a:pt x="28" y="163"/>
                    </a:cubicBezTo>
                    <a:cubicBezTo>
                      <a:pt x="27" y="163"/>
                      <a:pt x="27" y="164"/>
                      <a:pt x="27" y="164"/>
                    </a:cubicBezTo>
                    <a:cubicBezTo>
                      <a:pt x="28" y="165"/>
                      <a:pt x="29" y="165"/>
                      <a:pt x="29" y="167"/>
                    </a:cubicBezTo>
                    <a:cubicBezTo>
                      <a:pt x="29" y="168"/>
                      <a:pt x="28" y="170"/>
                      <a:pt x="30" y="168"/>
                    </a:cubicBezTo>
                    <a:cubicBezTo>
                      <a:pt x="30" y="169"/>
                      <a:pt x="29" y="169"/>
                      <a:pt x="29" y="169"/>
                    </a:cubicBezTo>
                    <a:cubicBezTo>
                      <a:pt x="31" y="168"/>
                      <a:pt x="29" y="169"/>
                      <a:pt x="29" y="169"/>
                    </a:cubicBezTo>
                    <a:close/>
                    <a:moveTo>
                      <a:pt x="33" y="161"/>
                    </a:moveTo>
                    <a:cubicBezTo>
                      <a:pt x="33" y="161"/>
                      <a:pt x="33" y="164"/>
                      <a:pt x="34" y="163"/>
                    </a:cubicBezTo>
                    <a:cubicBezTo>
                      <a:pt x="35" y="163"/>
                      <a:pt x="35" y="162"/>
                      <a:pt x="35" y="161"/>
                    </a:cubicBezTo>
                    <a:cubicBezTo>
                      <a:pt x="35" y="160"/>
                      <a:pt x="37" y="159"/>
                      <a:pt x="35" y="159"/>
                    </a:cubicBezTo>
                    <a:cubicBezTo>
                      <a:pt x="34" y="159"/>
                      <a:pt x="34" y="160"/>
                      <a:pt x="33" y="160"/>
                    </a:cubicBezTo>
                    <a:cubicBezTo>
                      <a:pt x="33" y="160"/>
                      <a:pt x="33" y="161"/>
                      <a:pt x="33" y="161"/>
                    </a:cubicBezTo>
                    <a:cubicBezTo>
                      <a:pt x="33" y="161"/>
                      <a:pt x="33" y="161"/>
                      <a:pt x="33" y="161"/>
                    </a:cubicBezTo>
                    <a:close/>
                    <a:moveTo>
                      <a:pt x="27" y="134"/>
                    </a:moveTo>
                    <a:cubicBezTo>
                      <a:pt x="25" y="135"/>
                      <a:pt x="27" y="136"/>
                      <a:pt x="28" y="136"/>
                    </a:cubicBezTo>
                    <a:cubicBezTo>
                      <a:pt x="29" y="135"/>
                      <a:pt x="27" y="134"/>
                      <a:pt x="26" y="135"/>
                    </a:cubicBezTo>
                    <a:cubicBezTo>
                      <a:pt x="26" y="134"/>
                      <a:pt x="27" y="134"/>
                      <a:pt x="27" y="134"/>
                    </a:cubicBezTo>
                    <a:cubicBezTo>
                      <a:pt x="25" y="135"/>
                      <a:pt x="27" y="134"/>
                      <a:pt x="27" y="134"/>
                    </a:cubicBezTo>
                    <a:close/>
                    <a:moveTo>
                      <a:pt x="38" y="148"/>
                    </a:moveTo>
                    <a:cubicBezTo>
                      <a:pt x="36" y="147"/>
                      <a:pt x="34" y="147"/>
                      <a:pt x="33" y="148"/>
                    </a:cubicBezTo>
                    <a:cubicBezTo>
                      <a:pt x="32" y="149"/>
                      <a:pt x="32" y="150"/>
                      <a:pt x="32" y="150"/>
                    </a:cubicBezTo>
                    <a:cubicBezTo>
                      <a:pt x="32" y="151"/>
                      <a:pt x="32" y="152"/>
                      <a:pt x="33" y="152"/>
                    </a:cubicBezTo>
                    <a:cubicBezTo>
                      <a:pt x="34" y="152"/>
                      <a:pt x="34" y="151"/>
                      <a:pt x="35" y="150"/>
                    </a:cubicBezTo>
                    <a:cubicBezTo>
                      <a:pt x="35" y="150"/>
                      <a:pt x="36" y="150"/>
                      <a:pt x="36" y="150"/>
                    </a:cubicBezTo>
                    <a:cubicBezTo>
                      <a:pt x="37" y="149"/>
                      <a:pt x="39" y="149"/>
                      <a:pt x="37" y="148"/>
                    </a:cubicBezTo>
                    <a:cubicBezTo>
                      <a:pt x="37" y="148"/>
                      <a:pt x="38" y="148"/>
                      <a:pt x="38" y="148"/>
                    </a:cubicBezTo>
                    <a:cubicBezTo>
                      <a:pt x="36" y="147"/>
                      <a:pt x="38" y="148"/>
                      <a:pt x="38" y="148"/>
                    </a:cubicBezTo>
                    <a:close/>
                    <a:moveTo>
                      <a:pt x="17" y="199"/>
                    </a:moveTo>
                    <a:cubicBezTo>
                      <a:pt x="20" y="199"/>
                      <a:pt x="21" y="200"/>
                      <a:pt x="22" y="202"/>
                    </a:cubicBezTo>
                    <a:cubicBezTo>
                      <a:pt x="23" y="203"/>
                      <a:pt x="23" y="203"/>
                      <a:pt x="24" y="203"/>
                    </a:cubicBezTo>
                    <a:cubicBezTo>
                      <a:pt x="26" y="203"/>
                      <a:pt x="27" y="203"/>
                      <a:pt x="29" y="204"/>
                    </a:cubicBezTo>
                    <a:cubicBezTo>
                      <a:pt x="30" y="204"/>
                      <a:pt x="31" y="206"/>
                      <a:pt x="32" y="206"/>
                    </a:cubicBezTo>
                    <a:cubicBezTo>
                      <a:pt x="33" y="206"/>
                      <a:pt x="33" y="205"/>
                      <a:pt x="33" y="204"/>
                    </a:cubicBezTo>
                    <a:cubicBezTo>
                      <a:pt x="34" y="202"/>
                      <a:pt x="37" y="202"/>
                      <a:pt x="38" y="200"/>
                    </a:cubicBezTo>
                    <a:cubicBezTo>
                      <a:pt x="39" y="200"/>
                      <a:pt x="40" y="199"/>
                      <a:pt x="39" y="198"/>
                    </a:cubicBezTo>
                    <a:cubicBezTo>
                      <a:pt x="39" y="198"/>
                      <a:pt x="39" y="196"/>
                      <a:pt x="39" y="196"/>
                    </a:cubicBezTo>
                    <a:cubicBezTo>
                      <a:pt x="41" y="196"/>
                      <a:pt x="40" y="194"/>
                      <a:pt x="40" y="192"/>
                    </a:cubicBezTo>
                    <a:cubicBezTo>
                      <a:pt x="40" y="191"/>
                      <a:pt x="39" y="191"/>
                      <a:pt x="38" y="192"/>
                    </a:cubicBezTo>
                    <a:cubicBezTo>
                      <a:pt x="37" y="192"/>
                      <a:pt x="36" y="192"/>
                      <a:pt x="35" y="191"/>
                    </a:cubicBezTo>
                    <a:cubicBezTo>
                      <a:pt x="34" y="191"/>
                      <a:pt x="39" y="189"/>
                      <a:pt x="38" y="187"/>
                    </a:cubicBezTo>
                    <a:cubicBezTo>
                      <a:pt x="38" y="185"/>
                      <a:pt x="34" y="185"/>
                      <a:pt x="33" y="183"/>
                    </a:cubicBezTo>
                    <a:cubicBezTo>
                      <a:pt x="32" y="181"/>
                      <a:pt x="32" y="179"/>
                      <a:pt x="30" y="178"/>
                    </a:cubicBezTo>
                    <a:cubicBezTo>
                      <a:pt x="28" y="178"/>
                      <a:pt x="27" y="178"/>
                      <a:pt x="26" y="178"/>
                    </a:cubicBezTo>
                    <a:cubicBezTo>
                      <a:pt x="25" y="178"/>
                      <a:pt x="24" y="178"/>
                      <a:pt x="23" y="178"/>
                    </a:cubicBezTo>
                    <a:cubicBezTo>
                      <a:pt x="22" y="179"/>
                      <a:pt x="21" y="180"/>
                      <a:pt x="19" y="180"/>
                    </a:cubicBezTo>
                    <a:cubicBezTo>
                      <a:pt x="18" y="180"/>
                      <a:pt x="16" y="180"/>
                      <a:pt x="15" y="182"/>
                    </a:cubicBezTo>
                    <a:cubicBezTo>
                      <a:pt x="15" y="182"/>
                      <a:pt x="15" y="183"/>
                      <a:pt x="14" y="183"/>
                    </a:cubicBezTo>
                    <a:cubicBezTo>
                      <a:pt x="13" y="183"/>
                      <a:pt x="13" y="183"/>
                      <a:pt x="13" y="183"/>
                    </a:cubicBezTo>
                    <a:cubicBezTo>
                      <a:pt x="12" y="184"/>
                      <a:pt x="11" y="184"/>
                      <a:pt x="10" y="185"/>
                    </a:cubicBezTo>
                    <a:cubicBezTo>
                      <a:pt x="9" y="186"/>
                      <a:pt x="9" y="187"/>
                      <a:pt x="8" y="188"/>
                    </a:cubicBezTo>
                    <a:cubicBezTo>
                      <a:pt x="8" y="190"/>
                      <a:pt x="6" y="190"/>
                      <a:pt x="5" y="191"/>
                    </a:cubicBezTo>
                    <a:cubicBezTo>
                      <a:pt x="1" y="193"/>
                      <a:pt x="0" y="199"/>
                      <a:pt x="5" y="200"/>
                    </a:cubicBezTo>
                    <a:cubicBezTo>
                      <a:pt x="7" y="201"/>
                      <a:pt x="10" y="202"/>
                      <a:pt x="12" y="200"/>
                    </a:cubicBezTo>
                    <a:cubicBezTo>
                      <a:pt x="12" y="199"/>
                      <a:pt x="13" y="198"/>
                      <a:pt x="14" y="198"/>
                    </a:cubicBezTo>
                    <a:cubicBezTo>
                      <a:pt x="15" y="198"/>
                      <a:pt x="17" y="199"/>
                      <a:pt x="18" y="199"/>
                    </a:cubicBezTo>
                    <a:cubicBezTo>
                      <a:pt x="18" y="199"/>
                      <a:pt x="18" y="199"/>
                      <a:pt x="17" y="199"/>
                    </a:cubicBezTo>
                    <a:cubicBezTo>
                      <a:pt x="19" y="199"/>
                      <a:pt x="17" y="199"/>
                      <a:pt x="17" y="199"/>
                    </a:cubicBezTo>
                    <a:close/>
                    <a:moveTo>
                      <a:pt x="19" y="114"/>
                    </a:moveTo>
                    <a:cubicBezTo>
                      <a:pt x="18" y="114"/>
                      <a:pt x="15" y="114"/>
                      <a:pt x="15" y="115"/>
                    </a:cubicBezTo>
                    <a:cubicBezTo>
                      <a:pt x="14" y="116"/>
                      <a:pt x="16" y="118"/>
                      <a:pt x="17" y="118"/>
                    </a:cubicBezTo>
                    <a:cubicBezTo>
                      <a:pt x="18" y="118"/>
                      <a:pt x="18" y="116"/>
                      <a:pt x="18" y="115"/>
                    </a:cubicBezTo>
                    <a:cubicBezTo>
                      <a:pt x="18" y="115"/>
                      <a:pt x="18" y="114"/>
                      <a:pt x="19" y="114"/>
                    </a:cubicBezTo>
                    <a:cubicBezTo>
                      <a:pt x="19" y="114"/>
                      <a:pt x="19" y="114"/>
                      <a:pt x="19" y="114"/>
                    </a:cubicBezTo>
                    <a:cubicBezTo>
                      <a:pt x="18" y="114"/>
                      <a:pt x="19" y="114"/>
                      <a:pt x="19" y="114"/>
                    </a:cubicBezTo>
                    <a:close/>
                    <a:moveTo>
                      <a:pt x="28" y="152"/>
                    </a:moveTo>
                    <a:cubicBezTo>
                      <a:pt x="28" y="153"/>
                      <a:pt x="30" y="153"/>
                      <a:pt x="30" y="152"/>
                    </a:cubicBezTo>
                    <a:cubicBezTo>
                      <a:pt x="30" y="151"/>
                      <a:pt x="28" y="151"/>
                      <a:pt x="28" y="152"/>
                    </a:cubicBezTo>
                    <a:cubicBezTo>
                      <a:pt x="28" y="152"/>
                      <a:pt x="28" y="152"/>
                      <a:pt x="28" y="152"/>
                    </a:cubicBezTo>
                    <a:cubicBezTo>
                      <a:pt x="28" y="153"/>
                      <a:pt x="28" y="152"/>
                      <a:pt x="28" y="152"/>
                    </a:cubicBezTo>
                    <a:close/>
                    <a:moveTo>
                      <a:pt x="30" y="157"/>
                    </a:moveTo>
                    <a:cubicBezTo>
                      <a:pt x="29" y="158"/>
                      <a:pt x="29" y="159"/>
                      <a:pt x="29" y="159"/>
                    </a:cubicBezTo>
                    <a:cubicBezTo>
                      <a:pt x="30" y="160"/>
                      <a:pt x="31" y="159"/>
                      <a:pt x="31" y="159"/>
                    </a:cubicBezTo>
                    <a:cubicBezTo>
                      <a:pt x="32" y="157"/>
                      <a:pt x="30" y="157"/>
                      <a:pt x="29" y="158"/>
                    </a:cubicBezTo>
                    <a:cubicBezTo>
                      <a:pt x="30" y="158"/>
                      <a:pt x="30" y="158"/>
                      <a:pt x="30" y="157"/>
                    </a:cubicBezTo>
                    <a:cubicBezTo>
                      <a:pt x="30" y="158"/>
                      <a:pt x="30" y="157"/>
                      <a:pt x="30" y="157"/>
                    </a:cubicBezTo>
                    <a:close/>
                    <a:moveTo>
                      <a:pt x="19" y="148"/>
                    </a:moveTo>
                    <a:cubicBezTo>
                      <a:pt x="21" y="148"/>
                      <a:pt x="21" y="146"/>
                      <a:pt x="22" y="145"/>
                    </a:cubicBezTo>
                    <a:cubicBezTo>
                      <a:pt x="23" y="144"/>
                      <a:pt x="24" y="144"/>
                      <a:pt x="25" y="144"/>
                    </a:cubicBezTo>
                    <a:cubicBezTo>
                      <a:pt x="25" y="144"/>
                      <a:pt x="25" y="143"/>
                      <a:pt x="25" y="143"/>
                    </a:cubicBezTo>
                    <a:cubicBezTo>
                      <a:pt x="24" y="142"/>
                      <a:pt x="21" y="145"/>
                      <a:pt x="20" y="146"/>
                    </a:cubicBezTo>
                    <a:cubicBezTo>
                      <a:pt x="20" y="146"/>
                      <a:pt x="17" y="149"/>
                      <a:pt x="20" y="148"/>
                    </a:cubicBezTo>
                    <a:cubicBezTo>
                      <a:pt x="19" y="148"/>
                      <a:pt x="19" y="148"/>
                      <a:pt x="19" y="148"/>
                    </a:cubicBezTo>
                    <a:cubicBezTo>
                      <a:pt x="21" y="148"/>
                      <a:pt x="19" y="148"/>
                      <a:pt x="19" y="148"/>
                    </a:cubicBezTo>
                    <a:close/>
                  </a:path>
                </a:pathLst>
              </a:custGeom>
              <a:solidFill>
                <a:srgbClr val="507867">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274" name="Freeform 422">
                <a:extLst>
                  <a:ext uri="{FF2B5EF4-FFF2-40B4-BE49-F238E27FC236}">
                    <a16:creationId xmlns:a16="http://schemas.microsoft.com/office/drawing/2014/main" id="{333E80C0-6BE8-D856-2708-329E43B40969}"/>
                  </a:ext>
                </a:extLst>
              </p:cNvPr>
              <p:cNvSpPr/>
              <p:nvPr>
                <p:custDataLst>
                  <p:tags r:id="rId212"/>
                </p:custDataLst>
              </p:nvPr>
            </p:nvSpPr>
            <p:spPr bwMode="auto">
              <a:xfrm>
                <a:off x="6038139" y="2659302"/>
                <a:ext cx="8929" cy="12756"/>
              </a:xfrm>
              <a:custGeom>
                <a:avLst/>
                <a:gdLst>
                  <a:gd name="T0" fmla="*/ 6 w 6"/>
                  <a:gd name="T1" fmla="*/ 2 h 8"/>
                  <a:gd name="T2" fmla="*/ 2 w 6"/>
                  <a:gd name="T3" fmla="*/ 2 h 8"/>
                  <a:gd name="T4" fmla="*/ 1 w 6"/>
                  <a:gd name="T5" fmla="*/ 4 h 8"/>
                  <a:gd name="T6" fmla="*/ 0 w 6"/>
                  <a:gd name="T7" fmla="*/ 6 h 8"/>
                  <a:gd name="T8" fmla="*/ 4 w 6"/>
                  <a:gd name="T9" fmla="*/ 6 h 8"/>
                  <a:gd name="T10" fmla="*/ 5 w 6"/>
                  <a:gd name="T11" fmla="*/ 2 h 8"/>
                  <a:gd name="T12" fmla="*/ 6 w 6"/>
                  <a:gd name="T13" fmla="*/ 2 h 8"/>
                  <a:gd name="T14" fmla="*/ 6 w 6"/>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6" y="2"/>
                    </a:moveTo>
                    <a:cubicBezTo>
                      <a:pt x="5" y="0"/>
                      <a:pt x="3" y="1"/>
                      <a:pt x="2" y="2"/>
                    </a:cubicBezTo>
                    <a:cubicBezTo>
                      <a:pt x="2" y="3"/>
                      <a:pt x="2" y="4"/>
                      <a:pt x="1" y="4"/>
                    </a:cubicBezTo>
                    <a:cubicBezTo>
                      <a:pt x="0" y="4"/>
                      <a:pt x="0" y="5"/>
                      <a:pt x="0" y="6"/>
                    </a:cubicBezTo>
                    <a:cubicBezTo>
                      <a:pt x="1" y="8"/>
                      <a:pt x="2" y="6"/>
                      <a:pt x="4" y="6"/>
                    </a:cubicBezTo>
                    <a:cubicBezTo>
                      <a:pt x="6" y="6"/>
                      <a:pt x="6" y="3"/>
                      <a:pt x="5" y="2"/>
                    </a:cubicBezTo>
                    <a:cubicBezTo>
                      <a:pt x="5" y="2"/>
                      <a:pt x="6" y="2"/>
                      <a:pt x="6" y="2"/>
                    </a:cubicBezTo>
                    <a:cubicBezTo>
                      <a:pt x="5" y="1"/>
                      <a:pt x="6" y="2"/>
                      <a:pt x="6" y="2"/>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75" name="Freeform 430">
                <a:extLst>
                  <a:ext uri="{FF2B5EF4-FFF2-40B4-BE49-F238E27FC236}">
                    <a16:creationId xmlns:a16="http://schemas.microsoft.com/office/drawing/2014/main" id="{1D94C76E-1564-7B5C-DB62-EBB330430602}"/>
                  </a:ext>
                </a:extLst>
              </p:cNvPr>
              <p:cNvSpPr/>
              <p:nvPr>
                <p:custDataLst>
                  <p:tags r:id="rId213"/>
                </p:custDataLst>
              </p:nvPr>
            </p:nvSpPr>
            <p:spPr bwMode="auto">
              <a:xfrm>
                <a:off x="5948850" y="3146561"/>
                <a:ext cx="99492" cy="122453"/>
              </a:xfrm>
              <a:custGeom>
                <a:avLst/>
                <a:gdLst>
                  <a:gd name="T0" fmla="*/ 21 w 67"/>
                  <a:gd name="T1" fmla="*/ 2 h 82"/>
                  <a:gd name="T2" fmla="*/ 13 w 67"/>
                  <a:gd name="T3" fmla="*/ 2 h 82"/>
                  <a:gd name="T4" fmla="*/ 1 w 67"/>
                  <a:gd name="T5" fmla="*/ 6 h 82"/>
                  <a:gd name="T6" fmla="*/ 1 w 67"/>
                  <a:gd name="T7" fmla="*/ 9 h 82"/>
                  <a:gd name="T8" fmla="*/ 2 w 67"/>
                  <a:gd name="T9" fmla="*/ 14 h 82"/>
                  <a:gd name="T10" fmla="*/ 4 w 67"/>
                  <a:gd name="T11" fmla="*/ 24 h 82"/>
                  <a:gd name="T12" fmla="*/ 4 w 67"/>
                  <a:gd name="T13" fmla="*/ 26 h 82"/>
                  <a:gd name="T14" fmla="*/ 6 w 67"/>
                  <a:gd name="T15" fmla="*/ 30 h 82"/>
                  <a:gd name="T16" fmla="*/ 5 w 67"/>
                  <a:gd name="T17" fmla="*/ 38 h 82"/>
                  <a:gd name="T18" fmla="*/ 7 w 67"/>
                  <a:gd name="T19" fmla="*/ 46 h 82"/>
                  <a:gd name="T20" fmla="*/ 8 w 67"/>
                  <a:gd name="T21" fmla="*/ 50 h 82"/>
                  <a:gd name="T22" fmla="*/ 7 w 67"/>
                  <a:gd name="T23" fmla="*/ 55 h 82"/>
                  <a:gd name="T24" fmla="*/ 10 w 67"/>
                  <a:gd name="T25" fmla="*/ 58 h 82"/>
                  <a:gd name="T26" fmla="*/ 15 w 67"/>
                  <a:gd name="T27" fmla="*/ 60 h 82"/>
                  <a:gd name="T28" fmla="*/ 18 w 67"/>
                  <a:gd name="T29" fmla="*/ 64 h 82"/>
                  <a:gd name="T30" fmla="*/ 22 w 67"/>
                  <a:gd name="T31" fmla="*/ 68 h 82"/>
                  <a:gd name="T32" fmla="*/ 26 w 67"/>
                  <a:gd name="T33" fmla="*/ 65 h 82"/>
                  <a:gd name="T34" fmla="*/ 31 w 67"/>
                  <a:gd name="T35" fmla="*/ 61 h 82"/>
                  <a:gd name="T36" fmla="*/ 36 w 67"/>
                  <a:gd name="T37" fmla="*/ 62 h 82"/>
                  <a:gd name="T38" fmla="*/ 40 w 67"/>
                  <a:gd name="T39" fmla="*/ 64 h 82"/>
                  <a:gd name="T40" fmla="*/ 40 w 67"/>
                  <a:gd name="T41" fmla="*/ 67 h 82"/>
                  <a:gd name="T42" fmla="*/ 42 w 67"/>
                  <a:gd name="T43" fmla="*/ 70 h 82"/>
                  <a:gd name="T44" fmla="*/ 48 w 67"/>
                  <a:gd name="T45" fmla="*/ 75 h 82"/>
                  <a:gd name="T46" fmla="*/ 45 w 67"/>
                  <a:gd name="T47" fmla="*/ 79 h 82"/>
                  <a:gd name="T48" fmla="*/ 43 w 67"/>
                  <a:gd name="T49" fmla="*/ 82 h 82"/>
                  <a:gd name="T50" fmla="*/ 47 w 67"/>
                  <a:gd name="T51" fmla="*/ 81 h 82"/>
                  <a:gd name="T52" fmla="*/ 53 w 67"/>
                  <a:gd name="T53" fmla="*/ 80 h 82"/>
                  <a:gd name="T54" fmla="*/ 55 w 67"/>
                  <a:gd name="T55" fmla="*/ 80 h 82"/>
                  <a:gd name="T56" fmla="*/ 57 w 67"/>
                  <a:gd name="T57" fmla="*/ 80 h 82"/>
                  <a:gd name="T58" fmla="*/ 59 w 67"/>
                  <a:gd name="T59" fmla="*/ 76 h 82"/>
                  <a:gd name="T60" fmla="*/ 58 w 67"/>
                  <a:gd name="T61" fmla="*/ 73 h 82"/>
                  <a:gd name="T62" fmla="*/ 59 w 67"/>
                  <a:gd name="T63" fmla="*/ 69 h 82"/>
                  <a:gd name="T64" fmla="*/ 66 w 67"/>
                  <a:gd name="T65" fmla="*/ 62 h 82"/>
                  <a:gd name="T66" fmla="*/ 63 w 67"/>
                  <a:gd name="T67" fmla="*/ 60 h 82"/>
                  <a:gd name="T68" fmla="*/ 60 w 67"/>
                  <a:gd name="T69" fmla="*/ 57 h 82"/>
                  <a:gd name="T70" fmla="*/ 58 w 67"/>
                  <a:gd name="T71" fmla="*/ 48 h 82"/>
                  <a:gd name="T72" fmla="*/ 60 w 67"/>
                  <a:gd name="T73" fmla="*/ 44 h 82"/>
                  <a:gd name="T74" fmla="*/ 60 w 67"/>
                  <a:gd name="T75" fmla="*/ 40 h 82"/>
                  <a:gd name="T76" fmla="*/ 60 w 67"/>
                  <a:gd name="T77" fmla="*/ 36 h 82"/>
                  <a:gd name="T78" fmla="*/ 62 w 67"/>
                  <a:gd name="T79" fmla="*/ 34 h 82"/>
                  <a:gd name="T80" fmla="*/ 59 w 67"/>
                  <a:gd name="T81" fmla="*/ 33 h 82"/>
                  <a:gd name="T82" fmla="*/ 57 w 67"/>
                  <a:gd name="T83" fmla="*/ 34 h 82"/>
                  <a:gd name="T84" fmla="*/ 53 w 67"/>
                  <a:gd name="T85" fmla="*/ 36 h 82"/>
                  <a:gd name="T86" fmla="*/ 50 w 67"/>
                  <a:gd name="T87" fmla="*/ 34 h 82"/>
                  <a:gd name="T88" fmla="*/ 42 w 67"/>
                  <a:gd name="T89" fmla="*/ 30 h 82"/>
                  <a:gd name="T90" fmla="*/ 42 w 67"/>
                  <a:gd name="T91" fmla="*/ 23 h 82"/>
                  <a:gd name="T92" fmla="*/ 37 w 67"/>
                  <a:gd name="T93" fmla="*/ 20 h 82"/>
                  <a:gd name="T94" fmla="*/ 31 w 67"/>
                  <a:gd name="T95" fmla="*/ 16 h 82"/>
                  <a:gd name="T96" fmla="*/ 29 w 67"/>
                  <a:gd name="T97" fmla="*/ 12 h 82"/>
                  <a:gd name="T98" fmla="*/ 26 w 67"/>
                  <a:gd name="T99" fmla="*/ 9 h 82"/>
                  <a:gd name="T100" fmla="*/ 23 w 67"/>
                  <a:gd name="T101" fmla="*/ 5 h 82"/>
                  <a:gd name="T102" fmla="*/ 21 w 67"/>
                  <a:gd name="T103" fmla="*/ 2 h 82"/>
                  <a:gd name="T104" fmla="*/ 21 w 67"/>
                  <a:gd name="T105" fmla="*/ 2 h 82"/>
                  <a:gd name="T106" fmla="*/ 21 w 67"/>
                  <a:gd name="T107" fmla="*/ 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7" h="82">
                    <a:moveTo>
                      <a:pt x="21" y="2"/>
                    </a:moveTo>
                    <a:cubicBezTo>
                      <a:pt x="19" y="0"/>
                      <a:pt x="16" y="1"/>
                      <a:pt x="13" y="2"/>
                    </a:cubicBezTo>
                    <a:cubicBezTo>
                      <a:pt x="9" y="3"/>
                      <a:pt x="5" y="4"/>
                      <a:pt x="1" y="6"/>
                    </a:cubicBezTo>
                    <a:cubicBezTo>
                      <a:pt x="0" y="6"/>
                      <a:pt x="1" y="8"/>
                      <a:pt x="1" y="9"/>
                    </a:cubicBezTo>
                    <a:cubicBezTo>
                      <a:pt x="1" y="11"/>
                      <a:pt x="1" y="13"/>
                      <a:pt x="2" y="14"/>
                    </a:cubicBezTo>
                    <a:cubicBezTo>
                      <a:pt x="5" y="17"/>
                      <a:pt x="5" y="20"/>
                      <a:pt x="4" y="24"/>
                    </a:cubicBezTo>
                    <a:cubicBezTo>
                      <a:pt x="4" y="24"/>
                      <a:pt x="3" y="26"/>
                      <a:pt x="4" y="26"/>
                    </a:cubicBezTo>
                    <a:cubicBezTo>
                      <a:pt x="5" y="27"/>
                      <a:pt x="6" y="29"/>
                      <a:pt x="6" y="30"/>
                    </a:cubicBezTo>
                    <a:cubicBezTo>
                      <a:pt x="6" y="33"/>
                      <a:pt x="3" y="35"/>
                      <a:pt x="5" y="38"/>
                    </a:cubicBezTo>
                    <a:cubicBezTo>
                      <a:pt x="7" y="41"/>
                      <a:pt x="10" y="43"/>
                      <a:pt x="7" y="46"/>
                    </a:cubicBezTo>
                    <a:cubicBezTo>
                      <a:pt x="6" y="48"/>
                      <a:pt x="8" y="49"/>
                      <a:pt x="8" y="50"/>
                    </a:cubicBezTo>
                    <a:cubicBezTo>
                      <a:pt x="9" y="52"/>
                      <a:pt x="8" y="54"/>
                      <a:pt x="7" y="55"/>
                    </a:cubicBezTo>
                    <a:cubicBezTo>
                      <a:pt x="8" y="56"/>
                      <a:pt x="9" y="57"/>
                      <a:pt x="10" y="58"/>
                    </a:cubicBezTo>
                    <a:cubicBezTo>
                      <a:pt x="12" y="59"/>
                      <a:pt x="14" y="59"/>
                      <a:pt x="15" y="60"/>
                    </a:cubicBezTo>
                    <a:cubicBezTo>
                      <a:pt x="17" y="61"/>
                      <a:pt x="17" y="62"/>
                      <a:pt x="18" y="64"/>
                    </a:cubicBezTo>
                    <a:cubicBezTo>
                      <a:pt x="19" y="65"/>
                      <a:pt x="21" y="67"/>
                      <a:pt x="22" y="68"/>
                    </a:cubicBezTo>
                    <a:cubicBezTo>
                      <a:pt x="23" y="69"/>
                      <a:pt x="26" y="66"/>
                      <a:pt x="26" y="65"/>
                    </a:cubicBezTo>
                    <a:cubicBezTo>
                      <a:pt x="27" y="63"/>
                      <a:pt x="28" y="60"/>
                      <a:pt x="31" y="61"/>
                    </a:cubicBezTo>
                    <a:cubicBezTo>
                      <a:pt x="33" y="61"/>
                      <a:pt x="34" y="62"/>
                      <a:pt x="36" y="62"/>
                    </a:cubicBezTo>
                    <a:cubicBezTo>
                      <a:pt x="37" y="62"/>
                      <a:pt x="39" y="62"/>
                      <a:pt x="40" y="64"/>
                    </a:cubicBezTo>
                    <a:cubicBezTo>
                      <a:pt x="41" y="65"/>
                      <a:pt x="41" y="66"/>
                      <a:pt x="40" y="67"/>
                    </a:cubicBezTo>
                    <a:cubicBezTo>
                      <a:pt x="40" y="69"/>
                      <a:pt x="41" y="70"/>
                      <a:pt x="42" y="70"/>
                    </a:cubicBezTo>
                    <a:cubicBezTo>
                      <a:pt x="45" y="71"/>
                      <a:pt x="48" y="72"/>
                      <a:pt x="48" y="75"/>
                    </a:cubicBezTo>
                    <a:cubicBezTo>
                      <a:pt x="47" y="76"/>
                      <a:pt x="46" y="78"/>
                      <a:pt x="45" y="79"/>
                    </a:cubicBezTo>
                    <a:cubicBezTo>
                      <a:pt x="44" y="80"/>
                      <a:pt x="44" y="81"/>
                      <a:pt x="43" y="82"/>
                    </a:cubicBezTo>
                    <a:cubicBezTo>
                      <a:pt x="45" y="82"/>
                      <a:pt x="46" y="81"/>
                      <a:pt x="47" y="81"/>
                    </a:cubicBezTo>
                    <a:cubicBezTo>
                      <a:pt x="49" y="80"/>
                      <a:pt x="51" y="80"/>
                      <a:pt x="53" y="80"/>
                    </a:cubicBezTo>
                    <a:cubicBezTo>
                      <a:pt x="54" y="80"/>
                      <a:pt x="54" y="80"/>
                      <a:pt x="55" y="80"/>
                    </a:cubicBezTo>
                    <a:cubicBezTo>
                      <a:pt x="56" y="80"/>
                      <a:pt x="57" y="80"/>
                      <a:pt x="57" y="80"/>
                    </a:cubicBezTo>
                    <a:cubicBezTo>
                      <a:pt x="58" y="78"/>
                      <a:pt x="60" y="78"/>
                      <a:pt x="59" y="76"/>
                    </a:cubicBezTo>
                    <a:cubicBezTo>
                      <a:pt x="59" y="75"/>
                      <a:pt x="58" y="74"/>
                      <a:pt x="58" y="73"/>
                    </a:cubicBezTo>
                    <a:cubicBezTo>
                      <a:pt x="58" y="71"/>
                      <a:pt x="58" y="70"/>
                      <a:pt x="59" y="69"/>
                    </a:cubicBezTo>
                    <a:cubicBezTo>
                      <a:pt x="60" y="68"/>
                      <a:pt x="67" y="63"/>
                      <a:pt x="66" y="62"/>
                    </a:cubicBezTo>
                    <a:cubicBezTo>
                      <a:pt x="66" y="61"/>
                      <a:pt x="64" y="61"/>
                      <a:pt x="63" y="60"/>
                    </a:cubicBezTo>
                    <a:cubicBezTo>
                      <a:pt x="62" y="59"/>
                      <a:pt x="61" y="58"/>
                      <a:pt x="60" y="57"/>
                    </a:cubicBezTo>
                    <a:cubicBezTo>
                      <a:pt x="57" y="54"/>
                      <a:pt x="57" y="51"/>
                      <a:pt x="58" y="48"/>
                    </a:cubicBezTo>
                    <a:cubicBezTo>
                      <a:pt x="58" y="47"/>
                      <a:pt x="59" y="45"/>
                      <a:pt x="60" y="44"/>
                    </a:cubicBezTo>
                    <a:cubicBezTo>
                      <a:pt x="61" y="42"/>
                      <a:pt x="61" y="42"/>
                      <a:pt x="60" y="40"/>
                    </a:cubicBezTo>
                    <a:cubicBezTo>
                      <a:pt x="59" y="39"/>
                      <a:pt x="59" y="37"/>
                      <a:pt x="60" y="36"/>
                    </a:cubicBezTo>
                    <a:cubicBezTo>
                      <a:pt x="60" y="36"/>
                      <a:pt x="61" y="34"/>
                      <a:pt x="62" y="34"/>
                    </a:cubicBezTo>
                    <a:cubicBezTo>
                      <a:pt x="61" y="34"/>
                      <a:pt x="60" y="33"/>
                      <a:pt x="59" y="33"/>
                    </a:cubicBezTo>
                    <a:cubicBezTo>
                      <a:pt x="58" y="32"/>
                      <a:pt x="57" y="34"/>
                      <a:pt x="57" y="34"/>
                    </a:cubicBezTo>
                    <a:cubicBezTo>
                      <a:pt x="56" y="35"/>
                      <a:pt x="54" y="36"/>
                      <a:pt x="53" y="36"/>
                    </a:cubicBezTo>
                    <a:cubicBezTo>
                      <a:pt x="52" y="36"/>
                      <a:pt x="51" y="34"/>
                      <a:pt x="50" y="34"/>
                    </a:cubicBezTo>
                    <a:cubicBezTo>
                      <a:pt x="47" y="32"/>
                      <a:pt x="44" y="32"/>
                      <a:pt x="42" y="30"/>
                    </a:cubicBezTo>
                    <a:cubicBezTo>
                      <a:pt x="39" y="27"/>
                      <a:pt x="43" y="26"/>
                      <a:pt x="42" y="23"/>
                    </a:cubicBezTo>
                    <a:cubicBezTo>
                      <a:pt x="42" y="21"/>
                      <a:pt x="39" y="20"/>
                      <a:pt x="37" y="20"/>
                    </a:cubicBezTo>
                    <a:cubicBezTo>
                      <a:pt x="35" y="19"/>
                      <a:pt x="33" y="18"/>
                      <a:pt x="31" y="16"/>
                    </a:cubicBezTo>
                    <a:cubicBezTo>
                      <a:pt x="31" y="15"/>
                      <a:pt x="30" y="14"/>
                      <a:pt x="29" y="12"/>
                    </a:cubicBezTo>
                    <a:cubicBezTo>
                      <a:pt x="28" y="11"/>
                      <a:pt x="27" y="10"/>
                      <a:pt x="26" y="9"/>
                    </a:cubicBezTo>
                    <a:cubicBezTo>
                      <a:pt x="25" y="7"/>
                      <a:pt x="24" y="6"/>
                      <a:pt x="23" y="5"/>
                    </a:cubicBezTo>
                    <a:cubicBezTo>
                      <a:pt x="22" y="4"/>
                      <a:pt x="22" y="2"/>
                      <a:pt x="21" y="2"/>
                    </a:cubicBezTo>
                    <a:cubicBezTo>
                      <a:pt x="21" y="2"/>
                      <a:pt x="21" y="2"/>
                      <a:pt x="21" y="2"/>
                    </a:cubicBezTo>
                    <a:cubicBezTo>
                      <a:pt x="20" y="0"/>
                      <a:pt x="21" y="2"/>
                      <a:pt x="21" y="2"/>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76" name="Freeform 440">
                <a:extLst>
                  <a:ext uri="{FF2B5EF4-FFF2-40B4-BE49-F238E27FC236}">
                    <a16:creationId xmlns:a16="http://schemas.microsoft.com/office/drawing/2014/main" id="{7C261607-6A71-F2B3-85AE-BF6C4C9166AA}"/>
                  </a:ext>
                </a:extLst>
              </p:cNvPr>
              <p:cNvSpPr/>
              <p:nvPr>
                <p:custDataLst>
                  <p:tags r:id="rId214"/>
                </p:custDataLst>
              </p:nvPr>
            </p:nvSpPr>
            <p:spPr bwMode="auto">
              <a:xfrm>
                <a:off x="6284318" y="3462896"/>
                <a:ext cx="59950" cy="29338"/>
              </a:xfrm>
              <a:custGeom>
                <a:avLst/>
                <a:gdLst>
                  <a:gd name="T0" fmla="*/ 39 w 40"/>
                  <a:gd name="T1" fmla="*/ 0 h 20"/>
                  <a:gd name="T2" fmla="*/ 33 w 40"/>
                  <a:gd name="T3" fmla="*/ 3 h 20"/>
                  <a:gd name="T4" fmla="*/ 26 w 40"/>
                  <a:gd name="T5" fmla="*/ 6 h 20"/>
                  <a:gd name="T6" fmla="*/ 19 w 40"/>
                  <a:gd name="T7" fmla="*/ 7 h 20"/>
                  <a:gd name="T8" fmla="*/ 12 w 40"/>
                  <a:gd name="T9" fmla="*/ 7 h 20"/>
                  <a:gd name="T10" fmla="*/ 11 w 40"/>
                  <a:gd name="T11" fmla="*/ 9 h 20"/>
                  <a:gd name="T12" fmla="*/ 8 w 40"/>
                  <a:gd name="T13" fmla="*/ 10 h 20"/>
                  <a:gd name="T14" fmla="*/ 6 w 40"/>
                  <a:gd name="T15" fmla="*/ 12 h 20"/>
                  <a:gd name="T16" fmla="*/ 3 w 40"/>
                  <a:gd name="T17" fmla="*/ 13 h 20"/>
                  <a:gd name="T18" fmla="*/ 3 w 40"/>
                  <a:gd name="T19" fmla="*/ 16 h 20"/>
                  <a:gd name="T20" fmla="*/ 7 w 40"/>
                  <a:gd name="T21" fmla="*/ 20 h 20"/>
                  <a:gd name="T22" fmla="*/ 14 w 40"/>
                  <a:gd name="T23" fmla="*/ 20 h 20"/>
                  <a:gd name="T24" fmla="*/ 21 w 40"/>
                  <a:gd name="T25" fmla="*/ 17 h 20"/>
                  <a:gd name="T26" fmla="*/ 24 w 40"/>
                  <a:gd name="T27" fmla="*/ 15 h 20"/>
                  <a:gd name="T28" fmla="*/ 25 w 40"/>
                  <a:gd name="T29" fmla="*/ 13 h 20"/>
                  <a:gd name="T30" fmla="*/ 27 w 40"/>
                  <a:gd name="T31" fmla="*/ 13 h 20"/>
                  <a:gd name="T32" fmla="*/ 30 w 40"/>
                  <a:gd name="T33" fmla="*/ 12 h 20"/>
                  <a:gd name="T34" fmla="*/ 30 w 40"/>
                  <a:gd name="T35" fmla="*/ 11 h 20"/>
                  <a:gd name="T36" fmla="*/ 28 w 40"/>
                  <a:gd name="T37" fmla="*/ 9 h 20"/>
                  <a:gd name="T38" fmla="*/ 32 w 40"/>
                  <a:gd name="T39" fmla="*/ 5 h 20"/>
                  <a:gd name="T40" fmla="*/ 38 w 40"/>
                  <a:gd name="T41" fmla="*/ 2 h 20"/>
                  <a:gd name="T42" fmla="*/ 39 w 40"/>
                  <a:gd name="T43" fmla="*/ 0 h 20"/>
                  <a:gd name="T44" fmla="*/ 39 w 40"/>
                  <a:gd name="T45" fmla="*/ 0 h 20"/>
                  <a:gd name="T46" fmla="*/ 39 w 40"/>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20">
                    <a:moveTo>
                      <a:pt x="39" y="0"/>
                    </a:moveTo>
                    <a:cubicBezTo>
                      <a:pt x="37" y="0"/>
                      <a:pt x="35" y="2"/>
                      <a:pt x="33" y="3"/>
                    </a:cubicBezTo>
                    <a:cubicBezTo>
                      <a:pt x="31" y="4"/>
                      <a:pt x="29" y="5"/>
                      <a:pt x="26" y="6"/>
                    </a:cubicBezTo>
                    <a:cubicBezTo>
                      <a:pt x="24" y="7"/>
                      <a:pt x="22" y="7"/>
                      <a:pt x="19" y="7"/>
                    </a:cubicBezTo>
                    <a:cubicBezTo>
                      <a:pt x="17" y="7"/>
                      <a:pt x="14" y="5"/>
                      <a:pt x="12" y="7"/>
                    </a:cubicBezTo>
                    <a:cubicBezTo>
                      <a:pt x="12" y="8"/>
                      <a:pt x="12" y="9"/>
                      <a:pt x="11" y="9"/>
                    </a:cubicBezTo>
                    <a:cubicBezTo>
                      <a:pt x="10" y="10"/>
                      <a:pt x="9" y="9"/>
                      <a:pt x="8" y="10"/>
                    </a:cubicBezTo>
                    <a:cubicBezTo>
                      <a:pt x="7" y="10"/>
                      <a:pt x="7" y="11"/>
                      <a:pt x="6" y="12"/>
                    </a:cubicBezTo>
                    <a:cubicBezTo>
                      <a:pt x="5" y="12"/>
                      <a:pt x="4" y="13"/>
                      <a:pt x="3" y="13"/>
                    </a:cubicBezTo>
                    <a:cubicBezTo>
                      <a:pt x="0" y="13"/>
                      <a:pt x="2" y="15"/>
                      <a:pt x="3" y="16"/>
                    </a:cubicBezTo>
                    <a:cubicBezTo>
                      <a:pt x="4" y="18"/>
                      <a:pt x="5" y="20"/>
                      <a:pt x="7" y="20"/>
                    </a:cubicBezTo>
                    <a:cubicBezTo>
                      <a:pt x="9" y="20"/>
                      <a:pt x="12" y="20"/>
                      <a:pt x="14" y="20"/>
                    </a:cubicBezTo>
                    <a:cubicBezTo>
                      <a:pt x="16" y="19"/>
                      <a:pt x="19" y="18"/>
                      <a:pt x="21" y="17"/>
                    </a:cubicBezTo>
                    <a:cubicBezTo>
                      <a:pt x="22" y="17"/>
                      <a:pt x="23" y="16"/>
                      <a:pt x="24" y="15"/>
                    </a:cubicBezTo>
                    <a:cubicBezTo>
                      <a:pt x="24" y="15"/>
                      <a:pt x="24" y="13"/>
                      <a:pt x="25" y="13"/>
                    </a:cubicBezTo>
                    <a:cubicBezTo>
                      <a:pt x="26" y="13"/>
                      <a:pt x="27" y="13"/>
                      <a:pt x="27" y="13"/>
                    </a:cubicBezTo>
                    <a:cubicBezTo>
                      <a:pt x="28" y="13"/>
                      <a:pt x="29" y="13"/>
                      <a:pt x="30" y="12"/>
                    </a:cubicBezTo>
                    <a:cubicBezTo>
                      <a:pt x="31" y="12"/>
                      <a:pt x="31" y="12"/>
                      <a:pt x="30" y="11"/>
                    </a:cubicBezTo>
                    <a:cubicBezTo>
                      <a:pt x="29" y="10"/>
                      <a:pt x="29" y="10"/>
                      <a:pt x="28" y="9"/>
                    </a:cubicBezTo>
                    <a:cubicBezTo>
                      <a:pt x="28" y="7"/>
                      <a:pt x="31" y="6"/>
                      <a:pt x="32" y="5"/>
                    </a:cubicBezTo>
                    <a:cubicBezTo>
                      <a:pt x="34" y="4"/>
                      <a:pt x="36" y="3"/>
                      <a:pt x="38" y="2"/>
                    </a:cubicBezTo>
                    <a:cubicBezTo>
                      <a:pt x="39" y="1"/>
                      <a:pt x="40" y="0"/>
                      <a:pt x="39" y="0"/>
                    </a:cubicBezTo>
                    <a:cubicBezTo>
                      <a:pt x="39" y="0"/>
                      <a:pt x="39" y="0"/>
                      <a:pt x="39" y="0"/>
                    </a:cubicBezTo>
                    <a:cubicBezTo>
                      <a:pt x="38" y="0"/>
                      <a:pt x="39" y="0"/>
                      <a:pt x="39" y="0"/>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77" name="Freeform 453">
                <a:extLst>
                  <a:ext uri="{FF2B5EF4-FFF2-40B4-BE49-F238E27FC236}">
                    <a16:creationId xmlns:a16="http://schemas.microsoft.com/office/drawing/2014/main" id="{29EB32B6-BD94-1C8C-F07B-B8A7F854CB97}"/>
                  </a:ext>
                </a:extLst>
              </p:cNvPr>
              <p:cNvSpPr/>
              <p:nvPr>
                <p:custDataLst>
                  <p:tags r:id="rId215"/>
                </p:custDataLst>
              </p:nvPr>
            </p:nvSpPr>
            <p:spPr bwMode="auto">
              <a:xfrm>
                <a:off x="5976912" y="3239675"/>
                <a:ext cx="39542" cy="35715"/>
              </a:xfrm>
              <a:custGeom>
                <a:avLst/>
                <a:gdLst>
                  <a:gd name="T0" fmla="*/ 19 w 27"/>
                  <a:gd name="T1" fmla="*/ 4 h 24"/>
                  <a:gd name="T2" fmla="*/ 16 w 27"/>
                  <a:gd name="T3" fmla="*/ 2 h 24"/>
                  <a:gd name="T4" fmla="*/ 10 w 27"/>
                  <a:gd name="T5" fmla="*/ 1 h 24"/>
                  <a:gd name="T6" fmla="*/ 8 w 27"/>
                  <a:gd name="T7" fmla="*/ 5 h 24"/>
                  <a:gd name="T8" fmla="*/ 4 w 27"/>
                  <a:gd name="T9" fmla="*/ 8 h 24"/>
                  <a:gd name="T10" fmla="*/ 1 w 27"/>
                  <a:gd name="T11" fmla="*/ 10 h 24"/>
                  <a:gd name="T12" fmla="*/ 2 w 27"/>
                  <a:gd name="T13" fmla="*/ 15 h 24"/>
                  <a:gd name="T14" fmla="*/ 7 w 27"/>
                  <a:gd name="T15" fmla="*/ 18 h 24"/>
                  <a:gd name="T16" fmla="*/ 10 w 27"/>
                  <a:gd name="T17" fmla="*/ 24 h 24"/>
                  <a:gd name="T18" fmla="*/ 15 w 27"/>
                  <a:gd name="T19" fmla="*/ 22 h 24"/>
                  <a:gd name="T20" fmla="*/ 17 w 27"/>
                  <a:gd name="T21" fmla="*/ 22 h 24"/>
                  <a:gd name="T22" fmla="*/ 19 w 27"/>
                  <a:gd name="T23" fmla="*/ 21 h 24"/>
                  <a:gd name="T24" fmla="*/ 21 w 27"/>
                  <a:gd name="T25" fmla="*/ 20 h 24"/>
                  <a:gd name="T26" fmla="*/ 22 w 27"/>
                  <a:gd name="T27" fmla="*/ 19 h 24"/>
                  <a:gd name="T28" fmla="*/ 25 w 27"/>
                  <a:gd name="T29" fmla="*/ 15 h 24"/>
                  <a:gd name="T30" fmla="*/ 26 w 27"/>
                  <a:gd name="T31" fmla="*/ 12 h 24"/>
                  <a:gd name="T32" fmla="*/ 23 w 27"/>
                  <a:gd name="T33" fmla="*/ 10 h 24"/>
                  <a:gd name="T34" fmla="*/ 19 w 27"/>
                  <a:gd name="T35" fmla="*/ 8 h 24"/>
                  <a:gd name="T36" fmla="*/ 19 w 27"/>
                  <a:gd name="T37" fmla="*/ 3 h 24"/>
                  <a:gd name="T38" fmla="*/ 19 w 27"/>
                  <a:gd name="T39" fmla="*/ 4 h 24"/>
                  <a:gd name="T40" fmla="*/ 19 w 27"/>
                  <a:gd name="T41"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24">
                    <a:moveTo>
                      <a:pt x="19" y="4"/>
                    </a:moveTo>
                    <a:cubicBezTo>
                      <a:pt x="19" y="2"/>
                      <a:pt x="17" y="2"/>
                      <a:pt x="16" y="2"/>
                    </a:cubicBezTo>
                    <a:cubicBezTo>
                      <a:pt x="14" y="2"/>
                      <a:pt x="12" y="0"/>
                      <a:pt x="10" y="1"/>
                    </a:cubicBezTo>
                    <a:cubicBezTo>
                      <a:pt x="9" y="2"/>
                      <a:pt x="9" y="4"/>
                      <a:pt x="8" y="5"/>
                    </a:cubicBezTo>
                    <a:cubicBezTo>
                      <a:pt x="7" y="6"/>
                      <a:pt x="6" y="7"/>
                      <a:pt x="4" y="8"/>
                    </a:cubicBezTo>
                    <a:cubicBezTo>
                      <a:pt x="3" y="9"/>
                      <a:pt x="1" y="9"/>
                      <a:pt x="1" y="10"/>
                    </a:cubicBezTo>
                    <a:cubicBezTo>
                      <a:pt x="0" y="12"/>
                      <a:pt x="1" y="14"/>
                      <a:pt x="2" y="15"/>
                    </a:cubicBezTo>
                    <a:cubicBezTo>
                      <a:pt x="3" y="16"/>
                      <a:pt x="5" y="17"/>
                      <a:pt x="7" y="18"/>
                    </a:cubicBezTo>
                    <a:cubicBezTo>
                      <a:pt x="8" y="20"/>
                      <a:pt x="9" y="22"/>
                      <a:pt x="10" y="24"/>
                    </a:cubicBezTo>
                    <a:cubicBezTo>
                      <a:pt x="11" y="23"/>
                      <a:pt x="13" y="22"/>
                      <a:pt x="15" y="22"/>
                    </a:cubicBezTo>
                    <a:cubicBezTo>
                      <a:pt x="15" y="21"/>
                      <a:pt x="16" y="21"/>
                      <a:pt x="17" y="22"/>
                    </a:cubicBezTo>
                    <a:cubicBezTo>
                      <a:pt x="18" y="22"/>
                      <a:pt x="18" y="21"/>
                      <a:pt x="19" y="21"/>
                    </a:cubicBezTo>
                    <a:cubicBezTo>
                      <a:pt x="20" y="21"/>
                      <a:pt x="20" y="20"/>
                      <a:pt x="21" y="20"/>
                    </a:cubicBezTo>
                    <a:cubicBezTo>
                      <a:pt x="23" y="20"/>
                      <a:pt x="22" y="20"/>
                      <a:pt x="22" y="19"/>
                    </a:cubicBezTo>
                    <a:cubicBezTo>
                      <a:pt x="23" y="17"/>
                      <a:pt x="23" y="16"/>
                      <a:pt x="25" y="15"/>
                    </a:cubicBezTo>
                    <a:cubicBezTo>
                      <a:pt x="25" y="14"/>
                      <a:pt x="27" y="13"/>
                      <a:pt x="26" y="12"/>
                    </a:cubicBezTo>
                    <a:cubicBezTo>
                      <a:pt x="26" y="11"/>
                      <a:pt x="24" y="11"/>
                      <a:pt x="23" y="10"/>
                    </a:cubicBezTo>
                    <a:cubicBezTo>
                      <a:pt x="22" y="10"/>
                      <a:pt x="20" y="9"/>
                      <a:pt x="19" y="8"/>
                    </a:cubicBezTo>
                    <a:cubicBezTo>
                      <a:pt x="19" y="7"/>
                      <a:pt x="19" y="5"/>
                      <a:pt x="19" y="3"/>
                    </a:cubicBezTo>
                    <a:cubicBezTo>
                      <a:pt x="19" y="4"/>
                      <a:pt x="19" y="4"/>
                      <a:pt x="19" y="4"/>
                    </a:cubicBezTo>
                    <a:cubicBezTo>
                      <a:pt x="19" y="2"/>
                      <a:pt x="19" y="4"/>
                      <a:pt x="19" y="4"/>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78" name="Freeform 454">
                <a:extLst>
                  <a:ext uri="{FF2B5EF4-FFF2-40B4-BE49-F238E27FC236}">
                    <a16:creationId xmlns:a16="http://schemas.microsoft.com/office/drawing/2014/main" id="{07B23F0D-9171-67AB-2C6F-A2D73B6F26E6}"/>
                  </a:ext>
                </a:extLst>
              </p:cNvPr>
              <p:cNvSpPr/>
              <p:nvPr>
                <p:custDataLst>
                  <p:tags r:id="rId216"/>
                </p:custDataLst>
              </p:nvPr>
            </p:nvSpPr>
            <p:spPr bwMode="auto">
              <a:xfrm>
                <a:off x="5957779" y="3260085"/>
                <a:ext cx="40818" cy="86737"/>
              </a:xfrm>
              <a:custGeom>
                <a:avLst/>
                <a:gdLst>
                  <a:gd name="T0" fmla="*/ 2 w 28"/>
                  <a:gd name="T1" fmla="*/ 45 h 58"/>
                  <a:gd name="T2" fmla="*/ 8 w 28"/>
                  <a:gd name="T3" fmla="*/ 49 h 58"/>
                  <a:gd name="T4" fmla="*/ 11 w 28"/>
                  <a:gd name="T5" fmla="*/ 56 h 58"/>
                  <a:gd name="T6" fmla="*/ 12 w 28"/>
                  <a:gd name="T7" fmla="*/ 58 h 58"/>
                  <a:gd name="T8" fmla="*/ 13 w 28"/>
                  <a:gd name="T9" fmla="*/ 57 h 58"/>
                  <a:gd name="T10" fmla="*/ 16 w 28"/>
                  <a:gd name="T11" fmla="*/ 55 h 58"/>
                  <a:gd name="T12" fmla="*/ 18 w 28"/>
                  <a:gd name="T13" fmla="*/ 49 h 58"/>
                  <a:gd name="T14" fmla="*/ 20 w 28"/>
                  <a:gd name="T15" fmla="*/ 49 h 58"/>
                  <a:gd name="T16" fmla="*/ 21 w 28"/>
                  <a:gd name="T17" fmla="*/ 47 h 58"/>
                  <a:gd name="T18" fmla="*/ 26 w 28"/>
                  <a:gd name="T19" fmla="*/ 41 h 58"/>
                  <a:gd name="T20" fmla="*/ 27 w 28"/>
                  <a:gd name="T21" fmla="*/ 38 h 58"/>
                  <a:gd name="T22" fmla="*/ 27 w 28"/>
                  <a:gd name="T23" fmla="*/ 35 h 58"/>
                  <a:gd name="T24" fmla="*/ 22 w 28"/>
                  <a:gd name="T25" fmla="*/ 30 h 58"/>
                  <a:gd name="T26" fmla="*/ 21 w 28"/>
                  <a:gd name="T27" fmla="*/ 13 h 58"/>
                  <a:gd name="T28" fmla="*/ 18 w 28"/>
                  <a:gd name="T29" fmla="*/ 6 h 58"/>
                  <a:gd name="T30" fmla="*/ 15 w 28"/>
                  <a:gd name="T31" fmla="*/ 4 h 58"/>
                  <a:gd name="T32" fmla="*/ 14 w 28"/>
                  <a:gd name="T33" fmla="*/ 3 h 58"/>
                  <a:gd name="T34" fmla="*/ 12 w 28"/>
                  <a:gd name="T35" fmla="*/ 2 h 58"/>
                  <a:gd name="T36" fmla="*/ 9 w 28"/>
                  <a:gd name="T37" fmla="*/ 1 h 58"/>
                  <a:gd name="T38" fmla="*/ 6 w 28"/>
                  <a:gd name="T39" fmla="*/ 1 h 58"/>
                  <a:gd name="T40" fmla="*/ 2 w 28"/>
                  <a:gd name="T41" fmla="*/ 7 h 58"/>
                  <a:gd name="T42" fmla="*/ 2 w 28"/>
                  <a:gd name="T43" fmla="*/ 10 h 58"/>
                  <a:gd name="T44" fmla="*/ 1 w 28"/>
                  <a:gd name="T45" fmla="*/ 12 h 58"/>
                  <a:gd name="T46" fmla="*/ 3 w 28"/>
                  <a:gd name="T47" fmla="*/ 15 h 58"/>
                  <a:gd name="T48" fmla="*/ 3 w 28"/>
                  <a:gd name="T49" fmla="*/ 19 h 58"/>
                  <a:gd name="T50" fmla="*/ 1 w 28"/>
                  <a:gd name="T51" fmla="*/ 22 h 58"/>
                  <a:gd name="T52" fmla="*/ 3 w 28"/>
                  <a:gd name="T53" fmla="*/ 26 h 58"/>
                  <a:gd name="T54" fmla="*/ 3 w 28"/>
                  <a:gd name="T55" fmla="*/ 29 h 58"/>
                  <a:gd name="T56" fmla="*/ 2 w 28"/>
                  <a:gd name="T57" fmla="*/ 33 h 58"/>
                  <a:gd name="T58" fmla="*/ 0 w 28"/>
                  <a:gd name="T59" fmla="*/ 36 h 58"/>
                  <a:gd name="T60" fmla="*/ 1 w 28"/>
                  <a:gd name="T61" fmla="*/ 41 h 58"/>
                  <a:gd name="T62" fmla="*/ 2 w 28"/>
                  <a:gd name="T63" fmla="*/ 46 h 58"/>
                  <a:gd name="T64" fmla="*/ 2 w 28"/>
                  <a:gd name="T65" fmla="*/ 45 h 58"/>
                  <a:gd name="T66" fmla="*/ 2 w 28"/>
                  <a:gd name="T67" fmla="*/ 4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57">
                    <a:moveTo>
                      <a:pt x="2" y="45"/>
                    </a:moveTo>
                    <a:cubicBezTo>
                      <a:pt x="4" y="47"/>
                      <a:pt x="6" y="47"/>
                      <a:pt x="8" y="49"/>
                    </a:cubicBezTo>
                    <a:cubicBezTo>
                      <a:pt x="10" y="51"/>
                      <a:pt x="10" y="54"/>
                      <a:pt x="11" y="56"/>
                    </a:cubicBezTo>
                    <a:cubicBezTo>
                      <a:pt x="11" y="57"/>
                      <a:pt x="11" y="57"/>
                      <a:pt x="12" y="58"/>
                    </a:cubicBezTo>
                    <a:cubicBezTo>
                      <a:pt x="12" y="57"/>
                      <a:pt x="13" y="57"/>
                      <a:pt x="13" y="57"/>
                    </a:cubicBezTo>
                    <a:cubicBezTo>
                      <a:pt x="14" y="56"/>
                      <a:pt x="15" y="56"/>
                      <a:pt x="16" y="55"/>
                    </a:cubicBezTo>
                    <a:cubicBezTo>
                      <a:pt x="16" y="53"/>
                      <a:pt x="15" y="50"/>
                      <a:pt x="18" y="49"/>
                    </a:cubicBezTo>
                    <a:cubicBezTo>
                      <a:pt x="18" y="49"/>
                      <a:pt x="19" y="49"/>
                      <a:pt x="20" y="49"/>
                    </a:cubicBezTo>
                    <a:cubicBezTo>
                      <a:pt x="21" y="49"/>
                      <a:pt x="21" y="48"/>
                      <a:pt x="21" y="47"/>
                    </a:cubicBezTo>
                    <a:cubicBezTo>
                      <a:pt x="22" y="44"/>
                      <a:pt x="24" y="43"/>
                      <a:pt x="26" y="41"/>
                    </a:cubicBezTo>
                    <a:cubicBezTo>
                      <a:pt x="27" y="40"/>
                      <a:pt x="27" y="40"/>
                      <a:pt x="27" y="38"/>
                    </a:cubicBezTo>
                    <a:cubicBezTo>
                      <a:pt x="27" y="38"/>
                      <a:pt x="28" y="35"/>
                      <a:pt x="27" y="35"/>
                    </a:cubicBezTo>
                    <a:cubicBezTo>
                      <a:pt x="25" y="34"/>
                      <a:pt x="23" y="32"/>
                      <a:pt x="22" y="30"/>
                    </a:cubicBezTo>
                    <a:cubicBezTo>
                      <a:pt x="20" y="24"/>
                      <a:pt x="21" y="18"/>
                      <a:pt x="21" y="13"/>
                    </a:cubicBezTo>
                    <a:cubicBezTo>
                      <a:pt x="20" y="10"/>
                      <a:pt x="20" y="8"/>
                      <a:pt x="18" y="6"/>
                    </a:cubicBezTo>
                    <a:cubicBezTo>
                      <a:pt x="17" y="5"/>
                      <a:pt x="16" y="4"/>
                      <a:pt x="15" y="4"/>
                    </a:cubicBezTo>
                    <a:cubicBezTo>
                      <a:pt x="14" y="3"/>
                      <a:pt x="14" y="3"/>
                      <a:pt x="14" y="3"/>
                    </a:cubicBezTo>
                    <a:cubicBezTo>
                      <a:pt x="13" y="2"/>
                      <a:pt x="13" y="2"/>
                      <a:pt x="12" y="2"/>
                    </a:cubicBezTo>
                    <a:cubicBezTo>
                      <a:pt x="11" y="2"/>
                      <a:pt x="10" y="2"/>
                      <a:pt x="9" y="1"/>
                    </a:cubicBezTo>
                    <a:cubicBezTo>
                      <a:pt x="8" y="1"/>
                      <a:pt x="7" y="0"/>
                      <a:pt x="6" y="1"/>
                    </a:cubicBezTo>
                    <a:cubicBezTo>
                      <a:pt x="4" y="2"/>
                      <a:pt x="2" y="4"/>
                      <a:pt x="2" y="7"/>
                    </a:cubicBezTo>
                    <a:cubicBezTo>
                      <a:pt x="2" y="8"/>
                      <a:pt x="2" y="9"/>
                      <a:pt x="2" y="10"/>
                    </a:cubicBezTo>
                    <a:cubicBezTo>
                      <a:pt x="1" y="11"/>
                      <a:pt x="1" y="12"/>
                      <a:pt x="1" y="12"/>
                    </a:cubicBezTo>
                    <a:cubicBezTo>
                      <a:pt x="1" y="13"/>
                      <a:pt x="3" y="14"/>
                      <a:pt x="3" y="15"/>
                    </a:cubicBezTo>
                    <a:cubicBezTo>
                      <a:pt x="4" y="16"/>
                      <a:pt x="4" y="18"/>
                      <a:pt x="3" y="19"/>
                    </a:cubicBezTo>
                    <a:cubicBezTo>
                      <a:pt x="2" y="20"/>
                      <a:pt x="1" y="21"/>
                      <a:pt x="1" y="22"/>
                    </a:cubicBezTo>
                    <a:cubicBezTo>
                      <a:pt x="1" y="24"/>
                      <a:pt x="2" y="24"/>
                      <a:pt x="3" y="26"/>
                    </a:cubicBezTo>
                    <a:cubicBezTo>
                      <a:pt x="3" y="27"/>
                      <a:pt x="3" y="28"/>
                      <a:pt x="3" y="29"/>
                    </a:cubicBezTo>
                    <a:cubicBezTo>
                      <a:pt x="2" y="30"/>
                      <a:pt x="2" y="32"/>
                      <a:pt x="2" y="33"/>
                    </a:cubicBezTo>
                    <a:cubicBezTo>
                      <a:pt x="2" y="34"/>
                      <a:pt x="1" y="35"/>
                      <a:pt x="0" y="36"/>
                    </a:cubicBezTo>
                    <a:cubicBezTo>
                      <a:pt x="0" y="38"/>
                      <a:pt x="1" y="39"/>
                      <a:pt x="1" y="41"/>
                    </a:cubicBezTo>
                    <a:cubicBezTo>
                      <a:pt x="1" y="43"/>
                      <a:pt x="0" y="45"/>
                      <a:pt x="2" y="46"/>
                    </a:cubicBezTo>
                    <a:cubicBezTo>
                      <a:pt x="2" y="46"/>
                      <a:pt x="2" y="46"/>
                      <a:pt x="2" y="45"/>
                    </a:cubicBezTo>
                    <a:cubicBezTo>
                      <a:pt x="3" y="46"/>
                      <a:pt x="2" y="45"/>
                      <a:pt x="2" y="45"/>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79" name="Freeform 455">
                <a:extLst>
                  <a:ext uri="{FF2B5EF4-FFF2-40B4-BE49-F238E27FC236}">
                    <a16:creationId xmlns:a16="http://schemas.microsoft.com/office/drawing/2014/main" id="{DA9B291F-7054-15EA-704C-4C3025BDE2D2}"/>
                  </a:ext>
                </a:extLst>
              </p:cNvPr>
              <p:cNvSpPr/>
              <p:nvPr>
                <p:custDataLst>
                  <p:tags r:id="rId217"/>
                </p:custDataLst>
              </p:nvPr>
            </p:nvSpPr>
            <p:spPr bwMode="auto">
              <a:xfrm>
                <a:off x="5990943" y="3269013"/>
                <a:ext cx="58675" cy="42094"/>
              </a:xfrm>
              <a:custGeom>
                <a:avLst/>
                <a:gdLst>
                  <a:gd name="T0" fmla="*/ 0 w 39"/>
                  <a:gd name="T1" fmla="*/ 15 h 28"/>
                  <a:gd name="T2" fmla="*/ 4 w 39"/>
                  <a:gd name="T3" fmla="*/ 26 h 28"/>
                  <a:gd name="T4" fmla="*/ 6 w 39"/>
                  <a:gd name="T5" fmla="*/ 27 h 28"/>
                  <a:gd name="T6" fmla="*/ 9 w 39"/>
                  <a:gd name="T7" fmla="*/ 26 h 28"/>
                  <a:gd name="T8" fmla="*/ 18 w 39"/>
                  <a:gd name="T9" fmla="*/ 25 h 28"/>
                  <a:gd name="T10" fmla="*/ 24 w 39"/>
                  <a:gd name="T11" fmla="*/ 22 h 28"/>
                  <a:gd name="T12" fmla="*/ 28 w 39"/>
                  <a:gd name="T13" fmla="*/ 21 h 28"/>
                  <a:gd name="T14" fmla="*/ 31 w 39"/>
                  <a:gd name="T15" fmla="*/ 22 h 28"/>
                  <a:gd name="T16" fmla="*/ 34 w 39"/>
                  <a:gd name="T17" fmla="*/ 19 h 28"/>
                  <a:gd name="T18" fmla="*/ 36 w 39"/>
                  <a:gd name="T19" fmla="*/ 17 h 28"/>
                  <a:gd name="T20" fmla="*/ 38 w 39"/>
                  <a:gd name="T21" fmla="*/ 10 h 28"/>
                  <a:gd name="T22" fmla="*/ 30 w 39"/>
                  <a:gd name="T23" fmla="*/ 2 h 28"/>
                  <a:gd name="T24" fmla="*/ 29 w 39"/>
                  <a:gd name="T25" fmla="*/ 0 h 28"/>
                  <a:gd name="T26" fmla="*/ 25 w 39"/>
                  <a:gd name="T27" fmla="*/ 0 h 28"/>
                  <a:gd name="T28" fmla="*/ 17 w 39"/>
                  <a:gd name="T29" fmla="*/ 1 h 28"/>
                  <a:gd name="T30" fmla="*/ 14 w 39"/>
                  <a:gd name="T31" fmla="*/ 3 h 28"/>
                  <a:gd name="T32" fmla="*/ 10 w 39"/>
                  <a:gd name="T33" fmla="*/ 3 h 28"/>
                  <a:gd name="T34" fmla="*/ 8 w 39"/>
                  <a:gd name="T35" fmla="*/ 4 h 28"/>
                  <a:gd name="T36" fmla="*/ 4 w 39"/>
                  <a:gd name="T37" fmla="*/ 4 h 28"/>
                  <a:gd name="T38" fmla="*/ 1 w 39"/>
                  <a:gd name="T39" fmla="*/ 6 h 28"/>
                  <a:gd name="T40" fmla="*/ 0 w 39"/>
                  <a:gd name="T41" fmla="*/ 8 h 28"/>
                  <a:gd name="T42" fmla="*/ 0 w 39"/>
                  <a:gd name="T43" fmla="*/ 16 h 28"/>
                  <a:gd name="T44" fmla="*/ 0 w 39"/>
                  <a:gd name="T45" fmla="*/ 15 h 28"/>
                  <a:gd name="T46" fmla="*/ 0 w 39"/>
                  <a:gd name="T47"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28">
                    <a:moveTo>
                      <a:pt x="0" y="15"/>
                    </a:moveTo>
                    <a:cubicBezTo>
                      <a:pt x="0" y="19"/>
                      <a:pt x="0" y="24"/>
                      <a:pt x="4" y="26"/>
                    </a:cubicBezTo>
                    <a:cubicBezTo>
                      <a:pt x="4" y="27"/>
                      <a:pt x="5" y="28"/>
                      <a:pt x="6" y="27"/>
                    </a:cubicBezTo>
                    <a:cubicBezTo>
                      <a:pt x="7" y="27"/>
                      <a:pt x="8" y="26"/>
                      <a:pt x="9" y="26"/>
                    </a:cubicBezTo>
                    <a:cubicBezTo>
                      <a:pt x="12" y="25"/>
                      <a:pt x="15" y="25"/>
                      <a:pt x="18" y="25"/>
                    </a:cubicBezTo>
                    <a:cubicBezTo>
                      <a:pt x="20" y="25"/>
                      <a:pt x="22" y="23"/>
                      <a:pt x="24" y="22"/>
                    </a:cubicBezTo>
                    <a:cubicBezTo>
                      <a:pt x="25" y="21"/>
                      <a:pt x="26" y="21"/>
                      <a:pt x="28" y="21"/>
                    </a:cubicBezTo>
                    <a:cubicBezTo>
                      <a:pt x="29" y="21"/>
                      <a:pt x="30" y="22"/>
                      <a:pt x="31" y="22"/>
                    </a:cubicBezTo>
                    <a:cubicBezTo>
                      <a:pt x="32" y="21"/>
                      <a:pt x="33" y="20"/>
                      <a:pt x="34" y="19"/>
                    </a:cubicBezTo>
                    <a:cubicBezTo>
                      <a:pt x="34" y="18"/>
                      <a:pt x="35" y="18"/>
                      <a:pt x="36" y="17"/>
                    </a:cubicBezTo>
                    <a:cubicBezTo>
                      <a:pt x="38" y="15"/>
                      <a:pt x="39" y="12"/>
                      <a:pt x="38" y="10"/>
                    </a:cubicBezTo>
                    <a:cubicBezTo>
                      <a:pt x="36" y="6"/>
                      <a:pt x="32" y="5"/>
                      <a:pt x="30" y="2"/>
                    </a:cubicBezTo>
                    <a:cubicBezTo>
                      <a:pt x="29" y="2"/>
                      <a:pt x="29" y="1"/>
                      <a:pt x="29" y="0"/>
                    </a:cubicBezTo>
                    <a:cubicBezTo>
                      <a:pt x="28" y="0"/>
                      <a:pt x="26" y="0"/>
                      <a:pt x="25" y="0"/>
                    </a:cubicBezTo>
                    <a:cubicBezTo>
                      <a:pt x="23" y="0"/>
                      <a:pt x="20" y="0"/>
                      <a:pt x="17" y="1"/>
                    </a:cubicBezTo>
                    <a:cubicBezTo>
                      <a:pt x="16" y="2"/>
                      <a:pt x="15" y="2"/>
                      <a:pt x="14" y="3"/>
                    </a:cubicBezTo>
                    <a:cubicBezTo>
                      <a:pt x="13" y="3"/>
                      <a:pt x="12" y="2"/>
                      <a:pt x="10" y="3"/>
                    </a:cubicBezTo>
                    <a:cubicBezTo>
                      <a:pt x="9" y="3"/>
                      <a:pt x="9" y="4"/>
                      <a:pt x="8" y="4"/>
                    </a:cubicBezTo>
                    <a:cubicBezTo>
                      <a:pt x="6" y="4"/>
                      <a:pt x="5" y="4"/>
                      <a:pt x="4" y="4"/>
                    </a:cubicBezTo>
                    <a:cubicBezTo>
                      <a:pt x="3" y="5"/>
                      <a:pt x="2" y="5"/>
                      <a:pt x="1" y="6"/>
                    </a:cubicBezTo>
                    <a:cubicBezTo>
                      <a:pt x="0" y="6"/>
                      <a:pt x="0" y="6"/>
                      <a:pt x="0" y="8"/>
                    </a:cubicBezTo>
                    <a:cubicBezTo>
                      <a:pt x="0" y="11"/>
                      <a:pt x="0" y="13"/>
                      <a:pt x="0" y="16"/>
                    </a:cubicBezTo>
                    <a:cubicBezTo>
                      <a:pt x="0" y="16"/>
                      <a:pt x="0" y="15"/>
                      <a:pt x="0" y="15"/>
                    </a:cubicBezTo>
                    <a:cubicBezTo>
                      <a:pt x="0" y="19"/>
                      <a:pt x="0" y="15"/>
                      <a:pt x="0" y="15"/>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80" name="Freeform 471">
                <a:extLst>
                  <a:ext uri="{FF2B5EF4-FFF2-40B4-BE49-F238E27FC236}">
                    <a16:creationId xmlns:a16="http://schemas.microsoft.com/office/drawing/2014/main" id="{F78B7210-F231-D00D-DFBD-5CBCAF2CA344}"/>
                  </a:ext>
                </a:extLst>
              </p:cNvPr>
              <p:cNvSpPr/>
              <p:nvPr>
                <p:custDataLst>
                  <p:tags r:id="rId218"/>
                </p:custDataLst>
              </p:nvPr>
            </p:nvSpPr>
            <p:spPr bwMode="auto">
              <a:xfrm>
                <a:off x="6202683" y="4468028"/>
                <a:ext cx="45920" cy="49747"/>
              </a:xfrm>
              <a:custGeom>
                <a:avLst/>
                <a:gdLst>
                  <a:gd name="T0" fmla="*/ 26 w 31"/>
                  <a:gd name="T1" fmla="*/ 1 h 33"/>
                  <a:gd name="T2" fmla="*/ 18 w 31"/>
                  <a:gd name="T3" fmla="*/ 1 h 33"/>
                  <a:gd name="T4" fmla="*/ 13 w 31"/>
                  <a:gd name="T5" fmla="*/ 6 h 33"/>
                  <a:gd name="T6" fmla="*/ 7 w 31"/>
                  <a:gd name="T7" fmla="*/ 8 h 33"/>
                  <a:gd name="T8" fmla="*/ 0 w 31"/>
                  <a:gd name="T9" fmla="*/ 3 h 33"/>
                  <a:gd name="T10" fmla="*/ 2 w 31"/>
                  <a:gd name="T11" fmla="*/ 7 h 33"/>
                  <a:gd name="T12" fmla="*/ 4 w 31"/>
                  <a:gd name="T13" fmla="*/ 11 h 33"/>
                  <a:gd name="T14" fmla="*/ 5 w 31"/>
                  <a:gd name="T15" fmla="*/ 20 h 33"/>
                  <a:gd name="T16" fmla="*/ 5 w 31"/>
                  <a:gd name="T17" fmla="*/ 24 h 33"/>
                  <a:gd name="T18" fmla="*/ 8 w 31"/>
                  <a:gd name="T19" fmla="*/ 26 h 33"/>
                  <a:gd name="T20" fmla="*/ 11 w 31"/>
                  <a:gd name="T21" fmla="*/ 33 h 33"/>
                  <a:gd name="T22" fmla="*/ 20 w 31"/>
                  <a:gd name="T23" fmla="*/ 26 h 33"/>
                  <a:gd name="T24" fmla="*/ 23 w 31"/>
                  <a:gd name="T25" fmla="*/ 20 h 33"/>
                  <a:gd name="T26" fmla="*/ 28 w 31"/>
                  <a:gd name="T27" fmla="*/ 15 h 33"/>
                  <a:gd name="T28" fmla="*/ 29 w 31"/>
                  <a:gd name="T29" fmla="*/ 12 h 33"/>
                  <a:gd name="T30" fmla="*/ 25 w 31"/>
                  <a:gd name="T31" fmla="*/ 10 h 33"/>
                  <a:gd name="T32" fmla="*/ 24 w 31"/>
                  <a:gd name="T33" fmla="*/ 6 h 33"/>
                  <a:gd name="T34" fmla="*/ 25 w 31"/>
                  <a:gd name="T35" fmla="*/ 3 h 33"/>
                  <a:gd name="T36" fmla="*/ 25 w 31"/>
                  <a:gd name="T37" fmla="*/ 1 h 33"/>
                  <a:gd name="T38" fmla="*/ 26 w 31"/>
                  <a:gd name="T39" fmla="*/ 1 h 33"/>
                  <a:gd name="T40" fmla="*/ 26 w 31"/>
                  <a:gd name="T41"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33">
                    <a:moveTo>
                      <a:pt x="26" y="1"/>
                    </a:moveTo>
                    <a:cubicBezTo>
                      <a:pt x="23" y="0"/>
                      <a:pt x="20" y="0"/>
                      <a:pt x="18" y="1"/>
                    </a:cubicBezTo>
                    <a:cubicBezTo>
                      <a:pt x="16" y="2"/>
                      <a:pt x="15" y="3"/>
                      <a:pt x="13" y="6"/>
                    </a:cubicBezTo>
                    <a:cubicBezTo>
                      <a:pt x="12" y="8"/>
                      <a:pt x="10" y="9"/>
                      <a:pt x="7" y="8"/>
                    </a:cubicBezTo>
                    <a:cubicBezTo>
                      <a:pt x="5" y="7"/>
                      <a:pt x="3" y="4"/>
                      <a:pt x="0" y="3"/>
                    </a:cubicBezTo>
                    <a:cubicBezTo>
                      <a:pt x="1" y="5"/>
                      <a:pt x="1" y="6"/>
                      <a:pt x="2" y="7"/>
                    </a:cubicBezTo>
                    <a:cubicBezTo>
                      <a:pt x="2" y="9"/>
                      <a:pt x="4" y="10"/>
                      <a:pt x="4" y="11"/>
                    </a:cubicBezTo>
                    <a:cubicBezTo>
                      <a:pt x="4" y="14"/>
                      <a:pt x="4" y="17"/>
                      <a:pt x="5" y="20"/>
                    </a:cubicBezTo>
                    <a:cubicBezTo>
                      <a:pt x="5" y="21"/>
                      <a:pt x="5" y="23"/>
                      <a:pt x="5" y="24"/>
                    </a:cubicBezTo>
                    <a:cubicBezTo>
                      <a:pt x="6" y="25"/>
                      <a:pt x="7" y="26"/>
                      <a:pt x="8" y="26"/>
                    </a:cubicBezTo>
                    <a:cubicBezTo>
                      <a:pt x="10" y="28"/>
                      <a:pt x="10" y="31"/>
                      <a:pt x="11" y="33"/>
                    </a:cubicBezTo>
                    <a:cubicBezTo>
                      <a:pt x="14" y="32"/>
                      <a:pt x="19" y="29"/>
                      <a:pt x="20" y="26"/>
                    </a:cubicBezTo>
                    <a:cubicBezTo>
                      <a:pt x="21" y="24"/>
                      <a:pt x="22" y="22"/>
                      <a:pt x="23" y="20"/>
                    </a:cubicBezTo>
                    <a:cubicBezTo>
                      <a:pt x="25" y="18"/>
                      <a:pt x="26" y="17"/>
                      <a:pt x="28" y="15"/>
                    </a:cubicBezTo>
                    <a:cubicBezTo>
                      <a:pt x="29" y="15"/>
                      <a:pt x="31" y="13"/>
                      <a:pt x="29" y="12"/>
                    </a:cubicBezTo>
                    <a:cubicBezTo>
                      <a:pt x="28" y="11"/>
                      <a:pt x="26" y="11"/>
                      <a:pt x="25" y="10"/>
                    </a:cubicBezTo>
                    <a:cubicBezTo>
                      <a:pt x="24" y="9"/>
                      <a:pt x="24" y="7"/>
                      <a:pt x="24" y="6"/>
                    </a:cubicBezTo>
                    <a:cubicBezTo>
                      <a:pt x="24" y="5"/>
                      <a:pt x="24" y="4"/>
                      <a:pt x="25" y="3"/>
                    </a:cubicBezTo>
                    <a:cubicBezTo>
                      <a:pt x="25" y="3"/>
                      <a:pt x="26" y="2"/>
                      <a:pt x="25" y="1"/>
                    </a:cubicBezTo>
                    <a:cubicBezTo>
                      <a:pt x="25" y="1"/>
                      <a:pt x="26" y="1"/>
                      <a:pt x="26" y="1"/>
                    </a:cubicBezTo>
                    <a:cubicBezTo>
                      <a:pt x="23" y="0"/>
                      <a:pt x="26" y="1"/>
                      <a:pt x="26" y="1"/>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81" name="Freeform 472">
                <a:extLst>
                  <a:ext uri="{FF2B5EF4-FFF2-40B4-BE49-F238E27FC236}">
                    <a16:creationId xmlns:a16="http://schemas.microsoft.com/office/drawing/2014/main" id="{AF59C9B9-9532-04C8-3BE1-C3353FBBC14C}"/>
                  </a:ext>
                </a:extLst>
              </p:cNvPr>
              <p:cNvSpPr>
                <a:spLocks noEditPoints="1"/>
              </p:cNvSpPr>
              <p:nvPr>
                <p:custDataLst>
                  <p:tags r:id="rId219"/>
                </p:custDataLst>
              </p:nvPr>
            </p:nvSpPr>
            <p:spPr bwMode="auto">
              <a:xfrm>
                <a:off x="5883797" y="4979522"/>
                <a:ext cx="414552" cy="348225"/>
              </a:xfrm>
              <a:custGeom>
                <a:avLst/>
                <a:gdLst>
                  <a:gd name="T0" fmla="*/ 267 w 278"/>
                  <a:gd name="T1" fmla="*/ 86 h 234"/>
                  <a:gd name="T2" fmla="*/ 251 w 278"/>
                  <a:gd name="T3" fmla="*/ 92 h 234"/>
                  <a:gd name="T4" fmla="*/ 256 w 278"/>
                  <a:gd name="T5" fmla="*/ 64 h 234"/>
                  <a:gd name="T6" fmla="*/ 263 w 278"/>
                  <a:gd name="T7" fmla="*/ 58 h 234"/>
                  <a:gd name="T8" fmla="*/ 256 w 278"/>
                  <a:gd name="T9" fmla="*/ 23 h 234"/>
                  <a:gd name="T10" fmla="*/ 229 w 278"/>
                  <a:gd name="T11" fmla="*/ 2 h 234"/>
                  <a:gd name="T12" fmla="*/ 215 w 278"/>
                  <a:gd name="T13" fmla="*/ 3 h 234"/>
                  <a:gd name="T14" fmla="*/ 197 w 278"/>
                  <a:gd name="T15" fmla="*/ 14 h 234"/>
                  <a:gd name="T16" fmla="*/ 176 w 278"/>
                  <a:gd name="T17" fmla="*/ 39 h 234"/>
                  <a:gd name="T18" fmla="*/ 159 w 278"/>
                  <a:gd name="T19" fmla="*/ 52 h 234"/>
                  <a:gd name="T20" fmla="*/ 135 w 278"/>
                  <a:gd name="T21" fmla="*/ 66 h 234"/>
                  <a:gd name="T22" fmla="*/ 108 w 278"/>
                  <a:gd name="T23" fmla="*/ 65 h 234"/>
                  <a:gd name="T24" fmla="*/ 92 w 278"/>
                  <a:gd name="T25" fmla="*/ 83 h 234"/>
                  <a:gd name="T26" fmla="*/ 70 w 278"/>
                  <a:gd name="T27" fmla="*/ 80 h 234"/>
                  <a:gd name="T28" fmla="*/ 66 w 278"/>
                  <a:gd name="T29" fmla="*/ 54 h 234"/>
                  <a:gd name="T30" fmla="*/ 61 w 278"/>
                  <a:gd name="T31" fmla="*/ 109 h 234"/>
                  <a:gd name="T32" fmla="*/ 47 w 278"/>
                  <a:gd name="T33" fmla="*/ 122 h 234"/>
                  <a:gd name="T34" fmla="*/ 16 w 278"/>
                  <a:gd name="T35" fmla="*/ 118 h 234"/>
                  <a:gd name="T36" fmla="*/ 5 w 278"/>
                  <a:gd name="T37" fmla="*/ 112 h 234"/>
                  <a:gd name="T38" fmla="*/ 1 w 278"/>
                  <a:gd name="T39" fmla="*/ 119 h 234"/>
                  <a:gd name="T40" fmla="*/ 16 w 278"/>
                  <a:gd name="T41" fmla="*/ 152 h 234"/>
                  <a:gd name="T42" fmla="*/ 32 w 278"/>
                  <a:gd name="T43" fmla="*/ 185 h 234"/>
                  <a:gd name="T44" fmla="*/ 27 w 278"/>
                  <a:gd name="T45" fmla="*/ 194 h 234"/>
                  <a:gd name="T46" fmla="*/ 26 w 278"/>
                  <a:gd name="T47" fmla="*/ 199 h 234"/>
                  <a:gd name="T48" fmla="*/ 33 w 278"/>
                  <a:gd name="T49" fmla="*/ 212 h 234"/>
                  <a:gd name="T50" fmla="*/ 33 w 278"/>
                  <a:gd name="T51" fmla="*/ 224 h 234"/>
                  <a:gd name="T52" fmla="*/ 42 w 278"/>
                  <a:gd name="T53" fmla="*/ 225 h 234"/>
                  <a:gd name="T54" fmla="*/ 61 w 278"/>
                  <a:gd name="T55" fmla="*/ 233 h 234"/>
                  <a:gd name="T56" fmla="*/ 84 w 278"/>
                  <a:gd name="T57" fmla="*/ 225 h 234"/>
                  <a:gd name="T58" fmla="*/ 103 w 278"/>
                  <a:gd name="T59" fmla="*/ 218 h 234"/>
                  <a:gd name="T60" fmla="*/ 122 w 278"/>
                  <a:gd name="T61" fmla="*/ 218 h 234"/>
                  <a:gd name="T62" fmla="*/ 145 w 278"/>
                  <a:gd name="T63" fmla="*/ 218 h 234"/>
                  <a:gd name="T64" fmla="*/ 158 w 278"/>
                  <a:gd name="T65" fmla="*/ 215 h 234"/>
                  <a:gd name="T66" fmla="*/ 178 w 278"/>
                  <a:gd name="T67" fmla="*/ 210 h 234"/>
                  <a:gd name="T68" fmla="*/ 205 w 278"/>
                  <a:gd name="T69" fmla="*/ 190 h 234"/>
                  <a:gd name="T70" fmla="*/ 236 w 278"/>
                  <a:gd name="T71" fmla="*/ 158 h 234"/>
                  <a:gd name="T72" fmla="*/ 250 w 278"/>
                  <a:gd name="T73" fmla="*/ 135 h 234"/>
                  <a:gd name="T74" fmla="*/ 273 w 278"/>
                  <a:gd name="T75" fmla="*/ 107 h 234"/>
                  <a:gd name="T76" fmla="*/ 270 w 278"/>
                  <a:gd name="T77" fmla="*/ 87 h 234"/>
                  <a:gd name="T78" fmla="*/ 217 w 278"/>
                  <a:gd name="T79" fmla="*/ 141 h 234"/>
                  <a:gd name="T80" fmla="*/ 202 w 278"/>
                  <a:gd name="T81" fmla="*/ 150 h 234"/>
                  <a:gd name="T82" fmla="*/ 181 w 278"/>
                  <a:gd name="T83" fmla="*/ 143 h 234"/>
                  <a:gd name="T84" fmla="*/ 186 w 278"/>
                  <a:gd name="T85" fmla="*/ 130 h 234"/>
                  <a:gd name="T86" fmla="*/ 205 w 278"/>
                  <a:gd name="T87" fmla="*/ 115 h 234"/>
                  <a:gd name="T88" fmla="*/ 220 w 278"/>
                  <a:gd name="T89" fmla="*/ 13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8" h="234">
                    <a:moveTo>
                      <a:pt x="270" y="87"/>
                    </a:moveTo>
                    <a:cubicBezTo>
                      <a:pt x="269" y="87"/>
                      <a:pt x="269" y="87"/>
                      <a:pt x="268" y="87"/>
                    </a:cubicBezTo>
                    <a:cubicBezTo>
                      <a:pt x="268" y="86"/>
                      <a:pt x="267" y="86"/>
                      <a:pt x="267" y="86"/>
                    </a:cubicBezTo>
                    <a:cubicBezTo>
                      <a:pt x="266" y="86"/>
                      <a:pt x="265" y="87"/>
                      <a:pt x="265" y="88"/>
                    </a:cubicBezTo>
                    <a:cubicBezTo>
                      <a:pt x="264" y="91"/>
                      <a:pt x="263" y="93"/>
                      <a:pt x="260" y="93"/>
                    </a:cubicBezTo>
                    <a:cubicBezTo>
                      <a:pt x="257" y="93"/>
                      <a:pt x="254" y="93"/>
                      <a:pt x="251" y="92"/>
                    </a:cubicBezTo>
                    <a:cubicBezTo>
                      <a:pt x="248" y="91"/>
                      <a:pt x="247" y="87"/>
                      <a:pt x="245" y="85"/>
                    </a:cubicBezTo>
                    <a:cubicBezTo>
                      <a:pt x="241" y="79"/>
                      <a:pt x="244" y="73"/>
                      <a:pt x="249" y="69"/>
                    </a:cubicBezTo>
                    <a:cubicBezTo>
                      <a:pt x="251" y="67"/>
                      <a:pt x="253" y="64"/>
                      <a:pt x="256" y="64"/>
                    </a:cubicBezTo>
                    <a:cubicBezTo>
                      <a:pt x="258" y="64"/>
                      <a:pt x="259" y="65"/>
                      <a:pt x="260" y="66"/>
                    </a:cubicBezTo>
                    <a:cubicBezTo>
                      <a:pt x="261" y="67"/>
                      <a:pt x="263" y="67"/>
                      <a:pt x="264" y="67"/>
                    </a:cubicBezTo>
                    <a:cubicBezTo>
                      <a:pt x="263" y="64"/>
                      <a:pt x="263" y="61"/>
                      <a:pt x="263" y="58"/>
                    </a:cubicBezTo>
                    <a:cubicBezTo>
                      <a:pt x="263" y="55"/>
                      <a:pt x="263" y="51"/>
                      <a:pt x="263" y="48"/>
                    </a:cubicBezTo>
                    <a:cubicBezTo>
                      <a:pt x="263" y="42"/>
                      <a:pt x="263" y="35"/>
                      <a:pt x="260" y="29"/>
                    </a:cubicBezTo>
                    <a:cubicBezTo>
                      <a:pt x="259" y="27"/>
                      <a:pt x="257" y="25"/>
                      <a:pt x="256" y="23"/>
                    </a:cubicBezTo>
                    <a:cubicBezTo>
                      <a:pt x="255" y="20"/>
                      <a:pt x="255" y="17"/>
                      <a:pt x="254" y="15"/>
                    </a:cubicBezTo>
                    <a:cubicBezTo>
                      <a:pt x="253" y="10"/>
                      <a:pt x="252" y="5"/>
                      <a:pt x="247" y="4"/>
                    </a:cubicBezTo>
                    <a:cubicBezTo>
                      <a:pt x="241" y="2"/>
                      <a:pt x="235" y="2"/>
                      <a:pt x="229" y="2"/>
                    </a:cubicBezTo>
                    <a:cubicBezTo>
                      <a:pt x="226" y="2"/>
                      <a:pt x="223" y="2"/>
                      <a:pt x="220" y="1"/>
                    </a:cubicBezTo>
                    <a:cubicBezTo>
                      <a:pt x="219" y="1"/>
                      <a:pt x="218" y="0"/>
                      <a:pt x="218" y="0"/>
                    </a:cubicBezTo>
                    <a:cubicBezTo>
                      <a:pt x="217" y="0"/>
                      <a:pt x="216" y="2"/>
                      <a:pt x="215" y="3"/>
                    </a:cubicBezTo>
                    <a:cubicBezTo>
                      <a:pt x="214" y="5"/>
                      <a:pt x="212" y="6"/>
                      <a:pt x="210" y="7"/>
                    </a:cubicBezTo>
                    <a:cubicBezTo>
                      <a:pt x="208" y="8"/>
                      <a:pt x="205" y="8"/>
                      <a:pt x="202" y="9"/>
                    </a:cubicBezTo>
                    <a:cubicBezTo>
                      <a:pt x="200" y="10"/>
                      <a:pt x="199" y="12"/>
                      <a:pt x="197" y="14"/>
                    </a:cubicBezTo>
                    <a:cubicBezTo>
                      <a:pt x="195" y="16"/>
                      <a:pt x="193" y="18"/>
                      <a:pt x="190" y="20"/>
                    </a:cubicBezTo>
                    <a:cubicBezTo>
                      <a:pt x="186" y="24"/>
                      <a:pt x="181" y="27"/>
                      <a:pt x="179" y="32"/>
                    </a:cubicBezTo>
                    <a:cubicBezTo>
                      <a:pt x="178" y="35"/>
                      <a:pt x="178" y="37"/>
                      <a:pt x="176" y="39"/>
                    </a:cubicBezTo>
                    <a:cubicBezTo>
                      <a:pt x="174" y="41"/>
                      <a:pt x="172" y="43"/>
                      <a:pt x="169" y="44"/>
                    </a:cubicBezTo>
                    <a:cubicBezTo>
                      <a:pt x="167" y="46"/>
                      <a:pt x="165" y="46"/>
                      <a:pt x="162" y="47"/>
                    </a:cubicBezTo>
                    <a:cubicBezTo>
                      <a:pt x="160" y="48"/>
                      <a:pt x="159" y="50"/>
                      <a:pt x="159" y="52"/>
                    </a:cubicBezTo>
                    <a:cubicBezTo>
                      <a:pt x="159" y="55"/>
                      <a:pt x="158" y="57"/>
                      <a:pt x="158" y="59"/>
                    </a:cubicBezTo>
                    <a:cubicBezTo>
                      <a:pt x="156" y="62"/>
                      <a:pt x="154" y="63"/>
                      <a:pt x="152" y="64"/>
                    </a:cubicBezTo>
                    <a:cubicBezTo>
                      <a:pt x="147" y="67"/>
                      <a:pt x="140" y="67"/>
                      <a:pt x="135" y="66"/>
                    </a:cubicBezTo>
                    <a:cubicBezTo>
                      <a:pt x="129" y="64"/>
                      <a:pt x="124" y="61"/>
                      <a:pt x="118" y="58"/>
                    </a:cubicBezTo>
                    <a:cubicBezTo>
                      <a:pt x="116" y="57"/>
                      <a:pt x="113" y="57"/>
                      <a:pt x="111" y="58"/>
                    </a:cubicBezTo>
                    <a:cubicBezTo>
                      <a:pt x="109" y="60"/>
                      <a:pt x="108" y="62"/>
                      <a:pt x="108" y="65"/>
                    </a:cubicBezTo>
                    <a:cubicBezTo>
                      <a:pt x="107" y="67"/>
                      <a:pt x="107" y="70"/>
                      <a:pt x="105" y="71"/>
                    </a:cubicBezTo>
                    <a:cubicBezTo>
                      <a:pt x="104" y="74"/>
                      <a:pt x="101" y="75"/>
                      <a:pt x="99" y="77"/>
                    </a:cubicBezTo>
                    <a:cubicBezTo>
                      <a:pt x="96" y="79"/>
                      <a:pt x="95" y="81"/>
                      <a:pt x="92" y="83"/>
                    </a:cubicBezTo>
                    <a:cubicBezTo>
                      <a:pt x="90" y="85"/>
                      <a:pt x="87" y="86"/>
                      <a:pt x="84" y="86"/>
                    </a:cubicBezTo>
                    <a:cubicBezTo>
                      <a:pt x="81" y="86"/>
                      <a:pt x="78" y="86"/>
                      <a:pt x="75" y="85"/>
                    </a:cubicBezTo>
                    <a:cubicBezTo>
                      <a:pt x="73" y="85"/>
                      <a:pt x="71" y="82"/>
                      <a:pt x="70" y="80"/>
                    </a:cubicBezTo>
                    <a:cubicBezTo>
                      <a:pt x="70" y="77"/>
                      <a:pt x="72" y="74"/>
                      <a:pt x="73" y="72"/>
                    </a:cubicBezTo>
                    <a:cubicBezTo>
                      <a:pt x="74" y="69"/>
                      <a:pt x="72" y="66"/>
                      <a:pt x="71" y="63"/>
                    </a:cubicBezTo>
                    <a:cubicBezTo>
                      <a:pt x="69" y="60"/>
                      <a:pt x="68" y="57"/>
                      <a:pt x="66" y="54"/>
                    </a:cubicBezTo>
                    <a:cubicBezTo>
                      <a:pt x="65" y="53"/>
                      <a:pt x="64" y="49"/>
                      <a:pt x="61" y="49"/>
                    </a:cubicBezTo>
                    <a:cubicBezTo>
                      <a:pt x="61" y="62"/>
                      <a:pt x="61" y="76"/>
                      <a:pt x="61" y="89"/>
                    </a:cubicBezTo>
                    <a:cubicBezTo>
                      <a:pt x="61" y="96"/>
                      <a:pt x="61" y="102"/>
                      <a:pt x="61" y="109"/>
                    </a:cubicBezTo>
                    <a:cubicBezTo>
                      <a:pt x="61" y="111"/>
                      <a:pt x="61" y="113"/>
                      <a:pt x="59" y="115"/>
                    </a:cubicBezTo>
                    <a:cubicBezTo>
                      <a:pt x="57" y="116"/>
                      <a:pt x="54" y="116"/>
                      <a:pt x="52" y="117"/>
                    </a:cubicBezTo>
                    <a:cubicBezTo>
                      <a:pt x="50" y="118"/>
                      <a:pt x="49" y="121"/>
                      <a:pt x="47" y="122"/>
                    </a:cubicBezTo>
                    <a:cubicBezTo>
                      <a:pt x="46" y="123"/>
                      <a:pt x="43" y="123"/>
                      <a:pt x="41" y="123"/>
                    </a:cubicBezTo>
                    <a:cubicBezTo>
                      <a:pt x="35" y="123"/>
                      <a:pt x="28" y="124"/>
                      <a:pt x="23" y="121"/>
                    </a:cubicBezTo>
                    <a:cubicBezTo>
                      <a:pt x="20" y="121"/>
                      <a:pt x="18" y="120"/>
                      <a:pt x="16" y="118"/>
                    </a:cubicBezTo>
                    <a:cubicBezTo>
                      <a:pt x="14" y="116"/>
                      <a:pt x="15" y="114"/>
                      <a:pt x="15" y="112"/>
                    </a:cubicBezTo>
                    <a:cubicBezTo>
                      <a:pt x="15" y="110"/>
                      <a:pt x="12" y="108"/>
                      <a:pt x="11" y="108"/>
                    </a:cubicBezTo>
                    <a:cubicBezTo>
                      <a:pt x="8" y="108"/>
                      <a:pt x="6" y="110"/>
                      <a:pt x="5" y="112"/>
                    </a:cubicBezTo>
                    <a:cubicBezTo>
                      <a:pt x="4" y="113"/>
                      <a:pt x="3" y="114"/>
                      <a:pt x="2" y="116"/>
                    </a:cubicBezTo>
                    <a:cubicBezTo>
                      <a:pt x="1" y="116"/>
                      <a:pt x="1" y="117"/>
                      <a:pt x="0" y="117"/>
                    </a:cubicBezTo>
                    <a:cubicBezTo>
                      <a:pt x="0" y="118"/>
                      <a:pt x="1" y="118"/>
                      <a:pt x="1" y="119"/>
                    </a:cubicBezTo>
                    <a:cubicBezTo>
                      <a:pt x="2" y="122"/>
                      <a:pt x="4" y="124"/>
                      <a:pt x="5" y="127"/>
                    </a:cubicBezTo>
                    <a:cubicBezTo>
                      <a:pt x="8" y="132"/>
                      <a:pt x="10" y="138"/>
                      <a:pt x="13" y="143"/>
                    </a:cubicBezTo>
                    <a:cubicBezTo>
                      <a:pt x="14" y="146"/>
                      <a:pt x="15" y="149"/>
                      <a:pt x="16" y="152"/>
                    </a:cubicBezTo>
                    <a:cubicBezTo>
                      <a:pt x="18" y="155"/>
                      <a:pt x="19" y="158"/>
                      <a:pt x="21" y="160"/>
                    </a:cubicBezTo>
                    <a:cubicBezTo>
                      <a:pt x="24" y="166"/>
                      <a:pt x="26" y="172"/>
                      <a:pt x="29" y="177"/>
                    </a:cubicBezTo>
                    <a:cubicBezTo>
                      <a:pt x="30" y="180"/>
                      <a:pt x="32" y="182"/>
                      <a:pt x="32" y="185"/>
                    </a:cubicBezTo>
                    <a:cubicBezTo>
                      <a:pt x="32" y="186"/>
                      <a:pt x="32" y="187"/>
                      <a:pt x="32" y="188"/>
                    </a:cubicBezTo>
                    <a:cubicBezTo>
                      <a:pt x="31" y="189"/>
                      <a:pt x="30" y="190"/>
                      <a:pt x="30" y="191"/>
                    </a:cubicBezTo>
                    <a:cubicBezTo>
                      <a:pt x="29" y="193"/>
                      <a:pt x="29" y="194"/>
                      <a:pt x="27" y="194"/>
                    </a:cubicBezTo>
                    <a:cubicBezTo>
                      <a:pt x="26" y="193"/>
                      <a:pt x="25" y="193"/>
                      <a:pt x="24" y="194"/>
                    </a:cubicBezTo>
                    <a:cubicBezTo>
                      <a:pt x="24" y="195"/>
                      <a:pt x="23" y="196"/>
                      <a:pt x="24" y="197"/>
                    </a:cubicBezTo>
                    <a:cubicBezTo>
                      <a:pt x="25" y="198"/>
                      <a:pt x="26" y="199"/>
                      <a:pt x="26" y="199"/>
                    </a:cubicBezTo>
                    <a:cubicBezTo>
                      <a:pt x="27" y="200"/>
                      <a:pt x="28" y="201"/>
                      <a:pt x="28" y="202"/>
                    </a:cubicBezTo>
                    <a:cubicBezTo>
                      <a:pt x="29" y="205"/>
                      <a:pt x="29" y="208"/>
                      <a:pt x="31" y="210"/>
                    </a:cubicBezTo>
                    <a:cubicBezTo>
                      <a:pt x="32" y="211"/>
                      <a:pt x="33" y="211"/>
                      <a:pt x="33" y="212"/>
                    </a:cubicBezTo>
                    <a:cubicBezTo>
                      <a:pt x="33" y="214"/>
                      <a:pt x="33" y="215"/>
                      <a:pt x="32" y="216"/>
                    </a:cubicBezTo>
                    <a:cubicBezTo>
                      <a:pt x="32" y="217"/>
                      <a:pt x="32" y="219"/>
                      <a:pt x="32" y="220"/>
                    </a:cubicBezTo>
                    <a:cubicBezTo>
                      <a:pt x="32" y="221"/>
                      <a:pt x="32" y="223"/>
                      <a:pt x="33" y="224"/>
                    </a:cubicBezTo>
                    <a:cubicBezTo>
                      <a:pt x="35" y="225"/>
                      <a:pt x="35" y="220"/>
                      <a:pt x="36" y="220"/>
                    </a:cubicBezTo>
                    <a:cubicBezTo>
                      <a:pt x="38" y="219"/>
                      <a:pt x="40" y="219"/>
                      <a:pt x="40" y="221"/>
                    </a:cubicBezTo>
                    <a:cubicBezTo>
                      <a:pt x="40" y="223"/>
                      <a:pt x="40" y="224"/>
                      <a:pt x="42" y="225"/>
                    </a:cubicBezTo>
                    <a:cubicBezTo>
                      <a:pt x="45" y="225"/>
                      <a:pt x="46" y="226"/>
                      <a:pt x="48" y="228"/>
                    </a:cubicBezTo>
                    <a:cubicBezTo>
                      <a:pt x="50" y="230"/>
                      <a:pt x="52" y="230"/>
                      <a:pt x="55" y="231"/>
                    </a:cubicBezTo>
                    <a:cubicBezTo>
                      <a:pt x="57" y="232"/>
                      <a:pt x="59" y="234"/>
                      <a:pt x="61" y="233"/>
                    </a:cubicBezTo>
                    <a:cubicBezTo>
                      <a:pt x="64" y="233"/>
                      <a:pt x="65" y="230"/>
                      <a:pt x="67" y="228"/>
                    </a:cubicBezTo>
                    <a:cubicBezTo>
                      <a:pt x="69" y="227"/>
                      <a:pt x="73" y="226"/>
                      <a:pt x="75" y="226"/>
                    </a:cubicBezTo>
                    <a:cubicBezTo>
                      <a:pt x="78" y="225"/>
                      <a:pt x="81" y="225"/>
                      <a:pt x="84" y="225"/>
                    </a:cubicBezTo>
                    <a:cubicBezTo>
                      <a:pt x="87" y="225"/>
                      <a:pt x="91" y="225"/>
                      <a:pt x="93" y="224"/>
                    </a:cubicBezTo>
                    <a:cubicBezTo>
                      <a:pt x="96" y="223"/>
                      <a:pt x="97" y="221"/>
                      <a:pt x="99" y="219"/>
                    </a:cubicBezTo>
                    <a:cubicBezTo>
                      <a:pt x="101" y="219"/>
                      <a:pt x="102" y="218"/>
                      <a:pt x="103" y="218"/>
                    </a:cubicBezTo>
                    <a:cubicBezTo>
                      <a:pt x="104" y="218"/>
                      <a:pt x="106" y="217"/>
                      <a:pt x="107" y="217"/>
                    </a:cubicBezTo>
                    <a:cubicBezTo>
                      <a:pt x="110" y="217"/>
                      <a:pt x="112" y="218"/>
                      <a:pt x="115" y="219"/>
                    </a:cubicBezTo>
                    <a:cubicBezTo>
                      <a:pt x="117" y="220"/>
                      <a:pt x="120" y="218"/>
                      <a:pt x="122" y="218"/>
                    </a:cubicBezTo>
                    <a:cubicBezTo>
                      <a:pt x="127" y="216"/>
                      <a:pt x="133" y="219"/>
                      <a:pt x="138" y="221"/>
                    </a:cubicBezTo>
                    <a:cubicBezTo>
                      <a:pt x="140" y="222"/>
                      <a:pt x="143" y="223"/>
                      <a:pt x="144" y="220"/>
                    </a:cubicBezTo>
                    <a:cubicBezTo>
                      <a:pt x="144" y="220"/>
                      <a:pt x="144" y="218"/>
                      <a:pt x="145" y="218"/>
                    </a:cubicBezTo>
                    <a:cubicBezTo>
                      <a:pt x="146" y="217"/>
                      <a:pt x="148" y="218"/>
                      <a:pt x="149" y="218"/>
                    </a:cubicBezTo>
                    <a:cubicBezTo>
                      <a:pt x="151" y="218"/>
                      <a:pt x="154" y="219"/>
                      <a:pt x="156" y="217"/>
                    </a:cubicBezTo>
                    <a:cubicBezTo>
                      <a:pt x="157" y="217"/>
                      <a:pt x="157" y="216"/>
                      <a:pt x="158" y="215"/>
                    </a:cubicBezTo>
                    <a:cubicBezTo>
                      <a:pt x="158" y="214"/>
                      <a:pt x="159" y="214"/>
                      <a:pt x="160" y="213"/>
                    </a:cubicBezTo>
                    <a:cubicBezTo>
                      <a:pt x="163" y="213"/>
                      <a:pt x="166" y="213"/>
                      <a:pt x="169" y="213"/>
                    </a:cubicBezTo>
                    <a:cubicBezTo>
                      <a:pt x="172" y="213"/>
                      <a:pt x="175" y="211"/>
                      <a:pt x="178" y="210"/>
                    </a:cubicBezTo>
                    <a:cubicBezTo>
                      <a:pt x="183" y="207"/>
                      <a:pt x="187" y="204"/>
                      <a:pt x="192" y="200"/>
                    </a:cubicBezTo>
                    <a:cubicBezTo>
                      <a:pt x="194" y="199"/>
                      <a:pt x="197" y="198"/>
                      <a:pt x="199" y="196"/>
                    </a:cubicBezTo>
                    <a:cubicBezTo>
                      <a:pt x="201" y="194"/>
                      <a:pt x="203" y="192"/>
                      <a:pt x="205" y="190"/>
                    </a:cubicBezTo>
                    <a:cubicBezTo>
                      <a:pt x="210" y="185"/>
                      <a:pt x="215" y="182"/>
                      <a:pt x="219" y="177"/>
                    </a:cubicBezTo>
                    <a:cubicBezTo>
                      <a:pt x="223" y="173"/>
                      <a:pt x="227" y="169"/>
                      <a:pt x="231" y="164"/>
                    </a:cubicBezTo>
                    <a:cubicBezTo>
                      <a:pt x="233" y="162"/>
                      <a:pt x="234" y="160"/>
                      <a:pt x="236" y="158"/>
                    </a:cubicBezTo>
                    <a:cubicBezTo>
                      <a:pt x="238" y="156"/>
                      <a:pt x="240" y="154"/>
                      <a:pt x="242" y="151"/>
                    </a:cubicBezTo>
                    <a:cubicBezTo>
                      <a:pt x="244" y="149"/>
                      <a:pt x="245" y="146"/>
                      <a:pt x="246" y="144"/>
                    </a:cubicBezTo>
                    <a:cubicBezTo>
                      <a:pt x="247" y="141"/>
                      <a:pt x="248" y="138"/>
                      <a:pt x="250" y="135"/>
                    </a:cubicBezTo>
                    <a:cubicBezTo>
                      <a:pt x="254" y="130"/>
                      <a:pt x="258" y="125"/>
                      <a:pt x="263" y="121"/>
                    </a:cubicBezTo>
                    <a:cubicBezTo>
                      <a:pt x="265" y="119"/>
                      <a:pt x="267" y="118"/>
                      <a:pt x="269" y="115"/>
                    </a:cubicBezTo>
                    <a:cubicBezTo>
                      <a:pt x="271" y="113"/>
                      <a:pt x="272" y="110"/>
                      <a:pt x="273" y="107"/>
                    </a:cubicBezTo>
                    <a:cubicBezTo>
                      <a:pt x="276" y="101"/>
                      <a:pt x="277" y="94"/>
                      <a:pt x="278" y="87"/>
                    </a:cubicBezTo>
                    <a:cubicBezTo>
                      <a:pt x="275" y="87"/>
                      <a:pt x="272" y="87"/>
                      <a:pt x="269" y="87"/>
                    </a:cubicBezTo>
                    <a:cubicBezTo>
                      <a:pt x="270" y="87"/>
                      <a:pt x="270" y="87"/>
                      <a:pt x="270" y="87"/>
                    </a:cubicBezTo>
                    <a:cubicBezTo>
                      <a:pt x="269" y="87"/>
                      <a:pt x="270" y="87"/>
                      <a:pt x="270" y="87"/>
                    </a:cubicBezTo>
                    <a:close/>
                    <a:moveTo>
                      <a:pt x="219" y="134"/>
                    </a:moveTo>
                    <a:cubicBezTo>
                      <a:pt x="217" y="136"/>
                      <a:pt x="217" y="138"/>
                      <a:pt x="217" y="141"/>
                    </a:cubicBezTo>
                    <a:cubicBezTo>
                      <a:pt x="217" y="144"/>
                      <a:pt x="215" y="145"/>
                      <a:pt x="213" y="145"/>
                    </a:cubicBezTo>
                    <a:cubicBezTo>
                      <a:pt x="211" y="145"/>
                      <a:pt x="209" y="145"/>
                      <a:pt x="207" y="146"/>
                    </a:cubicBezTo>
                    <a:cubicBezTo>
                      <a:pt x="205" y="147"/>
                      <a:pt x="203" y="148"/>
                      <a:pt x="202" y="150"/>
                    </a:cubicBezTo>
                    <a:cubicBezTo>
                      <a:pt x="201" y="152"/>
                      <a:pt x="200" y="156"/>
                      <a:pt x="198" y="156"/>
                    </a:cubicBezTo>
                    <a:cubicBezTo>
                      <a:pt x="196" y="157"/>
                      <a:pt x="193" y="155"/>
                      <a:pt x="192" y="154"/>
                    </a:cubicBezTo>
                    <a:cubicBezTo>
                      <a:pt x="187" y="151"/>
                      <a:pt x="183" y="148"/>
                      <a:pt x="181" y="143"/>
                    </a:cubicBezTo>
                    <a:cubicBezTo>
                      <a:pt x="180" y="141"/>
                      <a:pt x="179" y="138"/>
                      <a:pt x="181" y="136"/>
                    </a:cubicBezTo>
                    <a:cubicBezTo>
                      <a:pt x="181" y="135"/>
                      <a:pt x="182" y="135"/>
                      <a:pt x="183" y="134"/>
                    </a:cubicBezTo>
                    <a:cubicBezTo>
                      <a:pt x="184" y="133"/>
                      <a:pt x="185" y="132"/>
                      <a:pt x="186" y="130"/>
                    </a:cubicBezTo>
                    <a:cubicBezTo>
                      <a:pt x="187" y="128"/>
                      <a:pt x="188" y="126"/>
                      <a:pt x="190" y="124"/>
                    </a:cubicBezTo>
                    <a:cubicBezTo>
                      <a:pt x="192" y="122"/>
                      <a:pt x="194" y="121"/>
                      <a:pt x="197" y="119"/>
                    </a:cubicBezTo>
                    <a:cubicBezTo>
                      <a:pt x="199" y="118"/>
                      <a:pt x="202" y="116"/>
                      <a:pt x="205" y="115"/>
                    </a:cubicBezTo>
                    <a:cubicBezTo>
                      <a:pt x="208" y="114"/>
                      <a:pt x="210" y="117"/>
                      <a:pt x="212" y="119"/>
                    </a:cubicBezTo>
                    <a:cubicBezTo>
                      <a:pt x="214" y="121"/>
                      <a:pt x="216" y="123"/>
                      <a:pt x="218" y="125"/>
                    </a:cubicBezTo>
                    <a:cubicBezTo>
                      <a:pt x="220" y="127"/>
                      <a:pt x="222" y="130"/>
                      <a:pt x="220" y="133"/>
                    </a:cubicBezTo>
                    <a:cubicBezTo>
                      <a:pt x="220" y="133"/>
                      <a:pt x="219" y="134"/>
                      <a:pt x="219" y="134"/>
                    </a:cubicBezTo>
                    <a:cubicBezTo>
                      <a:pt x="218" y="136"/>
                      <a:pt x="219" y="134"/>
                      <a:pt x="219" y="134"/>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82" name="Freeform 473">
                <a:extLst>
                  <a:ext uri="{FF2B5EF4-FFF2-40B4-BE49-F238E27FC236}">
                    <a16:creationId xmlns:a16="http://schemas.microsoft.com/office/drawing/2014/main" id="{9F3F4BF8-6A61-B203-1949-1C75719E1B8A}"/>
                  </a:ext>
                </a:extLst>
              </p:cNvPr>
              <p:cNvSpPr/>
              <p:nvPr>
                <p:custDataLst>
                  <p:tags r:id="rId220"/>
                </p:custDataLst>
              </p:nvPr>
            </p:nvSpPr>
            <p:spPr bwMode="auto">
              <a:xfrm>
                <a:off x="6586623" y="4714208"/>
                <a:ext cx="8929" cy="8929"/>
              </a:xfrm>
              <a:custGeom>
                <a:avLst/>
                <a:gdLst>
                  <a:gd name="T0" fmla="*/ 4 w 6"/>
                  <a:gd name="T1" fmla="*/ 6 h 6"/>
                  <a:gd name="T2" fmla="*/ 2 w 6"/>
                  <a:gd name="T3" fmla="*/ 1 h 6"/>
                  <a:gd name="T4" fmla="*/ 1 w 6"/>
                  <a:gd name="T5" fmla="*/ 4 h 6"/>
                  <a:gd name="T6" fmla="*/ 5 w 6"/>
                  <a:gd name="T7" fmla="*/ 6 h 6"/>
                  <a:gd name="T8" fmla="*/ 4 w 6"/>
                  <a:gd name="T9" fmla="*/ 6 h 6"/>
                  <a:gd name="T10" fmla="*/ 4 w 6"/>
                  <a:gd name="T11" fmla="*/ 6 h 6"/>
                </a:gdLst>
                <a:ahLst/>
                <a:cxnLst>
                  <a:cxn ang="0">
                    <a:pos x="T0" y="T1"/>
                  </a:cxn>
                  <a:cxn ang="0">
                    <a:pos x="T2" y="T3"/>
                  </a:cxn>
                  <a:cxn ang="0">
                    <a:pos x="T4" y="T5"/>
                  </a:cxn>
                  <a:cxn ang="0">
                    <a:pos x="T6" y="T7"/>
                  </a:cxn>
                  <a:cxn ang="0">
                    <a:pos x="T8" y="T9"/>
                  </a:cxn>
                  <a:cxn ang="0">
                    <a:pos x="T10" y="T11"/>
                  </a:cxn>
                </a:cxnLst>
                <a:rect l="0" t="0" r="r" b="b"/>
                <a:pathLst>
                  <a:path w="6" h="6">
                    <a:moveTo>
                      <a:pt x="4" y="6"/>
                    </a:moveTo>
                    <a:cubicBezTo>
                      <a:pt x="5" y="6"/>
                      <a:pt x="6" y="0"/>
                      <a:pt x="2" y="1"/>
                    </a:cubicBezTo>
                    <a:cubicBezTo>
                      <a:pt x="1" y="2"/>
                      <a:pt x="0" y="3"/>
                      <a:pt x="1" y="4"/>
                    </a:cubicBezTo>
                    <a:cubicBezTo>
                      <a:pt x="3" y="5"/>
                      <a:pt x="3" y="6"/>
                      <a:pt x="5" y="6"/>
                    </a:cubicBezTo>
                    <a:cubicBezTo>
                      <a:pt x="5" y="6"/>
                      <a:pt x="4" y="6"/>
                      <a:pt x="4" y="6"/>
                    </a:cubicBezTo>
                    <a:cubicBezTo>
                      <a:pt x="5" y="6"/>
                      <a:pt x="4" y="6"/>
                      <a:pt x="4" y="6"/>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83" name="Freeform 474">
                <a:extLst>
                  <a:ext uri="{FF2B5EF4-FFF2-40B4-BE49-F238E27FC236}">
                    <a16:creationId xmlns:a16="http://schemas.microsoft.com/office/drawing/2014/main" id="{8DCEC848-BFE4-4959-2654-4976A6E32EF4}"/>
                  </a:ext>
                </a:extLst>
              </p:cNvPr>
              <p:cNvSpPr/>
              <p:nvPr>
                <p:custDataLst>
                  <p:tags r:id="rId221"/>
                </p:custDataLst>
              </p:nvPr>
            </p:nvSpPr>
            <p:spPr bwMode="auto">
              <a:xfrm>
                <a:off x="6155489" y="5152996"/>
                <a:ext cx="54849" cy="56125"/>
              </a:xfrm>
              <a:custGeom>
                <a:avLst/>
                <a:gdLst>
                  <a:gd name="T0" fmla="*/ 31 w 37"/>
                  <a:gd name="T1" fmla="*/ 6 h 37"/>
                  <a:gd name="T2" fmla="*/ 26 w 37"/>
                  <a:gd name="T3" fmla="*/ 1 h 37"/>
                  <a:gd name="T4" fmla="*/ 19 w 37"/>
                  <a:gd name="T5" fmla="*/ 2 h 37"/>
                  <a:gd name="T6" fmla="*/ 8 w 37"/>
                  <a:gd name="T7" fmla="*/ 11 h 37"/>
                  <a:gd name="T8" fmla="*/ 4 w 37"/>
                  <a:gd name="T9" fmla="*/ 17 h 37"/>
                  <a:gd name="T10" fmla="*/ 0 w 37"/>
                  <a:gd name="T11" fmla="*/ 22 h 37"/>
                  <a:gd name="T12" fmla="*/ 3 w 37"/>
                  <a:gd name="T13" fmla="*/ 29 h 37"/>
                  <a:gd name="T14" fmla="*/ 9 w 37"/>
                  <a:gd name="T15" fmla="*/ 34 h 37"/>
                  <a:gd name="T16" fmla="*/ 12 w 37"/>
                  <a:gd name="T17" fmla="*/ 36 h 37"/>
                  <a:gd name="T18" fmla="*/ 15 w 37"/>
                  <a:gd name="T19" fmla="*/ 37 h 37"/>
                  <a:gd name="T20" fmla="*/ 17 w 37"/>
                  <a:gd name="T21" fmla="*/ 34 h 37"/>
                  <a:gd name="T22" fmla="*/ 19 w 37"/>
                  <a:gd name="T23" fmla="*/ 31 h 37"/>
                  <a:gd name="T24" fmla="*/ 30 w 37"/>
                  <a:gd name="T25" fmla="*/ 26 h 37"/>
                  <a:gd name="T26" fmla="*/ 33 w 37"/>
                  <a:gd name="T27" fmla="*/ 22 h 37"/>
                  <a:gd name="T28" fmla="*/ 35 w 37"/>
                  <a:gd name="T29" fmla="*/ 16 h 37"/>
                  <a:gd name="T30" fmla="*/ 36 w 37"/>
                  <a:gd name="T31" fmla="*/ 11 h 37"/>
                  <a:gd name="T32" fmla="*/ 31 w 37"/>
                  <a:gd name="T33" fmla="*/ 6 h 37"/>
                  <a:gd name="T34" fmla="*/ 31 w 37"/>
                  <a:gd name="T35" fmla="*/ 6 h 37"/>
                  <a:gd name="T36" fmla="*/ 31 w 37"/>
                  <a:gd name="T37" fmla="*/ 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37">
                    <a:moveTo>
                      <a:pt x="31" y="6"/>
                    </a:moveTo>
                    <a:cubicBezTo>
                      <a:pt x="30" y="5"/>
                      <a:pt x="28" y="2"/>
                      <a:pt x="26" y="1"/>
                    </a:cubicBezTo>
                    <a:cubicBezTo>
                      <a:pt x="24" y="0"/>
                      <a:pt x="21" y="1"/>
                      <a:pt x="19" y="2"/>
                    </a:cubicBezTo>
                    <a:cubicBezTo>
                      <a:pt x="15" y="4"/>
                      <a:pt x="11" y="6"/>
                      <a:pt x="8" y="11"/>
                    </a:cubicBezTo>
                    <a:cubicBezTo>
                      <a:pt x="6" y="13"/>
                      <a:pt x="5" y="15"/>
                      <a:pt x="4" y="17"/>
                    </a:cubicBezTo>
                    <a:cubicBezTo>
                      <a:pt x="3" y="19"/>
                      <a:pt x="0" y="20"/>
                      <a:pt x="0" y="22"/>
                    </a:cubicBezTo>
                    <a:cubicBezTo>
                      <a:pt x="0" y="24"/>
                      <a:pt x="2" y="27"/>
                      <a:pt x="3" y="29"/>
                    </a:cubicBezTo>
                    <a:cubicBezTo>
                      <a:pt x="5" y="31"/>
                      <a:pt x="7" y="33"/>
                      <a:pt x="9" y="34"/>
                    </a:cubicBezTo>
                    <a:cubicBezTo>
                      <a:pt x="10" y="35"/>
                      <a:pt x="11" y="35"/>
                      <a:pt x="12" y="36"/>
                    </a:cubicBezTo>
                    <a:cubicBezTo>
                      <a:pt x="13" y="36"/>
                      <a:pt x="14" y="37"/>
                      <a:pt x="15" y="37"/>
                    </a:cubicBezTo>
                    <a:cubicBezTo>
                      <a:pt x="16" y="37"/>
                      <a:pt x="16" y="35"/>
                      <a:pt x="17" y="34"/>
                    </a:cubicBezTo>
                    <a:cubicBezTo>
                      <a:pt x="17" y="33"/>
                      <a:pt x="18" y="32"/>
                      <a:pt x="19" y="31"/>
                    </a:cubicBezTo>
                    <a:cubicBezTo>
                      <a:pt x="21" y="27"/>
                      <a:pt x="25" y="26"/>
                      <a:pt x="30" y="26"/>
                    </a:cubicBezTo>
                    <a:cubicBezTo>
                      <a:pt x="32" y="26"/>
                      <a:pt x="33" y="25"/>
                      <a:pt x="33" y="22"/>
                    </a:cubicBezTo>
                    <a:cubicBezTo>
                      <a:pt x="33" y="20"/>
                      <a:pt x="33" y="18"/>
                      <a:pt x="35" y="16"/>
                    </a:cubicBezTo>
                    <a:cubicBezTo>
                      <a:pt x="36" y="15"/>
                      <a:pt x="37" y="13"/>
                      <a:pt x="36" y="11"/>
                    </a:cubicBezTo>
                    <a:cubicBezTo>
                      <a:pt x="34" y="9"/>
                      <a:pt x="33" y="8"/>
                      <a:pt x="31" y="6"/>
                    </a:cubicBezTo>
                    <a:cubicBezTo>
                      <a:pt x="31" y="6"/>
                      <a:pt x="31" y="6"/>
                      <a:pt x="31" y="6"/>
                    </a:cubicBezTo>
                    <a:cubicBezTo>
                      <a:pt x="30" y="5"/>
                      <a:pt x="31" y="6"/>
                      <a:pt x="31" y="6"/>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84" name="Freeform 476">
                <a:extLst>
                  <a:ext uri="{FF2B5EF4-FFF2-40B4-BE49-F238E27FC236}">
                    <a16:creationId xmlns:a16="http://schemas.microsoft.com/office/drawing/2014/main" id="{5D832D04-1576-1A37-BA0C-07722C369558}"/>
                  </a:ext>
                </a:extLst>
              </p:cNvPr>
              <p:cNvSpPr/>
              <p:nvPr>
                <p:custDataLst>
                  <p:tags r:id="rId222"/>
                </p:custDataLst>
              </p:nvPr>
            </p:nvSpPr>
            <p:spPr bwMode="auto">
              <a:xfrm>
                <a:off x="5765172" y="4843039"/>
                <a:ext cx="339295" cy="317612"/>
              </a:xfrm>
              <a:custGeom>
                <a:avLst/>
                <a:gdLst>
                  <a:gd name="T0" fmla="*/ 95 w 228"/>
                  <a:gd name="T1" fmla="*/ 199 h 213"/>
                  <a:gd name="T2" fmla="*/ 97 w 228"/>
                  <a:gd name="T3" fmla="*/ 206 h 213"/>
                  <a:gd name="T4" fmla="*/ 110 w 228"/>
                  <a:gd name="T5" fmla="*/ 212 h 213"/>
                  <a:gd name="T6" fmla="*/ 127 w 228"/>
                  <a:gd name="T7" fmla="*/ 210 h 213"/>
                  <a:gd name="T8" fmla="*/ 139 w 228"/>
                  <a:gd name="T9" fmla="*/ 203 h 213"/>
                  <a:gd name="T10" fmla="*/ 139 w 228"/>
                  <a:gd name="T11" fmla="*/ 196 h 213"/>
                  <a:gd name="T12" fmla="*/ 139 w 228"/>
                  <a:gd name="T13" fmla="*/ 166 h 213"/>
                  <a:gd name="T14" fmla="*/ 139 w 228"/>
                  <a:gd name="T15" fmla="*/ 106 h 213"/>
                  <a:gd name="T16" fmla="*/ 140 w 228"/>
                  <a:gd name="T17" fmla="*/ 88 h 213"/>
                  <a:gd name="T18" fmla="*/ 153 w 228"/>
                  <a:gd name="T19" fmla="*/ 86 h 213"/>
                  <a:gd name="T20" fmla="*/ 156 w 228"/>
                  <a:gd name="T21" fmla="*/ 75 h 213"/>
                  <a:gd name="T22" fmla="*/ 156 w 228"/>
                  <a:gd name="T23" fmla="*/ 26 h 213"/>
                  <a:gd name="T24" fmla="*/ 168 w 228"/>
                  <a:gd name="T25" fmla="*/ 20 h 213"/>
                  <a:gd name="T26" fmla="*/ 187 w 228"/>
                  <a:gd name="T27" fmla="*/ 18 h 213"/>
                  <a:gd name="T28" fmla="*/ 202 w 228"/>
                  <a:gd name="T29" fmla="*/ 23 h 213"/>
                  <a:gd name="T30" fmla="*/ 213 w 228"/>
                  <a:gd name="T31" fmla="*/ 15 h 213"/>
                  <a:gd name="T32" fmla="*/ 228 w 228"/>
                  <a:gd name="T33" fmla="*/ 13 h 213"/>
                  <a:gd name="T34" fmla="*/ 206 w 228"/>
                  <a:gd name="T35" fmla="*/ 10 h 213"/>
                  <a:gd name="T36" fmla="*/ 197 w 228"/>
                  <a:gd name="T37" fmla="*/ 10 h 213"/>
                  <a:gd name="T38" fmla="*/ 160 w 228"/>
                  <a:gd name="T39" fmla="*/ 16 h 213"/>
                  <a:gd name="T40" fmla="*/ 122 w 228"/>
                  <a:gd name="T41" fmla="*/ 14 h 213"/>
                  <a:gd name="T42" fmla="*/ 113 w 228"/>
                  <a:gd name="T43" fmla="*/ 8 h 213"/>
                  <a:gd name="T44" fmla="*/ 90 w 228"/>
                  <a:gd name="T45" fmla="*/ 8 h 213"/>
                  <a:gd name="T46" fmla="*/ 52 w 228"/>
                  <a:gd name="T47" fmla="*/ 8 h 213"/>
                  <a:gd name="T48" fmla="*/ 31 w 228"/>
                  <a:gd name="T49" fmla="*/ 3 h 213"/>
                  <a:gd name="T50" fmla="*/ 12 w 228"/>
                  <a:gd name="T51" fmla="*/ 6 h 213"/>
                  <a:gd name="T52" fmla="*/ 3 w 228"/>
                  <a:gd name="T53" fmla="*/ 23 h 213"/>
                  <a:gd name="T54" fmla="*/ 13 w 228"/>
                  <a:gd name="T55" fmla="*/ 36 h 213"/>
                  <a:gd name="T56" fmla="*/ 22 w 228"/>
                  <a:gd name="T57" fmla="*/ 52 h 213"/>
                  <a:gd name="T58" fmla="*/ 38 w 228"/>
                  <a:gd name="T59" fmla="*/ 85 h 213"/>
                  <a:gd name="T60" fmla="*/ 47 w 228"/>
                  <a:gd name="T61" fmla="*/ 100 h 213"/>
                  <a:gd name="T62" fmla="*/ 46 w 228"/>
                  <a:gd name="T63" fmla="*/ 118 h 213"/>
                  <a:gd name="T64" fmla="*/ 49 w 228"/>
                  <a:gd name="T65" fmla="*/ 135 h 213"/>
                  <a:gd name="T66" fmla="*/ 52 w 228"/>
                  <a:gd name="T67" fmla="*/ 155 h 213"/>
                  <a:gd name="T68" fmla="*/ 58 w 228"/>
                  <a:gd name="T69" fmla="*/ 174 h 213"/>
                  <a:gd name="T70" fmla="*/ 72 w 228"/>
                  <a:gd name="T71" fmla="*/ 201 h 213"/>
                  <a:gd name="T72" fmla="*/ 89 w 228"/>
                  <a:gd name="T73" fmla="*/ 197 h 213"/>
                  <a:gd name="T74" fmla="*/ 88 w 228"/>
                  <a:gd name="T75" fmla="*/ 197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8" h="213">
                    <a:moveTo>
                      <a:pt x="88" y="197"/>
                    </a:moveTo>
                    <a:cubicBezTo>
                      <a:pt x="91" y="197"/>
                      <a:pt x="93" y="197"/>
                      <a:pt x="95" y="199"/>
                    </a:cubicBezTo>
                    <a:cubicBezTo>
                      <a:pt x="96" y="200"/>
                      <a:pt x="97" y="201"/>
                      <a:pt x="97" y="202"/>
                    </a:cubicBezTo>
                    <a:cubicBezTo>
                      <a:pt x="97" y="204"/>
                      <a:pt x="96" y="205"/>
                      <a:pt x="97" y="206"/>
                    </a:cubicBezTo>
                    <a:cubicBezTo>
                      <a:pt x="97" y="208"/>
                      <a:pt x="100" y="209"/>
                      <a:pt x="101" y="210"/>
                    </a:cubicBezTo>
                    <a:cubicBezTo>
                      <a:pt x="104" y="211"/>
                      <a:pt x="107" y="212"/>
                      <a:pt x="110" y="212"/>
                    </a:cubicBezTo>
                    <a:cubicBezTo>
                      <a:pt x="113" y="212"/>
                      <a:pt x="117" y="212"/>
                      <a:pt x="120" y="212"/>
                    </a:cubicBezTo>
                    <a:cubicBezTo>
                      <a:pt x="122" y="212"/>
                      <a:pt x="125" y="213"/>
                      <a:pt x="127" y="210"/>
                    </a:cubicBezTo>
                    <a:cubicBezTo>
                      <a:pt x="128" y="208"/>
                      <a:pt x="129" y="206"/>
                      <a:pt x="132" y="205"/>
                    </a:cubicBezTo>
                    <a:cubicBezTo>
                      <a:pt x="134" y="205"/>
                      <a:pt x="138" y="205"/>
                      <a:pt x="139" y="203"/>
                    </a:cubicBezTo>
                    <a:cubicBezTo>
                      <a:pt x="139" y="202"/>
                      <a:pt x="139" y="201"/>
                      <a:pt x="139" y="200"/>
                    </a:cubicBezTo>
                    <a:cubicBezTo>
                      <a:pt x="139" y="199"/>
                      <a:pt x="139" y="197"/>
                      <a:pt x="139" y="196"/>
                    </a:cubicBezTo>
                    <a:cubicBezTo>
                      <a:pt x="139" y="193"/>
                      <a:pt x="139" y="189"/>
                      <a:pt x="139" y="186"/>
                    </a:cubicBezTo>
                    <a:cubicBezTo>
                      <a:pt x="139" y="179"/>
                      <a:pt x="139" y="173"/>
                      <a:pt x="139" y="166"/>
                    </a:cubicBezTo>
                    <a:cubicBezTo>
                      <a:pt x="139" y="153"/>
                      <a:pt x="139" y="139"/>
                      <a:pt x="139" y="126"/>
                    </a:cubicBezTo>
                    <a:cubicBezTo>
                      <a:pt x="139" y="119"/>
                      <a:pt x="139" y="112"/>
                      <a:pt x="139" y="106"/>
                    </a:cubicBezTo>
                    <a:cubicBezTo>
                      <a:pt x="139" y="103"/>
                      <a:pt x="139" y="99"/>
                      <a:pt x="139" y="96"/>
                    </a:cubicBezTo>
                    <a:cubicBezTo>
                      <a:pt x="139" y="94"/>
                      <a:pt x="139" y="91"/>
                      <a:pt x="140" y="88"/>
                    </a:cubicBezTo>
                    <a:cubicBezTo>
                      <a:pt x="141" y="86"/>
                      <a:pt x="144" y="86"/>
                      <a:pt x="146" y="86"/>
                    </a:cubicBezTo>
                    <a:cubicBezTo>
                      <a:pt x="148" y="86"/>
                      <a:pt x="150" y="86"/>
                      <a:pt x="153" y="86"/>
                    </a:cubicBezTo>
                    <a:cubicBezTo>
                      <a:pt x="154" y="86"/>
                      <a:pt x="156" y="86"/>
                      <a:pt x="156" y="84"/>
                    </a:cubicBezTo>
                    <a:cubicBezTo>
                      <a:pt x="157" y="81"/>
                      <a:pt x="156" y="78"/>
                      <a:pt x="156" y="75"/>
                    </a:cubicBezTo>
                    <a:cubicBezTo>
                      <a:pt x="156" y="61"/>
                      <a:pt x="156" y="48"/>
                      <a:pt x="156" y="35"/>
                    </a:cubicBezTo>
                    <a:cubicBezTo>
                      <a:pt x="156" y="32"/>
                      <a:pt x="156" y="29"/>
                      <a:pt x="156" y="26"/>
                    </a:cubicBezTo>
                    <a:cubicBezTo>
                      <a:pt x="156" y="24"/>
                      <a:pt x="158" y="22"/>
                      <a:pt x="160" y="21"/>
                    </a:cubicBezTo>
                    <a:cubicBezTo>
                      <a:pt x="163" y="21"/>
                      <a:pt x="166" y="20"/>
                      <a:pt x="168" y="20"/>
                    </a:cubicBezTo>
                    <a:cubicBezTo>
                      <a:pt x="172" y="20"/>
                      <a:pt x="175" y="19"/>
                      <a:pt x="178" y="19"/>
                    </a:cubicBezTo>
                    <a:cubicBezTo>
                      <a:pt x="181" y="18"/>
                      <a:pt x="184" y="18"/>
                      <a:pt x="187" y="18"/>
                    </a:cubicBezTo>
                    <a:cubicBezTo>
                      <a:pt x="189" y="17"/>
                      <a:pt x="192" y="17"/>
                      <a:pt x="195" y="17"/>
                    </a:cubicBezTo>
                    <a:cubicBezTo>
                      <a:pt x="199" y="18"/>
                      <a:pt x="198" y="24"/>
                      <a:pt x="202" y="23"/>
                    </a:cubicBezTo>
                    <a:cubicBezTo>
                      <a:pt x="203" y="23"/>
                      <a:pt x="205" y="21"/>
                      <a:pt x="206" y="20"/>
                    </a:cubicBezTo>
                    <a:cubicBezTo>
                      <a:pt x="208" y="19"/>
                      <a:pt x="211" y="17"/>
                      <a:pt x="213" y="15"/>
                    </a:cubicBezTo>
                    <a:cubicBezTo>
                      <a:pt x="215" y="14"/>
                      <a:pt x="217" y="14"/>
                      <a:pt x="220" y="14"/>
                    </a:cubicBezTo>
                    <a:cubicBezTo>
                      <a:pt x="223" y="14"/>
                      <a:pt x="225" y="13"/>
                      <a:pt x="228" y="13"/>
                    </a:cubicBezTo>
                    <a:cubicBezTo>
                      <a:pt x="226" y="9"/>
                      <a:pt x="219" y="9"/>
                      <a:pt x="215" y="9"/>
                    </a:cubicBezTo>
                    <a:cubicBezTo>
                      <a:pt x="212" y="9"/>
                      <a:pt x="209" y="10"/>
                      <a:pt x="206" y="10"/>
                    </a:cubicBezTo>
                    <a:cubicBezTo>
                      <a:pt x="204" y="10"/>
                      <a:pt x="203" y="11"/>
                      <a:pt x="201" y="11"/>
                    </a:cubicBezTo>
                    <a:cubicBezTo>
                      <a:pt x="200" y="11"/>
                      <a:pt x="198" y="10"/>
                      <a:pt x="197" y="10"/>
                    </a:cubicBezTo>
                    <a:cubicBezTo>
                      <a:pt x="191" y="12"/>
                      <a:pt x="185" y="13"/>
                      <a:pt x="179" y="15"/>
                    </a:cubicBezTo>
                    <a:cubicBezTo>
                      <a:pt x="173" y="16"/>
                      <a:pt x="167" y="16"/>
                      <a:pt x="160" y="16"/>
                    </a:cubicBezTo>
                    <a:cubicBezTo>
                      <a:pt x="154" y="16"/>
                      <a:pt x="147" y="16"/>
                      <a:pt x="141" y="16"/>
                    </a:cubicBezTo>
                    <a:cubicBezTo>
                      <a:pt x="135" y="16"/>
                      <a:pt x="128" y="16"/>
                      <a:pt x="122" y="14"/>
                    </a:cubicBezTo>
                    <a:cubicBezTo>
                      <a:pt x="120" y="14"/>
                      <a:pt x="118" y="12"/>
                      <a:pt x="116" y="10"/>
                    </a:cubicBezTo>
                    <a:cubicBezTo>
                      <a:pt x="115" y="10"/>
                      <a:pt x="114" y="9"/>
                      <a:pt x="113" y="8"/>
                    </a:cubicBezTo>
                    <a:cubicBezTo>
                      <a:pt x="112" y="7"/>
                      <a:pt x="111" y="7"/>
                      <a:pt x="109" y="7"/>
                    </a:cubicBezTo>
                    <a:cubicBezTo>
                      <a:pt x="103" y="7"/>
                      <a:pt x="96" y="7"/>
                      <a:pt x="90" y="8"/>
                    </a:cubicBezTo>
                    <a:cubicBezTo>
                      <a:pt x="82" y="8"/>
                      <a:pt x="73" y="8"/>
                      <a:pt x="65" y="8"/>
                    </a:cubicBezTo>
                    <a:cubicBezTo>
                      <a:pt x="61" y="8"/>
                      <a:pt x="56" y="8"/>
                      <a:pt x="52" y="8"/>
                    </a:cubicBezTo>
                    <a:cubicBezTo>
                      <a:pt x="48" y="8"/>
                      <a:pt x="43" y="9"/>
                      <a:pt x="39" y="8"/>
                    </a:cubicBezTo>
                    <a:cubicBezTo>
                      <a:pt x="35" y="8"/>
                      <a:pt x="33" y="5"/>
                      <a:pt x="31" y="3"/>
                    </a:cubicBezTo>
                    <a:cubicBezTo>
                      <a:pt x="28" y="0"/>
                      <a:pt x="25" y="0"/>
                      <a:pt x="21" y="1"/>
                    </a:cubicBezTo>
                    <a:cubicBezTo>
                      <a:pt x="18" y="3"/>
                      <a:pt x="15" y="5"/>
                      <a:pt x="12" y="6"/>
                    </a:cubicBezTo>
                    <a:cubicBezTo>
                      <a:pt x="8" y="7"/>
                      <a:pt x="4" y="6"/>
                      <a:pt x="0" y="6"/>
                    </a:cubicBezTo>
                    <a:cubicBezTo>
                      <a:pt x="1" y="12"/>
                      <a:pt x="0" y="17"/>
                      <a:pt x="3" y="23"/>
                    </a:cubicBezTo>
                    <a:cubicBezTo>
                      <a:pt x="5" y="25"/>
                      <a:pt x="7" y="26"/>
                      <a:pt x="8" y="28"/>
                    </a:cubicBezTo>
                    <a:cubicBezTo>
                      <a:pt x="10" y="31"/>
                      <a:pt x="11" y="34"/>
                      <a:pt x="13" y="36"/>
                    </a:cubicBezTo>
                    <a:cubicBezTo>
                      <a:pt x="14" y="39"/>
                      <a:pt x="15" y="41"/>
                      <a:pt x="17" y="44"/>
                    </a:cubicBezTo>
                    <a:cubicBezTo>
                      <a:pt x="19" y="47"/>
                      <a:pt x="20" y="49"/>
                      <a:pt x="22" y="52"/>
                    </a:cubicBezTo>
                    <a:cubicBezTo>
                      <a:pt x="24" y="58"/>
                      <a:pt x="27" y="63"/>
                      <a:pt x="29" y="69"/>
                    </a:cubicBezTo>
                    <a:cubicBezTo>
                      <a:pt x="32" y="74"/>
                      <a:pt x="35" y="80"/>
                      <a:pt x="38" y="85"/>
                    </a:cubicBezTo>
                    <a:cubicBezTo>
                      <a:pt x="40" y="87"/>
                      <a:pt x="41" y="90"/>
                      <a:pt x="43" y="92"/>
                    </a:cubicBezTo>
                    <a:cubicBezTo>
                      <a:pt x="44" y="95"/>
                      <a:pt x="46" y="97"/>
                      <a:pt x="47" y="100"/>
                    </a:cubicBezTo>
                    <a:cubicBezTo>
                      <a:pt x="47" y="103"/>
                      <a:pt x="47" y="106"/>
                      <a:pt x="47" y="109"/>
                    </a:cubicBezTo>
                    <a:cubicBezTo>
                      <a:pt x="47" y="112"/>
                      <a:pt x="46" y="115"/>
                      <a:pt x="46" y="118"/>
                    </a:cubicBezTo>
                    <a:cubicBezTo>
                      <a:pt x="46" y="120"/>
                      <a:pt x="46" y="123"/>
                      <a:pt x="46" y="126"/>
                    </a:cubicBezTo>
                    <a:cubicBezTo>
                      <a:pt x="46" y="129"/>
                      <a:pt x="48" y="132"/>
                      <a:pt x="49" y="135"/>
                    </a:cubicBezTo>
                    <a:cubicBezTo>
                      <a:pt x="51" y="138"/>
                      <a:pt x="52" y="140"/>
                      <a:pt x="53" y="143"/>
                    </a:cubicBezTo>
                    <a:cubicBezTo>
                      <a:pt x="53" y="147"/>
                      <a:pt x="52" y="151"/>
                      <a:pt x="52" y="155"/>
                    </a:cubicBezTo>
                    <a:cubicBezTo>
                      <a:pt x="53" y="158"/>
                      <a:pt x="54" y="161"/>
                      <a:pt x="55" y="164"/>
                    </a:cubicBezTo>
                    <a:cubicBezTo>
                      <a:pt x="56" y="168"/>
                      <a:pt x="56" y="171"/>
                      <a:pt x="58" y="174"/>
                    </a:cubicBezTo>
                    <a:cubicBezTo>
                      <a:pt x="60" y="181"/>
                      <a:pt x="61" y="187"/>
                      <a:pt x="65" y="193"/>
                    </a:cubicBezTo>
                    <a:cubicBezTo>
                      <a:pt x="67" y="196"/>
                      <a:pt x="70" y="198"/>
                      <a:pt x="72" y="201"/>
                    </a:cubicBezTo>
                    <a:cubicBezTo>
                      <a:pt x="74" y="203"/>
                      <a:pt x="77" y="204"/>
                      <a:pt x="79" y="206"/>
                    </a:cubicBezTo>
                    <a:cubicBezTo>
                      <a:pt x="82" y="203"/>
                      <a:pt x="85" y="198"/>
                      <a:pt x="89" y="197"/>
                    </a:cubicBezTo>
                    <a:cubicBezTo>
                      <a:pt x="89" y="197"/>
                      <a:pt x="89" y="197"/>
                      <a:pt x="88" y="197"/>
                    </a:cubicBezTo>
                    <a:cubicBezTo>
                      <a:pt x="90" y="197"/>
                      <a:pt x="88" y="197"/>
                      <a:pt x="88" y="197"/>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85" name="Freeform 477">
                <a:extLst>
                  <a:ext uri="{FF2B5EF4-FFF2-40B4-BE49-F238E27FC236}">
                    <a16:creationId xmlns:a16="http://schemas.microsoft.com/office/drawing/2014/main" id="{1130FEA7-4D53-C668-02CD-769FA16E1E4D}"/>
                  </a:ext>
                </a:extLst>
              </p:cNvPr>
              <p:cNvSpPr/>
              <p:nvPr>
                <p:custDataLst>
                  <p:tags r:id="rId223"/>
                </p:custDataLst>
              </p:nvPr>
            </p:nvSpPr>
            <p:spPr bwMode="auto">
              <a:xfrm>
                <a:off x="5763896" y="4557316"/>
                <a:ext cx="311234" cy="307407"/>
              </a:xfrm>
              <a:custGeom>
                <a:avLst/>
                <a:gdLst>
                  <a:gd name="T0" fmla="*/ 20 w 209"/>
                  <a:gd name="T1" fmla="*/ 192 h 206"/>
                  <a:gd name="T2" fmla="*/ 40 w 209"/>
                  <a:gd name="T3" fmla="*/ 198 h 206"/>
                  <a:gd name="T4" fmla="*/ 100 w 209"/>
                  <a:gd name="T5" fmla="*/ 197 h 206"/>
                  <a:gd name="T6" fmla="*/ 117 w 209"/>
                  <a:gd name="T7" fmla="*/ 199 h 206"/>
                  <a:gd name="T8" fmla="*/ 131 w 209"/>
                  <a:gd name="T9" fmla="*/ 205 h 206"/>
                  <a:gd name="T10" fmla="*/ 174 w 209"/>
                  <a:gd name="T11" fmla="*/ 206 h 206"/>
                  <a:gd name="T12" fmla="*/ 196 w 209"/>
                  <a:gd name="T13" fmla="*/ 200 h 206"/>
                  <a:gd name="T14" fmla="*/ 174 w 209"/>
                  <a:gd name="T15" fmla="*/ 174 h 206"/>
                  <a:gd name="T16" fmla="*/ 175 w 209"/>
                  <a:gd name="T17" fmla="*/ 125 h 206"/>
                  <a:gd name="T18" fmla="*/ 187 w 209"/>
                  <a:gd name="T19" fmla="*/ 121 h 206"/>
                  <a:gd name="T20" fmla="*/ 206 w 209"/>
                  <a:gd name="T21" fmla="*/ 121 h 206"/>
                  <a:gd name="T22" fmla="*/ 206 w 209"/>
                  <a:gd name="T23" fmla="*/ 116 h 206"/>
                  <a:gd name="T24" fmla="*/ 209 w 209"/>
                  <a:gd name="T25" fmla="*/ 106 h 206"/>
                  <a:gd name="T26" fmla="*/ 208 w 209"/>
                  <a:gd name="T27" fmla="*/ 89 h 206"/>
                  <a:gd name="T28" fmla="*/ 191 w 209"/>
                  <a:gd name="T29" fmla="*/ 90 h 206"/>
                  <a:gd name="T30" fmla="*/ 178 w 209"/>
                  <a:gd name="T31" fmla="*/ 90 h 206"/>
                  <a:gd name="T32" fmla="*/ 179 w 209"/>
                  <a:gd name="T33" fmla="*/ 80 h 206"/>
                  <a:gd name="T34" fmla="*/ 176 w 209"/>
                  <a:gd name="T35" fmla="*/ 69 h 206"/>
                  <a:gd name="T36" fmla="*/ 173 w 209"/>
                  <a:gd name="T37" fmla="*/ 44 h 206"/>
                  <a:gd name="T38" fmla="*/ 171 w 209"/>
                  <a:gd name="T39" fmla="*/ 28 h 206"/>
                  <a:gd name="T40" fmla="*/ 159 w 209"/>
                  <a:gd name="T41" fmla="*/ 24 h 206"/>
                  <a:gd name="T42" fmla="*/ 150 w 209"/>
                  <a:gd name="T43" fmla="*/ 22 h 206"/>
                  <a:gd name="T44" fmla="*/ 144 w 209"/>
                  <a:gd name="T45" fmla="*/ 19 h 206"/>
                  <a:gd name="T46" fmla="*/ 134 w 209"/>
                  <a:gd name="T47" fmla="*/ 25 h 206"/>
                  <a:gd name="T48" fmla="*/ 118 w 209"/>
                  <a:gd name="T49" fmla="*/ 37 h 206"/>
                  <a:gd name="T50" fmla="*/ 102 w 209"/>
                  <a:gd name="T51" fmla="*/ 39 h 206"/>
                  <a:gd name="T52" fmla="*/ 92 w 209"/>
                  <a:gd name="T53" fmla="*/ 27 h 206"/>
                  <a:gd name="T54" fmla="*/ 83 w 209"/>
                  <a:gd name="T55" fmla="*/ 2 h 206"/>
                  <a:gd name="T56" fmla="*/ 56 w 209"/>
                  <a:gd name="T57" fmla="*/ 0 h 206"/>
                  <a:gd name="T58" fmla="*/ 18 w 209"/>
                  <a:gd name="T59" fmla="*/ 2 h 206"/>
                  <a:gd name="T60" fmla="*/ 13 w 209"/>
                  <a:gd name="T61" fmla="*/ 8 h 206"/>
                  <a:gd name="T62" fmla="*/ 18 w 209"/>
                  <a:gd name="T63" fmla="*/ 17 h 206"/>
                  <a:gd name="T64" fmla="*/ 25 w 209"/>
                  <a:gd name="T65" fmla="*/ 32 h 206"/>
                  <a:gd name="T66" fmla="*/ 29 w 209"/>
                  <a:gd name="T67" fmla="*/ 48 h 206"/>
                  <a:gd name="T68" fmla="*/ 24 w 209"/>
                  <a:gd name="T69" fmla="*/ 53 h 206"/>
                  <a:gd name="T70" fmla="*/ 28 w 209"/>
                  <a:gd name="T71" fmla="*/ 68 h 206"/>
                  <a:gd name="T72" fmla="*/ 36 w 209"/>
                  <a:gd name="T73" fmla="*/ 82 h 206"/>
                  <a:gd name="T74" fmla="*/ 36 w 209"/>
                  <a:gd name="T75" fmla="*/ 102 h 206"/>
                  <a:gd name="T76" fmla="*/ 32 w 209"/>
                  <a:gd name="T77" fmla="*/ 111 h 206"/>
                  <a:gd name="T78" fmla="*/ 20 w 209"/>
                  <a:gd name="T79" fmla="*/ 122 h 206"/>
                  <a:gd name="T80" fmla="*/ 11 w 209"/>
                  <a:gd name="T81" fmla="*/ 144 h 206"/>
                  <a:gd name="T82" fmla="*/ 7 w 209"/>
                  <a:gd name="T83" fmla="*/ 162 h 206"/>
                  <a:gd name="T84" fmla="*/ 3 w 209"/>
                  <a:gd name="T85" fmla="*/ 169 h 206"/>
                  <a:gd name="T86" fmla="*/ 1 w 209"/>
                  <a:gd name="T87" fmla="*/ 176 h 206"/>
                  <a:gd name="T88" fmla="*/ 1 w 209"/>
                  <a:gd name="T89" fmla="*/ 195 h 206"/>
                  <a:gd name="T90" fmla="*/ 8 w 209"/>
                  <a:gd name="T91" fmla="*/ 196 h 206"/>
                  <a:gd name="T92" fmla="*/ 14 w 209"/>
                  <a:gd name="T93" fmla="*/ 19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9" h="206">
                    <a:moveTo>
                      <a:pt x="14" y="196"/>
                    </a:moveTo>
                    <a:cubicBezTo>
                      <a:pt x="16" y="195"/>
                      <a:pt x="18" y="193"/>
                      <a:pt x="20" y="192"/>
                    </a:cubicBezTo>
                    <a:cubicBezTo>
                      <a:pt x="23" y="191"/>
                      <a:pt x="26" y="190"/>
                      <a:pt x="29" y="190"/>
                    </a:cubicBezTo>
                    <a:cubicBezTo>
                      <a:pt x="34" y="191"/>
                      <a:pt x="35" y="198"/>
                      <a:pt x="40" y="198"/>
                    </a:cubicBezTo>
                    <a:cubicBezTo>
                      <a:pt x="54" y="198"/>
                      <a:pt x="67" y="198"/>
                      <a:pt x="80" y="198"/>
                    </a:cubicBezTo>
                    <a:cubicBezTo>
                      <a:pt x="87" y="197"/>
                      <a:pt x="93" y="197"/>
                      <a:pt x="100" y="197"/>
                    </a:cubicBezTo>
                    <a:cubicBezTo>
                      <a:pt x="103" y="197"/>
                      <a:pt x="106" y="197"/>
                      <a:pt x="109" y="197"/>
                    </a:cubicBezTo>
                    <a:cubicBezTo>
                      <a:pt x="112" y="197"/>
                      <a:pt x="115" y="197"/>
                      <a:pt x="117" y="199"/>
                    </a:cubicBezTo>
                    <a:cubicBezTo>
                      <a:pt x="118" y="201"/>
                      <a:pt x="120" y="203"/>
                      <a:pt x="122" y="204"/>
                    </a:cubicBezTo>
                    <a:cubicBezTo>
                      <a:pt x="125" y="205"/>
                      <a:pt x="128" y="205"/>
                      <a:pt x="131" y="205"/>
                    </a:cubicBezTo>
                    <a:cubicBezTo>
                      <a:pt x="138" y="206"/>
                      <a:pt x="144" y="206"/>
                      <a:pt x="150" y="206"/>
                    </a:cubicBezTo>
                    <a:cubicBezTo>
                      <a:pt x="158" y="206"/>
                      <a:pt x="166" y="206"/>
                      <a:pt x="174" y="206"/>
                    </a:cubicBezTo>
                    <a:cubicBezTo>
                      <a:pt x="177" y="205"/>
                      <a:pt x="181" y="204"/>
                      <a:pt x="184" y="203"/>
                    </a:cubicBezTo>
                    <a:cubicBezTo>
                      <a:pt x="188" y="202"/>
                      <a:pt x="192" y="201"/>
                      <a:pt x="196" y="200"/>
                    </a:cubicBezTo>
                    <a:cubicBezTo>
                      <a:pt x="191" y="196"/>
                      <a:pt x="187" y="192"/>
                      <a:pt x="182" y="187"/>
                    </a:cubicBezTo>
                    <a:cubicBezTo>
                      <a:pt x="178" y="183"/>
                      <a:pt x="174" y="180"/>
                      <a:pt x="174" y="174"/>
                    </a:cubicBezTo>
                    <a:cubicBezTo>
                      <a:pt x="174" y="161"/>
                      <a:pt x="175" y="148"/>
                      <a:pt x="175" y="134"/>
                    </a:cubicBezTo>
                    <a:cubicBezTo>
                      <a:pt x="175" y="131"/>
                      <a:pt x="175" y="128"/>
                      <a:pt x="175" y="125"/>
                    </a:cubicBezTo>
                    <a:cubicBezTo>
                      <a:pt x="175" y="123"/>
                      <a:pt x="175" y="121"/>
                      <a:pt x="177" y="121"/>
                    </a:cubicBezTo>
                    <a:cubicBezTo>
                      <a:pt x="180" y="121"/>
                      <a:pt x="184" y="121"/>
                      <a:pt x="187" y="121"/>
                    </a:cubicBezTo>
                    <a:cubicBezTo>
                      <a:pt x="190" y="121"/>
                      <a:pt x="194" y="121"/>
                      <a:pt x="197" y="121"/>
                    </a:cubicBezTo>
                    <a:cubicBezTo>
                      <a:pt x="200" y="121"/>
                      <a:pt x="203" y="122"/>
                      <a:pt x="206" y="121"/>
                    </a:cubicBezTo>
                    <a:cubicBezTo>
                      <a:pt x="207" y="121"/>
                      <a:pt x="208" y="121"/>
                      <a:pt x="207" y="120"/>
                    </a:cubicBezTo>
                    <a:cubicBezTo>
                      <a:pt x="207" y="119"/>
                      <a:pt x="206" y="117"/>
                      <a:pt x="206" y="116"/>
                    </a:cubicBezTo>
                    <a:cubicBezTo>
                      <a:pt x="207" y="114"/>
                      <a:pt x="208" y="112"/>
                      <a:pt x="209" y="110"/>
                    </a:cubicBezTo>
                    <a:cubicBezTo>
                      <a:pt x="209" y="108"/>
                      <a:pt x="209" y="107"/>
                      <a:pt x="209" y="106"/>
                    </a:cubicBezTo>
                    <a:cubicBezTo>
                      <a:pt x="208" y="104"/>
                      <a:pt x="208" y="102"/>
                      <a:pt x="208" y="100"/>
                    </a:cubicBezTo>
                    <a:cubicBezTo>
                      <a:pt x="208" y="97"/>
                      <a:pt x="208" y="93"/>
                      <a:pt x="208" y="89"/>
                    </a:cubicBezTo>
                    <a:cubicBezTo>
                      <a:pt x="206" y="90"/>
                      <a:pt x="203" y="90"/>
                      <a:pt x="201" y="90"/>
                    </a:cubicBezTo>
                    <a:cubicBezTo>
                      <a:pt x="198" y="90"/>
                      <a:pt x="194" y="90"/>
                      <a:pt x="191" y="90"/>
                    </a:cubicBezTo>
                    <a:cubicBezTo>
                      <a:pt x="188" y="90"/>
                      <a:pt x="186" y="91"/>
                      <a:pt x="183" y="91"/>
                    </a:cubicBezTo>
                    <a:cubicBezTo>
                      <a:pt x="182" y="91"/>
                      <a:pt x="179" y="92"/>
                      <a:pt x="178" y="90"/>
                    </a:cubicBezTo>
                    <a:cubicBezTo>
                      <a:pt x="177" y="88"/>
                      <a:pt x="177" y="85"/>
                      <a:pt x="178" y="83"/>
                    </a:cubicBezTo>
                    <a:cubicBezTo>
                      <a:pt x="179" y="82"/>
                      <a:pt x="179" y="81"/>
                      <a:pt x="179" y="80"/>
                    </a:cubicBezTo>
                    <a:cubicBezTo>
                      <a:pt x="179" y="78"/>
                      <a:pt x="179" y="77"/>
                      <a:pt x="179" y="76"/>
                    </a:cubicBezTo>
                    <a:cubicBezTo>
                      <a:pt x="178" y="73"/>
                      <a:pt x="178" y="71"/>
                      <a:pt x="176" y="69"/>
                    </a:cubicBezTo>
                    <a:cubicBezTo>
                      <a:pt x="175" y="66"/>
                      <a:pt x="172" y="65"/>
                      <a:pt x="172" y="62"/>
                    </a:cubicBezTo>
                    <a:cubicBezTo>
                      <a:pt x="171" y="56"/>
                      <a:pt x="173" y="50"/>
                      <a:pt x="173" y="44"/>
                    </a:cubicBezTo>
                    <a:cubicBezTo>
                      <a:pt x="173" y="41"/>
                      <a:pt x="171" y="40"/>
                      <a:pt x="170" y="37"/>
                    </a:cubicBezTo>
                    <a:cubicBezTo>
                      <a:pt x="170" y="34"/>
                      <a:pt x="171" y="31"/>
                      <a:pt x="171" y="28"/>
                    </a:cubicBezTo>
                    <a:cubicBezTo>
                      <a:pt x="171" y="26"/>
                      <a:pt x="171" y="24"/>
                      <a:pt x="168" y="24"/>
                    </a:cubicBezTo>
                    <a:cubicBezTo>
                      <a:pt x="165" y="24"/>
                      <a:pt x="162" y="24"/>
                      <a:pt x="159" y="24"/>
                    </a:cubicBezTo>
                    <a:cubicBezTo>
                      <a:pt x="157" y="25"/>
                      <a:pt x="154" y="25"/>
                      <a:pt x="152" y="24"/>
                    </a:cubicBezTo>
                    <a:cubicBezTo>
                      <a:pt x="150" y="24"/>
                      <a:pt x="150" y="23"/>
                      <a:pt x="150" y="22"/>
                    </a:cubicBezTo>
                    <a:cubicBezTo>
                      <a:pt x="150" y="21"/>
                      <a:pt x="150" y="19"/>
                      <a:pt x="149" y="19"/>
                    </a:cubicBezTo>
                    <a:cubicBezTo>
                      <a:pt x="148" y="18"/>
                      <a:pt x="146" y="19"/>
                      <a:pt x="144" y="19"/>
                    </a:cubicBezTo>
                    <a:cubicBezTo>
                      <a:pt x="142" y="19"/>
                      <a:pt x="138" y="19"/>
                      <a:pt x="136" y="20"/>
                    </a:cubicBezTo>
                    <a:cubicBezTo>
                      <a:pt x="134" y="21"/>
                      <a:pt x="134" y="23"/>
                      <a:pt x="134" y="25"/>
                    </a:cubicBezTo>
                    <a:cubicBezTo>
                      <a:pt x="133" y="28"/>
                      <a:pt x="133" y="31"/>
                      <a:pt x="132" y="34"/>
                    </a:cubicBezTo>
                    <a:cubicBezTo>
                      <a:pt x="130" y="40"/>
                      <a:pt x="122" y="36"/>
                      <a:pt x="118" y="37"/>
                    </a:cubicBezTo>
                    <a:cubicBezTo>
                      <a:pt x="115" y="37"/>
                      <a:pt x="113" y="38"/>
                      <a:pt x="111" y="39"/>
                    </a:cubicBezTo>
                    <a:cubicBezTo>
                      <a:pt x="108" y="40"/>
                      <a:pt x="105" y="40"/>
                      <a:pt x="102" y="39"/>
                    </a:cubicBezTo>
                    <a:cubicBezTo>
                      <a:pt x="100" y="39"/>
                      <a:pt x="98" y="36"/>
                      <a:pt x="97" y="34"/>
                    </a:cubicBezTo>
                    <a:cubicBezTo>
                      <a:pt x="95" y="32"/>
                      <a:pt x="94" y="29"/>
                      <a:pt x="92" y="27"/>
                    </a:cubicBezTo>
                    <a:cubicBezTo>
                      <a:pt x="89" y="21"/>
                      <a:pt x="86" y="16"/>
                      <a:pt x="85" y="10"/>
                    </a:cubicBezTo>
                    <a:cubicBezTo>
                      <a:pt x="85" y="7"/>
                      <a:pt x="84" y="4"/>
                      <a:pt x="83" y="2"/>
                    </a:cubicBezTo>
                    <a:cubicBezTo>
                      <a:pt x="81" y="0"/>
                      <a:pt x="78" y="1"/>
                      <a:pt x="76" y="0"/>
                    </a:cubicBezTo>
                    <a:cubicBezTo>
                      <a:pt x="69" y="0"/>
                      <a:pt x="63" y="0"/>
                      <a:pt x="56" y="0"/>
                    </a:cubicBezTo>
                    <a:cubicBezTo>
                      <a:pt x="50" y="0"/>
                      <a:pt x="43" y="0"/>
                      <a:pt x="36" y="0"/>
                    </a:cubicBezTo>
                    <a:cubicBezTo>
                      <a:pt x="30" y="0"/>
                      <a:pt x="24" y="0"/>
                      <a:pt x="18" y="2"/>
                    </a:cubicBezTo>
                    <a:cubicBezTo>
                      <a:pt x="16" y="3"/>
                      <a:pt x="13" y="5"/>
                      <a:pt x="11" y="6"/>
                    </a:cubicBezTo>
                    <a:cubicBezTo>
                      <a:pt x="11" y="7"/>
                      <a:pt x="12" y="8"/>
                      <a:pt x="13" y="8"/>
                    </a:cubicBezTo>
                    <a:cubicBezTo>
                      <a:pt x="15" y="9"/>
                      <a:pt x="15" y="10"/>
                      <a:pt x="15" y="11"/>
                    </a:cubicBezTo>
                    <a:cubicBezTo>
                      <a:pt x="16" y="13"/>
                      <a:pt x="17" y="15"/>
                      <a:pt x="18" y="17"/>
                    </a:cubicBezTo>
                    <a:cubicBezTo>
                      <a:pt x="20" y="19"/>
                      <a:pt x="21" y="22"/>
                      <a:pt x="22" y="24"/>
                    </a:cubicBezTo>
                    <a:cubicBezTo>
                      <a:pt x="23" y="27"/>
                      <a:pt x="24" y="30"/>
                      <a:pt x="25" y="32"/>
                    </a:cubicBezTo>
                    <a:cubicBezTo>
                      <a:pt x="26" y="35"/>
                      <a:pt x="28" y="37"/>
                      <a:pt x="29" y="40"/>
                    </a:cubicBezTo>
                    <a:cubicBezTo>
                      <a:pt x="30" y="42"/>
                      <a:pt x="29" y="45"/>
                      <a:pt x="29" y="48"/>
                    </a:cubicBezTo>
                    <a:cubicBezTo>
                      <a:pt x="28" y="49"/>
                      <a:pt x="28" y="50"/>
                      <a:pt x="27" y="51"/>
                    </a:cubicBezTo>
                    <a:cubicBezTo>
                      <a:pt x="26" y="52"/>
                      <a:pt x="25" y="52"/>
                      <a:pt x="24" y="53"/>
                    </a:cubicBezTo>
                    <a:cubicBezTo>
                      <a:pt x="23" y="56"/>
                      <a:pt x="24" y="58"/>
                      <a:pt x="25" y="60"/>
                    </a:cubicBezTo>
                    <a:cubicBezTo>
                      <a:pt x="26" y="62"/>
                      <a:pt x="27" y="65"/>
                      <a:pt x="28" y="68"/>
                    </a:cubicBezTo>
                    <a:cubicBezTo>
                      <a:pt x="29" y="70"/>
                      <a:pt x="30" y="73"/>
                      <a:pt x="32" y="75"/>
                    </a:cubicBezTo>
                    <a:cubicBezTo>
                      <a:pt x="34" y="77"/>
                      <a:pt x="36" y="79"/>
                      <a:pt x="36" y="82"/>
                    </a:cubicBezTo>
                    <a:cubicBezTo>
                      <a:pt x="38" y="87"/>
                      <a:pt x="37" y="94"/>
                      <a:pt x="37" y="99"/>
                    </a:cubicBezTo>
                    <a:cubicBezTo>
                      <a:pt x="37" y="100"/>
                      <a:pt x="37" y="101"/>
                      <a:pt x="36" y="102"/>
                    </a:cubicBezTo>
                    <a:cubicBezTo>
                      <a:pt x="36" y="103"/>
                      <a:pt x="35" y="104"/>
                      <a:pt x="34" y="104"/>
                    </a:cubicBezTo>
                    <a:cubicBezTo>
                      <a:pt x="33" y="107"/>
                      <a:pt x="33" y="109"/>
                      <a:pt x="32" y="111"/>
                    </a:cubicBezTo>
                    <a:cubicBezTo>
                      <a:pt x="30" y="113"/>
                      <a:pt x="28" y="115"/>
                      <a:pt x="26" y="116"/>
                    </a:cubicBezTo>
                    <a:cubicBezTo>
                      <a:pt x="24" y="118"/>
                      <a:pt x="21" y="120"/>
                      <a:pt x="20" y="122"/>
                    </a:cubicBezTo>
                    <a:cubicBezTo>
                      <a:pt x="16" y="126"/>
                      <a:pt x="14" y="131"/>
                      <a:pt x="13" y="136"/>
                    </a:cubicBezTo>
                    <a:cubicBezTo>
                      <a:pt x="13" y="139"/>
                      <a:pt x="12" y="141"/>
                      <a:pt x="11" y="144"/>
                    </a:cubicBezTo>
                    <a:cubicBezTo>
                      <a:pt x="10" y="147"/>
                      <a:pt x="9" y="151"/>
                      <a:pt x="8" y="154"/>
                    </a:cubicBezTo>
                    <a:cubicBezTo>
                      <a:pt x="7" y="157"/>
                      <a:pt x="7" y="159"/>
                      <a:pt x="7" y="162"/>
                    </a:cubicBezTo>
                    <a:cubicBezTo>
                      <a:pt x="6" y="163"/>
                      <a:pt x="6" y="164"/>
                      <a:pt x="6" y="165"/>
                    </a:cubicBezTo>
                    <a:cubicBezTo>
                      <a:pt x="5" y="167"/>
                      <a:pt x="4" y="168"/>
                      <a:pt x="3" y="169"/>
                    </a:cubicBezTo>
                    <a:cubicBezTo>
                      <a:pt x="2" y="169"/>
                      <a:pt x="1" y="170"/>
                      <a:pt x="1" y="171"/>
                    </a:cubicBezTo>
                    <a:cubicBezTo>
                      <a:pt x="0" y="173"/>
                      <a:pt x="1" y="174"/>
                      <a:pt x="1" y="176"/>
                    </a:cubicBezTo>
                    <a:cubicBezTo>
                      <a:pt x="1" y="179"/>
                      <a:pt x="0" y="183"/>
                      <a:pt x="0" y="186"/>
                    </a:cubicBezTo>
                    <a:cubicBezTo>
                      <a:pt x="1" y="189"/>
                      <a:pt x="1" y="192"/>
                      <a:pt x="1" y="195"/>
                    </a:cubicBezTo>
                    <a:cubicBezTo>
                      <a:pt x="1" y="196"/>
                      <a:pt x="2" y="196"/>
                      <a:pt x="3" y="196"/>
                    </a:cubicBezTo>
                    <a:cubicBezTo>
                      <a:pt x="5" y="196"/>
                      <a:pt x="6" y="196"/>
                      <a:pt x="8" y="196"/>
                    </a:cubicBezTo>
                    <a:cubicBezTo>
                      <a:pt x="10" y="196"/>
                      <a:pt x="12" y="196"/>
                      <a:pt x="14" y="196"/>
                    </a:cubicBezTo>
                    <a:cubicBezTo>
                      <a:pt x="14" y="196"/>
                      <a:pt x="14" y="196"/>
                      <a:pt x="14" y="196"/>
                    </a:cubicBezTo>
                    <a:cubicBezTo>
                      <a:pt x="15" y="195"/>
                      <a:pt x="14" y="196"/>
                      <a:pt x="14" y="196"/>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86" name="Freeform 479">
                <a:extLst>
                  <a:ext uri="{FF2B5EF4-FFF2-40B4-BE49-F238E27FC236}">
                    <a16:creationId xmlns:a16="http://schemas.microsoft.com/office/drawing/2014/main" id="{1F437381-353C-C97F-20FB-D2879EC09D1D}"/>
                  </a:ext>
                </a:extLst>
              </p:cNvPr>
              <p:cNvSpPr>
                <a:spLocks noEditPoints="1"/>
              </p:cNvSpPr>
              <p:nvPr>
                <p:custDataLst>
                  <p:tags r:id="rId224"/>
                </p:custDataLst>
              </p:nvPr>
            </p:nvSpPr>
            <p:spPr bwMode="auto">
              <a:xfrm>
                <a:off x="6561113" y="4712933"/>
                <a:ext cx="186230" cy="359705"/>
              </a:xfrm>
              <a:custGeom>
                <a:avLst/>
                <a:gdLst>
                  <a:gd name="T0" fmla="*/ 117 w 125"/>
                  <a:gd name="T1" fmla="*/ 28 h 242"/>
                  <a:gd name="T2" fmla="*/ 104 w 125"/>
                  <a:gd name="T3" fmla="*/ 8 h 242"/>
                  <a:gd name="T4" fmla="*/ 104 w 125"/>
                  <a:gd name="T5" fmla="*/ 5 h 242"/>
                  <a:gd name="T6" fmla="*/ 96 w 125"/>
                  <a:gd name="T7" fmla="*/ 7 h 242"/>
                  <a:gd name="T8" fmla="*/ 98 w 125"/>
                  <a:gd name="T9" fmla="*/ 20 h 242"/>
                  <a:gd name="T10" fmla="*/ 92 w 125"/>
                  <a:gd name="T11" fmla="*/ 25 h 242"/>
                  <a:gd name="T12" fmla="*/ 89 w 125"/>
                  <a:gd name="T13" fmla="*/ 29 h 242"/>
                  <a:gd name="T14" fmla="*/ 83 w 125"/>
                  <a:gd name="T15" fmla="*/ 28 h 242"/>
                  <a:gd name="T16" fmla="*/ 82 w 125"/>
                  <a:gd name="T17" fmla="*/ 40 h 242"/>
                  <a:gd name="T18" fmla="*/ 82 w 125"/>
                  <a:gd name="T19" fmla="*/ 46 h 242"/>
                  <a:gd name="T20" fmla="*/ 81 w 125"/>
                  <a:gd name="T21" fmla="*/ 48 h 242"/>
                  <a:gd name="T22" fmla="*/ 71 w 125"/>
                  <a:gd name="T23" fmla="*/ 53 h 242"/>
                  <a:gd name="T24" fmla="*/ 68 w 125"/>
                  <a:gd name="T25" fmla="*/ 62 h 242"/>
                  <a:gd name="T26" fmla="*/ 65 w 125"/>
                  <a:gd name="T27" fmla="*/ 59 h 242"/>
                  <a:gd name="T28" fmla="*/ 57 w 125"/>
                  <a:gd name="T29" fmla="*/ 62 h 242"/>
                  <a:gd name="T30" fmla="*/ 55 w 125"/>
                  <a:gd name="T31" fmla="*/ 66 h 242"/>
                  <a:gd name="T32" fmla="*/ 53 w 125"/>
                  <a:gd name="T33" fmla="*/ 69 h 242"/>
                  <a:gd name="T34" fmla="*/ 47 w 125"/>
                  <a:gd name="T35" fmla="*/ 68 h 242"/>
                  <a:gd name="T36" fmla="*/ 40 w 125"/>
                  <a:gd name="T37" fmla="*/ 68 h 242"/>
                  <a:gd name="T38" fmla="*/ 34 w 125"/>
                  <a:gd name="T39" fmla="*/ 71 h 242"/>
                  <a:gd name="T40" fmla="*/ 28 w 125"/>
                  <a:gd name="T41" fmla="*/ 74 h 242"/>
                  <a:gd name="T42" fmla="*/ 20 w 125"/>
                  <a:gd name="T43" fmla="*/ 84 h 242"/>
                  <a:gd name="T44" fmla="*/ 13 w 125"/>
                  <a:gd name="T45" fmla="*/ 100 h 242"/>
                  <a:gd name="T46" fmla="*/ 18 w 125"/>
                  <a:gd name="T47" fmla="*/ 117 h 242"/>
                  <a:gd name="T48" fmla="*/ 22 w 125"/>
                  <a:gd name="T49" fmla="*/ 133 h 242"/>
                  <a:gd name="T50" fmla="*/ 16 w 125"/>
                  <a:gd name="T51" fmla="*/ 149 h 242"/>
                  <a:gd name="T52" fmla="*/ 9 w 125"/>
                  <a:gd name="T53" fmla="*/ 162 h 242"/>
                  <a:gd name="T54" fmla="*/ 2 w 125"/>
                  <a:gd name="T55" fmla="*/ 173 h 242"/>
                  <a:gd name="T56" fmla="*/ 2 w 125"/>
                  <a:gd name="T57" fmla="*/ 188 h 242"/>
                  <a:gd name="T58" fmla="*/ 8 w 125"/>
                  <a:gd name="T59" fmla="*/ 203 h 242"/>
                  <a:gd name="T60" fmla="*/ 7 w 125"/>
                  <a:gd name="T61" fmla="*/ 210 h 242"/>
                  <a:gd name="T62" fmla="*/ 10 w 125"/>
                  <a:gd name="T63" fmla="*/ 221 h 242"/>
                  <a:gd name="T64" fmla="*/ 17 w 125"/>
                  <a:gd name="T65" fmla="*/ 232 h 242"/>
                  <a:gd name="T66" fmla="*/ 40 w 125"/>
                  <a:gd name="T67" fmla="*/ 239 h 242"/>
                  <a:gd name="T68" fmla="*/ 62 w 125"/>
                  <a:gd name="T69" fmla="*/ 231 h 242"/>
                  <a:gd name="T70" fmla="*/ 74 w 125"/>
                  <a:gd name="T71" fmla="*/ 207 h 242"/>
                  <a:gd name="T72" fmla="*/ 84 w 125"/>
                  <a:gd name="T73" fmla="*/ 170 h 242"/>
                  <a:gd name="T74" fmla="*/ 96 w 125"/>
                  <a:gd name="T75" fmla="*/ 137 h 242"/>
                  <a:gd name="T76" fmla="*/ 102 w 125"/>
                  <a:gd name="T77" fmla="*/ 110 h 242"/>
                  <a:gd name="T78" fmla="*/ 106 w 125"/>
                  <a:gd name="T79" fmla="*/ 95 h 242"/>
                  <a:gd name="T80" fmla="*/ 111 w 125"/>
                  <a:gd name="T81" fmla="*/ 84 h 242"/>
                  <a:gd name="T82" fmla="*/ 112 w 125"/>
                  <a:gd name="T83" fmla="*/ 76 h 242"/>
                  <a:gd name="T84" fmla="*/ 110 w 125"/>
                  <a:gd name="T85" fmla="*/ 69 h 242"/>
                  <a:gd name="T86" fmla="*/ 111 w 125"/>
                  <a:gd name="T87" fmla="*/ 61 h 242"/>
                  <a:gd name="T88" fmla="*/ 122 w 125"/>
                  <a:gd name="T89" fmla="*/ 66 h 242"/>
                  <a:gd name="T90" fmla="*/ 117 w 125"/>
                  <a:gd name="T91" fmla="*/ 33 h 242"/>
                  <a:gd name="T92" fmla="*/ 119 w 125"/>
                  <a:gd name="T93" fmla="*/ 36 h 242"/>
                  <a:gd name="T94" fmla="*/ 70 w 125"/>
                  <a:gd name="T95" fmla="*/ 48 h 242"/>
                  <a:gd name="T96" fmla="*/ 71 w 125"/>
                  <a:gd name="T97" fmla="*/ 46 h 242"/>
                  <a:gd name="T98" fmla="*/ 71 w 125"/>
                  <a:gd name="T99" fmla="*/ 46 h 242"/>
                  <a:gd name="T100" fmla="*/ 86 w 125"/>
                  <a:gd name="T101" fmla="*/ 22 h 242"/>
                  <a:gd name="T102" fmla="*/ 87 w 125"/>
                  <a:gd name="T103" fmla="*/ 24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5" h="241">
                    <a:moveTo>
                      <a:pt x="119" y="36"/>
                    </a:moveTo>
                    <a:cubicBezTo>
                      <a:pt x="117" y="33"/>
                      <a:pt x="117" y="31"/>
                      <a:pt x="117" y="28"/>
                    </a:cubicBezTo>
                    <a:cubicBezTo>
                      <a:pt x="117" y="26"/>
                      <a:pt x="117" y="22"/>
                      <a:pt x="115" y="20"/>
                    </a:cubicBezTo>
                    <a:cubicBezTo>
                      <a:pt x="113" y="15"/>
                      <a:pt x="108" y="11"/>
                      <a:pt x="104" y="8"/>
                    </a:cubicBezTo>
                    <a:cubicBezTo>
                      <a:pt x="104" y="8"/>
                      <a:pt x="103" y="7"/>
                      <a:pt x="103" y="7"/>
                    </a:cubicBezTo>
                    <a:cubicBezTo>
                      <a:pt x="102" y="6"/>
                      <a:pt x="103" y="6"/>
                      <a:pt x="104" y="5"/>
                    </a:cubicBezTo>
                    <a:cubicBezTo>
                      <a:pt x="105" y="3"/>
                      <a:pt x="103" y="0"/>
                      <a:pt x="101" y="2"/>
                    </a:cubicBezTo>
                    <a:cubicBezTo>
                      <a:pt x="100" y="4"/>
                      <a:pt x="98" y="5"/>
                      <a:pt x="96" y="7"/>
                    </a:cubicBezTo>
                    <a:cubicBezTo>
                      <a:pt x="95" y="9"/>
                      <a:pt x="98" y="11"/>
                      <a:pt x="99" y="13"/>
                    </a:cubicBezTo>
                    <a:cubicBezTo>
                      <a:pt x="100" y="16"/>
                      <a:pt x="98" y="18"/>
                      <a:pt x="98" y="20"/>
                    </a:cubicBezTo>
                    <a:cubicBezTo>
                      <a:pt x="97" y="22"/>
                      <a:pt x="96" y="25"/>
                      <a:pt x="94" y="24"/>
                    </a:cubicBezTo>
                    <a:cubicBezTo>
                      <a:pt x="94" y="24"/>
                      <a:pt x="93" y="24"/>
                      <a:pt x="92" y="25"/>
                    </a:cubicBezTo>
                    <a:cubicBezTo>
                      <a:pt x="91" y="25"/>
                      <a:pt x="92" y="27"/>
                      <a:pt x="91" y="27"/>
                    </a:cubicBezTo>
                    <a:cubicBezTo>
                      <a:pt x="90" y="28"/>
                      <a:pt x="89" y="28"/>
                      <a:pt x="89" y="29"/>
                    </a:cubicBezTo>
                    <a:cubicBezTo>
                      <a:pt x="88" y="30"/>
                      <a:pt x="88" y="32"/>
                      <a:pt x="87" y="31"/>
                    </a:cubicBezTo>
                    <a:cubicBezTo>
                      <a:pt x="85" y="31"/>
                      <a:pt x="85" y="29"/>
                      <a:pt x="83" y="28"/>
                    </a:cubicBezTo>
                    <a:cubicBezTo>
                      <a:pt x="80" y="28"/>
                      <a:pt x="83" y="33"/>
                      <a:pt x="83" y="34"/>
                    </a:cubicBezTo>
                    <a:cubicBezTo>
                      <a:pt x="83" y="36"/>
                      <a:pt x="84" y="40"/>
                      <a:pt x="82" y="40"/>
                    </a:cubicBezTo>
                    <a:cubicBezTo>
                      <a:pt x="80" y="41"/>
                      <a:pt x="78" y="39"/>
                      <a:pt x="78" y="42"/>
                    </a:cubicBezTo>
                    <a:cubicBezTo>
                      <a:pt x="79" y="44"/>
                      <a:pt x="81" y="45"/>
                      <a:pt x="82" y="46"/>
                    </a:cubicBezTo>
                    <a:cubicBezTo>
                      <a:pt x="83" y="47"/>
                      <a:pt x="83" y="48"/>
                      <a:pt x="83" y="48"/>
                    </a:cubicBezTo>
                    <a:cubicBezTo>
                      <a:pt x="82" y="49"/>
                      <a:pt x="81" y="49"/>
                      <a:pt x="81" y="48"/>
                    </a:cubicBezTo>
                    <a:cubicBezTo>
                      <a:pt x="79" y="46"/>
                      <a:pt x="78" y="47"/>
                      <a:pt x="76" y="48"/>
                    </a:cubicBezTo>
                    <a:cubicBezTo>
                      <a:pt x="74" y="49"/>
                      <a:pt x="73" y="52"/>
                      <a:pt x="71" y="53"/>
                    </a:cubicBezTo>
                    <a:cubicBezTo>
                      <a:pt x="70" y="54"/>
                      <a:pt x="68" y="54"/>
                      <a:pt x="68" y="57"/>
                    </a:cubicBezTo>
                    <a:cubicBezTo>
                      <a:pt x="68" y="59"/>
                      <a:pt x="71" y="61"/>
                      <a:pt x="68" y="62"/>
                    </a:cubicBezTo>
                    <a:cubicBezTo>
                      <a:pt x="67" y="62"/>
                      <a:pt x="64" y="63"/>
                      <a:pt x="64" y="61"/>
                    </a:cubicBezTo>
                    <a:cubicBezTo>
                      <a:pt x="64" y="61"/>
                      <a:pt x="65" y="60"/>
                      <a:pt x="65" y="59"/>
                    </a:cubicBezTo>
                    <a:cubicBezTo>
                      <a:pt x="65" y="58"/>
                      <a:pt x="63" y="58"/>
                      <a:pt x="62" y="58"/>
                    </a:cubicBezTo>
                    <a:cubicBezTo>
                      <a:pt x="60" y="59"/>
                      <a:pt x="59" y="62"/>
                      <a:pt x="57" y="62"/>
                    </a:cubicBezTo>
                    <a:cubicBezTo>
                      <a:pt x="56" y="62"/>
                      <a:pt x="55" y="62"/>
                      <a:pt x="55" y="63"/>
                    </a:cubicBezTo>
                    <a:cubicBezTo>
                      <a:pt x="54" y="64"/>
                      <a:pt x="54" y="66"/>
                      <a:pt x="55" y="66"/>
                    </a:cubicBezTo>
                    <a:cubicBezTo>
                      <a:pt x="56" y="67"/>
                      <a:pt x="57" y="68"/>
                      <a:pt x="56" y="69"/>
                    </a:cubicBezTo>
                    <a:cubicBezTo>
                      <a:pt x="55" y="70"/>
                      <a:pt x="53" y="69"/>
                      <a:pt x="53" y="69"/>
                    </a:cubicBezTo>
                    <a:cubicBezTo>
                      <a:pt x="52" y="68"/>
                      <a:pt x="51" y="67"/>
                      <a:pt x="50" y="67"/>
                    </a:cubicBezTo>
                    <a:cubicBezTo>
                      <a:pt x="49" y="67"/>
                      <a:pt x="48" y="68"/>
                      <a:pt x="47" y="68"/>
                    </a:cubicBezTo>
                    <a:cubicBezTo>
                      <a:pt x="46" y="69"/>
                      <a:pt x="45" y="67"/>
                      <a:pt x="44" y="67"/>
                    </a:cubicBezTo>
                    <a:cubicBezTo>
                      <a:pt x="43" y="67"/>
                      <a:pt x="41" y="68"/>
                      <a:pt x="40" y="68"/>
                    </a:cubicBezTo>
                    <a:cubicBezTo>
                      <a:pt x="39" y="69"/>
                      <a:pt x="39" y="70"/>
                      <a:pt x="38" y="71"/>
                    </a:cubicBezTo>
                    <a:cubicBezTo>
                      <a:pt x="36" y="71"/>
                      <a:pt x="35" y="71"/>
                      <a:pt x="34" y="71"/>
                    </a:cubicBezTo>
                    <a:cubicBezTo>
                      <a:pt x="33" y="71"/>
                      <a:pt x="32" y="72"/>
                      <a:pt x="31" y="73"/>
                    </a:cubicBezTo>
                    <a:cubicBezTo>
                      <a:pt x="31" y="74"/>
                      <a:pt x="29" y="74"/>
                      <a:pt x="28" y="74"/>
                    </a:cubicBezTo>
                    <a:cubicBezTo>
                      <a:pt x="26" y="74"/>
                      <a:pt x="22" y="74"/>
                      <a:pt x="21" y="76"/>
                    </a:cubicBezTo>
                    <a:cubicBezTo>
                      <a:pt x="20" y="79"/>
                      <a:pt x="20" y="81"/>
                      <a:pt x="20" y="84"/>
                    </a:cubicBezTo>
                    <a:cubicBezTo>
                      <a:pt x="19" y="87"/>
                      <a:pt x="18" y="90"/>
                      <a:pt x="16" y="93"/>
                    </a:cubicBezTo>
                    <a:cubicBezTo>
                      <a:pt x="15" y="95"/>
                      <a:pt x="13" y="97"/>
                      <a:pt x="13" y="100"/>
                    </a:cubicBezTo>
                    <a:cubicBezTo>
                      <a:pt x="14" y="103"/>
                      <a:pt x="15" y="106"/>
                      <a:pt x="16" y="109"/>
                    </a:cubicBezTo>
                    <a:cubicBezTo>
                      <a:pt x="17" y="112"/>
                      <a:pt x="17" y="115"/>
                      <a:pt x="18" y="117"/>
                    </a:cubicBezTo>
                    <a:cubicBezTo>
                      <a:pt x="18" y="120"/>
                      <a:pt x="18" y="124"/>
                      <a:pt x="19" y="126"/>
                    </a:cubicBezTo>
                    <a:cubicBezTo>
                      <a:pt x="20" y="129"/>
                      <a:pt x="22" y="130"/>
                      <a:pt x="22" y="133"/>
                    </a:cubicBezTo>
                    <a:cubicBezTo>
                      <a:pt x="21" y="136"/>
                      <a:pt x="21" y="139"/>
                      <a:pt x="20" y="142"/>
                    </a:cubicBezTo>
                    <a:cubicBezTo>
                      <a:pt x="20" y="145"/>
                      <a:pt x="18" y="147"/>
                      <a:pt x="16" y="149"/>
                    </a:cubicBezTo>
                    <a:cubicBezTo>
                      <a:pt x="15" y="151"/>
                      <a:pt x="13" y="154"/>
                      <a:pt x="12" y="157"/>
                    </a:cubicBezTo>
                    <a:cubicBezTo>
                      <a:pt x="11" y="159"/>
                      <a:pt x="11" y="162"/>
                      <a:pt x="9" y="162"/>
                    </a:cubicBezTo>
                    <a:cubicBezTo>
                      <a:pt x="6" y="163"/>
                      <a:pt x="5" y="164"/>
                      <a:pt x="5" y="167"/>
                    </a:cubicBezTo>
                    <a:cubicBezTo>
                      <a:pt x="5" y="169"/>
                      <a:pt x="4" y="172"/>
                      <a:pt x="2" y="173"/>
                    </a:cubicBezTo>
                    <a:cubicBezTo>
                      <a:pt x="0" y="174"/>
                      <a:pt x="0" y="178"/>
                      <a:pt x="0" y="180"/>
                    </a:cubicBezTo>
                    <a:cubicBezTo>
                      <a:pt x="1" y="183"/>
                      <a:pt x="2" y="186"/>
                      <a:pt x="2" y="188"/>
                    </a:cubicBezTo>
                    <a:cubicBezTo>
                      <a:pt x="2" y="192"/>
                      <a:pt x="3" y="194"/>
                      <a:pt x="5" y="196"/>
                    </a:cubicBezTo>
                    <a:cubicBezTo>
                      <a:pt x="6" y="198"/>
                      <a:pt x="8" y="201"/>
                      <a:pt x="8" y="203"/>
                    </a:cubicBezTo>
                    <a:cubicBezTo>
                      <a:pt x="9" y="204"/>
                      <a:pt x="8" y="205"/>
                      <a:pt x="7" y="206"/>
                    </a:cubicBezTo>
                    <a:cubicBezTo>
                      <a:pt x="7" y="207"/>
                      <a:pt x="7" y="209"/>
                      <a:pt x="7" y="210"/>
                    </a:cubicBezTo>
                    <a:cubicBezTo>
                      <a:pt x="8" y="213"/>
                      <a:pt x="7" y="216"/>
                      <a:pt x="8" y="218"/>
                    </a:cubicBezTo>
                    <a:cubicBezTo>
                      <a:pt x="8" y="219"/>
                      <a:pt x="9" y="220"/>
                      <a:pt x="10" y="221"/>
                    </a:cubicBezTo>
                    <a:cubicBezTo>
                      <a:pt x="10" y="223"/>
                      <a:pt x="11" y="224"/>
                      <a:pt x="12" y="226"/>
                    </a:cubicBezTo>
                    <a:cubicBezTo>
                      <a:pt x="13" y="228"/>
                      <a:pt x="15" y="230"/>
                      <a:pt x="17" y="232"/>
                    </a:cubicBezTo>
                    <a:cubicBezTo>
                      <a:pt x="19" y="234"/>
                      <a:pt x="22" y="234"/>
                      <a:pt x="25" y="236"/>
                    </a:cubicBezTo>
                    <a:cubicBezTo>
                      <a:pt x="30" y="238"/>
                      <a:pt x="35" y="242"/>
                      <a:pt x="40" y="239"/>
                    </a:cubicBezTo>
                    <a:cubicBezTo>
                      <a:pt x="45" y="236"/>
                      <a:pt x="49" y="232"/>
                      <a:pt x="55" y="231"/>
                    </a:cubicBezTo>
                    <a:cubicBezTo>
                      <a:pt x="57" y="231"/>
                      <a:pt x="60" y="231"/>
                      <a:pt x="62" y="231"/>
                    </a:cubicBezTo>
                    <a:cubicBezTo>
                      <a:pt x="65" y="230"/>
                      <a:pt x="66" y="226"/>
                      <a:pt x="67" y="224"/>
                    </a:cubicBezTo>
                    <a:cubicBezTo>
                      <a:pt x="70" y="219"/>
                      <a:pt x="73" y="213"/>
                      <a:pt x="74" y="207"/>
                    </a:cubicBezTo>
                    <a:cubicBezTo>
                      <a:pt x="76" y="201"/>
                      <a:pt x="78" y="195"/>
                      <a:pt x="79" y="189"/>
                    </a:cubicBezTo>
                    <a:cubicBezTo>
                      <a:pt x="81" y="182"/>
                      <a:pt x="82" y="176"/>
                      <a:pt x="84" y="170"/>
                    </a:cubicBezTo>
                    <a:cubicBezTo>
                      <a:pt x="86" y="165"/>
                      <a:pt x="88" y="160"/>
                      <a:pt x="91" y="154"/>
                    </a:cubicBezTo>
                    <a:cubicBezTo>
                      <a:pt x="93" y="149"/>
                      <a:pt x="95" y="143"/>
                      <a:pt x="96" y="137"/>
                    </a:cubicBezTo>
                    <a:cubicBezTo>
                      <a:pt x="97" y="131"/>
                      <a:pt x="99" y="125"/>
                      <a:pt x="100" y="119"/>
                    </a:cubicBezTo>
                    <a:cubicBezTo>
                      <a:pt x="101" y="116"/>
                      <a:pt x="101" y="113"/>
                      <a:pt x="102" y="110"/>
                    </a:cubicBezTo>
                    <a:cubicBezTo>
                      <a:pt x="104" y="108"/>
                      <a:pt x="104" y="104"/>
                      <a:pt x="105" y="102"/>
                    </a:cubicBezTo>
                    <a:cubicBezTo>
                      <a:pt x="107" y="99"/>
                      <a:pt x="107" y="97"/>
                      <a:pt x="106" y="95"/>
                    </a:cubicBezTo>
                    <a:cubicBezTo>
                      <a:pt x="106" y="92"/>
                      <a:pt x="106" y="91"/>
                      <a:pt x="108" y="89"/>
                    </a:cubicBezTo>
                    <a:cubicBezTo>
                      <a:pt x="109" y="87"/>
                      <a:pt x="112" y="86"/>
                      <a:pt x="111" y="84"/>
                    </a:cubicBezTo>
                    <a:cubicBezTo>
                      <a:pt x="111" y="82"/>
                      <a:pt x="111" y="82"/>
                      <a:pt x="111" y="80"/>
                    </a:cubicBezTo>
                    <a:cubicBezTo>
                      <a:pt x="111" y="79"/>
                      <a:pt x="112" y="77"/>
                      <a:pt x="112" y="76"/>
                    </a:cubicBezTo>
                    <a:cubicBezTo>
                      <a:pt x="112" y="74"/>
                      <a:pt x="112" y="73"/>
                      <a:pt x="112" y="72"/>
                    </a:cubicBezTo>
                    <a:cubicBezTo>
                      <a:pt x="111" y="71"/>
                      <a:pt x="110" y="70"/>
                      <a:pt x="110" y="69"/>
                    </a:cubicBezTo>
                    <a:cubicBezTo>
                      <a:pt x="110" y="68"/>
                      <a:pt x="110" y="66"/>
                      <a:pt x="111" y="65"/>
                    </a:cubicBezTo>
                    <a:cubicBezTo>
                      <a:pt x="111" y="64"/>
                      <a:pt x="111" y="62"/>
                      <a:pt x="111" y="61"/>
                    </a:cubicBezTo>
                    <a:cubicBezTo>
                      <a:pt x="112" y="57"/>
                      <a:pt x="117" y="65"/>
                      <a:pt x="117" y="66"/>
                    </a:cubicBezTo>
                    <a:cubicBezTo>
                      <a:pt x="119" y="68"/>
                      <a:pt x="120" y="67"/>
                      <a:pt x="122" y="66"/>
                    </a:cubicBezTo>
                    <a:cubicBezTo>
                      <a:pt x="123" y="64"/>
                      <a:pt x="124" y="62"/>
                      <a:pt x="124" y="60"/>
                    </a:cubicBezTo>
                    <a:cubicBezTo>
                      <a:pt x="125" y="50"/>
                      <a:pt x="122" y="41"/>
                      <a:pt x="117" y="33"/>
                    </a:cubicBezTo>
                    <a:cubicBezTo>
                      <a:pt x="118" y="34"/>
                      <a:pt x="118" y="35"/>
                      <a:pt x="119" y="36"/>
                    </a:cubicBezTo>
                    <a:cubicBezTo>
                      <a:pt x="118" y="34"/>
                      <a:pt x="119" y="36"/>
                      <a:pt x="119" y="36"/>
                    </a:cubicBezTo>
                    <a:close/>
                    <a:moveTo>
                      <a:pt x="71" y="46"/>
                    </a:moveTo>
                    <a:cubicBezTo>
                      <a:pt x="71" y="47"/>
                      <a:pt x="70" y="48"/>
                      <a:pt x="70" y="48"/>
                    </a:cubicBezTo>
                    <a:cubicBezTo>
                      <a:pt x="71" y="49"/>
                      <a:pt x="72" y="48"/>
                      <a:pt x="72" y="48"/>
                    </a:cubicBezTo>
                    <a:cubicBezTo>
                      <a:pt x="73" y="47"/>
                      <a:pt x="72" y="45"/>
                      <a:pt x="71" y="46"/>
                    </a:cubicBezTo>
                    <a:cubicBezTo>
                      <a:pt x="71" y="46"/>
                      <a:pt x="71" y="46"/>
                      <a:pt x="71" y="46"/>
                    </a:cubicBezTo>
                    <a:cubicBezTo>
                      <a:pt x="71" y="47"/>
                      <a:pt x="71" y="46"/>
                      <a:pt x="71" y="46"/>
                    </a:cubicBezTo>
                    <a:close/>
                    <a:moveTo>
                      <a:pt x="87" y="24"/>
                    </a:moveTo>
                    <a:cubicBezTo>
                      <a:pt x="89" y="23"/>
                      <a:pt x="88" y="20"/>
                      <a:pt x="86" y="22"/>
                    </a:cubicBezTo>
                    <a:cubicBezTo>
                      <a:pt x="84" y="23"/>
                      <a:pt x="86" y="26"/>
                      <a:pt x="88" y="24"/>
                    </a:cubicBezTo>
                    <a:cubicBezTo>
                      <a:pt x="88" y="24"/>
                      <a:pt x="88" y="24"/>
                      <a:pt x="87" y="24"/>
                    </a:cubicBezTo>
                    <a:cubicBezTo>
                      <a:pt x="88" y="24"/>
                      <a:pt x="87" y="24"/>
                      <a:pt x="87" y="24"/>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87" name="Freeform 480">
                <a:extLst>
                  <a:ext uri="{FF2B5EF4-FFF2-40B4-BE49-F238E27FC236}">
                    <a16:creationId xmlns:a16="http://schemas.microsoft.com/office/drawing/2014/main" id="{C3CFE19C-83AB-9D18-7B73-30EBD74BC29F}"/>
                  </a:ext>
                </a:extLst>
              </p:cNvPr>
              <p:cNvSpPr/>
              <p:nvPr>
                <p:custDataLst>
                  <p:tags r:id="rId225"/>
                </p:custDataLst>
              </p:nvPr>
            </p:nvSpPr>
            <p:spPr bwMode="auto">
              <a:xfrm>
                <a:off x="6568766" y="4716759"/>
                <a:ext cx="10205" cy="8929"/>
              </a:xfrm>
              <a:custGeom>
                <a:avLst/>
                <a:gdLst>
                  <a:gd name="T0" fmla="*/ 5 w 7"/>
                  <a:gd name="T1" fmla="*/ 5 h 6"/>
                  <a:gd name="T2" fmla="*/ 2 w 7"/>
                  <a:gd name="T3" fmla="*/ 0 h 6"/>
                  <a:gd name="T4" fmla="*/ 3 w 7"/>
                  <a:gd name="T5" fmla="*/ 3 h 6"/>
                  <a:gd name="T6" fmla="*/ 6 w 7"/>
                  <a:gd name="T7" fmla="*/ 5 h 6"/>
                  <a:gd name="T8" fmla="*/ 5 w 7"/>
                  <a:gd name="T9" fmla="*/ 5 h 6"/>
                  <a:gd name="T10" fmla="*/ 5 w 7"/>
                  <a:gd name="T11" fmla="*/ 5 h 6"/>
                </a:gdLst>
                <a:ahLst/>
                <a:cxnLst>
                  <a:cxn ang="0">
                    <a:pos x="T0" y="T1"/>
                  </a:cxn>
                  <a:cxn ang="0">
                    <a:pos x="T2" y="T3"/>
                  </a:cxn>
                  <a:cxn ang="0">
                    <a:pos x="T4" y="T5"/>
                  </a:cxn>
                  <a:cxn ang="0">
                    <a:pos x="T6" y="T7"/>
                  </a:cxn>
                  <a:cxn ang="0">
                    <a:pos x="T8" y="T9"/>
                  </a:cxn>
                  <a:cxn ang="0">
                    <a:pos x="T10" y="T11"/>
                  </a:cxn>
                </a:cxnLst>
                <a:rect l="0" t="0" r="r" b="b"/>
                <a:pathLst>
                  <a:path w="7" h="6">
                    <a:moveTo>
                      <a:pt x="5" y="5"/>
                    </a:moveTo>
                    <a:cubicBezTo>
                      <a:pt x="7" y="4"/>
                      <a:pt x="4" y="0"/>
                      <a:pt x="2" y="0"/>
                    </a:cubicBezTo>
                    <a:cubicBezTo>
                      <a:pt x="0" y="1"/>
                      <a:pt x="2" y="3"/>
                      <a:pt x="3" y="3"/>
                    </a:cubicBezTo>
                    <a:cubicBezTo>
                      <a:pt x="4" y="4"/>
                      <a:pt x="4" y="6"/>
                      <a:pt x="6" y="5"/>
                    </a:cubicBezTo>
                    <a:cubicBezTo>
                      <a:pt x="6" y="5"/>
                      <a:pt x="5" y="5"/>
                      <a:pt x="5" y="5"/>
                    </a:cubicBezTo>
                    <a:cubicBezTo>
                      <a:pt x="7" y="4"/>
                      <a:pt x="5" y="5"/>
                      <a:pt x="5" y="5"/>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88" name="Freeform 481">
                <a:extLst>
                  <a:ext uri="{FF2B5EF4-FFF2-40B4-BE49-F238E27FC236}">
                    <a16:creationId xmlns:a16="http://schemas.microsoft.com/office/drawing/2014/main" id="{883F6DAD-52CE-12EE-7EAB-13836EA89060}"/>
                  </a:ext>
                </a:extLst>
              </p:cNvPr>
              <p:cNvSpPr/>
              <p:nvPr>
                <p:custDataLst>
                  <p:tags r:id="rId226"/>
                </p:custDataLst>
              </p:nvPr>
            </p:nvSpPr>
            <p:spPr bwMode="auto">
              <a:xfrm>
                <a:off x="5751140" y="4316238"/>
                <a:ext cx="186230" cy="215567"/>
              </a:xfrm>
              <a:custGeom>
                <a:avLst/>
                <a:gdLst>
                  <a:gd name="T0" fmla="*/ 21 w 125"/>
                  <a:gd name="T1" fmla="*/ 139 h 145"/>
                  <a:gd name="T2" fmla="*/ 35 w 125"/>
                  <a:gd name="T3" fmla="*/ 141 h 145"/>
                  <a:gd name="T4" fmla="*/ 43 w 125"/>
                  <a:gd name="T5" fmla="*/ 137 h 145"/>
                  <a:gd name="T6" fmla="*/ 51 w 125"/>
                  <a:gd name="T7" fmla="*/ 135 h 145"/>
                  <a:gd name="T8" fmla="*/ 58 w 125"/>
                  <a:gd name="T9" fmla="*/ 143 h 145"/>
                  <a:gd name="T10" fmla="*/ 76 w 125"/>
                  <a:gd name="T11" fmla="*/ 129 h 145"/>
                  <a:gd name="T12" fmla="*/ 83 w 125"/>
                  <a:gd name="T13" fmla="*/ 98 h 145"/>
                  <a:gd name="T14" fmla="*/ 96 w 125"/>
                  <a:gd name="T15" fmla="*/ 65 h 145"/>
                  <a:gd name="T16" fmla="*/ 114 w 125"/>
                  <a:gd name="T17" fmla="*/ 35 h 145"/>
                  <a:gd name="T18" fmla="*/ 119 w 125"/>
                  <a:gd name="T19" fmla="*/ 18 h 145"/>
                  <a:gd name="T20" fmla="*/ 125 w 125"/>
                  <a:gd name="T21" fmla="*/ 1 h 145"/>
                  <a:gd name="T22" fmla="*/ 109 w 125"/>
                  <a:gd name="T23" fmla="*/ 0 h 145"/>
                  <a:gd name="T24" fmla="*/ 91 w 125"/>
                  <a:gd name="T25" fmla="*/ 12 h 145"/>
                  <a:gd name="T26" fmla="*/ 84 w 125"/>
                  <a:gd name="T27" fmla="*/ 24 h 145"/>
                  <a:gd name="T28" fmla="*/ 78 w 125"/>
                  <a:gd name="T29" fmla="*/ 32 h 145"/>
                  <a:gd name="T30" fmla="*/ 69 w 125"/>
                  <a:gd name="T31" fmla="*/ 29 h 145"/>
                  <a:gd name="T32" fmla="*/ 54 w 125"/>
                  <a:gd name="T33" fmla="*/ 26 h 145"/>
                  <a:gd name="T34" fmla="*/ 36 w 125"/>
                  <a:gd name="T35" fmla="*/ 26 h 145"/>
                  <a:gd name="T36" fmla="*/ 37 w 125"/>
                  <a:gd name="T37" fmla="*/ 39 h 145"/>
                  <a:gd name="T38" fmla="*/ 51 w 125"/>
                  <a:gd name="T39" fmla="*/ 39 h 145"/>
                  <a:gd name="T40" fmla="*/ 52 w 125"/>
                  <a:gd name="T41" fmla="*/ 53 h 145"/>
                  <a:gd name="T42" fmla="*/ 50 w 125"/>
                  <a:gd name="T43" fmla="*/ 67 h 145"/>
                  <a:gd name="T44" fmla="*/ 56 w 125"/>
                  <a:gd name="T45" fmla="*/ 78 h 145"/>
                  <a:gd name="T46" fmla="*/ 53 w 125"/>
                  <a:gd name="T47" fmla="*/ 96 h 145"/>
                  <a:gd name="T48" fmla="*/ 41 w 125"/>
                  <a:gd name="T49" fmla="*/ 101 h 145"/>
                  <a:gd name="T50" fmla="*/ 28 w 125"/>
                  <a:gd name="T51" fmla="*/ 101 h 145"/>
                  <a:gd name="T52" fmla="*/ 22 w 125"/>
                  <a:gd name="T53" fmla="*/ 97 h 145"/>
                  <a:gd name="T54" fmla="*/ 15 w 125"/>
                  <a:gd name="T55" fmla="*/ 103 h 145"/>
                  <a:gd name="T56" fmla="*/ 8 w 125"/>
                  <a:gd name="T57" fmla="*/ 109 h 145"/>
                  <a:gd name="T58" fmla="*/ 11 w 125"/>
                  <a:gd name="T59" fmla="*/ 117 h 145"/>
                  <a:gd name="T60" fmla="*/ 10 w 125"/>
                  <a:gd name="T61" fmla="*/ 124 h 145"/>
                  <a:gd name="T62" fmla="*/ 3 w 125"/>
                  <a:gd name="T63" fmla="*/ 123 h 145"/>
                  <a:gd name="T64" fmla="*/ 4 w 125"/>
                  <a:gd name="T65" fmla="*/ 133 h 145"/>
                  <a:gd name="T66" fmla="*/ 12 w 125"/>
                  <a:gd name="T67" fmla="*/ 142 h 145"/>
                  <a:gd name="T68" fmla="*/ 16 w 125"/>
                  <a:gd name="T69" fmla="*/ 143 h 145"/>
                  <a:gd name="T70" fmla="*/ 14 w 125"/>
                  <a:gd name="T71" fmla="*/ 14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5" h="145">
                    <a:moveTo>
                      <a:pt x="14" y="144"/>
                    </a:moveTo>
                    <a:cubicBezTo>
                      <a:pt x="17" y="142"/>
                      <a:pt x="19" y="141"/>
                      <a:pt x="21" y="139"/>
                    </a:cubicBezTo>
                    <a:cubicBezTo>
                      <a:pt x="24" y="137"/>
                      <a:pt x="26" y="135"/>
                      <a:pt x="29" y="136"/>
                    </a:cubicBezTo>
                    <a:cubicBezTo>
                      <a:pt x="31" y="138"/>
                      <a:pt x="33" y="140"/>
                      <a:pt x="35" y="141"/>
                    </a:cubicBezTo>
                    <a:cubicBezTo>
                      <a:pt x="36" y="143"/>
                      <a:pt x="38" y="143"/>
                      <a:pt x="40" y="141"/>
                    </a:cubicBezTo>
                    <a:cubicBezTo>
                      <a:pt x="40" y="139"/>
                      <a:pt x="40" y="137"/>
                      <a:pt x="43" y="137"/>
                    </a:cubicBezTo>
                    <a:cubicBezTo>
                      <a:pt x="45" y="136"/>
                      <a:pt x="46" y="137"/>
                      <a:pt x="47" y="136"/>
                    </a:cubicBezTo>
                    <a:cubicBezTo>
                      <a:pt x="48" y="136"/>
                      <a:pt x="50" y="135"/>
                      <a:pt x="51" y="135"/>
                    </a:cubicBezTo>
                    <a:cubicBezTo>
                      <a:pt x="56" y="133"/>
                      <a:pt x="56" y="138"/>
                      <a:pt x="56" y="141"/>
                    </a:cubicBezTo>
                    <a:cubicBezTo>
                      <a:pt x="56" y="143"/>
                      <a:pt x="56" y="145"/>
                      <a:pt x="58" y="143"/>
                    </a:cubicBezTo>
                    <a:cubicBezTo>
                      <a:pt x="60" y="142"/>
                      <a:pt x="62" y="140"/>
                      <a:pt x="64" y="138"/>
                    </a:cubicBezTo>
                    <a:cubicBezTo>
                      <a:pt x="68" y="134"/>
                      <a:pt x="72" y="132"/>
                      <a:pt x="76" y="129"/>
                    </a:cubicBezTo>
                    <a:cubicBezTo>
                      <a:pt x="80" y="126"/>
                      <a:pt x="83" y="122"/>
                      <a:pt x="83" y="117"/>
                    </a:cubicBezTo>
                    <a:cubicBezTo>
                      <a:pt x="83" y="110"/>
                      <a:pt x="83" y="104"/>
                      <a:pt x="83" y="98"/>
                    </a:cubicBezTo>
                    <a:cubicBezTo>
                      <a:pt x="83" y="92"/>
                      <a:pt x="84" y="86"/>
                      <a:pt x="86" y="81"/>
                    </a:cubicBezTo>
                    <a:cubicBezTo>
                      <a:pt x="89" y="75"/>
                      <a:pt x="92" y="70"/>
                      <a:pt x="96" y="65"/>
                    </a:cubicBezTo>
                    <a:cubicBezTo>
                      <a:pt x="99" y="60"/>
                      <a:pt x="103" y="56"/>
                      <a:pt x="107" y="51"/>
                    </a:cubicBezTo>
                    <a:cubicBezTo>
                      <a:pt x="110" y="47"/>
                      <a:pt x="113" y="41"/>
                      <a:pt x="114" y="35"/>
                    </a:cubicBezTo>
                    <a:cubicBezTo>
                      <a:pt x="114" y="32"/>
                      <a:pt x="114" y="29"/>
                      <a:pt x="115" y="27"/>
                    </a:cubicBezTo>
                    <a:cubicBezTo>
                      <a:pt x="116" y="24"/>
                      <a:pt x="118" y="21"/>
                      <a:pt x="119" y="18"/>
                    </a:cubicBezTo>
                    <a:cubicBezTo>
                      <a:pt x="121" y="16"/>
                      <a:pt x="122" y="13"/>
                      <a:pt x="123" y="11"/>
                    </a:cubicBezTo>
                    <a:cubicBezTo>
                      <a:pt x="125" y="8"/>
                      <a:pt x="125" y="4"/>
                      <a:pt x="125" y="1"/>
                    </a:cubicBezTo>
                    <a:cubicBezTo>
                      <a:pt x="125" y="0"/>
                      <a:pt x="119" y="1"/>
                      <a:pt x="118" y="0"/>
                    </a:cubicBezTo>
                    <a:cubicBezTo>
                      <a:pt x="115" y="0"/>
                      <a:pt x="112" y="0"/>
                      <a:pt x="109" y="0"/>
                    </a:cubicBezTo>
                    <a:cubicBezTo>
                      <a:pt x="104" y="0"/>
                      <a:pt x="97" y="0"/>
                      <a:pt x="93" y="4"/>
                    </a:cubicBezTo>
                    <a:cubicBezTo>
                      <a:pt x="90" y="6"/>
                      <a:pt x="91" y="9"/>
                      <a:pt x="91" y="12"/>
                    </a:cubicBezTo>
                    <a:cubicBezTo>
                      <a:pt x="90" y="16"/>
                      <a:pt x="89" y="19"/>
                      <a:pt x="87" y="21"/>
                    </a:cubicBezTo>
                    <a:cubicBezTo>
                      <a:pt x="86" y="22"/>
                      <a:pt x="85" y="23"/>
                      <a:pt x="84" y="24"/>
                    </a:cubicBezTo>
                    <a:cubicBezTo>
                      <a:pt x="84" y="26"/>
                      <a:pt x="84" y="27"/>
                      <a:pt x="84" y="28"/>
                    </a:cubicBezTo>
                    <a:cubicBezTo>
                      <a:pt x="84" y="32"/>
                      <a:pt x="81" y="33"/>
                      <a:pt x="78" y="32"/>
                    </a:cubicBezTo>
                    <a:cubicBezTo>
                      <a:pt x="77" y="31"/>
                      <a:pt x="75" y="30"/>
                      <a:pt x="74" y="30"/>
                    </a:cubicBezTo>
                    <a:cubicBezTo>
                      <a:pt x="72" y="29"/>
                      <a:pt x="71" y="29"/>
                      <a:pt x="69" y="29"/>
                    </a:cubicBezTo>
                    <a:cubicBezTo>
                      <a:pt x="65" y="29"/>
                      <a:pt x="62" y="29"/>
                      <a:pt x="59" y="27"/>
                    </a:cubicBezTo>
                    <a:cubicBezTo>
                      <a:pt x="57" y="26"/>
                      <a:pt x="56" y="26"/>
                      <a:pt x="54" y="26"/>
                    </a:cubicBezTo>
                    <a:cubicBezTo>
                      <a:pt x="52" y="26"/>
                      <a:pt x="50" y="26"/>
                      <a:pt x="48" y="26"/>
                    </a:cubicBezTo>
                    <a:cubicBezTo>
                      <a:pt x="44" y="26"/>
                      <a:pt x="40" y="26"/>
                      <a:pt x="36" y="26"/>
                    </a:cubicBezTo>
                    <a:cubicBezTo>
                      <a:pt x="35" y="29"/>
                      <a:pt x="35" y="31"/>
                      <a:pt x="35" y="34"/>
                    </a:cubicBezTo>
                    <a:cubicBezTo>
                      <a:pt x="35" y="37"/>
                      <a:pt x="35" y="39"/>
                      <a:pt x="37" y="39"/>
                    </a:cubicBezTo>
                    <a:cubicBezTo>
                      <a:pt x="40" y="38"/>
                      <a:pt x="42" y="37"/>
                      <a:pt x="44" y="37"/>
                    </a:cubicBezTo>
                    <a:cubicBezTo>
                      <a:pt x="47" y="36"/>
                      <a:pt x="49" y="37"/>
                      <a:pt x="51" y="39"/>
                    </a:cubicBezTo>
                    <a:cubicBezTo>
                      <a:pt x="53" y="41"/>
                      <a:pt x="54" y="43"/>
                      <a:pt x="55" y="45"/>
                    </a:cubicBezTo>
                    <a:cubicBezTo>
                      <a:pt x="55" y="48"/>
                      <a:pt x="53" y="50"/>
                      <a:pt x="52" y="53"/>
                    </a:cubicBezTo>
                    <a:cubicBezTo>
                      <a:pt x="50" y="55"/>
                      <a:pt x="49" y="57"/>
                      <a:pt x="48" y="60"/>
                    </a:cubicBezTo>
                    <a:cubicBezTo>
                      <a:pt x="46" y="63"/>
                      <a:pt x="47" y="65"/>
                      <a:pt x="50" y="67"/>
                    </a:cubicBezTo>
                    <a:cubicBezTo>
                      <a:pt x="51" y="68"/>
                      <a:pt x="53" y="69"/>
                      <a:pt x="54" y="71"/>
                    </a:cubicBezTo>
                    <a:cubicBezTo>
                      <a:pt x="56" y="73"/>
                      <a:pt x="56" y="76"/>
                      <a:pt x="56" y="78"/>
                    </a:cubicBezTo>
                    <a:cubicBezTo>
                      <a:pt x="56" y="81"/>
                      <a:pt x="56" y="84"/>
                      <a:pt x="56" y="87"/>
                    </a:cubicBezTo>
                    <a:cubicBezTo>
                      <a:pt x="55" y="90"/>
                      <a:pt x="55" y="93"/>
                      <a:pt x="53" y="96"/>
                    </a:cubicBezTo>
                    <a:cubicBezTo>
                      <a:pt x="52" y="99"/>
                      <a:pt x="50" y="105"/>
                      <a:pt x="46" y="104"/>
                    </a:cubicBezTo>
                    <a:cubicBezTo>
                      <a:pt x="44" y="103"/>
                      <a:pt x="42" y="100"/>
                      <a:pt x="41" y="101"/>
                    </a:cubicBezTo>
                    <a:cubicBezTo>
                      <a:pt x="39" y="103"/>
                      <a:pt x="36" y="102"/>
                      <a:pt x="33" y="102"/>
                    </a:cubicBezTo>
                    <a:cubicBezTo>
                      <a:pt x="31" y="102"/>
                      <a:pt x="29" y="102"/>
                      <a:pt x="28" y="101"/>
                    </a:cubicBezTo>
                    <a:cubicBezTo>
                      <a:pt x="27" y="100"/>
                      <a:pt x="27" y="99"/>
                      <a:pt x="26" y="98"/>
                    </a:cubicBezTo>
                    <a:cubicBezTo>
                      <a:pt x="25" y="96"/>
                      <a:pt x="23" y="93"/>
                      <a:pt x="22" y="97"/>
                    </a:cubicBezTo>
                    <a:cubicBezTo>
                      <a:pt x="21" y="98"/>
                      <a:pt x="21" y="100"/>
                      <a:pt x="20" y="101"/>
                    </a:cubicBezTo>
                    <a:cubicBezTo>
                      <a:pt x="19" y="103"/>
                      <a:pt x="17" y="103"/>
                      <a:pt x="15" y="103"/>
                    </a:cubicBezTo>
                    <a:cubicBezTo>
                      <a:pt x="14" y="103"/>
                      <a:pt x="10" y="102"/>
                      <a:pt x="9" y="104"/>
                    </a:cubicBezTo>
                    <a:cubicBezTo>
                      <a:pt x="8" y="105"/>
                      <a:pt x="8" y="107"/>
                      <a:pt x="8" y="109"/>
                    </a:cubicBezTo>
                    <a:cubicBezTo>
                      <a:pt x="8" y="111"/>
                      <a:pt x="10" y="112"/>
                      <a:pt x="11" y="114"/>
                    </a:cubicBezTo>
                    <a:cubicBezTo>
                      <a:pt x="11" y="115"/>
                      <a:pt x="11" y="116"/>
                      <a:pt x="11" y="117"/>
                    </a:cubicBezTo>
                    <a:cubicBezTo>
                      <a:pt x="12" y="118"/>
                      <a:pt x="13" y="118"/>
                      <a:pt x="13" y="119"/>
                    </a:cubicBezTo>
                    <a:cubicBezTo>
                      <a:pt x="14" y="122"/>
                      <a:pt x="12" y="124"/>
                      <a:pt x="10" y="124"/>
                    </a:cubicBezTo>
                    <a:cubicBezTo>
                      <a:pt x="9" y="124"/>
                      <a:pt x="8" y="124"/>
                      <a:pt x="7" y="124"/>
                    </a:cubicBezTo>
                    <a:cubicBezTo>
                      <a:pt x="6" y="124"/>
                      <a:pt x="4" y="123"/>
                      <a:pt x="3" y="123"/>
                    </a:cubicBezTo>
                    <a:cubicBezTo>
                      <a:pt x="2" y="124"/>
                      <a:pt x="0" y="127"/>
                      <a:pt x="0" y="128"/>
                    </a:cubicBezTo>
                    <a:cubicBezTo>
                      <a:pt x="0" y="129"/>
                      <a:pt x="3" y="132"/>
                      <a:pt x="4" y="133"/>
                    </a:cubicBezTo>
                    <a:cubicBezTo>
                      <a:pt x="6" y="135"/>
                      <a:pt x="7" y="137"/>
                      <a:pt x="9" y="138"/>
                    </a:cubicBezTo>
                    <a:cubicBezTo>
                      <a:pt x="10" y="140"/>
                      <a:pt x="11" y="141"/>
                      <a:pt x="12" y="142"/>
                    </a:cubicBezTo>
                    <a:cubicBezTo>
                      <a:pt x="13" y="143"/>
                      <a:pt x="14" y="143"/>
                      <a:pt x="14" y="144"/>
                    </a:cubicBezTo>
                    <a:cubicBezTo>
                      <a:pt x="15" y="144"/>
                      <a:pt x="16" y="143"/>
                      <a:pt x="16" y="143"/>
                    </a:cubicBezTo>
                    <a:cubicBezTo>
                      <a:pt x="15" y="143"/>
                      <a:pt x="15" y="144"/>
                      <a:pt x="14" y="144"/>
                    </a:cubicBezTo>
                    <a:cubicBezTo>
                      <a:pt x="17" y="142"/>
                      <a:pt x="14" y="144"/>
                      <a:pt x="14" y="144"/>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89" name="Freeform 482">
                <a:extLst>
                  <a:ext uri="{FF2B5EF4-FFF2-40B4-BE49-F238E27FC236}">
                    <a16:creationId xmlns:a16="http://schemas.microsoft.com/office/drawing/2014/main" id="{61693AA1-9FDF-BD8B-0E5D-3F1137D33EAC}"/>
                  </a:ext>
                </a:extLst>
              </p:cNvPr>
              <p:cNvSpPr/>
              <p:nvPr>
                <p:custDataLst>
                  <p:tags r:id="rId227"/>
                </p:custDataLst>
              </p:nvPr>
            </p:nvSpPr>
            <p:spPr bwMode="auto">
              <a:xfrm>
                <a:off x="6327687" y="4289451"/>
                <a:ext cx="196434" cy="235977"/>
              </a:xfrm>
              <a:custGeom>
                <a:avLst/>
                <a:gdLst>
                  <a:gd name="T0" fmla="*/ 119 w 132"/>
                  <a:gd name="T1" fmla="*/ 87 h 158"/>
                  <a:gd name="T2" fmla="*/ 118 w 132"/>
                  <a:gd name="T3" fmla="*/ 51 h 158"/>
                  <a:gd name="T4" fmla="*/ 119 w 132"/>
                  <a:gd name="T5" fmla="*/ 30 h 158"/>
                  <a:gd name="T6" fmla="*/ 132 w 132"/>
                  <a:gd name="T7" fmla="*/ 14 h 158"/>
                  <a:gd name="T8" fmla="*/ 120 w 132"/>
                  <a:gd name="T9" fmla="*/ 11 h 158"/>
                  <a:gd name="T10" fmla="*/ 109 w 132"/>
                  <a:gd name="T11" fmla="*/ 12 h 158"/>
                  <a:gd name="T12" fmla="*/ 96 w 132"/>
                  <a:gd name="T13" fmla="*/ 21 h 158"/>
                  <a:gd name="T14" fmla="*/ 69 w 132"/>
                  <a:gd name="T15" fmla="*/ 18 h 158"/>
                  <a:gd name="T16" fmla="*/ 56 w 132"/>
                  <a:gd name="T17" fmla="*/ 10 h 158"/>
                  <a:gd name="T18" fmla="*/ 40 w 132"/>
                  <a:gd name="T19" fmla="*/ 4 h 158"/>
                  <a:gd name="T20" fmla="*/ 25 w 132"/>
                  <a:gd name="T21" fmla="*/ 1 h 158"/>
                  <a:gd name="T22" fmla="*/ 8 w 132"/>
                  <a:gd name="T23" fmla="*/ 2 h 158"/>
                  <a:gd name="T24" fmla="*/ 1 w 132"/>
                  <a:gd name="T25" fmla="*/ 8 h 158"/>
                  <a:gd name="T26" fmla="*/ 8 w 132"/>
                  <a:gd name="T27" fmla="*/ 16 h 158"/>
                  <a:gd name="T28" fmla="*/ 11 w 132"/>
                  <a:gd name="T29" fmla="*/ 26 h 158"/>
                  <a:gd name="T30" fmla="*/ 17 w 132"/>
                  <a:gd name="T31" fmla="*/ 36 h 158"/>
                  <a:gd name="T32" fmla="*/ 15 w 132"/>
                  <a:gd name="T33" fmla="*/ 54 h 158"/>
                  <a:gd name="T34" fmla="*/ 2 w 132"/>
                  <a:gd name="T35" fmla="*/ 76 h 158"/>
                  <a:gd name="T36" fmla="*/ 1 w 132"/>
                  <a:gd name="T37" fmla="*/ 79 h 158"/>
                  <a:gd name="T38" fmla="*/ 9 w 132"/>
                  <a:gd name="T39" fmla="*/ 81 h 158"/>
                  <a:gd name="T40" fmla="*/ 16 w 132"/>
                  <a:gd name="T41" fmla="*/ 83 h 158"/>
                  <a:gd name="T42" fmla="*/ 10 w 132"/>
                  <a:gd name="T43" fmla="*/ 86 h 158"/>
                  <a:gd name="T44" fmla="*/ 3 w 132"/>
                  <a:gd name="T45" fmla="*/ 88 h 158"/>
                  <a:gd name="T46" fmla="*/ 2 w 132"/>
                  <a:gd name="T47" fmla="*/ 97 h 158"/>
                  <a:gd name="T48" fmla="*/ 42 w 132"/>
                  <a:gd name="T49" fmla="*/ 119 h 158"/>
                  <a:gd name="T50" fmla="*/ 64 w 132"/>
                  <a:gd name="T51" fmla="*/ 134 h 158"/>
                  <a:gd name="T52" fmla="*/ 71 w 132"/>
                  <a:gd name="T53" fmla="*/ 145 h 158"/>
                  <a:gd name="T54" fmla="*/ 87 w 132"/>
                  <a:gd name="T55" fmla="*/ 156 h 158"/>
                  <a:gd name="T56" fmla="*/ 93 w 132"/>
                  <a:gd name="T57" fmla="*/ 156 h 158"/>
                  <a:gd name="T58" fmla="*/ 97 w 132"/>
                  <a:gd name="T59" fmla="*/ 147 h 158"/>
                  <a:gd name="T60" fmla="*/ 100 w 132"/>
                  <a:gd name="T61" fmla="*/ 138 h 158"/>
                  <a:gd name="T62" fmla="*/ 105 w 132"/>
                  <a:gd name="T63" fmla="*/ 131 h 158"/>
                  <a:gd name="T64" fmla="*/ 111 w 132"/>
                  <a:gd name="T65" fmla="*/ 123 h 158"/>
                  <a:gd name="T66" fmla="*/ 124 w 132"/>
                  <a:gd name="T67" fmla="*/ 111 h 158"/>
                  <a:gd name="T68" fmla="*/ 127 w 132"/>
                  <a:gd name="T69" fmla="*/ 106 h 158"/>
                  <a:gd name="T70" fmla="*/ 119 w 132"/>
                  <a:gd name="T71" fmla="*/ 9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2" h="158">
                    <a:moveTo>
                      <a:pt x="119" y="95"/>
                    </a:moveTo>
                    <a:cubicBezTo>
                      <a:pt x="118" y="93"/>
                      <a:pt x="119" y="89"/>
                      <a:pt x="119" y="87"/>
                    </a:cubicBezTo>
                    <a:cubicBezTo>
                      <a:pt x="119" y="83"/>
                      <a:pt x="118" y="79"/>
                      <a:pt x="118" y="75"/>
                    </a:cubicBezTo>
                    <a:cubicBezTo>
                      <a:pt x="118" y="67"/>
                      <a:pt x="118" y="59"/>
                      <a:pt x="118" y="51"/>
                    </a:cubicBezTo>
                    <a:cubicBezTo>
                      <a:pt x="118" y="47"/>
                      <a:pt x="118" y="44"/>
                      <a:pt x="118" y="40"/>
                    </a:cubicBezTo>
                    <a:cubicBezTo>
                      <a:pt x="118" y="37"/>
                      <a:pt x="118" y="33"/>
                      <a:pt x="119" y="30"/>
                    </a:cubicBezTo>
                    <a:cubicBezTo>
                      <a:pt x="121" y="27"/>
                      <a:pt x="123" y="25"/>
                      <a:pt x="125" y="23"/>
                    </a:cubicBezTo>
                    <a:cubicBezTo>
                      <a:pt x="127" y="20"/>
                      <a:pt x="130" y="17"/>
                      <a:pt x="132" y="14"/>
                    </a:cubicBezTo>
                    <a:cubicBezTo>
                      <a:pt x="129" y="13"/>
                      <a:pt x="126" y="13"/>
                      <a:pt x="124" y="12"/>
                    </a:cubicBezTo>
                    <a:cubicBezTo>
                      <a:pt x="122" y="12"/>
                      <a:pt x="121" y="12"/>
                      <a:pt x="120" y="11"/>
                    </a:cubicBezTo>
                    <a:cubicBezTo>
                      <a:pt x="119" y="11"/>
                      <a:pt x="118" y="10"/>
                      <a:pt x="116" y="9"/>
                    </a:cubicBezTo>
                    <a:cubicBezTo>
                      <a:pt x="114" y="9"/>
                      <a:pt x="111" y="11"/>
                      <a:pt x="109" y="12"/>
                    </a:cubicBezTo>
                    <a:cubicBezTo>
                      <a:pt x="106" y="13"/>
                      <a:pt x="103" y="14"/>
                      <a:pt x="101" y="16"/>
                    </a:cubicBezTo>
                    <a:cubicBezTo>
                      <a:pt x="99" y="17"/>
                      <a:pt x="98" y="20"/>
                      <a:pt x="96" y="21"/>
                    </a:cubicBezTo>
                    <a:cubicBezTo>
                      <a:pt x="93" y="23"/>
                      <a:pt x="90" y="21"/>
                      <a:pt x="87" y="21"/>
                    </a:cubicBezTo>
                    <a:cubicBezTo>
                      <a:pt x="81" y="21"/>
                      <a:pt x="75" y="20"/>
                      <a:pt x="69" y="18"/>
                    </a:cubicBezTo>
                    <a:cubicBezTo>
                      <a:pt x="67" y="17"/>
                      <a:pt x="65" y="16"/>
                      <a:pt x="63" y="14"/>
                    </a:cubicBezTo>
                    <a:cubicBezTo>
                      <a:pt x="61" y="12"/>
                      <a:pt x="58" y="11"/>
                      <a:pt x="56" y="10"/>
                    </a:cubicBezTo>
                    <a:cubicBezTo>
                      <a:pt x="54" y="8"/>
                      <a:pt x="51" y="7"/>
                      <a:pt x="49" y="6"/>
                    </a:cubicBezTo>
                    <a:cubicBezTo>
                      <a:pt x="46" y="4"/>
                      <a:pt x="43" y="4"/>
                      <a:pt x="40" y="4"/>
                    </a:cubicBezTo>
                    <a:cubicBezTo>
                      <a:pt x="37" y="4"/>
                      <a:pt x="36" y="4"/>
                      <a:pt x="34" y="2"/>
                    </a:cubicBezTo>
                    <a:cubicBezTo>
                      <a:pt x="31" y="0"/>
                      <a:pt x="28" y="1"/>
                      <a:pt x="25" y="1"/>
                    </a:cubicBezTo>
                    <a:cubicBezTo>
                      <a:pt x="22" y="2"/>
                      <a:pt x="19" y="2"/>
                      <a:pt x="16" y="1"/>
                    </a:cubicBezTo>
                    <a:cubicBezTo>
                      <a:pt x="13" y="1"/>
                      <a:pt x="10" y="1"/>
                      <a:pt x="8" y="2"/>
                    </a:cubicBezTo>
                    <a:cubicBezTo>
                      <a:pt x="5" y="3"/>
                      <a:pt x="4" y="5"/>
                      <a:pt x="2" y="6"/>
                    </a:cubicBezTo>
                    <a:cubicBezTo>
                      <a:pt x="2" y="6"/>
                      <a:pt x="1" y="7"/>
                      <a:pt x="1" y="8"/>
                    </a:cubicBezTo>
                    <a:cubicBezTo>
                      <a:pt x="2" y="9"/>
                      <a:pt x="3" y="10"/>
                      <a:pt x="3" y="11"/>
                    </a:cubicBezTo>
                    <a:cubicBezTo>
                      <a:pt x="4" y="14"/>
                      <a:pt x="6" y="15"/>
                      <a:pt x="8" y="16"/>
                    </a:cubicBezTo>
                    <a:cubicBezTo>
                      <a:pt x="10" y="18"/>
                      <a:pt x="11" y="20"/>
                      <a:pt x="11" y="22"/>
                    </a:cubicBezTo>
                    <a:cubicBezTo>
                      <a:pt x="11" y="24"/>
                      <a:pt x="10" y="25"/>
                      <a:pt x="11" y="26"/>
                    </a:cubicBezTo>
                    <a:cubicBezTo>
                      <a:pt x="11" y="27"/>
                      <a:pt x="12" y="28"/>
                      <a:pt x="13" y="29"/>
                    </a:cubicBezTo>
                    <a:cubicBezTo>
                      <a:pt x="14" y="32"/>
                      <a:pt x="17" y="34"/>
                      <a:pt x="17" y="36"/>
                    </a:cubicBezTo>
                    <a:cubicBezTo>
                      <a:pt x="18" y="39"/>
                      <a:pt x="18" y="42"/>
                      <a:pt x="18" y="45"/>
                    </a:cubicBezTo>
                    <a:cubicBezTo>
                      <a:pt x="18" y="48"/>
                      <a:pt x="16" y="51"/>
                      <a:pt x="15" y="54"/>
                    </a:cubicBezTo>
                    <a:cubicBezTo>
                      <a:pt x="12" y="59"/>
                      <a:pt x="8" y="64"/>
                      <a:pt x="5" y="69"/>
                    </a:cubicBezTo>
                    <a:cubicBezTo>
                      <a:pt x="4" y="71"/>
                      <a:pt x="3" y="74"/>
                      <a:pt x="2" y="76"/>
                    </a:cubicBezTo>
                    <a:cubicBezTo>
                      <a:pt x="1" y="77"/>
                      <a:pt x="1" y="77"/>
                      <a:pt x="1" y="78"/>
                    </a:cubicBezTo>
                    <a:cubicBezTo>
                      <a:pt x="1" y="78"/>
                      <a:pt x="1" y="79"/>
                      <a:pt x="1" y="79"/>
                    </a:cubicBezTo>
                    <a:cubicBezTo>
                      <a:pt x="1" y="80"/>
                      <a:pt x="1" y="82"/>
                      <a:pt x="2" y="83"/>
                    </a:cubicBezTo>
                    <a:cubicBezTo>
                      <a:pt x="4" y="84"/>
                      <a:pt x="7" y="82"/>
                      <a:pt x="9" y="81"/>
                    </a:cubicBezTo>
                    <a:cubicBezTo>
                      <a:pt x="10" y="80"/>
                      <a:pt x="13" y="78"/>
                      <a:pt x="15" y="79"/>
                    </a:cubicBezTo>
                    <a:cubicBezTo>
                      <a:pt x="16" y="80"/>
                      <a:pt x="16" y="82"/>
                      <a:pt x="16" y="83"/>
                    </a:cubicBezTo>
                    <a:cubicBezTo>
                      <a:pt x="16" y="86"/>
                      <a:pt x="14" y="85"/>
                      <a:pt x="12" y="85"/>
                    </a:cubicBezTo>
                    <a:cubicBezTo>
                      <a:pt x="11" y="85"/>
                      <a:pt x="10" y="85"/>
                      <a:pt x="10" y="86"/>
                    </a:cubicBezTo>
                    <a:cubicBezTo>
                      <a:pt x="10" y="87"/>
                      <a:pt x="9" y="88"/>
                      <a:pt x="8" y="88"/>
                    </a:cubicBezTo>
                    <a:cubicBezTo>
                      <a:pt x="7" y="88"/>
                      <a:pt x="5" y="87"/>
                      <a:pt x="3" y="88"/>
                    </a:cubicBezTo>
                    <a:cubicBezTo>
                      <a:pt x="0" y="89"/>
                      <a:pt x="1" y="92"/>
                      <a:pt x="1" y="94"/>
                    </a:cubicBezTo>
                    <a:cubicBezTo>
                      <a:pt x="2" y="95"/>
                      <a:pt x="1" y="96"/>
                      <a:pt x="2" y="97"/>
                    </a:cubicBezTo>
                    <a:cubicBezTo>
                      <a:pt x="4" y="98"/>
                      <a:pt x="5" y="99"/>
                      <a:pt x="7" y="99"/>
                    </a:cubicBezTo>
                    <a:cubicBezTo>
                      <a:pt x="19" y="106"/>
                      <a:pt x="30" y="112"/>
                      <a:pt x="42" y="119"/>
                    </a:cubicBezTo>
                    <a:cubicBezTo>
                      <a:pt x="47" y="122"/>
                      <a:pt x="53" y="126"/>
                      <a:pt x="58" y="129"/>
                    </a:cubicBezTo>
                    <a:cubicBezTo>
                      <a:pt x="60" y="130"/>
                      <a:pt x="63" y="132"/>
                      <a:pt x="64" y="134"/>
                    </a:cubicBezTo>
                    <a:cubicBezTo>
                      <a:pt x="65" y="136"/>
                      <a:pt x="64" y="138"/>
                      <a:pt x="65" y="140"/>
                    </a:cubicBezTo>
                    <a:cubicBezTo>
                      <a:pt x="66" y="142"/>
                      <a:pt x="69" y="144"/>
                      <a:pt x="71" y="145"/>
                    </a:cubicBezTo>
                    <a:cubicBezTo>
                      <a:pt x="74" y="147"/>
                      <a:pt x="76" y="149"/>
                      <a:pt x="79" y="151"/>
                    </a:cubicBezTo>
                    <a:cubicBezTo>
                      <a:pt x="82" y="153"/>
                      <a:pt x="84" y="154"/>
                      <a:pt x="87" y="156"/>
                    </a:cubicBezTo>
                    <a:cubicBezTo>
                      <a:pt x="88" y="157"/>
                      <a:pt x="89" y="158"/>
                      <a:pt x="90" y="158"/>
                    </a:cubicBezTo>
                    <a:cubicBezTo>
                      <a:pt x="91" y="157"/>
                      <a:pt x="92" y="156"/>
                      <a:pt x="93" y="156"/>
                    </a:cubicBezTo>
                    <a:cubicBezTo>
                      <a:pt x="94" y="155"/>
                      <a:pt x="95" y="154"/>
                      <a:pt x="95" y="152"/>
                    </a:cubicBezTo>
                    <a:cubicBezTo>
                      <a:pt x="96" y="150"/>
                      <a:pt x="96" y="148"/>
                      <a:pt x="97" y="147"/>
                    </a:cubicBezTo>
                    <a:cubicBezTo>
                      <a:pt x="98" y="145"/>
                      <a:pt x="99" y="144"/>
                      <a:pt x="99" y="142"/>
                    </a:cubicBezTo>
                    <a:cubicBezTo>
                      <a:pt x="99" y="141"/>
                      <a:pt x="99" y="139"/>
                      <a:pt x="100" y="138"/>
                    </a:cubicBezTo>
                    <a:cubicBezTo>
                      <a:pt x="101" y="137"/>
                      <a:pt x="103" y="137"/>
                      <a:pt x="104" y="135"/>
                    </a:cubicBezTo>
                    <a:cubicBezTo>
                      <a:pt x="105" y="134"/>
                      <a:pt x="105" y="133"/>
                      <a:pt x="105" y="131"/>
                    </a:cubicBezTo>
                    <a:cubicBezTo>
                      <a:pt x="105" y="129"/>
                      <a:pt x="106" y="128"/>
                      <a:pt x="106" y="126"/>
                    </a:cubicBezTo>
                    <a:cubicBezTo>
                      <a:pt x="107" y="125"/>
                      <a:pt x="109" y="124"/>
                      <a:pt x="111" y="123"/>
                    </a:cubicBezTo>
                    <a:cubicBezTo>
                      <a:pt x="114" y="121"/>
                      <a:pt x="114" y="117"/>
                      <a:pt x="116" y="114"/>
                    </a:cubicBezTo>
                    <a:cubicBezTo>
                      <a:pt x="118" y="112"/>
                      <a:pt x="122" y="113"/>
                      <a:pt x="124" y="111"/>
                    </a:cubicBezTo>
                    <a:cubicBezTo>
                      <a:pt x="125" y="110"/>
                      <a:pt x="126" y="110"/>
                      <a:pt x="127" y="109"/>
                    </a:cubicBezTo>
                    <a:cubicBezTo>
                      <a:pt x="128" y="107"/>
                      <a:pt x="127" y="107"/>
                      <a:pt x="127" y="106"/>
                    </a:cubicBezTo>
                    <a:cubicBezTo>
                      <a:pt x="124" y="102"/>
                      <a:pt x="121" y="99"/>
                      <a:pt x="119" y="95"/>
                    </a:cubicBezTo>
                    <a:cubicBezTo>
                      <a:pt x="119" y="95"/>
                      <a:pt x="119" y="95"/>
                      <a:pt x="119" y="95"/>
                    </a:cubicBezTo>
                    <a:cubicBezTo>
                      <a:pt x="119" y="94"/>
                      <a:pt x="119" y="95"/>
                      <a:pt x="119" y="95"/>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90" name="Freeform 483">
                <a:extLst>
                  <a:ext uri="{FF2B5EF4-FFF2-40B4-BE49-F238E27FC236}">
                    <a16:creationId xmlns:a16="http://schemas.microsoft.com/office/drawing/2014/main" id="{08647FC1-6A4C-7EE2-9960-5D035A1A4CB4}"/>
                  </a:ext>
                </a:extLst>
              </p:cNvPr>
              <p:cNvSpPr/>
              <p:nvPr>
                <p:custDataLst>
                  <p:tags r:id="rId228"/>
                </p:custDataLst>
              </p:nvPr>
            </p:nvSpPr>
            <p:spPr bwMode="auto">
              <a:xfrm>
                <a:off x="6559837" y="4695075"/>
                <a:ext cx="8929" cy="15307"/>
              </a:xfrm>
              <a:custGeom>
                <a:avLst/>
                <a:gdLst>
                  <a:gd name="T0" fmla="*/ 3 w 6"/>
                  <a:gd name="T1" fmla="*/ 9 h 11"/>
                  <a:gd name="T2" fmla="*/ 5 w 6"/>
                  <a:gd name="T3" fmla="*/ 11 h 11"/>
                  <a:gd name="T4" fmla="*/ 6 w 6"/>
                  <a:gd name="T5" fmla="*/ 9 h 11"/>
                  <a:gd name="T6" fmla="*/ 4 w 6"/>
                  <a:gd name="T7" fmla="*/ 5 h 11"/>
                  <a:gd name="T8" fmla="*/ 3 w 6"/>
                  <a:gd name="T9" fmla="*/ 1 h 11"/>
                  <a:gd name="T10" fmla="*/ 0 w 6"/>
                  <a:gd name="T11" fmla="*/ 6 h 11"/>
                  <a:gd name="T12" fmla="*/ 4 w 6"/>
                  <a:gd name="T13" fmla="*/ 10 h 11"/>
                  <a:gd name="T14" fmla="*/ 3 w 6"/>
                  <a:gd name="T15" fmla="*/ 9 h 11"/>
                  <a:gd name="T16" fmla="*/ 3 w 6"/>
                  <a:gd name="T1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1">
                    <a:moveTo>
                      <a:pt x="3" y="9"/>
                    </a:moveTo>
                    <a:cubicBezTo>
                      <a:pt x="4" y="10"/>
                      <a:pt x="4" y="11"/>
                      <a:pt x="5" y="11"/>
                    </a:cubicBezTo>
                    <a:cubicBezTo>
                      <a:pt x="6" y="11"/>
                      <a:pt x="6" y="10"/>
                      <a:pt x="6" y="9"/>
                    </a:cubicBezTo>
                    <a:cubicBezTo>
                      <a:pt x="6" y="8"/>
                      <a:pt x="5" y="7"/>
                      <a:pt x="4" y="5"/>
                    </a:cubicBezTo>
                    <a:cubicBezTo>
                      <a:pt x="4" y="4"/>
                      <a:pt x="4" y="3"/>
                      <a:pt x="3" y="1"/>
                    </a:cubicBezTo>
                    <a:cubicBezTo>
                      <a:pt x="2" y="0"/>
                      <a:pt x="1" y="5"/>
                      <a:pt x="0" y="6"/>
                    </a:cubicBezTo>
                    <a:cubicBezTo>
                      <a:pt x="0" y="8"/>
                      <a:pt x="3" y="9"/>
                      <a:pt x="4" y="10"/>
                    </a:cubicBezTo>
                    <a:cubicBezTo>
                      <a:pt x="4" y="10"/>
                      <a:pt x="3" y="10"/>
                      <a:pt x="3" y="9"/>
                    </a:cubicBezTo>
                    <a:cubicBezTo>
                      <a:pt x="4" y="10"/>
                      <a:pt x="3" y="9"/>
                      <a:pt x="3" y="9"/>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91" name="Freeform 484">
                <a:extLst>
                  <a:ext uri="{FF2B5EF4-FFF2-40B4-BE49-F238E27FC236}">
                    <a16:creationId xmlns:a16="http://schemas.microsoft.com/office/drawing/2014/main" id="{F07C291A-058A-BB4B-A5CD-58040553A68A}"/>
                  </a:ext>
                </a:extLst>
              </p:cNvPr>
              <p:cNvSpPr/>
              <p:nvPr>
                <p:custDataLst>
                  <p:tags r:id="rId229"/>
                </p:custDataLst>
              </p:nvPr>
            </p:nvSpPr>
            <p:spPr bwMode="auto">
              <a:xfrm>
                <a:off x="6234573" y="4673390"/>
                <a:ext cx="267865" cy="432411"/>
              </a:xfrm>
              <a:custGeom>
                <a:avLst/>
                <a:gdLst>
                  <a:gd name="T0" fmla="*/ 175 w 180"/>
                  <a:gd name="T1" fmla="*/ 62 h 290"/>
                  <a:gd name="T2" fmla="*/ 175 w 180"/>
                  <a:gd name="T3" fmla="*/ 47 h 290"/>
                  <a:gd name="T4" fmla="*/ 176 w 180"/>
                  <a:gd name="T5" fmla="*/ 34 h 290"/>
                  <a:gd name="T6" fmla="*/ 173 w 180"/>
                  <a:gd name="T7" fmla="*/ 16 h 290"/>
                  <a:gd name="T8" fmla="*/ 175 w 180"/>
                  <a:gd name="T9" fmla="*/ 4 h 290"/>
                  <a:gd name="T10" fmla="*/ 150 w 180"/>
                  <a:gd name="T11" fmla="*/ 14 h 290"/>
                  <a:gd name="T12" fmla="*/ 135 w 180"/>
                  <a:gd name="T13" fmla="*/ 16 h 290"/>
                  <a:gd name="T14" fmla="*/ 110 w 180"/>
                  <a:gd name="T15" fmla="*/ 22 h 290"/>
                  <a:gd name="T16" fmla="*/ 89 w 180"/>
                  <a:gd name="T17" fmla="*/ 21 h 290"/>
                  <a:gd name="T18" fmla="*/ 79 w 180"/>
                  <a:gd name="T19" fmla="*/ 22 h 290"/>
                  <a:gd name="T20" fmla="*/ 81 w 180"/>
                  <a:gd name="T21" fmla="*/ 52 h 290"/>
                  <a:gd name="T22" fmla="*/ 90 w 180"/>
                  <a:gd name="T23" fmla="*/ 65 h 290"/>
                  <a:gd name="T24" fmla="*/ 95 w 180"/>
                  <a:gd name="T25" fmla="*/ 83 h 290"/>
                  <a:gd name="T26" fmla="*/ 86 w 180"/>
                  <a:gd name="T27" fmla="*/ 103 h 290"/>
                  <a:gd name="T28" fmla="*/ 78 w 180"/>
                  <a:gd name="T29" fmla="*/ 108 h 290"/>
                  <a:gd name="T30" fmla="*/ 69 w 180"/>
                  <a:gd name="T31" fmla="*/ 89 h 290"/>
                  <a:gd name="T32" fmla="*/ 66 w 180"/>
                  <a:gd name="T33" fmla="*/ 71 h 290"/>
                  <a:gd name="T34" fmla="*/ 53 w 180"/>
                  <a:gd name="T35" fmla="*/ 67 h 290"/>
                  <a:gd name="T36" fmla="*/ 29 w 180"/>
                  <a:gd name="T37" fmla="*/ 69 h 290"/>
                  <a:gd name="T38" fmla="*/ 2 w 180"/>
                  <a:gd name="T39" fmla="*/ 85 h 290"/>
                  <a:gd name="T40" fmla="*/ 27 w 180"/>
                  <a:gd name="T41" fmla="*/ 101 h 290"/>
                  <a:gd name="T42" fmla="*/ 48 w 180"/>
                  <a:gd name="T43" fmla="*/ 120 h 290"/>
                  <a:gd name="T44" fmla="*/ 44 w 180"/>
                  <a:gd name="T45" fmla="*/ 144 h 290"/>
                  <a:gd name="T46" fmla="*/ 46 w 180"/>
                  <a:gd name="T47" fmla="*/ 166 h 290"/>
                  <a:gd name="T48" fmla="*/ 32 w 180"/>
                  <a:gd name="T49" fmla="*/ 196 h 290"/>
                  <a:gd name="T50" fmla="*/ 21 w 180"/>
                  <a:gd name="T51" fmla="*/ 215 h 290"/>
                  <a:gd name="T52" fmla="*/ 29 w 180"/>
                  <a:gd name="T53" fmla="*/ 239 h 290"/>
                  <a:gd name="T54" fmla="*/ 32 w 180"/>
                  <a:gd name="T55" fmla="*/ 276 h 290"/>
                  <a:gd name="T56" fmla="*/ 43 w 180"/>
                  <a:gd name="T57" fmla="*/ 290 h 290"/>
                  <a:gd name="T58" fmla="*/ 46 w 180"/>
                  <a:gd name="T59" fmla="*/ 276 h 290"/>
                  <a:gd name="T60" fmla="*/ 40 w 180"/>
                  <a:gd name="T61" fmla="*/ 273 h 290"/>
                  <a:gd name="T62" fmla="*/ 52 w 180"/>
                  <a:gd name="T63" fmla="*/ 262 h 290"/>
                  <a:gd name="T64" fmla="*/ 85 w 180"/>
                  <a:gd name="T65" fmla="*/ 246 h 290"/>
                  <a:gd name="T66" fmla="*/ 86 w 180"/>
                  <a:gd name="T67" fmla="*/ 234 h 290"/>
                  <a:gd name="T68" fmla="*/ 89 w 180"/>
                  <a:gd name="T69" fmla="*/ 211 h 290"/>
                  <a:gd name="T70" fmla="*/ 86 w 180"/>
                  <a:gd name="T71" fmla="*/ 196 h 290"/>
                  <a:gd name="T72" fmla="*/ 81 w 180"/>
                  <a:gd name="T73" fmla="*/ 182 h 290"/>
                  <a:gd name="T74" fmla="*/ 76 w 180"/>
                  <a:gd name="T75" fmla="*/ 168 h 290"/>
                  <a:gd name="T76" fmla="*/ 74 w 180"/>
                  <a:gd name="T77" fmla="*/ 159 h 290"/>
                  <a:gd name="T78" fmla="*/ 90 w 180"/>
                  <a:gd name="T79" fmla="*/ 152 h 290"/>
                  <a:gd name="T80" fmla="*/ 102 w 180"/>
                  <a:gd name="T81" fmla="*/ 145 h 290"/>
                  <a:gd name="T82" fmla="*/ 110 w 180"/>
                  <a:gd name="T83" fmla="*/ 136 h 290"/>
                  <a:gd name="T84" fmla="*/ 122 w 180"/>
                  <a:gd name="T85" fmla="*/ 124 h 290"/>
                  <a:gd name="T86" fmla="*/ 135 w 180"/>
                  <a:gd name="T87" fmla="*/ 116 h 290"/>
                  <a:gd name="T88" fmla="*/ 162 w 180"/>
                  <a:gd name="T89" fmla="*/ 103 h 290"/>
                  <a:gd name="T90" fmla="*/ 180 w 180"/>
                  <a:gd name="T91" fmla="*/ 74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0" h="290">
                    <a:moveTo>
                      <a:pt x="178" y="70"/>
                    </a:moveTo>
                    <a:cubicBezTo>
                      <a:pt x="177" y="69"/>
                      <a:pt x="178" y="68"/>
                      <a:pt x="177" y="66"/>
                    </a:cubicBezTo>
                    <a:cubicBezTo>
                      <a:pt x="177" y="65"/>
                      <a:pt x="176" y="64"/>
                      <a:pt x="175" y="62"/>
                    </a:cubicBezTo>
                    <a:cubicBezTo>
                      <a:pt x="175" y="60"/>
                      <a:pt x="176" y="59"/>
                      <a:pt x="176" y="57"/>
                    </a:cubicBezTo>
                    <a:cubicBezTo>
                      <a:pt x="176" y="55"/>
                      <a:pt x="175" y="54"/>
                      <a:pt x="175" y="52"/>
                    </a:cubicBezTo>
                    <a:cubicBezTo>
                      <a:pt x="175" y="50"/>
                      <a:pt x="175" y="48"/>
                      <a:pt x="175" y="47"/>
                    </a:cubicBezTo>
                    <a:cubicBezTo>
                      <a:pt x="175" y="45"/>
                      <a:pt x="174" y="44"/>
                      <a:pt x="174" y="42"/>
                    </a:cubicBezTo>
                    <a:cubicBezTo>
                      <a:pt x="174" y="41"/>
                      <a:pt x="175" y="40"/>
                      <a:pt x="176" y="39"/>
                    </a:cubicBezTo>
                    <a:cubicBezTo>
                      <a:pt x="176" y="37"/>
                      <a:pt x="176" y="36"/>
                      <a:pt x="176" y="34"/>
                    </a:cubicBezTo>
                    <a:cubicBezTo>
                      <a:pt x="175" y="31"/>
                      <a:pt x="174" y="28"/>
                      <a:pt x="174" y="25"/>
                    </a:cubicBezTo>
                    <a:cubicBezTo>
                      <a:pt x="174" y="23"/>
                      <a:pt x="175" y="21"/>
                      <a:pt x="175" y="20"/>
                    </a:cubicBezTo>
                    <a:cubicBezTo>
                      <a:pt x="174" y="18"/>
                      <a:pt x="174" y="17"/>
                      <a:pt x="173" y="16"/>
                    </a:cubicBezTo>
                    <a:cubicBezTo>
                      <a:pt x="173" y="15"/>
                      <a:pt x="172" y="14"/>
                      <a:pt x="173" y="13"/>
                    </a:cubicBezTo>
                    <a:cubicBezTo>
                      <a:pt x="173" y="11"/>
                      <a:pt x="174" y="11"/>
                      <a:pt x="175" y="9"/>
                    </a:cubicBezTo>
                    <a:cubicBezTo>
                      <a:pt x="175" y="8"/>
                      <a:pt x="175" y="6"/>
                      <a:pt x="175" y="4"/>
                    </a:cubicBezTo>
                    <a:cubicBezTo>
                      <a:pt x="175" y="3"/>
                      <a:pt x="175" y="2"/>
                      <a:pt x="174" y="0"/>
                    </a:cubicBezTo>
                    <a:cubicBezTo>
                      <a:pt x="169" y="4"/>
                      <a:pt x="163" y="7"/>
                      <a:pt x="158" y="10"/>
                    </a:cubicBezTo>
                    <a:cubicBezTo>
                      <a:pt x="156" y="12"/>
                      <a:pt x="153" y="14"/>
                      <a:pt x="150" y="14"/>
                    </a:cubicBezTo>
                    <a:cubicBezTo>
                      <a:pt x="149" y="14"/>
                      <a:pt x="148" y="14"/>
                      <a:pt x="146" y="14"/>
                    </a:cubicBezTo>
                    <a:cubicBezTo>
                      <a:pt x="145" y="15"/>
                      <a:pt x="144" y="16"/>
                      <a:pt x="143" y="17"/>
                    </a:cubicBezTo>
                    <a:cubicBezTo>
                      <a:pt x="140" y="18"/>
                      <a:pt x="137" y="17"/>
                      <a:pt x="135" y="16"/>
                    </a:cubicBezTo>
                    <a:cubicBezTo>
                      <a:pt x="132" y="14"/>
                      <a:pt x="130" y="15"/>
                      <a:pt x="128" y="17"/>
                    </a:cubicBezTo>
                    <a:cubicBezTo>
                      <a:pt x="125" y="21"/>
                      <a:pt x="121" y="24"/>
                      <a:pt x="116" y="21"/>
                    </a:cubicBezTo>
                    <a:cubicBezTo>
                      <a:pt x="114" y="19"/>
                      <a:pt x="112" y="21"/>
                      <a:pt x="110" y="22"/>
                    </a:cubicBezTo>
                    <a:cubicBezTo>
                      <a:pt x="108" y="23"/>
                      <a:pt x="105" y="23"/>
                      <a:pt x="102" y="22"/>
                    </a:cubicBezTo>
                    <a:cubicBezTo>
                      <a:pt x="100" y="21"/>
                      <a:pt x="98" y="19"/>
                      <a:pt x="96" y="18"/>
                    </a:cubicBezTo>
                    <a:cubicBezTo>
                      <a:pt x="93" y="17"/>
                      <a:pt x="92" y="21"/>
                      <a:pt x="89" y="21"/>
                    </a:cubicBezTo>
                    <a:cubicBezTo>
                      <a:pt x="86" y="21"/>
                      <a:pt x="83" y="21"/>
                      <a:pt x="81" y="20"/>
                    </a:cubicBezTo>
                    <a:cubicBezTo>
                      <a:pt x="80" y="20"/>
                      <a:pt x="80" y="20"/>
                      <a:pt x="79" y="20"/>
                    </a:cubicBezTo>
                    <a:cubicBezTo>
                      <a:pt x="79" y="21"/>
                      <a:pt x="79" y="22"/>
                      <a:pt x="79" y="22"/>
                    </a:cubicBezTo>
                    <a:cubicBezTo>
                      <a:pt x="78" y="24"/>
                      <a:pt x="78" y="26"/>
                      <a:pt x="77" y="27"/>
                    </a:cubicBezTo>
                    <a:cubicBezTo>
                      <a:pt x="75" y="32"/>
                      <a:pt x="76" y="39"/>
                      <a:pt x="78" y="45"/>
                    </a:cubicBezTo>
                    <a:cubicBezTo>
                      <a:pt x="79" y="47"/>
                      <a:pt x="80" y="50"/>
                      <a:pt x="81" y="52"/>
                    </a:cubicBezTo>
                    <a:cubicBezTo>
                      <a:pt x="82" y="54"/>
                      <a:pt x="84" y="56"/>
                      <a:pt x="86" y="58"/>
                    </a:cubicBezTo>
                    <a:cubicBezTo>
                      <a:pt x="87" y="59"/>
                      <a:pt x="87" y="60"/>
                      <a:pt x="88" y="61"/>
                    </a:cubicBezTo>
                    <a:cubicBezTo>
                      <a:pt x="88" y="63"/>
                      <a:pt x="89" y="63"/>
                      <a:pt x="90" y="65"/>
                    </a:cubicBezTo>
                    <a:cubicBezTo>
                      <a:pt x="92" y="67"/>
                      <a:pt x="94" y="69"/>
                      <a:pt x="96" y="72"/>
                    </a:cubicBezTo>
                    <a:cubicBezTo>
                      <a:pt x="97" y="74"/>
                      <a:pt x="97" y="77"/>
                      <a:pt x="97" y="79"/>
                    </a:cubicBezTo>
                    <a:cubicBezTo>
                      <a:pt x="96" y="81"/>
                      <a:pt x="96" y="82"/>
                      <a:pt x="95" y="83"/>
                    </a:cubicBezTo>
                    <a:cubicBezTo>
                      <a:pt x="95" y="85"/>
                      <a:pt x="95" y="86"/>
                      <a:pt x="96" y="87"/>
                    </a:cubicBezTo>
                    <a:cubicBezTo>
                      <a:pt x="98" y="92"/>
                      <a:pt x="97" y="98"/>
                      <a:pt x="92" y="100"/>
                    </a:cubicBezTo>
                    <a:cubicBezTo>
                      <a:pt x="90" y="101"/>
                      <a:pt x="87" y="101"/>
                      <a:pt x="86" y="103"/>
                    </a:cubicBezTo>
                    <a:cubicBezTo>
                      <a:pt x="85" y="104"/>
                      <a:pt x="85" y="106"/>
                      <a:pt x="85" y="108"/>
                    </a:cubicBezTo>
                    <a:cubicBezTo>
                      <a:pt x="85" y="110"/>
                      <a:pt x="86" y="114"/>
                      <a:pt x="82" y="113"/>
                    </a:cubicBezTo>
                    <a:cubicBezTo>
                      <a:pt x="80" y="113"/>
                      <a:pt x="79" y="110"/>
                      <a:pt x="78" y="108"/>
                    </a:cubicBezTo>
                    <a:cubicBezTo>
                      <a:pt x="76" y="106"/>
                      <a:pt x="74" y="104"/>
                      <a:pt x="72" y="102"/>
                    </a:cubicBezTo>
                    <a:cubicBezTo>
                      <a:pt x="70" y="101"/>
                      <a:pt x="68" y="99"/>
                      <a:pt x="68" y="96"/>
                    </a:cubicBezTo>
                    <a:cubicBezTo>
                      <a:pt x="67" y="94"/>
                      <a:pt x="68" y="91"/>
                      <a:pt x="69" y="89"/>
                    </a:cubicBezTo>
                    <a:cubicBezTo>
                      <a:pt x="70" y="86"/>
                      <a:pt x="72" y="84"/>
                      <a:pt x="72" y="81"/>
                    </a:cubicBezTo>
                    <a:cubicBezTo>
                      <a:pt x="73" y="79"/>
                      <a:pt x="71" y="76"/>
                      <a:pt x="71" y="73"/>
                    </a:cubicBezTo>
                    <a:cubicBezTo>
                      <a:pt x="70" y="71"/>
                      <a:pt x="69" y="70"/>
                      <a:pt x="66" y="71"/>
                    </a:cubicBezTo>
                    <a:cubicBezTo>
                      <a:pt x="65" y="71"/>
                      <a:pt x="64" y="71"/>
                      <a:pt x="62" y="71"/>
                    </a:cubicBezTo>
                    <a:cubicBezTo>
                      <a:pt x="61" y="71"/>
                      <a:pt x="59" y="72"/>
                      <a:pt x="58" y="72"/>
                    </a:cubicBezTo>
                    <a:cubicBezTo>
                      <a:pt x="55" y="71"/>
                      <a:pt x="54" y="68"/>
                      <a:pt x="53" y="67"/>
                    </a:cubicBezTo>
                    <a:cubicBezTo>
                      <a:pt x="52" y="66"/>
                      <a:pt x="51" y="64"/>
                      <a:pt x="50" y="64"/>
                    </a:cubicBezTo>
                    <a:cubicBezTo>
                      <a:pt x="49" y="63"/>
                      <a:pt x="47" y="63"/>
                      <a:pt x="47" y="63"/>
                    </a:cubicBezTo>
                    <a:cubicBezTo>
                      <a:pt x="41" y="65"/>
                      <a:pt x="35" y="67"/>
                      <a:pt x="29" y="69"/>
                    </a:cubicBezTo>
                    <a:cubicBezTo>
                      <a:pt x="23" y="71"/>
                      <a:pt x="16" y="74"/>
                      <a:pt x="10" y="76"/>
                    </a:cubicBezTo>
                    <a:cubicBezTo>
                      <a:pt x="8" y="77"/>
                      <a:pt x="5" y="77"/>
                      <a:pt x="3" y="79"/>
                    </a:cubicBezTo>
                    <a:cubicBezTo>
                      <a:pt x="0" y="80"/>
                      <a:pt x="1" y="83"/>
                      <a:pt x="2" y="85"/>
                    </a:cubicBezTo>
                    <a:cubicBezTo>
                      <a:pt x="2" y="88"/>
                      <a:pt x="3" y="91"/>
                      <a:pt x="4" y="93"/>
                    </a:cubicBezTo>
                    <a:cubicBezTo>
                      <a:pt x="5" y="96"/>
                      <a:pt x="8" y="96"/>
                      <a:pt x="10" y="95"/>
                    </a:cubicBezTo>
                    <a:cubicBezTo>
                      <a:pt x="16" y="95"/>
                      <a:pt x="22" y="99"/>
                      <a:pt x="27" y="101"/>
                    </a:cubicBezTo>
                    <a:cubicBezTo>
                      <a:pt x="30" y="102"/>
                      <a:pt x="33" y="103"/>
                      <a:pt x="35" y="105"/>
                    </a:cubicBezTo>
                    <a:cubicBezTo>
                      <a:pt x="38" y="106"/>
                      <a:pt x="41" y="106"/>
                      <a:pt x="44" y="108"/>
                    </a:cubicBezTo>
                    <a:cubicBezTo>
                      <a:pt x="48" y="109"/>
                      <a:pt x="48" y="116"/>
                      <a:pt x="48" y="120"/>
                    </a:cubicBezTo>
                    <a:cubicBezTo>
                      <a:pt x="48" y="123"/>
                      <a:pt x="48" y="126"/>
                      <a:pt x="48" y="129"/>
                    </a:cubicBezTo>
                    <a:cubicBezTo>
                      <a:pt x="48" y="132"/>
                      <a:pt x="49" y="134"/>
                      <a:pt x="48" y="137"/>
                    </a:cubicBezTo>
                    <a:cubicBezTo>
                      <a:pt x="47" y="140"/>
                      <a:pt x="45" y="142"/>
                      <a:pt x="44" y="144"/>
                    </a:cubicBezTo>
                    <a:cubicBezTo>
                      <a:pt x="42" y="147"/>
                      <a:pt x="44" y="148"/>
                      <a:pt x="45" y="151"/>
                    </a:cubicBezTo>
                    <a:cubicBezTo>
                      <a:pt x="46" y="153"/>
                      <a:pt x="45" y="156"/>
                      <a:pt x="45" y="158"/>
                    </a:cubicBezTo>
                    <a:cubicBezTo>
                      <a:pt x="45" y="161"/>
                      <a:pt x="47" y="163"/>
                      <a:pt x="46" y="166"/>
                    </a:cubicBezTo>
                    <a:cubicBezTo>
                      <a:pt x="44" y="171"/>
                      <a:pt x="39" y="176"/>
                      <a:pt x="38" y="181"/>
                    </a:cubicBezTo>
                    <a:cubicBezTo>
                      <a:pt x="37" y="184"/>
                      <a:pt x="38" y="187"/>
                      <a:pt x="37" y="190"/>
                    </a:cubicBezTo>
                    <a:cubicBezTo>
                      <a:pt x="36" y="192"/>
                      <a:pt x="34" y="194"/>
                      <a:pt x="32" y="196"/>
                    </a:cubicBezTo>
                    <a:cubicBezTo>
                      <a:pt x="27" y="200"/>
                      <a:pt x="23" y="205"/>
                      <a:pt x="19" y="209"/>
                    </a:cubicBezTo>
                    <a:cubicBezTo>
                      <a:pt x="18" y="210"/>
                      <a:pt x="19" y="211"/>
                      <a:pt x="19" y="211"/>
                    </a:cubicBezTo>
                    <a:cubicBezTo>
                      <a:pt x="20" y="213"/>
                      <a:pt x="20" y="214"/>
                      <a:pt x="21" y="215"/>
                    </a:cubicBezTo>
                    <a:cubicBezTo>
                      <a:pt x="22" y="218"/>
                      <a:pt x="22" y="221"/>
                      <a:pt x="22" y="224"/>
                    </a:cubicBezTo>
                    <a:cubicBezTo>
                      <a:pt x="23" y="227"/>
                      <a:pt x="24" y="229"/>
                      <a:pt x="26" y="231"/>
                    </a:cubicBezTo>
                    <a:cubicBezTo>
                      <a:pt x="27" y="233"/>
                      <a:pt x="28" y="236"/>
                      <a:pt x="29" y="239"/>
                    </a:cubicBezTo>
                    <a:cubicBezTo>
                      <a:pt x="30" y="245"/>
                      <a:pt x="30" y="252"/>
                      <a:pt x="30" y="258"/>
                    </a:cubicBezTo>
                    <a:cubicBezTo>
                      <a:pt x="31" y="261"/>
                      <a:pt x="30" y="264"/>
                      <a:pt x="30" y="267"/>
                    </a:cubicBezTo>
                    <a:cubicBezTo>
                      <a:pt x="31" y="270"/>
                      <a:pt x="31" y="273"/>
                      <a:pt x="32" y="276"/>
                    </a:cubicBezTo>
                    <a:cubicBezTo>
                      <a:pt x="32" y="279"/>
                      <a:pt x="33" y="282"/>
                      <a:pt x="33" y="284"/>
                    </a:cubicBezTo>
                    <a:cubicBezTo>
                      <a:pt x="32" y="287"/>
                      <a:pt x="32" y="289"/>
                      <a:pt x="35" y="290"/>
                    </a:cubicBezTo>
                    <a:cubicBezTo>
                      <a:pt x="38" y="290"/>
                      <a:pt x="41" y="290"/>
                      <a:pt x="43" y="290"/>
                    </a:cubicBezTo>
                    <a:cubicBezTo>
                      <a:pt x="45" y="290"/>
                      <a:pt x="45" y="283"/>
                      <a:pt x="45" y="282"/>
                    </a:cubicBezTo>
                    <a:cubicBezTo>
                      <a:pt x="46" y="281"/>
                      <a:pt x="46" y="279"/>
                      <a:pt x="46" y="278"/>
                    </a:cubicBezTo>
                    <a:cubicBezTo>
                      <a:pt x="46" y="278"/>
                      <a:pt x="46" y="275"/>
                      <a:pt x="46" y="276"/>
                    </a:cubicBezTo>
                    <a:cubicBezTo>
                      <a:pt x="45" y="277"/>
                      <a:pt x="44" y="280"/>
                      <a:pt x="42" y="278"/>
                    </a:cubicBezTo>
                    <a:cubicBezTo>
                      <a:pt x="41" y="277"/>
                      <a:pt x="38" y="275"/>
                      <a:pt x="38" y="274"/>
                    </a:cubicBezTo>
                    <a:cubicBezTo>
                      <a:pt x="38" y="273"/>
                      <a:pt x="39" y="273"/>
                      <a:pt x="40" y="273"/>
                    </a:cubicBezTo>
                    <a:cubicBezTo>
                      <a:pt x="41" y="272"/>
                      <a:pt x="42" y="271"/>
                      <a:pt x="42" y="270"/>
                    </a:cubicBezTo>
                    <a:cubicBezTo>
                      <a:pt x="42" y="268"/>
                      <a:pt x="43" y="266"/>
                      <a:pt x="45" y="265"/>
                    </a:cubicBezTo>
                    <a:cubicBezTo>
                      <a:pt x="47" y="263"/>
                      <a:pt x="50" y="262"/>
                      <a:pt x="52" y="262"/>
                    </a:cubicBezTo>
                    <a:cubicBezTo>
                      <a:pt x="58" y="259"/>
                      <a:pt x="64" y="257"/>
                      <a:pt x="70" y="254"/>
                    </a:cubicBezTo>
                    <a:cubicBezTo>
                      <a:pt x="73" y="253"/>
                      <a:pt x="75" y="251"/>
                      <a:pt x="78" y="250"/>
                    </a:cubicBezTo>
                    <a:cubicBezTo>
                      <a:pt x="80" y="249"/>
                      <a:pt x="83" y="249"/>
                      <a:pt x="85" y="246"/>
                    </a:cubicBezTo>
                    <a:cubicBezTo>
                      <a:pt x="86" y="244"/>
                      <a:pt x="87" y="241"/>
                      <a:pt x="88" y="239"/>
                    </a:cubicBezTo>
                    <a:cubicBezTo>
                      <a:pt x="89" y="238"/>
                      <a:pt x="91" y="234"/>
                      <a:pt x="88" y="234"/>
                    </a:cubicBezTo>
                    <a:cubicBezTo>
                      <a:pt x="88" y="234"/>
                      <a:pt x="86" y="234"/>
                      <a:pt x="86" y="234"/>
                    </a:cubicBezTo>
                    <a:cubicBezTo>
                      <a:pt x="86" y="232"/>
                      <a:pt x="87" y="231"/>
                      <a:pt x="87" y="230"/>
                    </a:cubicBezTo>
                    <a:cubicBezTo>
                      <a:pt x="87" y="227"/>
                      <a:pt x="87" y="223"/>
                      <a:pt x="88" y="220"/>
                    </a:cubicBezTo>
                    <a:cubicBezTo>
                      <a:pt x="88" y="217"/>
                      <a:pt x="89" y="214"/>
                      <a:pt x="89" y="211"/>
                    </a:cubicBezTo>
                    <a:cubicBezTo>
                      <a:pt x="89" y="210"/>
                      <a:pt x="89" y="208"/>
                      <a:pt x="90" y="207"/>
                    </a:cubicBezTo>
                    <a:cubicBezTo>
                      <a:pt x="90" y="206"/>
                      <a:pt x="88" y="205"/>
                      <a:pt x="88" y="204"/>
                    </a:cubicBezTo>
                    <a:cubicBezTo>
                      <a:pt x="86" y="201"/>
                      <a:pt x="87" y="199"/>
                      <a:pt x="86" y="196"/>
                    </a:cubicBezTo>
                    <a:cubicBezTo>
                      <a:pt x="85" y="194"/>
                      <a:pt x="83" y="192"/>
                      <a:pt x="82" y="189"/>
                    </a:cubicBezTo>
                    <a:cubicBezTo>
                      <a:pt x="82" y="188"/>
                      <a:pt x="81" y="187"/>
                      <a:pt x="82" y="185"/>
                    </a:cubicBezTo>
                    <a:cubicBezTo>
                      <a:pt x="82" y="184"/>
                      <a:pt x="82" y="183"/>
                      <a:pt x="81" y="182"/>
                    </a:cubicBezTo>
                    <a:cubicBezTo>
                      <a:pt x="80" y="180"/>
                      <a:pt x="78" y="178"/>
                      <a:pt x="76" y="176"/>
                    </a:cubicBezTo>
                    <a:cubicBezTo>
                      <a:pt x="76" y="175"/>
                      <a:pt x="76" y="174"/>
                      <a:pt x="76" y="172"/>
                    </a:cubicBezTo>
                    <a:cubicBezTo>
                      <a:pt x="76" y="171"/>
                      <a:pt x="76" y="169"/>
                      <a:pt x="76" y="168"/>
                    </a:cubicBezTo>
                    <a:cubicBezTo>
                      <a:pt x="76" y="167"/>
                      <a:pt x="76" y="165"/>
                      <a:pt x="76" y="164"/>
                    </a:cubicBezTo>
                    <a:cubicBezTo>
                      <a:pt x="75" y="163"/>
                      <a:pt x="74" y="162"/>
                      <a:pt x="74" y="160"/>
                    </a:cubicBezTo>
                    <a:cubicBezTo>
                      <a:pt x="73" y="160"/>
                      <a:pt x="73" y="158"/>
                      <a:pt x="74" y="159"/>
                    </a:cubicBezTo>
                    <a:cubicBezTo>
                      <a:pt x="75" y="160"/>
                      <a:pt x="76" y="161"/>
                      <a:pt x="77" y="162"/>
                    </a:cubicBezTo>
                    <a:cubicBezTo>
                      <a:pt x="80" y="163"/>
                      <a:pt x="82" y="160"/>
                      <a:pt x="84" y="158"/>
                    </a:cubicBezTo>
                    <a:cubicBezTo>
                      <a:pt x="86" y="156"/>
                      <a:pt x="88" y="154"/>
                      <a:pt x="90" y="152"/>
                    </a:cubicBezTo>
                    <a:cubicBezTo>
                      <a:pt x="92" y="150"/>
                      <a:pt x="94" y="148"/>
                      <a:pt x="97" y="146"/>
                    </a:cubicBezTo>
                    <a:cubicBezTo>
                      <a:pt x="98" y="145"/>
                      <a:pt x="98" y="145"/>
                      <a:pt x="100" y="145"/>
                    </a:cubicBezTo>
                    <a:cubicBezTo>
                      <a:pt x="100" y="146"/>
                      <a:pt x="102" y="146"/>
                      <a:pt x="102" y="145"/>
                    </a:cubicBezTo>
                    <a:cubicBezTo>
                      <a:pt x="103" y="145"/>
                      <a:pt x="104" y="144"/>
                      <a:pt x="105" y="143"/>
                    </a:cubicBezTo>
                    <a:cubicBezTo>
                      <a:pt x="106" y="143"/>
                      <a:pt x="107" y="143"/>
                      <a:pt x="108" y="142"/>
                    </a:cubicBezTo>
                    <a:cubicBezTo>
                      <a:pt x="109" y="140"/>
                      <a:pt x="109" y="138"/>
                      <a:pt x="110" y="136"/>
                    </a:cubicBezTo>
                    <a:cubicBezTo>
                      <a:pt x="112" y="134"/>
                      <a:pt x="114" y="133"/>
                      <a:pt x="113" y="131"/>
                    </a:cubicBezTo>
                    <a:cubicBezTo>
                      <a:pt x="112" y="128"/>
                      <a:pt x="114" y="128"/>
                      <a:pt x="116" y="128"/>
                    </a:cubicBezTo>
                    <a:cubicBezTo>
                      <a:pt x="118" y="128"/>
                      <a:pt x="120" y="125"/>
                      <a:pt x="122" y="124"/>
                    </a:cubicBezTo>
                    <a:cubicBezTo>
                      <a:pt x="124" y="123"/>
                      <a:pt x="126" y="122"/>
                      <a:pt x="128" y="120"/>
                    </a:cubicBezTo>
                    <a:cubicBezTo>
                      <a:pt x="129" y="120"/>
                      <a:pt x="130" y="120"/>
                      <a:pt x="131" y="119"/>
                    </a:cubicBezTo>
                    <a:cubicBezTo>
                      <a:pt x="132" y="118"/>
                      <a:pt x="133" y="117"/>
                      <a:pt x="135" y="116"/>
                    </a:cubicBezTo>
                    <a:cubicBezTo>
                      <a:pt x="137" y="115"/>
                      <a:pt x="140" y="115"/>
                      <a:pt x="142" y="114"/>
                    </a:cubicBezTo>
                    <a:cubicBezTo>
                      <a:pt x="145" y="113"/>
                      <a:pt x="148" y="112"/>
                      <a:pt x="151" y="111"/>
                    </a:cubicBezTo>
                    <a:cubicBezTo>
                      <a:pt x="155" y="108"/>
                      <a:pt x="159" y="106"/>
                      <a:pt x="162" y="103"/>
                    </a:cubicBezTo>
                    <a:cubicBezTo>
                      <a:pt x="165" y="99"/>
                      <a:pt x="167" y="95"/>
                      <a:pt x="170" y="91"/>
                    </a:cubicBezTo>
                    <a:cubicBezTo>
                      <a:pt x="173" y="88"/>
                      <a:pt x="176" y="85"/>
                      <a:pt x="178" y="81"/>
                    </a:cubicBezTo>
                    <a:cubicBezTo>
                      <a:pt x="179" y="79"/>
                      <a:pt x="179" y="76"/>
                      <a:pt x="180" y="74"/>
                    </a:cubicBezTo>
                    <a:cubicBezTo>
                      <a:pt x="180" y="72"/>
                      <a:pt x="180" y="71"/>
                      <a:pt x="178" y="70"/>
                    </a:cubicBezTo>
                    <a:cubicBezTo>
                      <a:pt x="177" y="69"/>
                      <a:pt x="178" y="70"/>
                      <a:pt x="178" y="70"/>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92" name="Freeform 485">
                <a:extLst>
                  <a:ext uri="{FF2B5EF4-FFF2-40B4-BE49-F238E27FC236}">
                    <a16:creationId xmlns:a16="http://schemas.microsoft.com/office/drawing/2014/main" id="{9A72020F-D07A-A3C4-6093-6C017F2C5E4C}"/>
                  </a:ext>
                </a:extLst>
              </p:cNvPr>
              <p:cNvSpPr/>
              <p:nvPr>
                <p:custDataLst>
                  <p:tags r:id="rId230"/>
                </p:custDataLst>
              </p:nvPr>
            </p:nvSpPr>
            <p:spPr bwMode="auto">
              <a:xfrm>
                <a:off x="6248603" y="5077739"/>
                <a:ext cx="31888" cy="36991"/>
              </a:xfrm>
              <a:custGeom>
                <a:avLst/>
                <a:gdLst>
                  <a:gd name="T0" fmla="*/ 14 w 21"/>
                  <a:gd name="T1" fmla="*/ 2 h 25"/>
                  <a:gd name="T2" fmla="*/ 11 w 21"/>
                  <a:gd name="T3" fmla="*/ 0 h 25"/>
                  <a:gd name="T4" fmla="*/ 6 w 21"/>
                  <a:gd name="T5" fmla="*/ 3 h 25"/>
                  <a:gd name="T6" fmla="*/ 1 w 21"/>
                  <a:gd name="T7" fmla="*/ 11 h 25"/>
                  <a:gd name="T8" fmla="*/ 4 w 21"/>
                  <a:gd name="T9" fmla="*/ 20 h 25"/>
                  <a:gd name="T10" fmla="*/ 7 w 21"/>
                  <a:gd name="T11" fmla="*/ 24 h 25"/>
                  <a:gd name="T12" fmla="*/ 12 w 21"/>
                  <a:gd name="T13" fmla="*/ 25 h 25"/>
                  <a:gd name="T14" fmla="*/ 17 w 21"/>
                  <a:gd name="T15" fmla="*/ 24 h 25"/>
                  <a:gd name="T16" fmla="*/ 19 w 21"/>
                  <a:gd name="T17" fmla="*/ 20 h 25"/>
                  <a:gd name="T18" fmla="*/ 21 w 21"/>
                  <a:gd name="T19" fmla="*/ 17 h 25"/>
                  <a:gd name="T20" fmla="*/ 20 w 21"/>
                  <a:gd name="T21" fmla="*/ 14 h 25"/>
                  <a:gd name="T22" fmla="*/ 20 w 21"/>
                  <a:gd name="T23" fmla="*/ 4 h 25"/>
                  <a:gd name="T24" fmla="*/ 16 w 21"/>
                  <a:gd name="T25" fmla="*/ 3 h 25"/>
                  <a:gd name="T26" fmla="*/ 14 w 21"/>
                  <a:gd name="T27" fmla="*/ 2 h 25"/>
                  <a:gd name="T28" fmla="*/ 14 w 21"/>
                  <a:gd name="T29" fmla="*/ 2 h 25"/>
                  <a:gd name="T30" fmla="*/ 14 w 21"/>
                  <a:gd name="T31"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5">
                    <a:moveTo>
                      <a:pt x="14" y="2"/>
                    </a:moveTo>
                    <a:cubicBezTo>
                      <a:pt x="13" y="1"/>
                      <a:pt x="12" y="0"/>
                      <a:pt x="11" y="0"/>
                    </a:cubicBezTo>
                    <a:cubicBezTo>
                      <a:pt x="9" y="1"/>
                      <a:pt x="8" y="2"/>
                      <a:pt x="6" y="3"/>
                    </a:cubicBezTo>
                    <a:cubicBezTo>
                      <a:pt x="4" y="5"/>
                      <a:pt x="1" y="8"/>
                      <a:pt x="1" y="11"/>
                    </a:cubicBezTo>
                    <a:cubicBezTo>
                      <a:pt x="0" y="15"/>
                      <a:pt x="3" y="17"/>
                      <a:pt x="4" y="20"/>
                    </a:cubicBezTo>
                    <a:cubicBezTo>
                      <a:pt x="5" y="22"/>
                      <a:pt x="6" y="24"/>
                      <a:pt x="7" y="24"/>
                    </a:cubicBezTo>
                    <a:cubicBezTo>
                      <a:pt x="8" y="25"/>
                      <a:pt x="10" y="24"/>
                      <a:pt x="12" y="25"/>
                    </a:cubicBezTo>
                    <a:cubicBezTo>
                      <a:pt x="13" y="25"/>
                      <a:pt x="16" y="25"/>
                      <a:pt x="17" y="24"/>
                    </a:cubicBezTo>
                    <a:cubicBezTo>
                      <a:pt x="18" y="23"/>
                      <a:pt x="18" y="21"/>
                      <a:pt x="19" y="20"/>
                    </a:cubicBezTo>
                    <a:cubicBezTo>
                      <a:pt x="19" y="19"/>
                      <a:pt x="21" y="18"/>
                      <a:pt x="21" y="17"/>
                    </a:cubicBezTo>
                    <a:cubicBezTo>
                      <a:pt x="21" y="16"/>
                      <a:pt x="20" y="15"/>
                      <a:pt x="20" y="14"/>
                    </a:cubicBezTo>
                    <a:cubicBezTo>
                      <a:pt x="20" y="11"/>
                      <a:pt x="21" y="7"/>
                      <a:pt x="20" y="4"/>
                    </a:cubicBezTo>
                    <a:cubicBezTo>
                      <a:pt x="19" y="3"/>
                      <a:pt x="17" y="3"/>
                      <a:pt x="16" y="3"/>
                    </a:cubicBezTo>
                    <a:cubicBezTo>
                      <a:pt x="16" y="3"/>
                      <a:pt x="15" y="3"/>
                      <a:pt x="14" y="2"/>
                    </a:cubicBezTo>
                    <a:cubicBezTo>
                      <a:pt x="13" y="2"/>
                      <a:pt x="14" y="2"/>
                      <a:pt x="14" y="2"/>
                    </a:cubicBezTo>
                    <a:cubicBezTo>
                      <a:pt x="13" y="1"/>
                      <a:pt x="14" y="2"/>
                      <a:pt x="14" y="2"/>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93" name="Freeform 486">
                <a:extLst>
                  <a:ext uri="{FF2B5EF4-FFF2-40B4-BE49-F238E27FC236}">
                    <a16:creationId xmlns:a16="http://schemas.microsoft.com/office/drawing/2014/main" id="{FF0B2596-9C64-2CC8-E44A-5DD11BB32166}"/>
                  </a:ext>
                </a:extLst>
              </p:cNvPr>
              <p:cNvSpPr/>
              <p:nvPr>
                <p:custDataLst>
                  <p:tags r:id="rId231"/>
                </p:custDataLst>
              </p:nvPr>
            </p:nvSpPr>
            <p:spPr bwMode="auto">
              <a:xfrm>
                <a:off x="5465417" y="4127456"/>
                <a:ext cx="44644" cy="126280"/>
              </a:xfrm>
              <a:custGeom>
                <a:avLst/>
                <a:gdLst>
                  <a:gd name="T0" fmla="*/ 30 w 30"/>
                  <a:gd name="T1" fmla="*/ 80 h 85"/>
                  <a:gd name="T2" fmla="*/ 28 w 30"/>
                  <a:gd name="T3" fmla="*/ 77 h 85"/>
                  <a:gd name="T4" fmla="*/ 27 w 30"/>
                  <a:gd name="T5" fmla="*/ 72 h 85"/>
                  <a:gd name="T6" fmla="*/ 28 w 30"/>
                  <a:gd name="T7" fmla="*/ 60 h 85"/>
                  <a:gd name="T8" fmla="*/ 28 w 30"/>
                  <a:gd name="T9" fmla="*/ 48 h 85"/>
                  <a:gd name="T10" fmla="*/ 27 w 30"/>
                  <a:gd name="T11" fmla="*/ 37 h 85"/>
                  <a:gd name="T12" fmla="*/ 26 w 30"/>
                  <a:gd name="T13" fmla="*/ 32 h 85"/>
                  <a:gd name="T14" fmla="*/ 24 w 30"/>
                  <a:gd name="T15" fmla="*/ 28 h 85"/>
                  <a:gd name="T16" fmla="*/ 23 w 30"/>
                  <a:gd name="T17" fmla="*/ 22 h 85"/>
                  <a:gd name="T18" fmla="*/ 22 w 30"/>
                  <a:gd name="T19" fmla="*/ 18 h 85"/>
                  <a:gd name="T20" fmla="*/ 15 w 30"/>
                  <a:gd name="T21" fmla="*/ 11 h 85"/>
                  <a:gd name="T22" fmla="*/ 15 w 30"/>
                  <a:gd name="T23" fmla="*/ 3 h 85"/>
                  <a:gd name="T24" fmla="*/ 7 w 30"/>
                  <a:gd name="T25" fmla="*/ 1 h 85"/>
                  <a:gd name="T26" fmla="*/ 1 w 30"/>
                  <a:gd name="T27" fmla="*/ 0 h 85"/>
                  <a:gd name="T28" fmla="*/ 1 w 30"/>
                  <a:gd name="T29" fmla="*/ 5 h 85"/>
                  <a:gd name="T30" fmla="*/ 5 w 30"/>
                  <a:gd name="T31" fmla="*/ 11 h 85"/>
                  <a:gd name="T32" fmla="*/ 9 w 30"/>
                  <a:gd name="T33" fmla="*/ 18 h 85"/>
                  <a:gd name="T34" fmla="*/ 7 w 30"/>
                  <a:gd name="T35" fmla="*/ 25 h 85"/>
                  <a:gd name="T36" fmla="*/ 9 w 30"/>
                  <a:gd name="T37" fmla="*/ 31 h 85"/>
                  <a:gd name="T38" fmla="*/ 9 w 30"/>
                  <a:gd name="T39" fmla="*/ 39 h 85"/>
                  <a:gd name="T40" fmla="*/ 13 w 30"/>
                  <a:gd name="T41" fmla="*/ 53 h 85"/>
                  <a:gd name="T42" fmla="*/ 11 w 30"/>
                  <a:gd name="T43" fmla="*/ 60 h 85"/>
                  <a:gd name="T44" fmla="*/ 12 w 30"/>
                  <a:gd name="T45" fmla="*/ 64 h 85"/>
                  <a:gd name="T46" fmla="*/ 12 w 30"/>
                  <a:gd name="T47" fmla="*/ 69 h 85"/>
                  <a:gd name="T48" fmla="*/ 19 w 30"/>
                  <a:gd name="T49" fmla="*/ 81 h 85"/>
                  <a:gd name="T50" fmla="*/ 22 w 30"/>
                  <a:gd name="T51" fmla="*/ 84 h 85"/>
                  <a:gd name="T52" fmla="*/ 24 w 30"/>
                  <a:gd name="T53" fmla="*/ 83 h 85"/>
                  <a:gd name="T54" fmla="*/ 29 w 30"/>
                  <a:gd name="T55" fmla="*/ 82 h 85"/>
                  <a:gd name="T56" fmla="*/ 30 w 30"/>
                  <a:gd name="T57" fmla="*/ 81 h 85"/>
                  <a:gd name="T58" fmla="*/ 30 w 30"/>
                  <a:gd name="T59" fmla="*/ 79 h 85"/>
                  <a:gd name="T60" fmla="*/ 30 w 30"/>
                  <a:gd name="T61" fmla="*/ 80 h 85"/>
                  <a:gd name="T62" fmla="*/ 30 w 30"/>
                  <a:gd name="T63" fmla="*/ 8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 h="85">
                    <a:moveTo>
                      <a:pt x="30" y="80"/>
                    </a:moveTo>
                    <a:cubicBezTo>
                      <a:pt x="30" y="78"/>
                      <a:pt x="28" y="78"/>
                      <a:pt x="28" y="77"/>
                    </a:cubicBezTo>
                    <a:cubicBezTo>
                      <a:pt x="27" y="75"/>
                      <a:pt x="27" y="73"/>
                      <a:pt x="27" y="72"/>
                    </a:cubicBezTo>
                    <a:cubicBezTo>
                      <a:pt x="27" y="68"/>
                      <a:pt x="28" y="64"/>
                      <a:pt x="28" y="60"/>
                    </a:cubicBezTo>
                    <a:cubicBezTo>
                      <a:pt x="29" y="56"/>
                      <a:pt x="28" y="52"/>
                      <a:pt x="28" y="48"/>
                    </a:cubicBezTo>
                    <a:cubicBezTo>
                      <a:pt x="28" y="45"/>
                      <a:pt x="28" y="41"/>
                      <a:pt x="27" y="37"/>
                    </a:cubicBezTo>
                    <a:cubicBezTo>
                      <a:pt x="27" y="35"/>
                      <a:pt x="27" y="34"/>
                      <a:pt x="26" y="32"/>
                    </a:cubicBezTo>
                    <a:cubicBezTo>
                      <a:pt x="25" y="31"/>
                      <a:pt x="24" y="30"/>
                      <a:pt x="24" y="28"/>
                    </a:cubicBezTo>
                    <a:cubicBezTo>
                      <a:pt x="23" y="26"/>
                      <a:pt x="23" y="24"/>
                      <a:pt x="23" y="22"/>
                    </a:cubicBezTo>
                    <a:cubicBezTo>
                      <a:pt x="23" y="20"/>
                      <a:pt x="23" y="19"/>
                      <a:pt x="22" y="18"/>
                    </a:cubicBezTo>
                    <a:cubicBezTo>
                      <a:pt x="19" y="16"/>
                      <a:pt x="16" y="14"/>
                      <a:pt x="15" y="11"/>
                    </a:cubicBezTo>
                    <a:cubicBezTo>
                      <a:pt x="13" y="9"/>
                      <a:pt x="13" y="5"/>
                      <a:pt x="15" y="3"/>
                    </a:cubicBezTo>
                    <a:cubicBezTo>
                      <a:pt x="12" y="2"/>
                      <a:pt x="10" y="1"/>
                      <a:pt x="7" y="1"/>
                    </a:cubicBezTo>
                    <a:cubicBezTo>
                      <a:pt x="5" y="0"/>
                      <a:pt x="3" y="0"/>
                      <a:pt x="1" y="0"/>
                    </a:cubicBezTo>
                    <a:cubicBezTo>
                      <a:pt x="0" y="0"/>
                      <a:pt x="1" y="4"/>
                      <a:pt x="1" y="5"/>
                    </a:cubicBezTo>
                    <a:cubicBezTo>
                      <a:pt x="2" y="8"/>
                      <a:pt x="4" y="9"/>
                      <a:pt x="5" y="11"/>
                    </a:cubicBezTo>
                    <a:cubicBezTo>
                      <a:pt x="7" y="13"/>
                      <a:pt x="9" y="16"/>
                      <a:pt x="9" y="18"/>
                    </a:cubicBezTo>
                    <a:cubicBezTo>
                      <a:pt x="9" y="21"/>
                      <a:pt x="6" y="23"/>
                      <a:pt x="7" y="25"/>
                    </a:cubicBezTo>
                    <a:cubicBezTo>
                      <a:pt x="7" y="27"/>
                      <a:pt x="8" y="29"/>
                      <a:pt x="9" y="31"/>
                    </a:cubicBezTo>
                    <a:cubicBezTo>
                      <a:pt x="10" y="34"/>
                      <a:pt x="8" y="36"/>
                      <a:pt x="9" y="39"/>
                    </a:cubicBezTo>
                    <a:cubicBezTo>
                      <a:pt x="10" y="44"/>
                      <a:pt x="14" y="48"/>
                      <a:pt x="13" y="53"/>
                    </a:cubicBezTo>
                    <a:cubicBezTo>
                      <a:pt x="12" y="56"/>
                      <a:pt x="10" y="58"/>
                      <a:pt x="11" y="60"/>
                    </a:cubicBezTo>
                    <a:cubicBezTo>
                      <a:pt x="12" y="62"/>
                      <a:pt x="12" y="63"/>
                      <a:pt x="12" y="64"/>
                    </a:cubicBezTo>
                    <a:cubicBezTo>
                      <a:pt x="12" y="66"/>
                      <a:pt x="12" y="67"/>
                      <a:pt x="12" y="69"/>
                    </a:cubicBezTo>
                    <a:cubicBezTo>
                      <a:pt x="11" y="74"/>
                      <a:pt x="15" y="78"/>
                      <a:pt x="19" y="81"/>
                    </a:cubicBezTo>
                    <a:cubicBezTo>
                      <a:pt x="20" y="82"/>
                      <a:pt x="21" y="83"/>
                      <a:pt x="22" y="84"/>
                    </a:cubicBezTo>
                    <a:cubicBezTo>
                      <a:pt x="22" y="85"/>
                      <a:pt x="24" y="83"/>
                      <a:pt x="24" y="83"/>
                    </a:cubicBezTo>
                    <a:cubicBezTo>
                      <a:pt x="26" y="83"/>
                      <a:pt x="27" y="82"/>
                      <a:pt x="29" y="82"/>
                    </a:cubicBezTo>
                    <a:cubicBezTo>
                      <a:pt x="29" y="82"/>
                      <a:pt x="30" y="82"/>
                      <a:pt x="30" y="81"/>
                    </a:cubicBezTo>
                    <a:cubicBezTo>
                      <a:pt x="30" y="81"/>
                      <a:pt x="30" y="80"/>
                      <a:pt x="30" y="79"/>
                    </a:cubicBezTo>
                    <a:cubicBezTo>
                      <a:pt x="30" y="80"/>
                      <a:pt x="30" y="80"/>
                      <a:pt x="30" y="80"/>
                    </a:cubicBezTo>
                    <a:cubicBezTo>
                      <a:pt x="30" y="78"/>
                      <a:pt x="30" y="80"/>
                      <a:pt x="30" y="80"/>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94" name="Freeform 487">
                <a:extLst>
                  <a:ext uri="{FF2B5EF4-FFF2-40B4-BE49-F238E27FC236}">
                    <a16:creationId xmlns:a16="http://schemas.microsoft.com/office/drawing/2014/main" id="{C6644EC1-9407-1B4C-EBF3-FB53D82527EB}"/>
                  </a:ext>
                </a:extLst>
              </p:cNvPr>
              <p:cNvSpPr/>
              <p:nvPr>
                <p:custDataLst>
                  <p:tags r:id="rId232"/>
                </p:custDataLst>
              </p:nvPr>
            </p:nvSpPr>
            <p:spPr bwMode="auto">
              <a:xfrm>
                <a:off x="5385058" y="4127456"/>
                <a:ext cx="110972" cy="160719"/>
              </a:xfrm>
              <a:custGeom>
                <a:avLst/>
                <a:gdLst>
                  <a:gd name="T0" fmla="*/ 69 w 74"/>
                  <a:gd name="T1" fmla="*/ 80 h 108"/>
                  <a:gd name="T2" fmla="*/ 63 w 74"/>
                  <a:gd name="T3" fmla="*/ 72 h 108"/>
                  <a:gd name="T4" fmla="*/ 64 w 74"/>
                  <a:gd name="T5" fmla="*/ 66 h 108"/>
                  <a:gd name="T6" fmla="*/ 63 w 74"/>
                  <a:gd name="T7" fmla="*/ 61 h 108"/>
                  <a:gd name="T8" fmla="*/ 65 w 74"/>
                  <a:gd name="T9" fmla="*/ 50 h 108"/>
                  <a:gd name="T10" fmla="*/ 61 w 74"/>
                  <a:gd name="T11" fmla="*/ 40 h 108"/>
                  <a:gd name="T12" fmla="*/ 60 w 74"/>
                  <a:gd name="T13" fmla="*/ 35 h 108"/>
                  <a:gd name="T14" fmla="*/ 60 w 74"/>
                  <a:gd name="T15" fmla="*/ 29 h 108"/>
                  <a:gd name="T16" fmla="*/ 58 w 74"/>
                  <a:gd name="T17" fmla="*/ 24 h 108"/>
                  <a:gd name="T18" fmla="*/ 60 w 74"/>
                  <a:gd name="T19" fmla="*/ 19 h 108"/>
                  <a:gd name="T20" fmla="*/ 56 w 74"/>
                  <a:gd name="T21" fmla="*/ 10 h 108"/>
                  <a:gd name="T22" fmla="*/ 52 w 74"/>
                  <a:gd name="T23" fmla="*/ 0 h 108"/>
                  <a:gd name="T24" fmla="*/ 49 w 74"/>
                  <a:gd name="T25" fmla="*/ 0 h 108"/>
                  <a:gd name="T26" fmla="*/ 46 w 74"/>
                  <a:gd name="T27" fmla="*/ 2 h 108"/>
                  <a:gd name="T28" fmla="*/ 37 w 74"/>
                  <a:gd name="T29" fmla="*/ 3 h 108"/>
                  <a:gd name="T30" fmla="*/ 17 w 74"/>
                  <a:gd name="T31" fmla="*/ 3 h 108"/>
                  <a:gd name="T32" fmla="*/ 7 w 74"/>
                  <a:gd name="T33" fmla="*/ 6 h 108"/>
                  <a:gd name="T34" fmla="*/ 8 w 74"/>
                  <a:gd name="T35" fmla="*/ 14 h 108"/>
                  <a:gd name="T36" fmla="*/ 9 w 74"/>
                  <a:gd name="T37" fmla="*/ 23 h 108"/>
                  <a:gd name="T38" fmla="*/ 8 w 74"/>
                  <a:gd name="T39" fmla="*/ 27 h 108"/>
                  <a:gd name="T40" fmla="*/ 9 w 74"/>
                  <a:gd name="T41" fmla="*/ 30 h 108"/>
                  <a:gd name="T42" fmla="*/ 9 w 74"/>
                  <a:gd name="T43" fmla="*/ 35 h 108"/>
                  <a:gd name="T44" fmla="*/ 10 w 74"/>
                  <a:gd name="T45" fmla="*/ 39 h 108"/>
                  <a:gd name="T46" fmla="*/ 12 w 74"/>
                  <a:gd name="T47" fmla="*/ 47 h 108"/>
                  <a:gd name="T48" fmla="*/ 9 w 74"/>
                  <a:gd name="T49" fmla="*/ 55 h 108"/>
                  <a:gd name="T50" fmla="*/ 1 w 74"/>
                  <a:gd name="T51" fmla="*/ 71 h 108"/>
                  <a:gd name="T52" fmla="*/ 4 w 74"/>
                  <a:gd name="T53" fmla="*/ 88 h 108"/>
                  <a:gd name="T54" fmla="*/ 7 w 74"/>
                  <a:gd name="T55" fmla="*/ 95 h 108"/>
                  <a:gd name="T56" fmla="*/ 8 w 74"/>
                  <a:gd name="T57" fmla="*/ 102 h 108"/>
                  <a:gd name="T58" fmla="*/ 11 w 74"/>
                  <a:gd name="T59" fmla="*/ 104 h 108"/>
                  <a:gd name="T60" fmla="*/ 15 w 74"/>
                  <a:gd name="T61" fmla="*/ 106 h 108"/>
                  <a:gd name="T62" fmla="*/ 22 w 74"/>
                  <a:gd name="T63" fmla="*/ 106 h 108"/>
                  <a:gd name="T64" fmla="*/ 28 w 74"/>
                  <a:gd name="T65" fmla="*/ 103 h 108"/>
                  <a:gd name="T66" fmla="*/ 36 w 74"/>
                  <a:gd name="T67" fmla="*/ 101 h 108"/>
                  <a:gd name="T68" fmla="*/ 43 w 74"/>
                  <a:gd name="T69" fmla="*/ 98 h 108"/>
                  <a:gd name="T70" fmla="*/ 50 w 74"/>
                  <a:gd name="T71" fmla="*/ 94 h 108"/>
                  <a:gd name="T72" fmla="*/ 57 w 74"/>
                  <a:gd name="T73" fmla="*/ 91 h 108"/>
                  <a:gd name="T74" fmla="*/ 62 w 74"/>
                  <a:gd name="T75" fmla="*/ 89 h 108"/>
                  <a:gd name="T76" fmla="*/ 60 w 74"/>
                  <a:gd name="T77" fmla="*/ 85 h 108"/>
                  <a:gd name="T78" fmla="*/ 63 w 74"/>
                  <a:gd name="T79" fmla="*/ 84 h 108"/>
                  <a:gd name="T80" fmla="*/ 65 w 74"/>
                  <a:gd name="T81" fmla="*/ 88 h 108"/>
                  <a:gd name="T82" fmla="*/ 70 w 74"/>
                  <a:gd name="T83" fmla="*/ 89 h 108"/>
                  <a:gd name="T84" fmla="*/ 73 w 74"/>
                  <a:gd name="T85" fmla="*/ 87 h 108"/>
                  <a:gd name="T86" fmla="*/ 73 w 74"/>
                  <a:gd name="T87" fmla="*/ 85 h 108"/>
                  <a:gd name="T88" fmla="*/ 70 w 74"/>
                  <a:gd name="T89" fmla="*/ 82 h 108"/>
                  <a:gd name="T90" fmla="*/ 69 w 74"/>
                  <a:gd name="T91" fmla="*/ 80 h 108"/>
                  <a:gd name="T92" fmla="*/ 69 w 74"/>
                  <a:gd name="T93" fmla="*/ 80 h 108"/>
                  <a:gd name="T94" fmla="*/ 69 w 74"/>
                  <a:gd name="T95" fmla="*/ 8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08">
                    <a:moveTo>
                      <a:pt x="69" y="80"/>
                    </a:moveTo>
                    <a:cubicBezTo>
                      <a:pt x="66" y="78"/>
                      <a:pt x="64" y="75"/>
                      <a:pt x="63" y="72"/>
                    </a:cubicBezTo>
                    <a:cubicBezTo>
                      <a:pt x="63" y="70"/>
                      <a:pt x="63" y="68"/>
                      <a:pt x="64" y="66"/>
                    </a:cubicBezTo>
                    <a:cubicBezTo>
                      <a:pt x="64" y="64"/>
                      <a:pt x="64" y="63"/>
                      <a:pt x="63" y="61"/>
                    </a:cubicBezTo>
                    <a:cubicBezTo>
                      <a:pt x="61" y="57"/>
                      <a:pt x="65" y="54"/>
                      <a:pt x="65" y="50"/>
                    </a:cubicBezTo>
                    <a:cubicBezTo>
                      <a:pt x="64" y="47"/>
                      <a:pt x="62" y="44"/>
                      <a:pt x="61" y="40"/>
                    </a:cubicBezTo>
                    <a:cubicBezTo>
                      <a:pt x="60" y="38"/>
                      <a:pt x="60" y="37"/>
                      <a:pt x="60" y="35"/>
                    </a:cubicBezTo>
                    <a:cubicBezTo>
                      <a:pt x="61" y="33"/>
                      <a:pt x="61" y="31"/>
                      <a:pt x="60" y="29"/>
                    </a:cubicBezTo>
                    <a:cubicBezTo>
                      <a:pt x="59" y="28"/>
                      <a:pt x="58" y="26"/>
                      <a:pt x="58" y="24"/>
                    </a:cubicBezTo>
                    <a:cubicBezTo>
                      <a:pt x="59" y="22"/>
                      <a:pt x="60" y="21"/>
                      <a:pt x="60" y="19"/>
                    </a:cubicBezTo>
                    <a:cubicBezTo>
                      <a:pt x="61" y="16"/>
                      <a:pt x="58" y="12"/>
                      <a:pt x="56" y="10"/>
                    </a:cubicBezTo>
                    <a:cubicBezTo>
                      <a:pt x="53" y="7"/>
                      <a:pt x="52" y="4"/>
                      <a:pt x="52" y="0"/>
                    </a:cubicBezTo>
                    <a:cubicBezTo>
                      <a:pt x="51" y="0"/>
                      <a:pt x="50" y="0"/>
                      <a:pt x="49" y="0"/>
                    </a:cubicBezTo>
                    <a:cubicBezTo>
                      <a:pt x="48" y="1"/>
                      <a:pt x="47" y="2"/>
                      <a:pt x="46" y="2"/>
                    </a:cubicBezTo>
                    <a:cubicBezTo>
                      <a:pt x="43" y="3"/>
                      <a:pt x="40" y="3"/>
                      <a:pt x="37" y="3"/>
                    </a:cubicBezTo>
                    <a:cubicBezTo>
                      <a:pt x="30" y="3"/>
                      <a:pt x="24" y="3"/>
                      <a:pt x="17" y="3"/>
                    </a:cubicBezTo>
                    <a:cubicBezTo>
                      <a:pt x="14" y="3"/>
                      <a:pt x="7" y="1"/>
                      <a:pt x="7" y="6"/>
                    </a:cubicBezTo>
                    <a:cubicBezTo>
                      <a:pt x="7" y="8"/>
                      <a:pt x="7" y="11"/>
                      <a:pt x="8" y="14"/>
                    </a:cubicBezTo>
                    <a:cubicBezTo>
                      <a:pt x="9" y="17"/>
                      <a:pt x="9" y="20"/>
                      <a:pt x="9" y="23"/>
                    </a:cubicBezTo>
                    <a:cubicBezTo>
                      <a:pt x="8" y="24"/>
                      <a:pt x="8" y="26"/>
                      <a:pt x="8" y="27"/>
                    </a:cubicBezTo>
                    <a:cubicBezTo>
                      <a:pt x="9" y="28"/>
                      <a:pt x="9" y="29"/>
                      <a:pt x="9" y="30"/>
                    </a:cubicBezTo>
                    <a:cubicBezTo>
                      <a:pt x="9" y="32"/>
                      <a:pt x="9" y="33"/>
                      <a:pt x="9" y="35"/>
                    </a:cubicBezTo>
                    <a:cubicBezTo>
                      <a:pt x="9" y="36"/>
                      <a:pt x="10" y="38"/>
                      <a:pt x="10" y="39"/>
                    </a:cubicBezTo>
                    <a:cubicBezTo>
                      <a:pt x="12" y="41"/>
                      <a:pt x="13" y="44"/>
                      <a:pt x="12" y="47"/>
                    </a:cubicBezTo>
                    <a:cubicBezTo>
                      <a:pt x="12" y="50"/>
                      <a:pt x="11" y="53"/>
                      <a:pt x="9" y="55"/>
                    </a:cubicBezTo>
                    <a:cubicBezTo>
                      <a:pt x="6" y="60"/>
                      <a:pt x="3" y="66"/>
                      <a:pt x="1" y="71"/>
                    </a:cubicBezTo>
                    <a:cubicBezTo>
                      <a:pt x="0" y="77"/>
                      <a:pt x="1" y="83"/>
                      <a:pt x="4" y="88"/>
                    </a:cubicBezTo>
                    <a:cubicBezTo>
                      <a:pt x="5" y="90"/>
                      <a:pt x="6" y="92"/>
                      <a:pt x="7" y="95"/>
                    </a:cubicBezTo>
                    <a:cubicBezTo>
                      <a:pt x="8" y="97"/>
                      <a:pt x="8" y="100"/>
                      <a:pt x="8" y="102"/>
                    </a:cubicBezTo>
                    <a:cubicBezTo>
                      <a:pt x="8" y="103"/>
                      <a:pt x="11" y="103"/>
                      <a:pt x="11" y="104"/>
                    </a:cubicBezTo>
                    <a:cubicBezTo>
                      <a:pt x="12" y="104"/>
                      <a:pt x="14" y="105"/>
                      <a:pt x="15" y="106"/>
                    </a:cubicBezTo>
                    <a:cubicBezTo>
                      <a:pt x="17" y="108"/>
                      <a:pt x="20" y="107"/>
                      <a:pt x="22" y="106"/>
                    </a:cubicBezTo>
                    <a:cubicBezTo>
                      <a:pt x="24" y="105"/>
                      <a:pt x="26" y="104"/>
                      <a:pt x="28" y="103"/>
                    </a:cubicBezTo>
                    <a:cubicBezTo>
                      <a:pt x="31" y="101"/>
                      <a:pt x="33" y="101"/>
                      <a:pt x="36" y="101"/>
                    </a:cubicBezTo>
                    <a:cubicBezTo>
                      <a:pt x="39" y="100"/>
                      <a:pt x="41" y="99"/>
                      <a:pt x="43" y="98"/>
                    </a:cubicBezTo>
                    <a:cubicBezTo>
                      <a:pt x="45" y="96"/>
                      <a:pt x="47" y="95"/>
                      <a:pt x="50" y="94"/>
                    </a:cubicBezTo>
                    <a:cubicBezTo>
                      <a:pt x="52" y="93"/>
                      <a:pt x="55" y="92"/>
                      <a:pt x="57" y="91"/>
                    </a:cubicBezTo>
                    <a:cubicBezTo>
                      <a:pt x="59" y="91"/>
                      <a:pt x="61" y="90"/>
                      <a:pt x="62" y="89"/>
                    </a:cubicBezTo>
                    <a:cubicBezTo>
                      <a:pt x="64" y="88"/>
                      <a:pt x="60" y="86"/>
                      <a:pt x="60" y="85"/>
                    </a:cubicBezTo>
                    <a:cubicBezTo>
                      <a:pt x="59" y="84"/>
                      <a:pt x="62" y="84"/>
                      <a:pt x="63" y="84"/>
                    </a:cubicBezTo>
                    <a:cubicBezTo>
                      <a:pt x="65" y="84"/>
                      <a:pt x="64" y="87"/>
                      <a:pt x="65" y="88"/>
                    </a:cubicBezTo>
                    <a:cubicBezTo>
                      <a:pt x="66" y="90"/>
                      <a:pt x="69" y="90"/>
                      <a:pt x="70" y="89"/>
                    </a:cubicBezTo>
                    <a:cubicBezTo>
                      <a:pt x="71" y="89"/>
                      <a:pt x="72" y="88"/>
                      <a:pt x="73" y="87"/>
                    </a:cubicBezTo>
                    <a:cubicBezTo>
                      <a:pt x="74" y="86"/>
                      <a:pt x="74" y="86"/>
                      <a:pt x="73" y="85"/>
                    </a:cubicBezTo>
                    <a:cubicBezTo>
                      <a:pt x="72" y="84"/>
                      <a:pt x="71" y="83"/>
                      <a:pt x="70" y="82"/>
                    </a:cubicBezTo>
                    <a:cubicBezTo>
                      <a:pt x="70" y="81"/>
                      <a:pt x="69" y="81"/>
                      <a:pt x="69" y="80"/>
                    </a:cubicBezTo>
                    <a:cubicBezTo>
                      <a:pt x="68" y="80"/>
                      <a:pt x="69" y="80"/>
                      <a:pt x="69" y="80"/>
                    </a:cubicBezTo>
                    <a:cubicBezTo>
                      <a:pt x="67" y="78"/>
                      <a:pt x="69" y="80"/>
                      <a:pt x="69" y="80"/>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95" name="Freeform 489">
                <a:extLst>
                  <a:ext uri="{FF2B5EF4-FFF2-40B4-BE49-F238E27FC236}">
                    <a16:creationId xmlns:a16="http://schemas.microsoft.com/office/drawing/2014/main" id="{00F2C38F-1015-6C75-395A-5D9B8A8AAA14}"/>
                  </a:ext>
                </a:extLst>
              </p:cNvPr>
              <p:cNvSpPr/>
              <p:nvPr>
                <p:custDataLst>
                  <p:tags r:id="rId233"/>
                </p:custDataLst>
              </p:nvPr>
            </p:nvSpPr>
            <p:spPr bwMode="auto">
              <a:xfrm>
                <a:off x="5692464" y="4350678"/>
                <a:ext cx="139034" cy="154342"/>
              </a:xfrm>
              <a:custGeom>
                <a:avLst/>
                <a:gdLst>
                  <a:gd name="T0" fmla="*/ 49 w 94"/>
                  <a:gd name="T1" fmla="*/ 99 h 104"/>
                  <a:gd name="T2" fmla="*/ 48 w 94"/>
                  <a:gd name="T3" fmla="*/ 90 h 104"/>
                  <a:gd name="T4" fmla="*/ 50 w 94"/>
                  <a:gd name="T5" fmla="*/ 78 h 104"/>
                  <a:gd name="T6" fmla="*/ 58 w 94"/>
                  <a:gd name="T7" fmla="*/ 78 h 104"/>
                  <a:gd name="T8" fmla="*/ 65 w 94"/>
                  <a:gd name="T9" fmla="*/ 70 h 104"/>
                  <a:gd name="T10" fmla="*/ 77 w 94"/>
                  <a:gd name="T11" fmla="*/ 77 h 104"/>
                  <a:gd name="T12" fmla="*/ 82 w 94"/>
                  <a:gd name="T13" fmla="*/ 76 h 104"/>
                  <a:gd name="T14" fmla="*/ 91 w 94"/>
                  <a:gd name="T15" fmla="*/ 72 h 104"/>
                  <a:gd name="T16" fmla="*/ 94 w 94"/>
                  <a:gd name="T17" fmla="*/ 54 h 104"/>
                  <a:gd name="T18" fmla="*/ 85 w 94"/>
                  <a:gd name="T19" fmla="*/ 42 h 104"/>
                  <a:gd name="T20" fmla="*/ 91 w 94"/>
                  <a:gd name="T21" fmla="*/ 27 h 104"/>
                  <a:gd name="T22" fmla="*/ 85 w 94"/>
                  <a:gd name="T23" fmla="*/ 16 h 104"/>
                  <a:gd name="T24" fmla="*/ 73 w 94"/>
                  <a:gd name="T25" fmla="*/ 8 h 104"/>
                  <a:gd name="T26" fmla="*/ 73 w 94"/>
                  <a:gd name="T27" fmla="*/ 1 h 104"/>
                  <a:gd name="T28" fmla="*/ 55 w 94"/>
                  <a:gd name="T29" fmla="*/ 0 h 104"/>
                  <a:gd name="T30" fmla="*/ 43 w 94"/>
                  <a:gd name="T31" fmla="*/ 2 h 104"/>
                  <a:gd name="T32" fmla="*/ 43 w 94"/>
                  <a:gd name="T33" fmla="*/ 14 h 104"/>
                  <a:gd name="T34" fmla="*/ 34 w 94"/>
                  <a:gd name="T35" fmla="*/ 23 h 104"/>
                  <a:gd name="T36" fmla="*/ 14 w 94"/>
                  <a:gd name="T37" fmla="*/ 23 h 104"/>
                  <a:gd name="T38" fmla="*/ 13 w 94"/>
                  <a:gd name="T39" fmla="*/ 27 h 104"/>
                  <a:gd name="T40" fmla="*/ 10 w 94"/>
                  <a:gd name="T41" fmla="*/ 30 h 104"/>
                  <a:gd name="T42" fmla="*/ 16 w 94"/>
                  <a:gd name="T43" fmla="*/ 34 h 104"/>
                  <a:gd name="T44" fmla="*/ 16 w 94"/>
                  <a:gd name="T45" fmla="*/ 37 h 104"/>
                  <a:gd name="T46" fmla="*/ 10 w 94"/>
                  <a:gd name="T47" fmla="*/ 36 h 104"/>
                  <a:gd name="T48" fmla="*/ 8 w 94"/>
                  <a:gd name="T49" fmla="*/ 37 h 104"/>
                  <a:gd name="T50" fmla="*/ 5 w 94"/>
                  <a:gd name="T51" fmla="*/ 48 h 104"/>
                  <a:gd name="T52" fmla="*/ 2 w 94"/>
                  <a:gd name="T53" fmla="*/ 54 h 104"/>
                  <a:gd name="T54" fmla="*/ 1 w 94"/>
                  <a:gd name="T55" fmla="*/ 54 h 104"/>
                  <a:gd name="T56" fmla="*/ 9 w 94"/>
                  <a:gd name="T57" fmla="*/ 61 h 104"/>
                  <a:gd name="T58" fmla="*/ 11 w 94"/>
                  <a:gd name="T59" fmla="*/ 66 h 104"/>
                  <a:gd name="T60" fmla="*/ 8 w 94"/>
                  <a:gd name="T61" fmla="*/ 67 h 104"/>
                  <a:gd name="T62" fmla="*/ 11 w 94"/>
                  <a:gd name="T63" fmla="*/ 72 h 104"/>
                  <a:gd name="T64" fmla="*/ 21 w 94"/>
                  <a:gd name="T65" fmla="*/ 81 h 104"/>
                  <a:gd name="T66" fmla="*/ 22 w 94"/>
                  <a:gd name="T67" fmla="*/ 87 h 104"/>
                  <a:gd name="T68" fmla="*/ 32 w 94"/>
                  <a:gd name="T69" fmla="*/ 97 h 104"/>
                  <a:gd name="T70" fmla="*/ 38 w 94"/>
                  <a:gd name="T71" fmla="*/ 104 h 104"/>
                  <a:gd name="T72" fmla="*/ 42 w 94"/>
                  <a:gd name="T73" fmla="*/ 9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 h="104">
                    <a:moveTo>
                      <a:pt x="42" y="98"/>
                    </a:moveTo>
                    <a:cubicBezTo>
                      <a:pt x="44" y="97"/>
                      <a:pt x="46" y="99"/>
                      <a:pt x="49" y="99"/>
                    </a:cubicBezTo>
                    <a:cubicBezTo>
                      <a:pt x="51" y="99"/>
                      <a:pt x="52" y="97"/>
                      <a:pt x="50" y="96"/>
                    </a:cubicBezTo>
                    <a:cubicBezTo>
                      <a:pt x="48" y="94"/>
                      <a:pt x="49" y="92"/>
                      <a:pt x="48" y="90"/>
                    </a:cubicBezTo>
                    <a:cubicBezTo>
                      <a:pt x="46" y="87"/>
                      <a:pt x="45" y="86"/>
                      <a:pt x="46" y="83"/>
                    </a:cubicBezTo>
                    <a:cubicBezTo>
                      <a:pt x="47" y="80"/>
                      <a:pt x="47" y="78"/>
                      <a:pt x="50" y="78"/>
                    </a:cubicBezTo>
                    <a:cubicBezTo>
                      <a:pt x="51" y="78"/>
                      <a:pt x="52" y="78"/>
                      <a:pt x="54" y="78"/>
                    </a:cubicBezTo>
                    <a:cubicBezTo>
                      <a:pt x="55" y="78"/>
                      <a:pt x="56" y="78"/>
                      <a:pt x="58" y="78"/>
                    </a:cubicBezTo>
                    <a:cubicBezTo>
                      <a:pt x="59" y="77"/>
                      <a:pt x="59" y="74"/>
                      <a:pt x="60" y="73"/>
                    </a:cubicBezTo>
                    <a:cubicBezTo>
                      <a:pt x="60" y="70"/>
                      <a:pt x="62" y="69"/>
                      <a:pt x="65" y="70"/>
                    </a:cubicBezTo>
                    <a:cubicBezTo>
                      <a:pt x="67" y="72"/>
                      <a:pt x="68" y="74"/>
                      <a:pt x="69" y="76"/>
                    </a:cubicBezTo>
                    <a:cubicBezTo>
                      <a:pt x="71" y="78"/>
                      <a:pt x="74" y="77"/>
                      <a:pt x="77" y="77"/>
                    </a:cubicBezTo>
                    <a:cubicBezTo>
                      <a:pt x="78" y="77"/>
                      <a:pt x="79" y="77"/>
                      <a:pt x="79" y="77"/>
                    </a:cubicBezTo>
                    <a:cubicBezTo>
                      <a:pt x="80" y="76"/>
                      <a:pt x="81" y="76"/>
                      <a:pt x="82" y="76"/>
                    </a:cubicBezTo>
                    <a:cubicBezTo>
                      <a:pt x="84" y="76"/>
                      <a:pt x="86" y="80"/>
                      <a:pt x="88" y="78"/>
                    </a:cubicBezTo>
                    <a:cubicBezTo>
                      <a:pt x="90" y="77"/>
                      <a:pt x="91" y="75"/>
                      <a:pt x="91" y="72"/>
                    </a:cubicBezTo>
                    <a:cubicBezTo>
                      <a:pt x="92" y="69"/>
                      <a:pt x="93" y="66"/>
                      <a:pt x="94" y="63"/>
                    </a:cubicBezTo>
                    <a:cubicBezTo>
                      <a:pt x="94" y="60"/>
                      <a:pt x="93" y="57"/>
                      <a:pt x="94" y="54"/>
                    </a:cubicBezTo>
                    <a:cubicBezTo>
                      <a:pt x="94" y="51"/>
                      <a:pt x="93" y="49"/>
                      <a:pt x="91" y="47"/>
                    </a:cubicBezTo>
                    <a:cubicBezTo>
                      <a:pt x="89" y="46"/>
                      <a:pt x="86" y="44"/>
                      <a:pt x="85" y="42"/>
                    </a:cubicBezTo>
                    <a:cubicBezTo>
                      <a:pt x="84" y="39"/>
                      <a:pt x="85" y="36"/>
                      <a:pt x="87" y="34"/>
                    </a:cubicBezTo>
                    <a:cubicBezTo>
                      <a:pt x="88" y="31"/>
                      <a:pt x="90" y="29"/>
                      <a:pt x="91" y="27"/>
                    </a:cubicBezTo>
                    <a:cubicBezTo>
                      <a:pt x="93" y="24"/>
                      <a:pt x="92" y="22"/>
                      <a:pt x="90" y="19"/>
                    </a:cubicBezTo>
                    <a:cubicBezTo>
                      <a:pt x="89" y="17"/>
                      <a:pt x="88" y="15"/>
                      <a:pt x="85" y="16"/>
                    </a:cubicBezTo>
                    <a:cubicBezTo>
                      <a:pt x="83" y="17"/>
                      <a:pt x="80" y="18"/>
                      <a:pt x="78" y="18"/>
                    </a:cubicBezTo>
                    <a:cubicBezTo>
                      <a:pt x="72" y="18"/>
                      <a:pt x="72" y="13"/>
                      <a:pt x="73" y="8"/>
                    </a:cubicBezTo>
                    <a:cubicBezTo>
                      <a:pt x="73" y="7"/>
                      <a:pt x="73" y="5"/>
                      <a:pt x="73" y="4"/>
                    </a:cubicBezTo>
                    <a:cubicBezTo>
                      <a:pt x="74" y="3"/>
                      <a:pt x="74" y="2"/>
                      <a:pt x="73" y="1"/>
                    </a:cubicBezTo>
                    <a:cubicBezTo>
                      <a:pt x="70" y="0"/>
                      <a:pt x="67" y="1"/>
                      <a:pt x="64" y="1"/>
                    </a:cubicBezTo>
                    <a:cubicBezTo>
                      <a:pt x="61" y="1"/>
                      <a:pt x="58" y="0"/>
                      <a:pt x="55" y="0"/>
                    </a:cubicBezTo>
                    <a:cubicBezTo>
                      <a:pt x="52" y="0"/>
                      <a:pt x="49" y="0"/>
                      <a:pt x="46" y="1"/>
                    </a:cubicBezTo>
                    <a:cubicBezTo>
                      <a:pt x="45" y="1"/>
                      <a:pt x="44" y="1"/>
                      <a:pt x="43" y="2"/>
                    </a:cubicBezTo>
                    <a:cubicBezTo>
                      <a:pt x="42" y="2"/>
                      <a:pt x="43" y="4"/>
                      <a:pt x="43" y="4"/>
                    </a:cubicBezTo>
                    <a:cubicBezTo>
                      <a:pt x="43" y="8"/>
                      <a:pt x="43" y="11"/>
                      <a:pt x="43" y="14"/>
                    </a:cubicBezTo>
                    <a:cubicBezTo>
                      <a:pt x="43" y="16"/>
                      <a:pt x="43" y="19"/>
                      <a:pt x="42" y="21"/>
                    </a:cubicBezTo>
                    <a:cubicBezTo>
                      <a:pt x="40" y="23"/>
                      <a:pt x="36" y="22"/>
                      <a:pt x="34" y="23"/>
                    </a:cubicBezTo>
                    <a:cubicBezTo>
                      <a:pt x="28" y="23"/>
                      <a:pt x="22" y="23"/>
                      <a:pt x="16" y="23"/>
                    </a:cubicBezTo>
                    <a:cubicBezTo>
                      <a:pt x="15" y="23"/>
                      <a:pt x="14" y="23"/>
                      <a:pt x="14" y="23"/>
                    </a:cubicBezTo>
                    <a:cubicBezTo>
                      <a:pt x="13" y="23"/>
                      <a:pt x="13" y="23"/>
                      <a:pt x="13" y="24"/>
                    </a:cubicBezTo>
                    <a:cubicBezTo>
                      <a:pt x="13" y="25"/>
                      <a:pt x="13" y="26"/>
                      <a:pt x="13" y="27"/>
                    </a:cubicBezTo>
                    <a:cubicBezTo>
                      <a:pt x="13" y="28"/>
                      <a:pt x="13" y="31"/>
                      <a:pt x="12" y="31"/>
                    </a:cubicBezTo>
                    <a:cubicBezTo>
                      <a:pt x="11" y="30"/>
                      <a:pt x="11" y="30"/>
                      <a:pt x="10" y="30"/>
                    </a:cubicBezTo>
                    <a:cubicBezTo>
                      <a:pt x="9" y="30"/>
                      <a:pt x="9" y="32"/>
                      <a:pt x="10" y="32"/>
                    </a:cubicBezTo>
                    <a:cubicBezTo>
                      <a:pt x="11" y="34"/>
                      <a:pt x="14" y="34"/>
                      <a:pt x="16" y="34"/>
                    </a:cubicBezTo>
                    <a:cubicBezTo>
                      <a:pt x="17" y="34"/>
                      <a:pt x="19" y="34"/>
                      <a:pt x="18" y="35"/>
                    </a:cubicBezTo>
                    <a:cubicBezTo>
                      <a:pt x="18" y="36"/>
                      <a:pt x="17" y="37"/>
                      <a:pt x="16" y="37"/>
                    </a:cubicBezTo>
                    <a:cubicBezTo>
                      <a:pt x="15" y="37"/>
                      <a:pt x="14" y="36"/>
                      <a:pt x="13" y="36"/>
                    </a:cubicBezTo>
                    <a:cubicBezTo>
                      <a:pt x="12" y="36"/>
                      <a:pt x="11" y="37"/>
                      <a:pt x="10" y="36"/>
                    </a:cubicBezTo>
                    <a:cubicBezTo>
                      <a:pt x="10" y="36"/>
                      <a:pt x="9" y="35"/>
                      <a:pt x="9" y="35"/>
                    </a:cubicBezTo>
                    <a:cubicBezTo>
                      <a:pt x="8" y="35"/>
                      <a:pt x="8" y="36"/>
                      <a:pt x="8" y="37"/>
                    </a:cubicBezTo>
                    <a:cubicBezTo>
                      <a:pt x="8" y="40"/>
                      <a:pt x="9" y="43"/>
                      <a:pt x="7" y="45"/>
                    </a:cubicBezTo>
                    <a:cubicBezTo>
                      <a:pt x="7" y="46"/>
                      <a:pt x="6" y="47"/>
                      <a:pt x="5" y="48"/>
                    </a:cubicBezTo>
                    <a:cubicBezTo>
                      <a:pt x="4" y="49"/>
                      <a:pt x="4" y="50"/>
                      <a:pt x="4" y="51"/>
                    </a:cubicBezTo>
                    <a:cubicBezTo>
                      <a:pt x="4" y="52"/>
                      <a:pt x="3" y="55"/>
                      <a:pt x="2" y="54"/>
                    </a:cubicBezTo>
                    <a:cubicBezTo>
                      <a:pt x="2" y="53"/>
                      <a:pt x="1" y="51"/>
                      <a:pt x="1" y="52"/>
                    </a:cubicBezTo>
                    <a:cubicBezTo>
                      <a:pt x="0" y="52"/>
                      <a:pt x="0" y="54"/>
                      <a:pt x="1" y="54"/>
                    </a:cubicBezTo>
                    <a:cubicBezTo>
                      <a:pt x="1" y="57"/>
                      <a:pt x="2" y="60"/>
                      <a:pt x="4" y="61"/>
                    </a:cubicBezTo>
                    <a:cubicBezTo>
                      <a:pt x="6" y="63"/>
                      <a:pt x="7" y="61"/>
                      <a:pt x="9" y="61"/>
                    </a:cubicBezTo>
                    <a:cubicBezTo>
                      <a:pt x="10" y="62"/>
                      <a:pt x="9" y="63"/>
                      <a:pt x="9" y="64"/>
                    </a:cubicBezTo>
                    <a:cubicBezTo>
                      <a:pt x="8" y="65"/>
                      <a:pt x="10" y="65"/>
                      <a:pt x="11" y="66"/>
                    </a:cubicBezTo>
                    <a:cubicBezTo>
                      <a:pt x="12" y="66"/>
                      <a:pt x="12" y="67"/>
                      <a:pt x="11" y="68"/>
                    </a:cubicBezTo>
                    <a:cubicBezTo>
                      <a:pt x="10" y="68"/>
                      <a:pt x="9" y="67"/>
                      <a:pt x="8" y="67"/>
                    </a:cubicBezTo>
                    <a:cubicBezTo>
                      <a:pt x="7" y="68"/>
                      <a:pt x="8" y="70"/>
                      <a:pt x="8" y="70"/>
                    </a:cubicBezTo>
                    <a:cubicBezTo>
                      <a:pt x="9" y="71"/>
                      <a:pt x="10" y="71"/>
                      <a:pt x="11" y="72"/>
                    </a:cubicBezTo>
                    <a:cubicBezTo>
                      <a:pt x="13" y="73"/>
                      <a:pt x="12" y="76"/>
                      <a:pt x="14" y="78"/>
                    </a:cubicBezTo>
                    <a:cubicBezTo>
                      <a:pt x="15" y="81"/>
                      <a:pt x="19" y="80"/>
                      <a:pt x="21" y="81"/>
                    </a:cubicBezTo>
                    <a:cubicBezTo>
                      <a:pt x="22" y="83"/>
                      <a:pt x="19" y="83"/>
                      <a:pt x="20" y="85"/>
                    </a:cubicBezTo>
                    <a:cubicBezTo>
                      <a:pt x="20" y="86"/>
                      <a:pt x="21" y="86"/>
                      <a:pt x="22" y="87"/>
                    </a:cubicBezTo>
                    <a:cubicBezTo>
                      <a:pt x="23" y="87"/>
                      <a:pt x="24" y="89"/>
                      <a:pt x="25" y="90"/>
                    </a:cubicBezTo>
                    <a:cubicBezTo>
                      <a:pt x="27" y="92"/>
                      <a:pt x="29" y="95"/>
                      <a:pt x="32" y="97"/>
                    </a:cubicBezTo>
                    <a:cubicBezTo>
                      <a:pt x="33" y="98"/>
                      <a:pt x="34" y="99"/>
                      <a:pt x="35" y="100"/>
                    </a:cubicBezTo>
                    <a:cubicBezTo>
                      <a:pt x="36" y="101"/>
                      <a:pt x="37" y="102"/>
                      <a:pt x="38" y="104"/>
                    </a:cubicBezTo>
                    <a:cubicBezTo>
                      <a:pt x="39" y="101"/>
                      <a:pt x="40" y="99"/>
                      <a:pt x="43" y="98"/>
                    </a:cubicBezTo>
                    <a:cubicBezTo>
                      <a:pt x="43" y="98"/>
                      <a:pt x="42" y="98"/>
                      <a:pt x="42" y="98"/>
                    </a:cubicBezTo>
                    <a:cubicBezTo>
                      <a:pt x="44" y="97"/>
                      <a:pt x="42" y="98"/>
                      <a:pt x="42" y="98"/>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96" name="Freeform 490">
                <a:extLst>
                  <a:ext uri="{FF2B5EF4-FFF2-40B4-BE49-F238E27FC236}">
                    <a16:creationId xmlns:a16="http://schemas.microsoft.com/office/drawing/2014/main" id="{FC5566E6-7177-93EB-E843-C22A41C3286C}"/>
                  </a:ext>
                </a:extLst>
              </p:cNvPr>
              <p:cNvSpPr/>
              <p:nvPr>
                <p:custDataLst>
                  <p:tags r:id="rId234"/>
                </p:custDataLst>
              </p:nvPr>
            </p:nvSpPr>
            <p:spPr bwMode="auto">
              <a:xfrm>
                <a:off x="5175869" y="4192510"/>
                <a:ext cx="103319" cy="103319"/>
              </a:xfrm>
              <a:custGeom>
                <a:avLst/>
                <a:gdLst>
                  <a:gd name="T0" fmla="*/ 68 w 70"/>
                  <a:gd name="T1" fmla="*/ 56 h 69"/>
                  <a:gd name="T2" fmla="*/ 68 w 70"/>
                  <a:gd name="T3" fmla="*/ 48 h 69"/>
                  <a:gd name="T4" fmla="*/ 67 w 70"/>
                  <a:gd name="T5" fmla="*/ 45 h 69"/>
                  <a:gd name="T6" fmla="*/ 64 w 70"/>
                  <a:gd name="T7" fmla="*/ 41 h 69"/>
                  <a:gd name="T8" fmla="*/ 50 w 70"/>
                  <a:gd name="T9" fmla="*/ 36 h 69"/>
                  <a:gd name="T10" fmla="*/ 52 w 70"/>
                  <a:gd name="T11" fmla="*/ 30 h 69"/>
                  <a:gd name="T12" fmla="*/ 53 w 70"/>
                  <a:gd name="T13" fmla="*/ 22 h 69"/>
                  <a:gd name="T14" fmla="*/ 51 w 70"/>
                  <a:gd name="T15" fmla="*/ 16 h 69"/>
                  <a:gd name="T16" fmla="*/ 46 w 70"/>
                  <a:gd name="T17" fmla="*/ 21 h 69"/>
                  <a:gd name="T18" fmla="*/ 42 w 70"/>
                  <a:gd name="T19" fmla="*/ 23 h 69"/>
                  <a:gd name="T20" fmla="*/ 39 w 70"/>
                  <a:gd name="T21" fmla="*/ 21 h 69"/>
                  <a:gd name="T22" fmla="*/ 35 w 70"/>
                  <a:gd name="T23" fmla="*/ 20 h 69"/>
                  <a:gd name="T24" fmla="*/ 34 w 70"/>
                  <a:gd name="T25" fmla="*/ 13 h 69"/>
                  <a:gd name="T26" fmla="*/ 33 w 70"/>
                  <a:gd name="T27" fmla="*/ 5 h 69"/>
                  <a:gd name="T28" fmla="*/ 31 w 70"/>
                  <a:gd name="T29" fmla="*/ 1 h 69"/>
                  <a:gd name="T30" fmla="*/ 29 w 70"/>
                  <a:gd name="T31" fmla="*/ 1 h 69"/>
                  <a:gd name="T32" fmla="*/ 20 w 70"/>
                  <a:gd name="T33" fmla="*/ 2 h 69"/>
                  <a:gd name="T34" fmla="*/ 17 w 70"/>
                  <a:gd name="T35" fmla="*/ 3 h 69"/>
                  <a:gd name="T36" fmla="*/ 17 w 70"/>
                  <a:gd name="T37" fmla="*/ 5 h 69"/>
                  <a:gd name="T38" fmla="*/ 14 w 70"/>
                  <a:gd name="T39" fmla="*/ 13 h 69"/>
                  <a:gd name="T40" fmla="*/ 8 w 70"/>
                  <a:gd name="T41" fmla="*/ 19 h 69"/>
                  <a:gd name="T42" fmla="*/ 0 w 70"/>
                  <a:gd name="T43" fmla="*/ 28 h 69"/>
                  <a:gd name="T44" fmla="*/ 8 w 70"/>
                  <a:gd name="T45" fmla="*/ 31 h 69"/>
                  <a:gd name="T46" fmla="*/ 16 w 70"/>
                  <a:gd name="T47" fmla="*/ 38 h 69"/>
                  <a:gd name="T48" fmla="*/ 20 w 70"/>
                  <a:gd name="T49" fmla="*/ 39 h 69"/>
                  <a:gd name="T50" fmla="*/ 24 w 70"/>
                  <a:gd name="T51" fmla="*/ 43 h 69"/>
                  <a:gd name="T52" fmla="*/ 30 w 70"/>
                  <a:gd name="T53" fmla="*/ 50 h 69"/>
                  <a:gd name="T54" fmla="*/ 38 w 70"/>
                  <a:gd name="T55" fmla="*/ 56 h 69"/>
                  <a:gd name="T56" fmla="*/ 47 w 70"/>
                  <a:gd name="T57" fmla="*/ 61 h 69"/>
                  <a:gd name="T58" fmla="*/ 56 w 70"/>
                  <a:gd name="T59" fmla="*/ 66 h 69"/>
                  <a:gd name="T60" fmla="*/ 66 w 70"/>
                  <a:gd name="T61" fmla="*/ 69 h 69"/>
                  <a:gd name="T62" fmla="*/ 66 w 70"/>
                  <a:gd name="T63" fmla="*/ 61 h 69"/>
                  <a:gd name="T64" fmla="*/ 68 w 70"/>
                  <a:gd name="T65" fmla="*/ 58 h 69"/>
                  <a:gd name="T66" fmla="*/ 68 w 70"/>
                  <a:gd name="T67" fmla="*/ 55 h 69"/>
                  <a:gd name="T68" fmla="*/ 68 w 70"/>
                  <a:gd name="T69" fmla="*/ 56 h 69"/>
                  <a:gd name="T70" fmla="*/ 68 w 70"/>
                  <a:gd name="T71" fmla="*/ 5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 h="69">
                    <a:moveTo>
                      <a:pt x="68" y="56"/>
                    </a:moveTo>
                    <a:cubicBezTo>
                      <a:pt x="69" y="53"/>
                      <a:pt x="70" y="50"/>
                      <a:pt x="68" y="48"/>
                    </a:cubicBezTo>
                    <a:cubicBezTo>
                      <a:pt x="68" y="47"/>
                      <a:pt x="67" y="46"/>
                      <a:pt x="67" y="45"/>
                    </a:cubicBezTo>
                    <a:cubicBezTo>
                      <a:pt x="66" y="43"/>
                      <a:pt x="66" y="42"/>
                      <a:pt x="64" y="41"/>
                    </a:cubicBezTo>
                    <a:cubicBezTo>
                      <a:pt x="60" y="39"/>
                      <a:pt x="54" y="39"/>
                      <a:pt x="50" y="36"/>
                    </a:cubicBezTo>
                    <a:cubicBezTo>
                      <a:pt x="48" y="34"/>
                      <a:pt x="51" y="31"/>
                      <a:pt x="52" y="30"/>
                    </a:cubicBezTo>
                    <a:cubicBezTo>
                      <a:pt x="54" y="27"/>
                      <a:pt x="54" y="25"/>
                      <a:pt x="53" y="22"/>
                    </a:cubicBezTo>
                    <a:cubicBezTo>
                      <a:pt x="53" y="21"/>
                      <a:pt x="52" y="16"/>
                      <a:pt x="51" y="16"/>
                    </a:cubicBezTo>
                    <a:cubicBezTo>
                      <a:pt x="49" y="16"/>
                      <a:pt x="47" y="19"/>
                      <a:pt x="46" y="21"/>
                    </a:cubicBezTo>
                    <a:cubicBezTo>
                      <a:pt x="45" y="22"/>
                      <a:pt x="43" y="23"/>
                      <a:pt x="42" y="23"/>
                    </a:cubicBezTo>
                    <a:cubicBezTo>
                      <a:pt x="40" y="23"/>
                      <a:pt x="40" y="22"/>
                      <a:pt x="39" y="21"/>
                    </a:cubicBezTo>
                    <a:cubicBezTo>
                      <a:pt x="38" y="21"/>
                      <a:pt x="36" y="20"/>
                      <a:pt x="35" y="20"/>
                    </a:cubicBezTo>
                    <a:cubicBezTo>
                      <a:pt x="33" y="18"/>
                      <a:pt x="34" y="15"/>
                      <a:pt x="34" y="13"/>
                    </a:cubicBezTo>
                    <a:cubicBezTo>
                      <a:pt x="34" y="10"/>
                      <a:pt x="34" y="7"/>
                      <a:pt x="33" y="5"/>
                    </a:cubicBezTo>
                    <a:cubicBezTo>
                      <a:pt x="32" y="3"/>
                      <a:pt x="32" y="2"/>
                      <a:pt x="31" y="1"/>
                    </a:cubicBezTo>
                    <a:cubicBezTo>
                      <a:pt x="30" y="0"/>
                      <a:pt x="30" y="0"/>
                      <a:pt x="29" y="1"/>
                    </a:cubicBezTo>
                    <a:cubicBezTo>
                      <a:pt x="26" y="2"/>
                      <a:pt x="24" y="3"/>
                      <a:pt x="20" y="2"/>
                    </a:cubicBezTo>
                    <a:cubicBezTo>
                      <a:pt x="20" y="2"/>
                      <a:pt x="18" y="2"/>
                      <a:pt x="17" y="3"/>
                    </a:cubicBezTo>
                    <a:cubicBezTo>
                      <a:pt x="17" y="3"/>
                      <a:pt x="17" y="5"/>
                      <a:pt x="17" y="5"/>
                    </a:cubicBezTo>
                    <a:cubicBezTo>
                      <a:pt x="16" y="8"/>
                      <a:pt x="16" y="11"/>
                      <a:pt x="14" y="13"/>
                    </a:cubicBezTo>
                    <a:cubicBezTo>
                      <a:pt x="13" y="15"/>
                      <a:pt x="10" y="17"/>
                      <a:pt x="8" y="19"/>
                    </a:cubicBezTo>
                    <a:cubicBezTo>
                      <a:pt x="5" y="22"/>
                      <a:pt x="3" y="25"/>
                      <a:pt x="0" y="28"/>
                    </a:cubicBezTo>
                    <a:cubicBezTo>
                      <a:pt x="3" y="30"/>
                      <a:pt x="5" y="30"/>
                      <a:pt x="8" y="31"/>
                    </a:cubicBezTo>
                    <a:cubicBezTo>
                      <a:pt x="11" y="33"/>
                      <a:pt x="13" y="36"/>
                      <a:pt x="16" y="38"/>
                    </a:cubicBezTo>
                    <a:cubicBezTo>
                      <a:pt x="17" y="38"/>
                      <a:pt x="19" y="39"/>
                      <a:pt x="20" y="39"/>
                    </a:cubicBezTo>
                    <a:cubicBezTo>
                      <a:pt x="21" y="40"/>
                      <a:pt x="22" y="42"/>
                      <a:pt x="24" y="43"/>
                    </a:cubicBezTo>
                    <a:cubicBezTo>
                      <a:pt x="26" y="45"/>
                      <a:pt x="28" y="48"/>
                      <a:pt x="30" y="50"/>
                    </a:cubicBezTo>
                    <a:cubicBezTo>
                      <a:pt x="33" y="52"/>
                      <a:pt x="35" y="54"/>
                      <a:pt x="38" y="56"/>
                    </a:cubicBezTo>
                    <a:cubicBezTo>
                      <a:pt x="41" y="58"/>
                      <a:pt x="44" y="60"/>
                      <a:pt x="47" y="61"/>
                    </a:cubicBezTo>
                    <a:cubicBezTo>
                      <a:pt x="50" y="63"/>
                      <a:pt x="53" y="64"/>
                      <a:pt x="56" y="66"/>
                    </a:cubicBezTo>
                    <a:cubicBezTo>
                      <a:pt x="60" y="67"/>
                      <a:pt x="62" y="69"/>
                      <a:pt x="66" y="69"/>
                    </a:cubicBezTo>
                    <a:cubicBezTo>
                      <a:pt x="66" y="67"/>
                      <a:pt x="65" y="64"/>
                      <a:pt x="66" y="61"/>
                    </a:cubicBezTo>
                    <a:cubicBezTo>
                      <a:pt x="66" y="60"/>
                      <a:pt x="67" y="59"/>
                      <a:pt x="68" y="58"/>
                    </a:cubicBezTo>
                    <a:cubicBezTo>
                      <a:pt x="68" y="57"/>
                      <a:pt x="68" y="56"/>
                      <a:pt x="68" y="55"/>
                    </a:cubicBezTo>
                    <a:cubicBezTo>
                      <a:pt x="68" y="55"/>
                      <a:pt x="68" y="55"/>
                      <a:pt x="68" y="56"/>
                    </a:cubicBezTo>
                    <a:cubicBezTo>
                      <a:pt x="69" y="54"/>
                      <a:pt x="68" y="56"/>
                      <a:pt x="68" y="56"/>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97" name="Freeform 491">
                <a:extLst>
                  <a:ext uri="{FF2B5EF4-FFF2-40B4-BE49-F238E27FC236}">
                    <a16:creationId xmlns:a16="http://schemas.microsoft.com/office/drawing/2014/main" id="{7A019BFD-B055-F90F-D5EB-675F075EFD46}"/>
                  </a:ext>
                </a:extLst>
              </p:cNvPr>
              <p:cNvSpPr/>
              <p:nvPr>
                <p:custDataLst>
                  <p:tags r:id="rId235"/>
                </p:custDataLst>
              </p:nvPr>
            </p:nvSpPr>
            <p:spPr bwMode="auto">
              <a:xfrm>
                <a:off x="5133775" y="4155519"/>
                <a:ext cx="65052" cy="77809"/>
              </a:xfrm>
              <a:custGeom>
                <a:avLst/>
                <a:gdLst>
                  <a:gd name="T0" fmla="*/ 36 w 44"/>
                  <a:gd name="T1" fmla="*/ 41 h 52"/>
                  <a:gd name="T2" fmla="*/ 42 w 44"/>
                  <a:gd name="T3" fmla="*/ 35 h 52"/>
                  <a:gd name="T4" fmla="*/ 42 w 44"/>
                  <a:gd name="T5" fmla="*/ 32 h 52"/>
                  <a:gd name="T6" fmla="*/ 43 w 44"/>
                  <a:gd name="T7" fmla="*/ 26 h 52"/>
                  <a:gd name="T8" fmla="*/ 43 w 44"/>
                  <a:gd name="T9" fmla="*/ 18 h 52"/>
                  <a:gd name="T10" fmla="*/ 38 w 44"/>
                  <a:gd name="T11" fmla="*/ 11 h 52"/>
                  <a:gd name="T12" fmla="*/ 34 w 44"/>
                  <a:gd name="T13" fmla="*/ 4 h 52"/>
                  <a:gd name="T14" fmla="*/ 28 w 44"/>
                  <a:gd name="T15" fmla="*/ 1 h 52"/>
                  <a:gd name="T16" fmla="*/ 19 w 44"/>
                  <a:gd name="T17" fmla="*/ 2 h 52"/>
                  <a:gd name="T18" fmla="*/ 12 w 44"/>
                  <a:gd name="T19" fmla="*/ 4 h 52"/>
                  <a:gd name="T20" fmla="*/ 7 w 44"/>
                  <a:gd name="T21" fmla="*/ 10 h 52"/>
                  <a:gd name="T22" fmla="*/ 4 w 44"/>
                  <a:gd name="T23" fmla="*/ 15 h 52"/>
                  <a:gd name="T24" fmla="*/ 2 w 44"/>
                  <a:gd name="T25" fmla="*/ 16 h 52"/>
                  <a:gd name="T26" fmla="*/ 2 w 44"/>
                  <a:gd name="T27" fmla="*/ 17 h 52"/>
                  <a:gd name="T28" fmla="*/ 1 w 44"/>
                  <a:gd name="T29" fmla="*/ 20 h 52"/>
                  <a:gd name="T30" fmla="*/ 2 w 44"/>
                  <a:gd name="T31" fmla="*/ 22 h 52"/>
                  <a:gd name="T32" fmla="*/ 5 w 44"/>
                  <a:gd name="T33" fmla="*/ 22 h 52"/>
                  <a:gd name="T34" fmla="*/ 2 w 44"/>
                  <a:gd name="T35" fmla="*/ 26 h 52"/>
                  <a:gd name="T36" fmla="*/ 4 w 44"/>
                  <a:gd name="T37" fmla="*/ 31 h 52"/>
                  <a:gd name="T38" fmla="*/ 6 w 44"/>
                  <a:gd name="T39" fmla="*/ 36 h 52"/>
                  <a:gd name="T40" fmla="*/ 11 w 44"/>
                  <a:gd name="T41" fmla="*/ 38 h 52"/>
                  <a:gd name="T42" fmla="*/ 12 w 44"/>
                  <a:gd name="T43" fmla="*/ 39 h 52"/>
                  <a:gd name="T44" fmla="*/ 14 w 44"/>
                  <a:gd name="T45" fmla="*/ 40 h 52"/>
                  <a:gd name="T46" fmla="*/ 11 w 44"/>
                  <a:gd name="T47" fmla="*/ 41 h 52"/>
                  <a:gd name="T48" fmla="*/ 6 w 44"/>
                  <a:gd name="T49" fmla="*/ 40 h 52"/>
                  <a:gd name="T50" fmla="*/ 11 w 44"/>
                  <a:gd name="T51" fmla="*/ 44 h 52"/>
                  <a:gd name="T52" fmla="*/ 15 w 44"/>
                  <a:gd name="T53" fmla="*/ 45 h 52"/>
                  <a:gd name="T54" fmla="*/ 17 w 44"/>
                  <a:gd name="T55" fmla="*/ 45 h 52"/>
                  <a:gd name="T56" fmla="*/ 18 w 44"/>
                  <a:gd name="T57" fmla="*/ 46 h 52"/>
                  <a:gd name="T58" fmla="*/ 24 w 44"/>
                  <a:gd name="T59" fmla="*/ 50 h 52"/>
                  <a:gd name="T60" fmla="*/ 27 w 44"/>
                  <a:gd name="T61" fmla="*/ 51 h 52"/>
                  <a:gd name="T62" fmla="*/ 30 w 44"/>
                  <a:gd name="T63" fmla="*/ 48 h 52"/>
                  <a:gd name="T64" fmla="*/ 36 w 44"/>
                  <a:gd name="T65" fmla="*/ 41 h 52"/>
                  <a:gd name="T66" fmla="*/ 36 w 44"/>
                  <a:gd name="T67" fmla="*/ 4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 h="52">
                    <a:moveTo>
                      <a:pt x="36" y="41"/>
                    </a:moveTo>
                    <a:cubicBezTo>
                      <a:pt x="38" y="40"/>
                      <a:pt x="40" y="38"/>
                      <a:pt x="42" y="35"/>
                    </a:cubicBezTo>
                    <a:cubicBezTo>
                      <a:pt x="42" y="34"/>
                      <a:pt x="42" y="33"/>
                      <a:pt x="42" y="32"/>
                    </a:cubicBezTo>
                    <a:cubicBezTo>
                      <a:pt x="42" y="30"/>
                      <a:pt x="43" y="28"/>
                      <a:pt x="43" y="26"/>
                    </a:cubicBezTo>
                    <a:cubicBezTo>
                      <a:pt x="43" y="24"/>
                      <a:pt x="44" y="21"/>
                      <a:pt x="43" y="18"/>
                    </a:cubicBezTo>
                    <a:cubicBezTo>
                      <a:pt x="42" y="16"/>
                      <a:pt x="40" y="13"/>
                      <a:pt x="38" y="11"/>
                    </a:cubicBezTo>
                    <a:cubicBezTo>
                      <a:pt x="37" y="9"/>
                      <a:pt x="35" y="6"/>
                      <a:pt x="34" y="4"/>
                    </a:cubicBezTo>
                    <a:cubicBezTo>
                      <a:pt x="33" y="1"/>
                      <a:pt x="31" y="0"/>
                      <a:pt x="28" y="1"/>
                    </a:cubicBezTo>
                    <a:cubicBezTo>
                      <a:pt x="25" y="2"/>
                      <a:pt x="22" y="2"/>
                      <a:pt x="19" y="2"/>
                    </a:cubicBezTo>
                    <a:cubicBezTo>
                      <a:pt x="17" y="3"/>
                      <a:pt x="14" y="2"/>
                      <a:pt x="12" y="4"/>
                    </a:cubicBezTo>
                    <a:cubicBezTo>
                      <a:pt x="10" y="5"/>
                      <a:pt x="8" y="7"/>
                      <a:pt x="7" y="10"/>
                    </a:cubicBezTo>
                    <a:cubicBezTo>
                      <a:pt x="6" y="12"/>
                      <a:pt x="5" y="14"/>
                      <a:pt x="4" y="15"/>
                    </a:cubicBezTo>
                    <a:cubicBezTo>
                      <a:pt x="3" y="16"/>
                      <a:pt x="3" y="16"/>
                      <a:pt x="2" y="16"/>
                    </a:cubicBezTo>
                    <a:cubicBezTo>
                      <a:pt x="2" y="16"/>
                      <a:pt x="2" y="16"/>
                      <a:pt x="2" y="17"/>
                    </a:cubicBezTo>
                    <a:cubicBezTo>
                      <a:pt x="1" y="18"/>
                      <a:pt x="0" y="19"/>
                      <a:pt x="1" y="20"/>
                    </a:cubicBezTo>
                    <a:cubicBezTo>
                      <a:pt x="1" y="21"/>
                      <a:pt x="1" y="22"/>
                      <a:pt x="2" y="22"/>
                    </a:cubicBezTo>
                    <a:cubicBezTo>
                      <a:pt x="3" y="22"/>
                      <a:pt x="5" y="21"/>
                      <a:pt x="5" y="22"/>
                    </a:cubicBezTo>
                    <a:cubicBezTo>
                      <a:pt x="5" y="24"/>
                      <a:pt x="3" y="25"/>
                      <a:pt x="2" y="26"/>
                    </a:cubicBezTo>
                    <a:cubicBezTo>
                      <a:pt x="0" y="28"/>
                      <a:pt x="4" y="30"/>
                      <a:pt x="4" y="31"/>
                    </a:cubicBezTo>
                    <a:cubicBezTo>
                      <a:pt x="5" y="33"/>
                      <a:pt x="4" y="36"/>
                      <a:pt x="6" y="36"/>
                    </a:cubicBezTo>
                    <a:cubicBezTo>
                      <a:pt x="7" y="37"/>
                      <a:pt x="10" y="36"/>
                      <a:pt x="11" y="38"/>
                    </a:cubicBezTo>
                    <a:cubicBezTo>
                      <a:pt x="11" y="38"/>
                      <a:pt x="11" y="39"/>
                      <a:pt x="12" y="39"/>
                    </a:cubicBezTo>
                    <a:cubicBezTo>
                      <a:pt x="13" y="39"/>
                      <a:pt x="14" y="39"/>
                      <a:pt x="14" y="40"/>
                    </a:cubicBezTo>
                    <a:cubicBezTo>
                      <a:pt x="14" y="42"/>
                      <a:pt x="13" y="42"/>
                      <a:pt x="11" y="41"/>
                    </a:cubicBezTo>
                    <a:cubicBezTo>
                      <a:pt x="11" y="41"/>
                      <a:pt x="6" y="39"/>
                      <a:pt x="6" y="40"/>
                    </a:cubicBezTo>
                    <a:cubicBezTo>
                      <a:pt x="6" y="41"/>
                      <a:pt x="10" y="43"/>
                      <a:pt x="11" y="44"/>
                    </a:cubicBezTo>
                    <a:cubicBezTo>
                      <a:pt x="13" y="44"/>
                      <a:pt x="14" y="45"/>
                      <a:pt x="15" y="45"/>
                    </a:cubicBezTo>
                    <a:cubicBezTo>
                      <a:pt x="15" y="45"/>
                      <a:pt x="16" y="45"/>
                      <a:pt x="17" y="45"/>
                    </a:cubicBezTo>
                    <a:cubicBezTo>
                      <a:pt x="17" y="45"/>
                      <a:pt x="18" y="45"/>
                      <a:pt x="18" y="46"/>
                    </a:cubicBezTo>
                    <a:cubicBezTo>
                      <a:pt x="20" y="47"/>
                      <a:pt x="22" y="48"/>
                      <a:pt x="24" y="50"/>
                    </a:cubicBezTo>
                    <a:cubicBezTo>
                      <a:pt x="25" y="50"/>
                      <a:pt x="26" y="52"/>
                      <a:pt x="27" y="51"/>
                    </a:cubicBezTo>
                    <a:cubicBezTo>
                      <a:pt x="28" y="50"/>
                      <a:pt x="29" y="49"/>
                      <a:pt x="30" y="48"/>
                    </a:cubicBezTo>
                    <a:cubicBezTo>
                      <a:pt x="32" y="46"/>
                      <a:pt x="34" y="43"/>
                      <a:pt x="36" y="41"/>
                    </a:cubicBezTo>
                    <a:cubicBezTo>
                      <a:pt x="37" y="40"/>
                      <a:pt x="36" y="41"/>
                      <a:pt x="36" y="41"/>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98" name="Freeform 492">
                <a:extLst>
                  <a:ext uri="{FF2B5EF4-FFF2-40B4-BE49-F238E27FC236}">
                    <a16:creationId xmlns:a16="http://schemas.microsoft.com/office/drawing/2014/main" id="{1919749A-2F4D-C781-5C8D-F8322FC63B22}"/>
                  </a:ext>
                </a:extLst>
              </p:cNvPr>
              <p:cNvSpPr/>
              <p:nvPr>
                <p:custDataLst>
                  <p:tags r:id="rId236"/>
                </p:custDataLst>
              </p:nvPr>
            </p:nvSpPr>
            <p:spPr bwMode="auto">
              <a:xfrm>
                <a:off x="5252401" y="4137661"/>
                <a:ext cx="147963" cy="159444"/>
              </a:xfrm>
              <a:custGeom>
                <a:avLst/>
                <a:gdLst>
                  <a:gd name="T0" fmla="*/ 93 w 99"/>
                  <a:gd name="T1" fmla="*/ 86 h 107"/>
                  <a:gd name="T2" fmla="*/ 88 w 99"/>
                  <a:gd name="T3" fmla="*/ 71 h 107"/>
                  <a:gd name="T4" fmla="*/ 92 w 99"/>
                  <a:gd name="T5" fmla="*/ 55 h 107"/>
                  <a:gd name="T6" fmla="*/ 96 w 99"/>
                  <a:gd name="T7" fmla="*/ 47 h 107"/>
                  <a:gd name="T8" fmla="*/ 99 w 99"/>
                  <a:gd name="T9" fmla="*/ 39 h 107"/>
                  <a:gd name="T10" fmla="*/ 97 w 99"/>
                  <a:gd name="T11" fmla="*/ 31 h 107"/>
                  <a:gd name="T12" fmla="*/ 96 w 99"/>
                  <a:gd name="T13" fmla="*/ 23 h 107"/>
                  <a:gd name="T14" fmla="*/ 92 w 99"/>
                  <a:gd name="T15" fmla="*/ 17 h 107"/>
                  <a:gd name="T16" fmla="*/ 85 w 99"/>
                  <a:gd name="T17" fmla="*/ 13 h 107"/>
                  <a:gd name="T18" fmla="*/ 77 w 99"/>
                  <a:gd name="T19" fmla="*/ 14 h 107"/>
                  <a:gd name="T20" fmla="*/ 71 w 99"/>
                  <a:gd name="T21" fmla="*/ 17 h 107"/>
                  <a:gd name="T22" fmla="*/ 64 w 99"/>
                  <a:gd name="T23" fmla="*/ 16 h 107"/>
                  <a:gd name="T24" fmla="*/ 58 w 99"/>
                  <a:gd name="T25" fmla="*/ 11 h 107"/>
                  <a:gd name="T26" fmla="*/ 54 w 99"/>
                  <a:gd name="T27" fmla="*/ 6 h 107"/>
                  <a:gd name="T28" fmla="*/ 46 w 99"/>
                  <a:gd name="T29" fmla="*/ 6 h 107"/>
                  <a:gd name="T30" fmla="*/ 39 w 99"/>
                  <a:gd name="T31" fmla="*/ 8 h 107"/>
                  <a:gd name="T32" fmla="*/ 37 w 99"/>
                  <a:gd name="T33" fmla="*/ 2 h 107"/>
                  <a:gd name="T34" fmla="*/ 33 w 99"/>
                  <a:gd name="T35" fmla="*/ 1 h 107"/>
                  <a:gd name="T36" fmla="*/ 32 w 99"/>
                  <a:gd name="T37" fmla="*/ 4 h 107"/>
                  <a:gd name="T38" fmla="*/ 29 w 99"/>
                  <a:gd name="T39" fmla="*/ 6 h 107"/>
                  <a:gd name="T40" fmla="*/ 22 w 99"/>
                  <a:gd name="T41" fmla="*/ 9 h 107"/>
                  <a:gd name="T42" fmla="*/ 14 w 99"/>
                  <a:gd name="T43" fmla="*/ 5 h 107"/>
                  <a:gd name="T44" fmla="*/ 8 w 99"/>
                  <a:gd name="T45" fmla="*/ 9 h 107"/>
                  <a:gd name="T46" fmla="*/ 7 w 99"/>
                  <a:gd name="T47" fmla="*/ 17 h 107"/>
                  <a:gd name="T48" fmla="*/ 9 w 99"/>
                  <a:gd name="T49" fmla="*/ 20 h 107"/>
                  <a:gd name="T50" fmla="*/ 11 w 99"/>
                  <a:gd name="T51" fmla="*/ 21 h 107"/>
                  <a:gd name="T52" fmla="*/ 12 w 99"/>
                  <a:gd name="T53" fmla="*/ 28 h 107"/>
                  <a:gd name="T54" fmla="*/ 12 w 99"/>
                  <a:gd name="T55" fmla="*/ 33 h 107"/>
                  <a:gd name="T56" fmla="*/ 14 w 99"/>
                  <a:gd name="T57" fmla="*/ 38 h 107"/>
                  <a:gd name="T58" fmla="*/ 5 w 99"/>
                  <a:gd name="T59" fmla="*/ 40 h 107"/>
                  <a:gd name="T60" fmla="*/ 8 w 99"/>
                  <a:gd name="T61" fmla="*/ 45 h 107"/>
                  <a:gd name="T62" fmla="*/ 5 w 99"/>
                  <a:gd name="T63" fmla="*/ 53 h 107"/>
                  <a:gd name="T64" fmla="*/ 3 w 99"/>
                  <a:gd name="T65" fmla="*/ 55 h 107"/>
                  <a:gd name="T66" fmla="*/ 3 w 99"/>
                  <a:gd name="T67" fmla="*/ 58 h 107"/>
                  <a:gd name="T68" fmla="*/ 3 w 99"/>
                  <a:gd name="T69" fmla="*/ 65 h 107"/>
                  <a:gd name="T70" fmla="*/ 1 w 99"/>
                  <a:gd name="T71" fmla="*/ 69 h 107"/>
                  <a:gd name="T72" fmla="*/ 0 w 99"/>
                  <a:gd name="T73" fmla="*/ 71 h 107"/>
                  <a:gd name="T74" fmla="*/ 3 w 99"/>
                  <a:gd name="T75" fmla="*/ 73 h 107"/>
                  <a:gd name="T76" fmla="*/ 16 w 99"/>
                  <a:gd name="T77" fmla="*/ 79 h 107"/>
                  <a:gd name="T78" fmla="*/ 19 w 99"/>
                  <a:gd name="T79" fmla="*/ 86 h 107"/>
                  <a:gd name="T80" fmla="*/ 18 w 99"/>
                  <a:gd name="T81" fmla="*/ 94 h 107"/>
                  <a:gd name="T82" fmla="*/ 16 w 99"/>
                  <a:gd name="T83" fmla="*/ 100 h 107"/>
                  <a:gd name="T84" fmla="*/ 16 w 99"/>
                  <a:gd name="T85" fmla="*/ 105 h 107"/>
                  <a:gd name="T86" fmla="*/ 16 w 99"/>
                  <a:gd name="T87" fmla="*/ 106 h 107"/>
                  <a:gd name="T88" fmla="*/ 19 w 99"/>
                  <a:gd name="T89" fmla="*/ 106 h 107"/>
                  <a:gd name="T90" fmla="*/ 27 w 99"/>
                  <a:gd name="T91" fmla="*/ 102 h 107"/>
                  <a:gd name="T92" fmla="*/ 45 w 99"/>
                  <a:gd name="T93" fmla="*/ 96 h 107"/>
                  <a:gd name="T94" fmla="*/ 49 w 99"/>
                  <a:gd name="T95" fmla="*/ 95 h 107"/>
                  <a:gd name="T96" fmla="*/ 53 w 99"/>
                  <a:gd name="T97" fmla="*/ 94 h 107"/>
                  <a:gd name="T98" fmla="*/ 61 w 99"/>
                  <a:gd name="T99" fmla="*/ 93 h 107"/>
                  <a:gd name="T100" fmla="*/ 74 w 99"/>
                  <a:gd name="T101" fmla="*/ 90 h 107"/>
                  <a:gd name="T102" fmla="*/ 77 w 99"/>
                  <a:gd name="T103" fmla="*/ 90 h 107"/>
                  <a:gd name="T104" fmla="*/ 78 w 99"/>
                  <a:gd name="T105" fmla="*/ 89 h 107"/>
                  <a:gd name="T106" fmla="*/ 80 w 99"/>
                  <a:gd name="T107" fmla="*/ 90 h 107"/>
                  <a:gd name="T108" fmla="*/ 83 w 99"/>
                  <a:gd name="T109" fmla="*/ 93 h 107"/>
                  <a:gd name="T110" fmla="*/ 88 w 99"/>
                  <a:gd name="T111" fmla="*/ 91 h 107"/>
                  <a:gd name="T112" fmla="*/ 95 w 99"/>
                  <a:gd name="T113" fmla="*/ 95 h 107"/>
                  <a:gd name="T114" fmla="*/ 92 w 99"/>
                  <a:gd name="T115" fmla="*/ 85 h 107"/>
                  <a:gd name="T116" fmla="*/ 93 w 99"/>
                  <a:gd name="T117" fmla="*/ 86 h 107"/>
                  <a:gd name="T118" fmla="*/ 93 w 99"/>
                  <a:gd name="T119"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9" h="107">
                    <a:moveTo>
                      <a:pt x="93" y="86"/>
                    </a:moveTo>
                    <a:cubicBezTo>
                      <a:pt x="90" y="82"/>
                      <a:pt x="88" y="77"/>
                      <a:pt x="88" y="71"/>
                    </a:cubicBezTo>
                    <a:cubicBezTo>
                      <a:pt x="87" y="65"/>
                      <a:pt x="89" y="60"/>
                      <a:pt x="92" y="55"/>
                    </a:cubicBezTo>
                    <a:cubicBezTo>
                      <a:pt x="93" y="52"/>
                      <a:pt x="94" y="50"/>
                      <a:pt x="96" y="47"/>
                    </a:cubicBezTo>
                    <a:cubicBezTo>
                      <a:pt x="97" y="45"/>
                      <a:pt x="99" y="42"/>
                      <a:pt x="99" y="39"/>
                    </a:cubicBezTo>
                    <a:cubicBezTo>
                      <a:pt x="99" y="36"/>
                      <a:pt x="98" y="34"/>
                      <a:pt x="97" y="31"/>
                    </a:cubicBezTo>
                    <a:cubicBezTo>
                      <a:pt x="95" y="28"/>
                      <a:pt x="96" y="26"/>
                      <a:pt x="96" y="23"/>
                    </a:cubicBezTo>
                    <a:cubicBezTo>
                      <a:pt x="96" y="20"/>
                      <a:pt x="94" y="18"/>
                      <a:pt x="92" y="17"/>
                    </a:cubicBezTo>
                    <a:cubicBezTo>
                      <a:pt x="90" y="15"/>
                      <a:pt x="87" y="14"/>
                      <a:pt x="85" y="13"/>
                    </a:cubicBezTo>
                    <a:cubicBezTo>
                      <a:pt x="82" y="13"/>
                      <a:pt x="80" y="13"/>
                      <a:pt x="77" y="14"/>
                    </a:cubicBezTo>
                    <a:cubicBezTo>
                      <a:pt x="74" y="14"/>
                      <a:pt x="73" y="16"/>
                      <a:pt x="71" y="17"/>
                    </a:cubicBezTo>
                    <a:cubicBezTo>
                      <a:pt x="68" y="19"/>
                      <a:pt x="66" y="17"/>
                      <a:pt x="64" y="16"/>
                    </a:cubicBezTo>
                    <a:cubicBezTo>
                      <a:pt x="61" y="15"/>
                      <a:pt x="59" y="14"/>
                      <a:pt x="58" y="11"/>
                    </a:cubicBezTo>
                    <a:cubicBezTo>
                      <a:pt x="57" y="9"/>
                      <a:pt x="56" y="7"/>
                      <a:pt x="54" y="6"/>
                    </a:cubicBezTo>
                    <a:cubicBezTo>
                      <a:pt x="52" y="4"/>
                      <a:pt x="49" y="4"/>
                      <a:pt x="46" y="6"/>
                    </a:cubicBezTo>
                    <a:cubicBezTo>
                      <a:pt x="44" y="7"/>
                      <a:pt x="42" y="9"/>
                      <a:pt x="39" y="8"/>
                    </a:cubicBezTo>
                    <a:cubicBezTo>
                      <a:pt x="36" y="7"/>
                      <a:pt x="37" y="4"/>
                      <a:pt x="37" y="2"/>
                    </a:cubicBezTo>
                    <a:cubicBezTo>
                      <a:pt x="37" y="0"/>
                      <a:pt x="34" y="0"/>
                      <a:pt x="33" y="1"/>
                    </a:cubicBezTo>
                    <a:cubicBezTo>
                      <a:pt x="32" y="2"/>
                      <a:pt x="32" y="3"/>
                      <a:pt x="32" y="4"/>
                    </a:cubicBezTo>
                    <a:cubicBezTo>
                      <a:pt x="31" y="5"/>
                      <a:pt x="30" y="5"/>
                      <a:pt x="29" y="6"/>
                    </a:cubicBezTo>
                    <a:cubicBezTo>
                      <a:pt x="26" y="7"/>
                      <a:pt x="25" y="9"/>
                      <a:pt x="22" y="9"/>
                    </a:cubicBezTo>
                    <a:cubicBezTo>
                      <a:pt x="19" y="8"/>
                      <a:pt x="17" y="5"/>
                      <a:pt x="14" y="5"/>
                    </a:cubicBezTo>
                    <a:cubicBezTo>
                      <a:pt x="12" y="5"/>
                      <a:pt x="10" y="8"/>
                      <a:pt x="8" y="9"/>
                    </a:cubicBezTo>
                    <a:cubicBezTo>
                      <a:pt x="6" y="11"/>
                      <a:pt x="7" y="14"/>
                      <a:pt x="7" y="17"/>
                    </a:cubicBezTo>
                    <a:cubicBezTo>
                      <a:pt x="7" y="18"/>
                      <a:pt x="8" y="19"/>
                      <a:pt x="9" y="20"/>
                    </a:cubicBezTo>
                    <a:cubicBezTo>
                      <a:pt x="9" y="20"/>
                      <a:pt x="10" y="20"/>
                      <a:pt x="11" y="21"/>
                    </a:cubicBezTo>
                    <a:cubicBezTo>
                      <a:pt x="13" y="23"/>
                      <a:pt x="13" y="26"/>
                      <a:pt x="12" y="28"/>
                    </a:cubicBezTo>
                    <a:cubicBezTo>
                      <a:pt x="11" y="30"/>
                      <a:pt x="11" y="31"/>
                      <a:pt x="12" y="33"/>
                    </a:cubicBezTo>
                    <a:cubicBezTo>
                      <a:pt x="13" y="35"/>
                      <a:pt x="15" y="36"/>
                      <a:pt x="14" y="38"/>
                    </a:cubicBezTo>
                    <a:cubicBezTo>
                      <a:pt x="14" y="43"/>
                      <a:pt x="5" y="35"/>
                      <a:pt x="5" y="40"/>
                    </a:cubicBezTo>
                    <a:cubicBezTo>
                      <a:pt x="5" y="42"/>
                      <a:pt x="8" y="43"/>
                      <a:pt x="8" y="45"/>
                    </a:cubicBezTo>
                    <a:cubicBezTo>
                      <a:pt x="9" y="48"/>
                      <a:pt x="7" y="51"/>
                      <a:pt x="5" y="53"/>
                    </a:cubicBezTo>
                    <a:cubicBezTo>
                      <a:pt x="4" y="54"/>
                      <a:pt x="4" y="54"/>
                      <a:pt x="3" y="55"/>
                    </a:cubicBezTo>
                    <a:cubicBezTo>
                      <a:pt x="2" y="55"/>
                      <a:pt x="3" y="57"/>
                      <a:pt x="3" y="58"/>
                    </a:cubicBezTo>
                    <a:cubicBezTo>
                      <a:pt x="4" y="60"/>
                      <a:pt x="4" y="63"/>
                      <a:pt x="3" y="65"/>
                    </a:cubicBezTo>
                    <a:cubicBezTo>
                      <a:pt x="3" y="66"/>
                      <a:pt x="2" y="68"/>
                      <a:pt x="1" y="69"/>
                    </a:cubicBezTo>
                    <a:cubicBezTo>
                      <a:pt x="0" y="69"/>
                      <a:pt x="0" y="70"/>
                      <a:pt x="0" y="71"/>
                    </a:cubicBezTo>
                    <a:cubicBezTo>
                      <a:pt x="0" y="72"/>
                      <a:pt x="2" y="73"/>
                      <a:pt x="3" y="73"/>
                    </a:cubicBezTo>
                    <a:cubicBezTo>
                      <a:pt x="7" y="75"/>
                      <a:pt x="14" y="74"/>
                      <a:pt x="16" y="79"/>
                    </a:cubicBezTo>
                    <a:cubicBezTo>
                      <a:pt x="17" y="81"/>
                      <a:pt x="18" y="83"/>
                      <a:pt x="19" y="86"/>
                    </a:cubicBezTo>
                    <a:cubicBezTo>
                      <a:pt x="20" y="88"/>
                      <a:pt x="19" y="91"/>
                      <a:pt x="18" y="94"/>
                    </a:cubicBezTo>
                    <a:cubicBezTo>
                      <a:pt x="18" y="96"/>
                      <a:pt x="16" y="98"/>
                      <a:pt x="16" y="100"/>
                    </a:cubicBezTo>
                    <a:cubicBezTo>
                      <a:pt x="16" y="101"/>
                      <a:pt x="16" y="103"/>
                      <a:pt x="16" y="105"/>
                    </a:cubicBezTo>
                    <a:cubicBezTo>
                      <a:pt x="16" y="105"/>
                      <a:pt x="16" y="106"/>
                      <a:pt x="16" y="106"/>
                    </a:cubicBezTo>
                    <a:cubicBezTo>
                      <a:pt x="17" y="107"/>
                      <a:pt x="19" y="106"/>
                      <a:pt x="19" y="106"/>
                    </a:cubicBezTo>
                    <a:cubicBezTo>
                      <a:pt x="22" y="105"/>
                      <a:pt x="25" y="103"/>
                      <a:pt x="27" y="102"/>
                    </a:cubicBezTo>
                    <a:cubicBezTo>
                      <a:pt x="33" y="99"/>
                      <a:pt x="39" y="98"/>
                      <a:pt x="45" y="96"/>
                    </a:cubicBezTo>
                    <a:cubicBezTo>
                      <a:pt x="46" y="96"/>
                      <a:pt x="48" y="95"/>
                      <a:pt x="49" y="95"/>
                    </a:cubicBezTo>
                    <a:cubicBezTo>
                      <a:pt x="50" y="95"/>
                      <a:pt x="52" y="95"/>
                      <a:pt x="53" y="94"/>
                    </a:cubicBezTo>
                    <a:cubicBezTo>
                      <a:pt x="55" y="93"/>
                      <a:pt x="59" y="93"/>
                      <a:pt x="61" y="93"/>
                    </a:cubicBezTo>
                    <a:cubicBezTo>
                      <a:pt x="65" y="92"/>
                      <a:pt x="69" y="90"/>
                      <a:pt x="74" y="90"/>
                    </a:cubicBezTo>
                    <a:cubicBezTo>
                      <a:pt x="75" y="90"/>
                      <a:pt x="77" y="91"/>
                      <a:pt x="77" y="90"/>
                    </a:cubicBezTo>
                    <a:cubicBezTo>
                      <a:pt x="78" y="90"/>
                      <a:pt x="78" y="89"/>
                      <a:pt x="78" y="89"/>
                    </a:cubicBezTo>
                    <a:cubicBezTo>
                      <a:pt x="79" y="89"/>
                      <a:pt x="80" y="89"/>
                      <a:pt x="80" y="90"/>
                    </a:cubicBezTo>
                    <a:cubicBezTo>
                      <a:pt x="81" y="91"/>
                      <a:pt x="81" y="92"/>
                      <a:pt x="83" y="93"/>
                    </a:cubicBezTo>
                    <a:cubicBezTo>
                      <a:pt x="85" y="93"/>
                      <a:pt x="86" y="92"/>
                      <a:pt x="88" y="91"/>
                    </a:cubicBezTo>
                    <a:cubicBezTo>
                      <a:pt x="90" y="88"/>
                      <a:pt x="93" y="94"/>
                      <a:pt x="95" y="95"/>
                    </a:cubicBezTo>
                    <a:cubicBezTo>
                      <a:pt x="95" y="91"/>
                      <a:pt x="95" y="88"/>
                      <a:pt x="92" y="85"/>
                    </a:cubicBezTo>
                    <a:cubicBezTo>
                      <a:pt x="93" y="86"/>
                      <a:pt x="93" y="86"/>
                      <a:pt x="93" y="86"/>
                    </a:cubicBezTo>
                    <a:cubicBezTo>
                      <a:pt x="89" y="81"/>
                      <a:pt x="93" y="86"/>
                      <a:pt x="93" y="86"/>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299" name="Freeform 493">
                <a:extLst>
                  <a:ext uri="{FF2B5EF4-FFF2-40B4-BE49-F238E27FC236}">
                    <a16:creationId xmlns:a16="http://schemas.microsoft.com/office/drawing/2014/main" id="{3BBFBCB8-AF85-0591-A7A7-63567FA58668}"/>
                  </a:ext>
                </a:extLst>
              </p:cNvPr>
              <p:cNvSpPr/>
              <p:nvPr>
                <p:custDataLst>
                  <p:tags r:id="rId237"/>
                </p:custDataLst>
              </p:nvPr>
            </p:nvSpPr>
            <p:spPr bwMode="auto">
              <a:xfrm>
                <a:off x="5536847" y="4056025"/>
                <a:ext cx="299753" cy="242354"/>
              </a:xfrm>
              <a:custGeom>
                <a:avLst/>
                <a:gdLst>
                  <a:gd name="T0" fmla="*/ 101 w 201"/>
                  <a:gd name="T1" fmla="*/ 149 h 163"/>
                  <a:gd name="T2" fmla="*/ 114 w 201"/>
                  <a:gd name="T3" fmla="*/ 126 h 163"/>
                  <a:gd name="T4" fmla="*/ 126 w 201"/>
                  <a:gd name="T5" fmla="*/ 117 h 163"/>
                  <a:gd name="T6" fmla="*/ 131 w 201"/>
                  <a:gd name="T7" fmla="*/ 118 h 163"/>
                  <a:gd name="T8" fmla="*/ 142 w 201"/>
                  <a:gd name="T9" fmla="*/ 124 h 163"/>
                  <a:gd name="T10" fmla="*/ 151 w 201"/>
                  <a:gd name="T11" fmla="*/ 119 h 163"/>
                  <a:gd name="T12" fmla="*/ 157 w 201"/>
                  <a:gd name="T13" fmla="*/ 104 h 163"/>
                  <a:gd name="T14" fmla="*/ 159 w 201"/>
                  <a:gd name="T15" fmla="*/ 96 h 163"/>
                  <a:gd name="T16" fmla="*/ 170 w 201"/>
                  <a:gd name="T17" fmla="*/ 86 h 163"/>
                  <a:gd name="T18" fmla="*/ 175 w 201"/>
                  <a:gd name="T19" fmla="*/ 73 h 163"/>
                  <a:gd name="T20" fmla="*/ 179 w 201"/>
                  <a:gd name="T21" fmla="*/ 64 h 163"/>
                  <a:gd name="T22" fmla="*/ 183 w 201"/>
                  <a:gd name="T23" fmla="*/ 53 h 163"/>
                  <a:gd name="T24" fmla="*/ 200 w 201"/>
                  <a:gd name="T25" fmla="*/ 38 h 163"/>
                  <a:gd name="T26" fmla="*/ 196 w 201"/>
                  <a:gd name="T27" fmla="*/ 27 h 163"/>
                  <a:gd name="T28" fmla="*/ 191 w 201"/>
                  <a:gd name="T29" fmla="*/ 13 h 163"/>
                  <a:gd name="T30" fmla="*/ 185 w 201"/>
                  <a:gd name="T31" fmla="*/ 4 h 163"/>
                  <a:gd name="T32" fmla="*/ 166 w 201"/>
                  <a:gd name="T33" fmla="*/ 12 h 163"/>
                  <a:gd name="T34" fmla="*/ 134 w 201"/>
                  <a:gd name="T35" fmla="*/ 9 h 163"/>
                  <a:gd name="T36" fmla="*/ 102 w 201"/>
                  <a:gd name="T37" fmla="*/ 16 h 163"/>
                  <a:gd name="T38" fmla="*/ 87 w 201"/>
                  <a:gd name="T39" fmla="*/ 10 h 163"/>
                  <a:gd name="T40" fmla="*/ 73 w 201"/>
                  <a:gd name="T41" fmla="*/ 14 h 163"/>
                  <a:gd name="T42" fmla="*/ 59 w 201"/>
                  <a:gd name="T43" fmla="*/ 4 h 163"/>
                  <a:gd name="T44" fmla="*/ 27 w 201"/>
                  <a:gd name="T45" fmla="*/ 5 h 163"/>
                  <a:gd name="T46" fmla="*/ 20 w 201"/>
                  <a:gd name="T47" fmla="*/ 18 h 163"/>
                  <a:gd name="T48" fmla="*/ 15 w 201"/>
                  <a:gd name="T49" fmla="*/ 42 h 163"/>
                  <a:gd name="T50" fmla="*/ 15 w 201"/>
                  <a:gd name="T51" fmla="*/ 65 h 163"/>
                  <a:gd name="T52" fmla="*/ 8 w 201"/>
                  <a:gd name="T53" fmla="*/ 79 h 163"/>
                  <a:gd name="T54" fmla="*/ 0 w 201"/>
                  <a:gd name="T55" fmla="*/ 89 h 163"/>
                  <a:gd name="T56" fmla="*/ 1 w 201"/>
                  <a:gd name="T57" fmla="*/ 107 h 163"/>
                  <a:gd name="T58" fmla="*/ 8 w 201"/>
                  <a:gd name="T59" fmla="*/ 127 h 163"/>
                  <a:gd name="T60" fmla="*/ 16 w 201"/>
                  <a:gd name="T61" fmla="*/ 124 h 163"/>
                  <a:gd name="T62" fmla="*/ 17 w 201"/>
                  <a:gd name="T63" fmla="*/ 126 h 163"/>
                  <a:gd name="T64" fmla="*/ 28 w 201"/>
                  <a:gd name="T65" fmla="*/ 128 h 163"/>
                  <a:gd name="T66" fmla="*/ 34 w 201"/>
                  <a:gd name="T67" fmla="*/ 132 h 163"/>
                  <a:gd name="T68" fmla="*/ 41 w 201"/>
                  <a:gd name="T69" fmla="*/ 136 h 163"/>
                  <a:gd name="T70" fmla="*/ 45 w 201"/>
                  <a:gd name="T71" fmla="*/ 141 h 163"/>
                  <a:gd name="T72" fmla="*/ 46 w 201"/>
                  <a:gd name="T73" fmla="*/ 143 h 163"/>
                  <a:gd name="T74" fmla="*/ 48 w 201"/>
                  <a:gd name="T75" fmla="*/ 145 h 163"/>
                  <a:gd name="T76" fmla="*/ 47 w 201"/>
                  <a:gd name="T77" fmla="*/ 151 h 163"/>
                  <a:gd name="T78" fmla="*/ 49 w 201"/>
                  <a:gd name="T79" fmla="*/ 158 h 163"/>
                  <a:gd name="T80" fmla="*/ 59 w 201"/>
                  <a:gd name="T81" fmla="*/ 162 h 163"/>
                  <a:gd name="T82" fmla="*/ 64 w 201"/>
                  <a:gd name="T83" fmla="*/ 161 h 163"/>
                  <a:gd name="T84" fmla="*/ 70 w 201"/>
                  <a:gd name="T85" fmla="*/ 156 h 163"/>
                  <a:gd name="T86" fmla="*/ 75 w 201"/>
                  <a:gd name="T87" fmla="*/ 157 h 163"/>
                  <a:gd name="T88" fmla="*/ 81 w 201"/>
                  <a:gd name="T89" fmla="*/ 157 h 163"/>
                  <a:gd name="T90" fmla="*/ 88 w 201"/>
                  <a:gd name="T91" fmla="*/ 159 h 163"/>
                  <a:gd name="T92" fmla="*/ 93 w 201"/>
                  <a:gd name="T93" fmla="*/ 152 h 163"/>
                  <a:gd name="T94" fmla="*/ 98 w 201"/>
                  <a:gd name="T95" fmla="*/ 155 h 163"/>
                  <a:gd name="T96" fmla="*/ 99 w 201"/>
                  <a:gd name="T97" fmla="*/ 156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1" h="163">
                    <a:moveTo>
                      <a:pt x="99" y="156"/>
                    </a:moveTo>
                    <a:cubicBezTo>
                      <a:pt x="100" y="153"/>
                      <a:pt x="101" y="151"/>
                      <a:pt x="101" y="149"/>
                    </a:cubicBezTo>
                    <a:cubicBezTo>
                      <a:pt x="102" y="146"/>
                      <a:pt x="101" y="142"/>
                      <a:pt x="102" y="139"/>
                    </a:cubicBezTo>
                    <a:cubicBezTo>
                      <a:pt x="104" y="134"/>
                      <a:pt x="110" y="131"/>
                      <a:pt x="114" y="126"/>
                    </a:cubicBezTo>
                    <a:cubicBezTo>
                      <a:pt x="116" y="124"/>
                      <a:pt x="118" y="122"/>
                      <a:pt x="120" y="120"/>
                    </a:cubicBezTo>
                    <a:cubicBezTo>
                      <a:pt x="121" y="119"/>
                      <a:pt x="123" y="116"/>
                      <a:pt x="126" y="117"/>
                    </a:cubicBezTo>
                    <a:cubicBezTo>
                      <a:pt x="127" y="117"/>
                      <a:pt x="128" y="118"/>
                      <a:pt x="129" y="118"/>
                    </a:cubicBezTo>
                    <a:cubicBezTo>
                      <a:pt x="130" y="119"/>
                      <a:pt x="130" y="119"/>
                      <a:pt x="131" y="118"/>
                    </a:cubicBezTo>
                    <a:cubicBezTo>
                      <a:pt x="132" y="116"/>
                      <a:pt x="135" y="116"/>
                      <a:pt x="137" y="118"/>
                    </a:cubicBezTo>
                    <a:cubicBezTo>
                      <a:pt x="139" y="120"/>
                      <a:pt x="140" y="122"/>
                      <a:pt x="142" y="124"/>
                    </a:cubicBezTo>
                    <a:cubicBezTo>
                      <a:pt x="144" y="125"/>
                      <a:pt x="146" y="124"/>
                      <a:pt x="147" y="123"/>
                    </a:cubicBezTo>
                    <a:cubicBezTo>
                      <a:pt x="149" y="122"/>
                      <a:pt x="150" y="120"/>
                      <a:pt x="151" y="119"/>
                    </a:cubicBezTo>
                    <a:cubicBezTo>
                      <a:pt x="153" y="116"/>
                      <a:pt x="152" y="114"/>
                      <a:pt x="153" y="111"/>
                    </a:cubicBezTo>
                    <a:cubicBezTo>
                      <a:pt x="154" y="108"/>
                      <a:pt x="156" y="106"/>
                      <a:pt x="157" y="104"/>
                    </a:cubicBezTo>
                    <a:cubicBezTo>
                      <a:pt x="158" y="102"/>
                      <a:pt x="159" y="101"/>
                      <a:pt x="159" y="100"/>
                    </a:cubicBezTo>
                    <a:cubicBezTo>
                      <a:pt x="160" y="98"/>
                      <a:pt x="159" y="97"/>
                      <a:pt x="159" y="96"/>
                    </a:cubicBezTo>
                    <a:cubicBezTo>
                      <a:pt x="160" y="93"/>
                      <a:pt x="162" y="92"/>
                      <a:pt x="164" y="90"/>
                    </a:cubicBezTo>
                    <a:cubicBezTo>
                      <a:pt x="166" y="89"/>
                      <a:pt x="169" y="88"/>
                      <a:pt x="170" y="86"/>
                    </a:cubicBezTo>
                    <a:cubicBezTo>
                      <a:pt x="170" y="83"/>
                      <a:pt x="170" y="81"/>
                      <a:pt x="171" y="79"/>
                    </a:cubicBezTo>
                    <a:cubicBezTo>
                      <a:pt x="172" y="76"/>
                      <a:pt x="173" y="75"/>
                      <a:pt x="175" y="73"/>
                    </a:cubicBezTo>
                    <a:cubicBezTo>
                      <a:pt x="178" y="72"/>
                      <a:pt x="177" y="70"/>
                      <a:pt x="177" y="67"/>
                    </a:cubicBezTo>
                    <a:cubicBezTo>
                      <a:pt x="177" y="66"/>
                      <a:pt x="178" y="64"/>
                      <a:pt x="179" y="64"/>
                    </a:cubicBezTo>
                    <a:cubicBezTo>
                      <a:pt x="180" y="63"/>
                      <a:pt x="181" y="62"/>
                      <a:pt x="181" y="61"/>
                    </a:cubicBezTo>
                    <a:cubicBezTo>
                      <a:pt x="182" y="58"/>
                      <a:pt x="182" y="55"/>
                      <a:pt x="183" y="53"/>
                    </a:cubicBezTo>
                    <a:cubicBezTo>
                      <a:pt x="184" y="50"/>
                      <a:pt x="186" y="48"/>
                      <a:pt x="187" y="46"/>
                    </a:cubicBezTo>
                    <a:cubicBezTo>
                      <a:pt x="191" y="42"/>
                      <a:pt x="198" y="44"/>
                      <a:pt x="200" y="38"/>
                    </a:cubicBezTo>
                    <a:cubicBezTo>
                      <a:pt x="201" y="36"/>
                      <a:pt x="200" y="33"/>
                      <a:pt x="200" y="31"/>
                    </a:cubicBezTo>
                    <a:cubicBezTo>
                      <a:pt x="200" y="29"/>
                      <a:pt x="197" y="29"/>
                      <a:pt x="196" y="27"/>
                    </a:cubicBezTo>
                    <a:cubicBezTo>
                      <a:pt x="194" y="26"/>
                      <a:pt x="193" y="23"/>
                      <a:pt x="193" y="21"/>
                    </a:cubicBezTo>
                    <a:cubicBezTo>
                      <a:pt x="192" y="19"/>
                      <a:pt x="193" y="16"/>
                      <a:pt x="191" y="13"/>
                    </a:cubicBezTo>
                    <a:cubicBezTo>
                      <a:pt x="190" y="11"/>
                      <a:pt x="188" y="10"/>
                      <a:pt x="186" y="7"/>
                    </a:cubicBezTo>
                    <a:cubicBezTo>
                      <a:pt x="186" y="6"/>
                      <a:pt x="185" y="5"/>
                      <a:pt x="185" y="4"/>
                    </a:cubicBezTo>
                    <a:cubicBezTo>
                      <a:pt x="184" y="3"/>
                      <a:pt x="182" y="4"/>
                      <a:pt x="181" y="4"/>
                    </a:cubicBezTo>
                    <a:cubicBezTo>
                      <a:pt x="175" y="5"/>
                      <a:pt x="170" y="8"/>
                      <a:pt x="166" y="12"/>
                    </a:cubicBezTo>
                    <a:cubicBezTo>
                      <a:pt x="162" y="16"/>
                      <a:pt x="155" y="11"/>
                      <a:pt x="151" y="9"/>
                    </a:cubicBezTo>
                    <a:cubicBezTo>
                      <a:pt x="146" y="7"/>
                      <a:pt x="139" y="8"/>
                      <a:pt x="134" y="9"/>
                    </a:cubicBezTo>
                    <a:cubicBezTo>
                      <a:pt x="128" y="10"/>
                      <a:pt x="124" y="14"/>
                      <a:pt x="119" y="16"/>
                    </a:cubicBezTo>
                    <a:cubicBezTo>
                      <a:pt x="113" y="19"/>
                      <a:pt x="107" y="17"/>
                      <a:pt x="102" y="16"/>
                    </a:cubicBezTo>
                    <a:cubicBezTo>
                      <a:pt x="99" y="15"/>
                      <a:pt x="97" y="13"/>
                      <a:pt x="94" y="12"/>
                    </a:cubicBezTo>
                    <a:cubicBezTo>
                      <a:pt x="92" y="11"/>
                      <a:pt x="89" y="10"/>
                      <a:pt x="87" y="10"/>
                    </a:cubicBezTo>
                    <a:cubicBezTo>
                      <a:pt x="85" y="10"/>
                      <a:pt x="83" y="11"/>
                      <a:pt x="81" y="12"/>
                    </a:cubicBezTo>
                    <a:cubicBezTo>
                      <a:pt x="78" y="13"/>
                      <a:pt x="75" y="14"/>
                      <a:pt x="73" y="14"/>
                    </a:cubicBezTo>
                    <a:cubicBezTo>
                      <a:pt x="70" y="13"/>
                      <a:pt x="68" y="12"/>
                      <a:pt x="66" y="10"/>
                    </a:cubicBezTo>
                    <a:cubicBezTo>
                      <a:pt x="64" y="8"/>
                      <a:pt x="62" y="5"/>
                      <a:pt x="59" y="4"/>
                    </a:cubicBezTo>
                    <a:cubicBezTo>
                      <a:pt x="54" y="0"/>
                      <a:pt x="49" y="0"/>
                      <a:pt x="43" y="0"/>
                    </a:cubicBezTo>
                    <a:cubicBezTo>
                      <a:pt x="37" y="1"/>
                      <a:pt x="32" y="2"/>
                      <a:pt x="27" y="5"/>
                    </a:cubicBezTo>
                    <a:cubicBezTo>
                      <a:pt x="24" y="7"/>
                      <a:pt x="25" y="8"/>
                      <a:pt x="24" y="11"/>
                    </a:cubicBezTo>
                    <a:cubicBezTo>
                      <a:pt x="24" y="14"/>
                      <a:pt x="22" y="15"/>
                      <a:pt x="20" y="18"/>
                    </a:cubicBezTo>
                    <a:cubicBezTo>
                      <a:pt x="17" y="22"/>
                      <a:pt x="16" y="28"/>
                      <a:pt x="15" y="34"/>
                    </a:cubicBezTo>
                    <a:cubicBezTo>
                      <a:pt x="15" y="37"/>
                      <a:pt x="15" y="39"/>
                      <a:pt x="15" y="42"/>
                    </a:cubicBezTo>
                    <a:cubicBezTo>
                      <a:pt x="15" y="45"/>
                      <a:pt x="18" y="47"/>
                      <a:pt x="18" y="50"/>
                    </a:cubicBezTo>
                    <a:cubicBezTo>
                      <a:pt x="19" y="55"/>
                      <a:pt x="18" y="61"/>
                      <a:pt x="15" y="65"/>
                    </a:cubicBezTo>
                    <a:cubicBezTo>
                      <a:pt x="14" y="68"/>
                      <a:pt x="12" y="70"/>
                      <a:pt x="10" y="72"/>
                    </a:cubicBezTo>
                    <a:cubicBezTo>
                      <a:pt x="9" y="75"/>
                      <a:pt x="9" y="77"/>
                      <a:pt x="8" y="79"/>
                    </a:cubicBezTo>
                    <a:cubicBezTo>
                      <a:pt x="7" y="81"/>
                      <a:pt x="6" y="83"/>
                      <a:pt x="4" y="84"/>
                    </a:cubicBezTo>
                    <a:cubicBezTo>
                      <a:pt x="1" y="85"/>
                      <a:pt x="0" y="86"/>
                      <a:pt x="0" y="89"/>
                    </a:cubicBezTo>
                    <a:cubicBezTo>
                      <a:pt x="0" y="91"/>
                      <a:pt x="0" y="94"/>
                      <a:pt x="0" y="97"/>
                    </a:cubicBezTo>
                    <a:cubicBezTo>
                      <a:pt x="0" y="100"/>
                      <a:pt x="0" y="103"/>
                      <a:pt x="1" y="107"/>
                    </a:cubicBezTo>
                    <a:cubicBezTo>
                      <a:pt x="1" y="114"/>
                      <a:pt x="0" y="121"/>
                      <a:pt x="1" y="128"/>
                    </a:cubicBezTo>
                    <a:cubicBezTo>
                      <a:pt x="3" y="127"/>
                      <a:pt x="6" y="127"/>
                      <a:pt x="8" y="127"/>
                    </a:cubicBezTo>
                    <a:cubicBezTo>
                      <a:pt x="10" y="127"/>
                      <a:pt x="11" y="126"/>
                      <a:pt x="12" y="125"/>
                    </a:cubicBezTo>
                    <a:cubicBezTo>
                      <a:pt x="13" y="125"/>
                      <a:pt x="15" y="123"/>
                      <a:pt x="16" y="124"/>
                    </a:cubicBezTo>
                    <a:cubicBezTo>
                      <a:pt x="16" y="124"/>
                      <a:pt x="17" y="124"/>
                      <a:pt x="16" y="125"/>
                    </a:cubicBezTo>
                    <a:cubicBezTo>
                      <a:pt x="16" y="125"/>
                      <a:pt x="17" y="126"/>
                      <a:pt x="17" y="126"/>
                    </a:cubicBezTo>
                    <a:cubicBezTo>
                      <a:pt x="17" y="127"/>
                      <a:pt x="19" y="126"/>
                      <a:pt x="19" y="126"/>
                    </a:cubicBezTo>
                    <a:cubicBezTo>
                      <a:pt x="22" y="126"/>
                      <a:pt x="25" y="127"/>
                      <a:pt x="28" y="128"/>
                    </a:cubicBezTo>
                    <a:cubicBezTo>
                      <a:pt x="29" y="128"/>
                      <a:pt x="30" y="129"/>
                      <a:pt x="31" y="130"/>
                    </a:cubicBezTo>
                    <a:cubicBezTo>
                      <a:pt x="32" y="131"/>
                      <a:pt x="33" y="131"/>
                      <a:pt x="34" y="132"/>
                    </a:cubicBezTo>
                    <a:cubicBezTo>
                      <a:pt x="35" y="133"/>
                      <a:pt x="36" y="135"/>
                      <a:pt x="37" y="136"/>
                    </a:cubicBezTo>
                    <a:cubicBezTo>
                      <a:pt x="39" y="137"/>
                      <a:pt x="40" y="138"/>
                      <a:pt x="41" y="136"/>
                    </a:cubicBezTo>
                    <a:cubicBezTo>
                      <a:pt x="43" y="134"/>
                      <a:pt x="41" y="139"/>
                      <a:pt x="42" y="139"/>
                    </a:cubicBezTo>
                    <a:cubicBezTo>
                      <a:pt x="43" y="140"/>
                      <a:pt x="46" y="139"/>
                      <a:pt x="45" y="141"/>
                    </a:cubicBezTo>
                    <a:cubicBezTo>
                      <a:pt x="44" y="142"/>
                      <a:pt x="44" y="142"/>
                      <a:pt x="44" y="143"/>
                    </a:cubicBezTo>
                    <a:cubicBezTo>
                      <a:pt x="43" y="144"/>
                      <a:pt x="46" y="144"/>
                      <a:pt x="46" y="143"/>
                    </a:cubicBezTo>
                    <a:cubicBezTo>
                      <a:pt x="47" y="143"/>
                      <a:pt x="48" y="142"/>
                      <a:pt x="48" y="143"/>
                    </a:cubicBezTo>
                    <a:cubicBezTo>
                      <a:pt x="49" y="143"/>
                      <a:pt x="48" y="144"/>
                      <a:pt x="48" y="145"/>
                    </a:cubicBezTo>
                    <a:cubicBezTo>
                      <a:pt x="48" y="146"/>
                      <a:pt x="47" y="146"/>
                      <a:pt x="46" y="147"/>
                    </a:cubicBezTo>
                    <a:cubicBezTo>
                      <a:pt x="46" y="148"/>
                      <a:pt x="46" y="150"/>
                      <a:pt x="47" y="151"/>
                    </a:cubicBezTo>
                    <a:cubicBezTo>
                      <a:pt x="47" y="152"/>
                      <a:pt x="48" y="154"/>
                      <a:pt x="48" y="155"/>
                    </a:cubicBezTo>
                    <a:cubicBezTo>
                      <a:pt x="48" y="157"/>
                      <a:pt x="48" y="157"/>
                      <a:pt x="49" y="158"/>
                    </a:cubicBezTo>
                    <a:cubicBezTo>
                      <a:pt x="51" y="160"/>
                      <a:pt x="54" y="162"/>
                      <a:pt x="56" y="163"/>
                    </a:cubicBezTo>
                    <a:cubicBezTo>
                      <a:pt x="57" y="163"/>
                      <a:pt x="58" y="162"/>
                      <a:pt x="59" y="162"/>
                    </a:cubicBezTo>
                    <a:cubicBezTo>
                      <a:pt x="61" y="161"/>
                      <a:pt x="61" y="162"/>
                      <a:pt x="62" y="162"/>
                    </a:cubicBezTo>
                    <a:cubicBezTo>
                      <a:pt x="63" y="162"/>
                      <a:pt x="64" y="162"/>
                      <a:pt x="64" y="161"/>
                    </a:cubicBezTo>
                    <a:cubicBezTo>
                      <a:pt x="65" y="160"/>
                      <a:pt x="65" y="160"/>
                      <a:pt x="67" y="159"/>
                    </a:cubicBezTo>
                    <a:cubicBezTo>
                      <a:pt x="67" y="159"/>
                      <a:pt x="69" y="154"/>
                      <a:pt x="70" y="156"/>
                    </a:cubicBezTo>
                    <a:cubicBezTo>
                      <a:pt x="70" y="157"/>
                      <a:pt x="71" y="161"/>
                      <a:pt x="72" y="159"/>
                    </a:cubicBezTo>
                    <a:cubicBezTo>
                      <a:pt x="73" y="158"/>
                      <a:pt x="73" y="157"/>
                      <a:pt x="75" y="157"/>
                    </a:cubicBezTo>
                    <a:cubicBezTo>
                      <a:pt x="76" y="156"/>
                      <a:pt x="76" y="157"/>
                      <a:pt x="77" y="158"/>
                    </a:cubicBezTo>
                    <a:cubicBezTo>
                      <a:pt x="79" y="161"/>
                      <a:pt x="79" y="157"/>
                      <a:pt x="81" y="157"/>
                    </a:cubicBezTo>
                    <a:cubicBezTo>
                      <a:pt x="82" y="157"/>
                      <a:pt x="83" y="158"/>
                      <a:pt x="84" y="158"/>
                    </a:cubicBezTo>
                    <a:cubicBezTo>
                      <a:pt x="85" y="159"/>
                      <a:pt x="87" y="159"/>
                      <a:pt x="88" y="159"/>
                    </a:cubicBezTo>
                    <a:cubicBezTo>
                      <a:pt x="90" y="159"/>
                      <a:pt x="95" y="159"/>
                      <a:pt x="94" y="156"/>
                    </a:cubicBezTo>
                    <a:cubicBezTo>
                      <a:pt x="93" y="155"/>
                      <a:pt x="90" y="152"/>
                      <a:pt x="93" y="152"/>
                    </a:cubicBezTo>
                    <a:cubicBezTo>
                      <a:pt x="94" y="152"/>
                      <a:pt x="96" y="152"/>
                      <a:pt x="96" y="153"/>
                    </a:cubicBezTo>
                    <a:cubicBezTo>
                      <a:pt x="97" y="154"/>
                      <a:pt x="97" y="154"/>
                      <a:pt x="98" y="155"/>
                    </a:cubicBezTo>
                    <a:cubicBezTo>
                      <a:pt x="98" y="156"/>
                      <a:pt x="98" y="156"/>
                      <a:pt x="99" y="155"/>
                    </a:cubicBezTo>
                    <a:cubicBezTo>
                      <a:pt x="99" y="155"/>
                      <a:pt x="99" y="155"/>
                      <a:pt x="99" y="156"/>
                    </a:cubicBezTo>
                    <a:cubicBezTo>
                      <a:pt x="101" y="152"/>
                      <a:pt x="99" y="156"/>
                      <a:pt x="99" y="156"/>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00" name="Freeform 494">
                <a:extLst>
                  <a:ext uri="{FF2B5EF4-FFF2-40B4-BE49-F238E27FC236}">
                    <a16:creationId xmlns:a16="http://schemas.microsoft.com/office/drawing/2014/main" id="{FA211717-4045-5353-84B5-877C3CA32543}"/>
                  </a:ext>
                </a:extLst>
              </p:cNvPr>
              <p:cNvSpPr/>
              <p:nvPr>
                <p:custDataLst>
                  <p:tags r:id="rId238"/>
                </p:custDataLst>
              </p:nvPr>
            </p:nvSpPr>
            <p:spPr bwMode="auto">
              <a:xfrm>
                <a:off x="5488377" y="4094292"/>
                <a:ext cx="75257" cy="153066"/>
              </a:xfrm>
              <a:custGeom>
                <a:avLst/>
                <a:gdLst>
                  <a:gd name="T0" fmla="*/ 35 w 51"/>
                  <a:gd name="T1" fmla="*/ 56 h 103"/>
                  <a:gd name="T2" fmla="*/ 40 w 51"/>
                  <a:gd name="T3" fmla="*/ 49 h 103"/>
                  <a:gd name="T4" fmla="*/ 45 w 51"/>
                  <a:gd name="T5" fmla="*/ 40 h 103"/>
                  <a:gd name="T6" fmla="*/ 49 w 51"/>
                  <a:gd name="T7" fmla="*/ 23 h 103"/>
                  <a:gd name="T8" fmla="*/ 46 w 51"/>
                  <a:gd name="T9" fmla="*/ 19 h 103"/>
                  <a:gd name="T10" fmla="*/ 46 w 51"/>
                  <a:gd name="T11" fmla="*/ 14 h 103"/>
                  <a:gd name="T12" fmla="*/ 45 w 51"/>
                  <a:gd name="T13" fmla="*/ 10 h 103"/>
                  <a:gd name="T14" fmla="*/ 42 w 51"/>
                  <a:gd name="T15" fmla="*/ 7 h 103"/>
                  <a:gd name="T16" fmla="*/ 37 w 51"/>
                  <a:gd name="T17" fmla="*/ 3 h 103"/>
                  <a:gd name="T18" fmla="*/ 33 w 51"/>
                  <a:gd name="T19" fmla="*/ 0 h 103"/>
                  <a:gd name="T20" fmla="*/ 30 w 51"/>
                  <a:gd name="T21" fmla="*/ 1 h 103"/>
                  <a:gd name="T22" fmla="*/ 25 w 51"/>
                  <a:gd name="T23" fmla="*/ 4 h 103"/>
                  <a:gd name="T24" fmla="*/ 27 w 51"/>
                  <a:gd name="T25" fmla="*/ 10 h 103"/>
                  <a:gd name="T26" fmla="*/ 24 w 51"/>
                  <a:gd name="T27" fmla="*/ 13 h 103"/>
                  <a:gd name="T28" fmla="*/ 22 w 51"/>
                  <a:gd name="T29" fmla="*/ 15 h 103"/>
                  <a:gd name="T30" fmla="*/ 15 w 51"/>
                  <a:gd name="T31" fmla="*/ 16 h 103"/>
                  <a:gd name="T32" fmla="*/ 8 w 51"/>
                  <a:gd name="T33" fmla="*/ 18 h 103"/>
                  <a:gd name="T34" fmla="*/ 3 w 51"/>
                  <a:gd name="T35" fmla="*/ 24 h 103"/>
                  <a:gd name="T36" fmla="*/ 1 w 51"/>
                  <a:gd name="T37" fmla="*/ 31 h 103"/>
                  <a:gd name="T38" fmla="*/ 10 w 51"/>
                  <a:gd name="T39" fmla="*/ 39 h 103"/>
                  <a:gd name="T40" fmla="*/ 11 w 51"/>
                  <a:gd name="T41" fmla="*/ 47 h 103"/>
                  <a:gd name="T42" fmla="*/ 11 w 51"/>
                  <a:gd name="T43" fmla="*/ 51 h 103"/>
                  <a:gd name="T44" fmla="*/ 13 w 51"/>
                  <a:gd name="T45" fmla="*/ 54 h 103"/>
                  <a:gd name="T46" fmla="*/ 15 w 51"/>
                  <a:gd name="T47" fmla="*/ 70 h 103"/>
                  <a:gd name="T48" fmla="*/ 15 w 51"/>
                  <a:gd name="T49" fmla="*/ 88 h 103"/>
                  <a:gd name="T50" fmla="*/ 14 w 51"/>
                  <a:gd name="T51" fmla="*/ 97 h 103"/>
                  <a:gd name="T52" fmla="*/ 18 w 51"/>
                  <a:gd name="T53" fmla="*/ 103 h 103"/>
                  <a:gd name="T54" fmla="*/ 25 w 51"/>
                  <a:gd name="T55" fmla="*/ 103 h 103"/>
                  <a:gd name="T56" fmla="*/ 28 w 51"/>
                  <a:gd name="T57" fmla="*/ 103 h 103"/>
                  <a:gd name="T58" fmla="*/ 30 w 51"/>
                  <a:gd name="T59" fmla="*/ 102 h 103"/>
                  <a:gd name="T60" fmla="*/ 32 w 51"/>
                  <a:gd name="T61" fmla="*/ 101 h 103"/>
                  <a:gd name="T62" fmla="*/ 31 w 51"/>
                  <a:gd name="T63" fmla="*/ 83 h 103"/>
                  <a:gd name="T64" fmla="*/ 31 w 51"/>
                  <a:gd name="T65" fmla="*/ 75 h 103"/>
                  <a:gd name="T66" fmla="*/ 31 w 51"/>
                  <a:gd name="T67" fmla="*/ 67 h 103"/>
                  <a:gd name="T68" fmla="*/ 32 w 51"/>
                  <a:gd name="T69" fmla="*/ 59 h 103"/>
                  <a:gd name="T70" fmla="*/ 34 w 51"/>
                  <a:gd name="T71" fmla="*/ 57 h 103"/>
                  <a:gd name="T72" fmla="*/ 35 w 51"/>
                  <a:gd name="T73" fmla="*/ 56 h 103"/>
                  <a:gd name="T74" fmla="*/ 35 w 51"/>
                  <a:gd name="T75" fmla="*/ 5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103">
                    <a:moveTo>
                      <a:pt x="35" y="56"/>
                    </a:moveTo>
                    <a:cubicBezTo>
                      <a:pt x="38" y="55"/>
                      <a:pt x="39" y="51"/>
                      <a:pt x="40" y="49"/>
                    </a:cubicBezTo>
                    <a:cubicBezTo>
                      <a:pt x="41" y="46"/>
                      <a:pt x="43" y="43"/>
                      <a:pt x="45" y="40"/>
                    </a:cubicBezTo>
                    <a:cubicBezTo>
                      <a:pt x="49" y="35"/>
                      <a:pt x="51" y="28"/>
                      <a:pt x="49" y="23"/>
                    </a:cubicBezTo>
                    <a:cubicBezTo>
                      <a:pt x="48" y="21"/>
                      <a:pt x="47" y="20"/>
                      <a:pt x="46" y="19"/>
                    </a:cubicBezTo>
                    <a:cubicBezTo>
                      <a:pt x="46" y="17"/>
                      <a:pt x="46" y="16"/>
                      <a:pt x="46" y="14"/>
                    </a:cubicBezTo>
                    <a:cubicBezTo>
                      <a:pt x="46" y="13"/>
                      <a:pt x="46" y="11"/>
                      <a:pt x="45" y="10"/>
                    </a:cubicBezTo>
                    <a:cubicBezTo>
                      <a:pt x="44" y="9"/>
                      <a:pt x="43" y="8"/>
                      <a:pt x="42" y="7"/>
                    </a:cubicBezTo>
                    <a:cubicBezTo>
                      <a:pt x="40" y="6"/>
                      <a:pt x="39" y="4"/>
                      <a:pt x="37" y="3"/>
                    </a:cubicBezTo>
                    <a:cubicBezTo>
                      <a:pt x="36" y="2"/>
                      <a:pt x="35" y="0"/>
                      <a:pt x="33" y="0"/>
                    </a:cubicBezTo>
                    <a:cubicBezTo>
                      <a:pt x="32" y="0"/>
                      <a:pt x="31" y="1"/>
                      <a:pt x="30" y="1"/>
                    </a:cubicBezTo>
                    <a:cubicBezTo>
                      <a:pt x="28" y="2"/>
                      <a:pt x="26" y="3"/>
                      <a:pt x="25" y="4"/>
                    </a:cubicBezTo>
                    <a:cubicBezTo>
                      <a:pt x="26" y="6"/>
                      <a:pt x="28" y="8"/>
                      <a:pt x="27" y="10"/>
                    </a:cubicBezTo>
                    <a:cubicBezTo>
                      <a:pt x="26" y="11"/>
                      <a:pt x="25" y="12"/>
                      <a:pt x="24" y="13"/>
                    </a:cubicBezTo>
                    <a:cubicBezTo>
                      <a:pt x="24" y="13"/>
                      <a:pt x="23" y="14"/>
                      <a:pt x="22" y="15"/>
                    </a:cubicBezTo>
                    <a:cubicBezTo>
                      <a:pt x="21" y="17"/>
                      <a:pt x="17" y="16"/>
                      <a:pt x="15" y="16"/>
                    </a:cubicBezTo>
                    <a:cubicBezTo>
                      <a:pt x="13" y="16"/>
                      <a:pt x="10" y="16"/>
                      <a:pt x="8" y="18"/>
                    </a:cubicBezTo>
                    <a:cubicBezTo>
                      <a:pt x="6" y="20"/>
                      <a:pt x="4" y="22"/>
                      <a:pt x="3" y="24"/>
                    </a:cubicBezTo>
                    <a:cubicBezTo>
                      <a:pt x="2" y="26"/>
                      <a:pt x="0" y="28"/>
                      <a:pt x="1" y="31"/>
                    </a:cubicBezTo>
                    <a:cubicBezTo>
                      <a:pt x="2" y="35"/>
                      <a:pt x="8" y="36"/>
                      <a:pt x="10" y="39"/>
                    </a:cubicBezTo>
                    <a:cubicBezTo>
                      <a:pt x="11" y="41"/>
                      <a:pt x="10" y="45"/>
                      <a:pt x="11" y="47"/>
                    </a:cubicBezTo>
                    <a:cubicBezTo>
                      <a:pt x="11" y="49"/>
                      <a:pt x="11" y="50"/>
                      <a:pt x="11" y="51"/>
                    </a:cubicBezTo>
                    <a:cubicBezTo>
                      <a:pt x="12" y="52"/>
                      <a:pt x="13" y="53"/>
                      <a:pt x="13" y="54"/>
                    </a:cubicBezTo>
                    <a:cubicBezTo>
                      <a:pt x="16" y="59"/>
                      <a:pt x="15" y="65"/>
                      <a:pt x="15" y="70"/>
                    </a:cubicBezTo>
                    <a:cubicBezTo>
                      <a:pt x="16" y="76"/>
                      <a:pt x="16" y="82"/>
                      <a:pt x="15" y="88"/>
                    </a:cubicBezTo>
                    <a:cubicBezTo>
                      <a:pt x="14" y="91"/>
                      <a:pt x="14" y="94"/>
                      <a:pt x="14" y="97"/>
                    </a:cubicBezTo>
                    <a:cubicBezTo>
                      <a:pt x="15" y="99"/>
                      <a:pt x="18" y="100"/>
                      <a:pt x="18" y="103"/>
                    </a:cubicBezTo>
                    <a:cubicBezTo>
                      <a:pt x="20" y="102"/>
                      <a:pt x="22" y="103"/>
                      <a:pt x="25" y="103"/>
                    </a:cubicBezTo>
                    <a:cubicBezTo>
                      <a:pt x="26" y="103"/>
                      <a:pt x="27" y="103"/>
                      <a:pt x="28" y="103"/>
                    </a:cubicBezTo>
                    <a:cubicBezTo>
                      <a:pt x="29" y="103"/>
                      <a:pt x="30" y="102"/>
                      <a:pt x="30" y="102"/>
                    </a:cubicBezTo>
                    <a:cubicBezTo>
                      <a:pt x="31" y="102"/>
                      <a:pt x="32" y="103"/>
                      <a:pt x="32" y="101"/>
                    </a:cubicBezTo>
                    <a:cubicBezTo>
                      <a:pt x="31" y="95"/>
                      <a:pt x="31" y="89"/>
                      <a:pt x="31" y="83"/>
                    </a:cubicBezTo>
                    <a:cubicBezTo>
                      <a:pt x="31" y="81"/>
                      <a:pt x="31" y="78"/>
                      <a:pt x="31" y="75"/>
                    </a:cubicBezTo>
                    <a:cubicBezTo>
                      <a:pt x="31" y="72"/>
                      <a:pt x="31" y="69"/>
                      <a:pt x="31" y="67"/>
                    </a:cubicBezTo>
                    <a:cubicBezTo>
                      <a:pt x="31" y="64"/>
                      <a:pt x="31" y="62"/>
                      <a:pt x="32" y="59"/>
                    </a:cubicBezTo>
                    <a:cubicBezTo>
                      <a:pt x="32" y="58"/>
                      <a:pt x="33" y="57"/>
                      <a:pt x="34" y="57"/>
                    </a:cubicBezTo>
                    <a:cubicBezTo>
                      <a:pt x="34" y="57"/>
                      <a:pt x="35" y="56"/>
                      <a:pt x="35" y="56"/>
                    </a:cubicBezTo>
                    <a:cubicBezTo>
                      <a:pt x="36" y="56"/>
                      <a:pt x="35" y="56"/>
                      <a:pt x="35" y="56"/>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01" name="Freeform 510">
                <a:extLst>
                  <a:ext uri="{FF2B5EF4-FFF2-40B4-BE49-F238E27FC236}">
                    <a16:creationId xmlns:a16="http://schemas.microsoft.com/office/drawing/2014/main" id="{08FBCB14-6EC2-F089-DC45-4EE4F7CCE997}"/>
                  </a:ext>
                </a:extLst>
              </p:cNvPr>
              <p:cNvSpPr/>
              <p:nvPr>
                <p:custDataLst>
                  <p:tags r:id="rId239"/>
                </p:custDataLst>
              </p:nvPr>
            </p:nvSpPr>
            <p:spPr bwMode="auto">
              <a:xfrm>
                <a:off x="6608308" y="4729515"/>
                <a:ext cx="5102" cy="10205"/>
              </a:xfrm>
              <a:custGeom>
                <a:avLst/>
                <a:gdLst>
                  <a:gd name="T0" fmla="*/ 2 w 4"/>
                  <a:gd name="T1" fmla="*/ 6 h 7"/>
                  <a:gd name="T2" fmla="*/ 3 w 4"/>
                  <a:gd name="T3" fmla="*/ 5 h 7"/>
                  <a:gd name="T4" fmla="*/ 2 w 4"/>
                  <a:gd name="T5" fmla="*/ 1 h 7"/>
                  <a:gd name="T6" fmla="*/ 0 w 4"/>
                  <a:gd name="T7" fmla="*/ 3 h 7"/>
                  <a:gd name="T8" fmla="*/ 1 w 4"/>
                  <a:gd name="T9" fmla="*/ 5 h 7"/>
                  <a:gd name="T10" fmla="*/ 2 w 4"/>
                  <a:gd name="T11" fmla="*/ 6 h 7"/>
                  <a:gd name="T12" fmla="*/ 2 w 4"/>
                  <a:gd name="T13" fmla="*/ 6 h 7"/>
                  <a:gd name="T14" fmla="*/ 2 w 4"/>
                  <a:gd name="T15" fmla="*/ 6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2" y="6"/>
                    </a:moveTo>
                    <a:cubicBezTo>
                      <a:pt x="2" y="7"/>
                      <a:pt x="3" y="7"/>
                      <a:pt x="3" y="5"/>
                    </a:cubicBezTo>
                    <a:cubicBezTo>
                      <a:pt x="4" y="4"/>
                      <a:pt x="4" y="2"/>
                      <a:pt x="2" y="1"/>
                    </a:cubicBezTo>
                    <a:cubicBezTo>
                      <a:pt x="1" y="0"/>
                      <a:pt x="0" y="1"/>
                      <a:pt x="0" y="3"/>
                    </a:cubicBezTo>
                    <a:cubicBezTo>
                      <a:pt x="0" y="4"/>
                      <a:pt x="1" y="4"/>
                      <a:pt x="1" y="5"/>
                    </a:cubicBezTo>
                    <a:cubicBezTo>
                      <a:pt x="2" y="5"/>
                      <a:pt x="2" y="6"/>
                      <a:pt x="2" y="6"/>
                    </a:cubicBezTo>
                    <a:cubicBezTo>
                      <a:pt x="2" y="6"/>
                      <a:pt x="2" y="6"/>
                      <a:pt x="2" y="6"/>
                    </a:cubicBezTo>
                    <a:cubicBezTo>
                      <a:pt x="2" y="6"/>
                      <a:pt x="2" y="6"/>
                      <a:pt x="2" y="6"/>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02" name="Freeform 511">
                <a:extLst>
                  <a:ext uri="{FF2B5EF4-FFF2-40B4-BE49-F238E27FC236}">
                    <a16:creationId xmlns:a16="http://schemas.microsoft.com/office/drawing/2014/main" id="{947A8776-BA7C-DFAF-DDBD-FE2FFD43BBA2}"/>
                  </a:ext>
                </a:extLst>
              </p:cNvPr>
              <p:cNvSpPr/>
              <p:nvPr>
                <p:custDataLst>
                  <p:tags r:id="rId240"/>
                </p:custDataLst>
              </p:nvPr>
            </p:nvSpPr>
            <p:spPr bwMode="auto">
              <a:xfrm>
                <a:off x="6756271" y="4637675"/>
                <a:ext cx="7653" cy="8929"/>
              </a:xfrm>
              <a:custGeom>
                <a:avLst/>
                <a:gdLst>
                  <a:gd name="T0" fmla="*/ 4 w 5"/>
                  <a:gd name="T1" fmla="*/ 1 h 6"/>
                  <a:gd name="T2" fmla="*/ 1 w 5"/>
                  <a:gd name="T3" fmla="*/ 3 h 6"/>
                  <a:gd name="T4" fmla="*/ 1 w 5"/>
                  <a:gd name="T5" fmla="*/ 5 h 6"/>
                  <a:gd name="T6" fmla="*/ 4 w 5"/>
                  <a:gd name="T7" fmla="*/ 1 h 6"/>
                  <a:gd name="T8" fmla="*/ 4 w 5"/>
                  <a:gd name="T9" fmla="*/ 1 h 6"/>
                  <a:gd name="T10" fmla="*/ 4 w 5"/>
                  <a:gd name="T11" fmla="*/ 1 h 6"/>
                </a:gdLst>
                <a:ahLst/>
                <a:cxnLst>
                  <a:cxn ang="0">
                    <a:pos x="T0" y="T1"/>
                  </a:cxn>
                  <a:cxn ang="0">
                    <a:pos x="T2" y="T3"/>
                  </a:cxn>
                  <a:cxn ang="0">
                    <a:pos x="T4" y="T5"/>
                  </a:cxn>
                  <a:cxn ang="0">
                    <a:pos x="T6" y="T7"/>
                  </a:cxn>
                  <a:cxn ang="0">
                    <a:pos x="T8" y="T9"/>
                  </a:cxn>
                  <a:cxn ang="0">
                    <a:pos x="T10" y="T11"/>
                  </a:cxn>
                </a:cxnLst>
                <a:rect l="0" t="0" r="r" b="b"/>
                <a:pathLst>
                  <a:path w="5" h="6">
                    <a:moveTo>
                      <a:pt x="4" y="1"/>
                    </a:moveTo>
                    <a:cubicBezTo>
                      <a:pt x="2" y="0"/>
                      <a:pt x="2" y="2"/>
                      <a:pt x="1" y="3"/>
                    </a:cubicBezTo>
                    <a:cubicBezTo>
                      <a:pt x="0" y="4"/>
                      <a:pt x="0" y="5"/>
                      <a:pt x="1" y="5"/>
                    </a:cubicBezTo>
                    <a:cubicBezTo>
                      <a:pt x="3" y="6"/>
                      <a:pt x="5" y="2"/>
                      <a:pt x="4" y="1"/>
                    </a:cubicBezTo>
                    <a:cubicBezTo>
                      <a:pt x="4" y="1"/>
                      <a:pt x="4" y="1"/>
                      <a:pt x="4" y="1"/>
                    </a:cubicBezTo>
                    <a:cubicBezTo>
                      <a:pt x="3" y="0"/>
                      <a:pt x="4" y="1"/>
                      <a:pt x="4" y="1"/>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03" name="Freeform 512">
                <a:extLst>
                  <a:ext uri="{FF2B5EF4-FFF2-40B4-BE49-F238E27FC236}">
                    <a16:creationId xmlns:a16="http://schemas.microsoft.com/office/drawing/2014/main" id="{3EE8FB22-27CC-F72F-D72B-7F39AEF87964}"/>
                  </a:ext>
                </a:extLst>
              </p:cNvPr>
              <p:cNvSpPr/>
              <p:nvPr>
                <p:custDataLst>
                  <p:tags r:id="rId241"/>
                </p:custDataLst>
              </p:nvPr>
            </p:nvSpPr>
            <p:spPr bwMode="auto">
              <a:xfrm>
                <a:off x="6666982" y="4647880"/>
                <a:ext cx="7653" cy="7653"/>
              </a:xfrm>
              <a:custGeom>
                <a:avLst/>
                <a:gdLst>
                  <a:gd name="T0" fmla="*/ 4 w 5"/>
                  <a:gd name="T1" fmla="*/ 4 h 5"/>
                  <a:gd name="T2" fmla="*/ 1 w 5"/>
                  <a:gd name="T3" fmla="*/ 2 h 5"/>
                  <a:gd name="T4" fmla="*/ 1 w 5"/>
                  <a:gd name="T5" fmla="*/ 5 h 5"/>
                  <a:gd name="T6" fmla="*/ 5 w 5"/>
                  <a:gd name="T7" fmla="*/ 3 h 5"/>
                  <a:gd name="T8" fmla="*/ 4 w 5"/>
                  <a:gd name="T9" fmla="*/ 4 h 5"/>
                  <a:gd name="T10" fmla="*/ 4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4" y="4"/>
                    </a:moveTo>
                    <a:cubicBezTo>
                      <a:pt x="5" y="3"/>
                      <a:pt x="1" y="0"/>
                      <a:pt x="1" y="2"/>
                    </a:cubicBezTo>
                    <a:cubicBezTo>
                      <a:pt x="0" y="2"/>
                      <a:pt x="0" y="4"/>
                      <a:pt x="1" y="5"/>
                    </a:cubicBezTo>
                    <a:cubicBezTo>
                      <a:pt x="2" y="5"/>
                      <a:pt x="4" y="4"/>
                      <a:pt x="5" y="3"/>
                    </a:cubicBezTo>
                    <a:cubicBezTo>
                      <a:pt x="5" y="3"/>
                      <a:pt x="5" y="4"/>
                      <a:pt x="4" y="4"/>
                    </a:cubicBezTo>
                    <a:cubicBezTo>
                      <a:pt x="5" y="3"/>
                      <a:pt x="4" y="4"/>
                      <a:pt x="4" y="4"/>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04" name="Freeform 513">
                <a:extLst>
                  <a:ext uri="{FF2B5EF4-FFF2-40B4-BE49-F238E27FC236}">
                    <a16:creationId xmlns:a16="http://schemas.microsoft.com/office/drawing/2014/main" id="{94424557-2F0E-6249-3195-BF3D72FF91AE}"/>
                  </a:ext>
                </a:extLst>
              </p:cNvPr>
              <p:cNvSpPr/>
              <p:nvPr>
                <p:custDataLst>
                  <p:tags r:id="rId242"/>
                </p:custDataLst>
              </p:nvPr>
            </p:nvSpPr>
            <p:spPr bwMode="auto">
              <a:xfrm>
                <a:off x="6635094" y="4642777"/>
                <a:ext cx="14031" cy="8929"/>
              </a:xfrm>
              <a:custGeom>
                <a:avLst/>
                <a:gdLst>
                  <a:gd name="T0" fmla="*/ 7 w 10"/>
                  <a:gd name="T1" fmla="*/ 4 h 6"/>
                  <a:gd name="T2" fmla="*/ 10 w 10"/>
                  <a:gd name="T3" fmla="*/ 1 h 6"/>
                  <a:gd name="T4" fmla="*/ 6 w 10"/>
                  <a:gd name="T5" fmla="*/ 1 h 6"/>
                  <a:gd name="T6" fmla="*/ 4 w 10"/>
                  <a:gd name="T7" fmla="*/ 2 h 6"/>
                  <a:gd name="T8" fmla="*/ 3 w 10"/>
                  <a:gd name="T9" fmla="*/ 6 h 6"/>
                  <a:gd name="T10" fmla="*/ 7 w 10"/>
                  <a:gd name="T11" fmla="*/ 4 h 6"/>
                  <a:gd name="T12" fmla="*/ 7 w 10"/>
                  <a:gd name="T13" fmla="*/ 4 h 6"/>
                  <a:gd name="T14" fmla="*/ 7 w 10"/>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7" y="4"/>
                    </a:moveTo>
                    <a:cubicBezTo>
                      <a:pt x="7" y="4"/>
                      <a:pt x="10" y="2"/>
                      <a:pt x="10" y="1"/>
                    </a:cubicBezTo>
                    <a:cubicBezTo>
                      <a:pt x="9" y="0"/>
                      <a:pt x="7" y="1"/>
                      <a:pt x="6" y="1"/>
                    </a:cubicBezTo>
                    <a:cubicBezTo>
                      <a:pt x="5" y="1"/>
                      <a:pt x="4" y="1"/>
                      <a:pt x="4" y="2"/>
                    </a:cubicBezTo>
                    <a:cubicBezTo>
                      <a:pt x="3" y="3"/>
                      <a:pt x="0" y="6"/>
                      <a:pt x="3" y="6"/>
                    </a:cubicBezTo>
                    <a:cubicBezTo>
                      <a:pt x="4" y="6"/>
                      <a:pt x="6" y="4"/>
                      <a:pt x="7" y="4"/>
                    </a:cubicBezTo>
                    <a:cubicBezTo>
                      <a:pt x="7" y="4"/>
                      <a:pt x="7" y="4"/>
                      <a:pt x="7" y="4"/>
                    </a:cubicBezTo>
                    <a:cubicBezTo>
                      <a:pt x="7" y="4"/>
                      <a:pt x="7" y="4"/>
                      <a:pt x="7" y="4"/>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05" name="Freeform 514">
                <a:extLst>
                  <a:ext uri="{FF2B5EF4-FFF2-40B4-BE49-F238E27FC236}">
                    <a16:creationId xmlns:a16="http://schemas.microsoft.com/office/drawing/2014/main" id="{124E8491-8775-E81A-769C-A90E11DE3428}"/>
                  </a:ext>
                </a:extLst>
              </p:cNvPr>
              <p:cNvSpPr/>
              <p:nvPr>
                <p:custDataLst>
                  <p:tags r:id="rId243"/>
                </p:custDataLst>
              </p:nvPr>
            </p:nvSpPr>
            <p:spPr bwMode="auto">
              <a:xfrm>
                <a:off x="6760098" y="4660635"/>
                <a:ext cx="5102" cy="8929"/>
              </a:xfrm>
              <a:custGeom>
                <a:avLst/>
                <a:gdLst>
                  <a:gd name="T0" fmla="*/ 2 w 4"/>
                  <a:gd name="T1" fmla="*/ 2 h 6"/>
                  <a:gd name="T2" fmla="*/ 2 w 4"/>
                  <a:gd name="T3" fmla="*/ 5 h 6"/>
                  <a:gd name="T4" fmla="*/ 4 w 4"/>
                  <a:gd name="T5" fmla="*/ 5 h 6"/>
                  <a:gd name="T6" fmla="*/ 1 w 4"/>
                  <a:gd name="T7" fmla="*/ 3 h 6"/>
                  <a:gd name="T8" fmla="*/ 2 w 4"/>
                  <a:gd name="T9" fmla="*/ 2 h 6"/>
                  <a:gd name="T10" fmla="*/ 2 w 4"/>
                  <a:gd name="T11" fmla="*/ 2 h 6"/>
                </a:gdLst>
                <a:ahLst/>
                <a:cxnLst>
                  <a:cxn ang="0">
                    <a:pos x="T0" y="T1"/>
                  </a:cxn>
                  <a:cxn ang="0">
                    <a:pos x="T2" y="T3"/>
                  </a:cxn>
                  <a:cxn ang="0">
                    <a:pos x="T4" y="T5"/>
                  </a:cxn>
                  <a:cxn ang="0">
                    <a:pos x="T6" y="T7"/>
                  </a:cxn>
                  <a:cxn ang="0">
                    <a:pos x="T8" y="T9"/>
                  </a:cxn>
                  <a:cxn ang="0">
                    <a:pos x="T10" y="T11"/>
                  </a:cxn>
                </a:cxnLst>
                <a:rect l="0" t="0" r="r" b="b"/>
                <a:pathLst>
                  <a:path w="4" h="6">
                    <a:moveTo>
                      <a:pt x="2" y="2"/>
                    </a:moveTo>
                    <a:cubicBezTo>
                      <a:pt x="1" y="4"/>
                      <a:pt x="0" y="4"/>
                      <a:pt x="2" y="5"/>
                    </a:cubicBezTo>
                    <a:cubicBezTo>
                      <a:pt x="2" y="5"/>
                      <a:pt x="4" y="6"/>
                      <a:pt x="4" y="5"/>
                    </a:cubicBezTo>
                    <a:cubicBezTo>
                      <a:pt x="4" y="3"/>
                      <a:pt x="2" y="0"/>
                      <a:pt x="1" y="3"/>
                    </a:cubicBezTo>
                    <a:cubicBezTo>
                      <a:pt x="1" y="3"/>
                      <a:pt x="1" y="2"/>
                      <a:pt x="2" y="2"/>
                    </a:cubicBezTo>
                    <a:cubicBezTo>
                      <a:pt x="1" y="3"/>
                      <a:pt x="2" y="2"/>
                      <a:pt x="2" y="2"/>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06" name="Freeform 517">
                <a:extLst>
                  <a:ext uri="{FF2B5EF4-FFF2-40B4-BE49-F238E27FC236}">
                    <a16:creationId xmlns:a16="http://schemas.microsoft.com/office/drawing/2014/main" id="{E808C0B0-DAA5-5826-5847-0DFB48B05C35}"/>
                  </a:ext>
                </a:extLst>
              </p:cNvPr>
              <p:cNvSpPr/>
              <p:nvPr>
                <p:custDataLst>
                  <p:tags r:id="rId244"/>
                </p:custDataLst>
              </p:nvPr>
            </p:nvSpPr>
            <p:spPr bwMode="auto">
              <a:xfrm>
                <a:off x="6799640" y="4581551"/>
                <a:ext cx="6377" cy="6378"/>
              </a:xfrm>
              <a:custGeom>
                <a:avLst/>
                <a:gdLst>
                  <a:gd name="T0" fmla="*/ 0 w 4"/>
                  <a:gd name="T1" fmla="*/ 2 h 4"/>
                  <a:gd name="T2" fmla="*/ 4 w 4"/>
                  <a:gd name="T3" fmla="*/ 2 h 4"/>
                  <a:gd name="T4" fmla="*/ 2 w 4"/>
                  <a:gd name="T5" fmla="*/ 0 h 4"/>
                  <a:gd name="T6" fmla="*/ 0 w 4"/>
                  <a:gd name="T7" fmla="*/ 2 h 4"/>
                  <a:gd name="T8" fmla="*/ 0 w 4"/>
                  <a:gd name="T9" fmla="*/ 2 h 4"/>
                  <a:gd name="T10" fmla="*/ 0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0" y="2"/>
                    </a:moveTo>
                    <a:cubicBezTo>
                      <a:pt x="0" y="4"/>
                      <a:pt x="4" y="4"/>
                      <a:pt x="4" y="2"/>
                    </a:cubicBezTo>
                    <a:cubicBezTo>
                      <a:pt x="4" y="1"/>
                      <a:pt x="3" y="0"/>
                      <a:pt x="2" y="0"/>
                    </a:cubicBezTo>
                    <a:cubicBezTo>
                      <a:pt x="1" y="0"/>
                      <a:pt x="1" y="1"/>
                      <a:pt x="0" y="2"/>
                    </a:cubicBezTo>
                    <a:cubicBezTo>
                      <a:pt x="0" y="2"/>
                      <a:pt x="0" y="2"/>
                      <a:pt x="0" y="2"/>
                    </a:cubicBezTo>
                    <a:cubicBezTo>
                      <a:pt x="0" y="4"/>
                      <a:pt x="0" y="2"/>
                      <a:pt x="0" y="2"/>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07" name="Freeform 528">
                <a:extLst>
                  <a:ext uri="{FF2B5EF4-FFF2-40B4-BE49-F238E27FC236}">
                    <a16:creationId xmlns:a16="http://schemas.microsoft.com/office/drawing/2014/main" id="{041622D6-A039-3780-B181-2DB33E077B39}"/>
                  </a:ext>
                </a:extLst>
              </p:cNvPr>
              <p:cNvSpPr/>
              <p:nvPr>
                <p:custDataLst>
                  <p:tags r:id="rId245"/>
                </p:custDataLst>
              </p:nvPr>
            </p:nvSpPr>
            <p:spPr bwMode="auto">
              <a:xfrm>
                <a:off x="4845501" y="2408018"/>
                <a:ext cx="279345" cy="130106"/>
              </a:xfrm>
              <a:custGeom>
                <a:avLst/>
                <a:gdLst>
                  <a:gd name="T0" fmla="*/ 152 w 188"/>
                  <a:gd name="T1" fmla="*/ 64 h 87"/>
                  <a:gd name="T2" fmla="*/ 164 w 188"/>
                  <a:gd name="T3" fmla="*/ 62 h 87"/>
                  <a:gd name="T4" fmla="*/ 172 w 188"/>
                  <a:gd name="T5" fmla="*/ 52 h 87"/>
                  <a:gd name="T6" fmla="*/ 179 w 188"/>
                  <a:gd name="T7" fmla="*/ 50 h 87"/>
                  <a:gd name="T8" fmla="*/ 177 w 188"/>
                  <a:gd name="T9" fmla="*/ 43 h 87"/>
                  <a:gd name="T10" fmla="*/ 185 w 188"/>
                  <a:gd name="T11" fmla="*/ 41 h 87"/>
                  <a:gd name="T12" fmla="*/ 183 w 188"/>
                  <a:gd name="T13" fmla="*/ 29 h 87"/>
                  <a:gd name="T14" fmla="*/ 170 w 188"/>
                  <a:gd name="T15" fmla="*/ 28 h 87"/>
                  <a:gd name="T16" fmla="*/ 165 w 188"/>
                  <a:gd name="T17" fmla="*/ 22 h 87"/>
                  <a:gd name="T18" fmla="*/ 160 w 188"/>
                  <a:gd name="T19" fmla="*/ 13 h 87"/>
                  <a:gd name="T20" fmla="*/ 164 w 188"/>
                  <a:gd name="T21" fmla="*/ 6 h 87"/>
                  <a:gd name="T22" fmla="*/ 150 w 188"/>
                  <a:gd name="T23" fmla="*/ 7 h 87"/>
                  <a:gd name="T24" fmla="*/ 138 w 188"/>
                  <a:gd name="T25" fmla="*/ 1 h 87"/>
                  <a:gd name="T26" fmla="*/ 119 w 188"/>
                  <a:gd name="T27" fmla="*/ 15 h 87"/>
                  <a:gd name="T28" fmla="*/ 108 w 188"/>
                  <a:gd name="T29" fmla="*/ 14 h 87"/>
                  <a:gd name="T30" fmla="*/ 109 w 188"/>
                  <a:gd name="T31" fmla="*/ 23 h 87"/>
                  <a:gd name="T32" fmla="*/ 95 w 188"/>
                  <a:gd name="T33" fmla="*/ 11 h 87"/>
                  <a:gd name="T34" fmla="*/ 89 w 188"/>
                  <a:gd name="T35" fmla="*/ 20 h 87"/>
                  <a:gd name="T36" fmla="*/ 79 w 188"/>
                  <a:gd name="T37" fmla="*/ 15 h 87"/>
                  <a:gd name="T38" fmla="*/ 74 w 188"/>
                  <a:gd name="T39" fmla="*/ 22 h 87"/>
                  <a:gd name="T40" fmla="*/ 63 w 188"/>
                  <a:gd name="T41" fmla="*/ 29 h 87"/>
                  <a:gd name="T42" fmla="*/ 56 w 188"/>
                  <a:gd name="T43" fmla="*/ 36 h 87"/>
                  <a:gd name="T44" fmla="*/ 47 w 188"/>
                  <a:gd name="T45" fmla="*/ 23 h 87"/>
                  <a:gd name="T46" fmla="*/ 55 w 188"/>
                  <a:gd name="T47" fmla="*/ 18 h 87"/>
                  <a:gd name="T48" fmla="*/ 40 w 188"/>
                  <a:gd name="T49" fmla="*/ 4 h 87"/>
                  <a:gd name="T50" fmla="*/ 27 w 188"/>
                  <a:gd name="T51" fmla="*/ 7 h 87"/>
                  <a:gd name="T52" fmla="*/ 36 w 188"/>
                  <a:gd name="T53" fmla="*/ 7 h 87"/>
                  <a:gd name="T54" fmla="*/ 38 w 188"/>
                  <a:gd name="T55" fmla="*/ 16 h 87"/>
                  <a:gd name="T56" fmla="*/ 33 w 188"/>
                  <a:gd name="T57" fmla="*/ 21 h 87"/>
                  <a:gd name="T58" fmla="*/ 28 w 188"/>
                  <a:gd name="T59" fmla="*/ 17 h 87"/>
                  <a:gd name="T60" fmla="*/ 20 w 188"/>
                  <a:gd name="T61" fmla="*/ 16 h 87"/>
                  <a:gd name="T62" fmla="*/ 20 w 188"/>
                  <a:gd name="T63" fmla="*/ 23 h 87"/>
                  <a:gd name="T64" fmla="*/ 14 w 188"/>
                  <a:gd name="T65" fmla="*/ 26 h 87"/>
                  <a:gd name="T66" fmla="*/ 3 w 188"/>
                  <a:gd name="T67" fmla="*/ 28 h 87"/>
                  <a:gd name="T68" fmla="*/ 27 w 188"/>
                  <a:gd name="T69" fmla="*/ 26 h 87"/>
                  <a:gd name="T70" fmla="*/ 47 w 188"/>
                  <a:gd name="T71" fmla="*/ 30 h 87"/>
                  <a:gd name="T72" fmla="*/ 37 w 188"/>
                  <a:gd name="T73" fmla="*/ 38 h 87"/>
                  <a:gd name="T74" fmla="*/ 46 w 188"/>
                  <a:gd name="T75" fmla="*/ 42 h 87"/>
                  <a:gd name="T76" fmla="*/ 34 w 188"/>
                  <a:gd name="T77" fmla="*/ 44 h 87"/>
                  <a:gd name="T78" fmla="*/ 21 w 188"/>
                  <a:gd name="T79" fmla="*/ 46 h 87"/>
                  <a:gd name="T80" fmla="*/ 17 w 188"/>
                  <a:gd name="T81" fmla="*/ 50 h 87"/>
                  <a:gd name="T82" fmla="*/ 37 w 188"/>
                  <a:gd name="T83" fmla="*/ 49 h 87"/>
                  <a:gd name="T84" fmla="*/ 45 w 188"/>
                  <a:gd name="T85" fmla="*/ 55 h 87"/>
                  <a:gd name="T86" fmla="*/ 44 w 188"/>
                  <a:gd name="T87" fmla="*/ 59 h 87"/>
                  <a:gd name="T88" fmla="*/ 55 w 188"/>
                  <a:gd name="T89" fmla="*/ 60 h 87"/>
                  <a:gd name="T90" fmla="*/ 41 w 188"/>
                  <a:gd name="T91" fmla="*/ 69 h 87"/>
                  <a:gd name="T92" fmla="*/ 49 w 188"/>
                  <a:gd name="T93" fmla="*/ 74 h 87"/>
                  <a:gd name="T94" fmla="*/ 65 w 188"/>
                  <a:gd name="T95" fmla="*/ 76 h 87"/>
                  <a:gd name="T96" fmla="*/ 79 w 188"/>
                  <a:gd name="T97" fmla="*/ 84 h 87"/>
                  <a:gd name="T98" fmla="*/ 103 w 188"/>
                  <a:gd name="T99" fmla="*/ 86 h 87"/>
                  <a:gd name="T100" fmla="*/ 111 w 188"/>
                  <a:gd name="T101" fmla="*/ 82 h 87"/>
                  <a:gd name="T102" fmla="*/ 135 w 188"/>
                  <a:gd name="T103"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87">
                    <a:moveTo>
                      <a:pt x="133" y="75"/>
                    </a:moveTo>
                    <a:cubicBezTo>
                      <a:pt x="135" y="75"/>
                      <a:pt x="137" y="74"/>
                      <a:pt x="139" y="72"/>
                    </a:cubicBezTo>
                    <a:cubicBezTo>
                      <a:pt x="141" y="70"/>
                      <a:pt x="143" y="69"/>
                      <a:pt x="145" y="67"/>
                    </a:cubicBezTo>
                    <a:cubicBezTo>
                      <a:pt x="147" y="66"/>
                      <a:pt x="150" y="64"/>
                      <a:pt x="152" y="64"/>
                    </a:cubicBezTo>
                    <a:cubicBezTo>
                      <a:pt x="153" y="63"/>
                      <a:pt x="154" y="63"/>
                      <a:pt x="154" y="62"/>
                    </a:cubicBezTo>
                    <a:cubicBezTo>
                      <a:pt x="154" y="61"/>
                      <a:pt x="153" y="60"/>
                      <a:pt x="154" y="59"/>
                    </a:cubicBezTo>
                    <a:cubicBezTo>
                      <a:pt x="156" y="57"/>
                      <a:pt x="157" y="62"/>
                      <a:pt x="158" y="62"/>
                    </a:cubicBezTo>
                    <a:cubicBezTo>
                      <a:pt x="159" y="64"/>
                      <a:pt x="162" y="63"/>
                      <a:pt x="164" y="62"/>
                    </a:cubicBezTo>
                    <a:cubicBezTo>
                      <a:pt x="165" y="61"/>
                      <a:pt x="166" y="61"/>
                      <a:pt x="167" y="60"/>
                    </a:cubicBezTo>
                    <a:cubicBezTo>
                      <a:pt x="168" y="60"/>
                      <a:pt x="169" y="59"/>
                      <a:pt x="170" y="59"/>
                    </a:cubicBezTo>
                    <a:cubicBezTo>
                      <a:pt x="172" y="57"/>
                      <a:pt x="168" y="55"/>
                      <a:pt x="170" y="54"/>
                    </a:cubicBezTo>
                    <a:cubicBezTo>
                      <a:pt x="171" y="53"/>
                      <a:pt x="172" y="53"/>
                      <a:pt x="172" y="52"/>
                    </a:cubicBezTo>
                    <a:cubicBezTo>
                      <a:pt x="172" y="51"/>
                      <a:pt x="171" y="50"/>
                      <a:pt x="171" y="50"/>
                    </a:cubicBezTo>
                    <a:cubicBezTo>
                      <a:pt x="170" y="50"/>
                      <a:pt x="170" y="48"/>
                      <a:pt x="171" y="48"/>
                    </a:cubicBezTo>
                    <a:cubicBezTo>
                      <a:pt x="172" y="48"/>
                      <a:pt x="174" y="49"/>
                      <a:pt x="174" y="50"/>
                    </a:cubicBezTo>
                    <a:cubicBezTo>
                      <a:pt x="175" y="52"/>
                      <a:pt x="177" y="51"/>
                      <a:pt x="179" y="50"/>
                    </a:cubicBezTo>
                    <a:cubicBezTo>
                      <a:pt x="179" y="49"/>
                      <a:pt x="180" y="49"/>
                      <a:pt x="180" y="48"/>
                    </a:cubicBezTo>
                    <a:cubicBezTo>
                      <a:pt x="180" y="47"/>
                      <a:pt x="179" y="47"/>
                      <a:pt x="179" y="46"/>
                    </a:cubicBezTo>
                    <a:cubicBezTo>
                      <a:pt x="178" y="45"/>
                      <a:pt x="181" y="45"/>
                      <a:pt x="181" y="45"/>
                    </a:cubicBezTo>
                    <a:cubicBezTo>
                      <a:pt x="183" y="43"/>
                      <a:pt x="177" y="43"/>
                      <a:pt x="177" y="43"/>
                    </a:cubicBezTo>
                    <a:cubicBezTo>
                      <a:pt x="176" y="43"/>
                      <a:pt x="175" y="42"/>
                      <a:pt x="175" y="42"/>
                    </a:cubicBezTo>
                    <a:cubicBezTo>
                      <a:pt x="176" y="41"/>
                      <a:pt x="177" y="41"/>
                      <a:pt x="178" y="41"/>
                    </a:cubicBezTo>
                    <a:cubicBezTo>
                      <a:pt x="179" y="41"/>
                      <a:pt x="181" y="41"/>
                      <a:pt x="182" y="41"/>
                    </a:cubicBezTo>
                    <a:cubicBezTo>
                      <a:pt x="183" y="41"/>
                      <a:pt x="184" y="41"/>
                      <a:pt x="185" y="41"/>
                    </a:cubicBezTo>
                    <a:cubicBezTo>
                      <a:pt x="188" y="41"/>
                      <a:pt x="186" y="40"/>
                      <a:pt x="185" y="39"/>
                    </a:cubicBezTo>
                    <a:cubicBezTo>
                      <a:pt x="183" y="38"/>
                      <a:pt x="181" y="39"/>
                      <a:pt x="180" y="37"/>
                    </a:cubicBezTo>
                    <a:cubicBezTo>
                      <a:pt x="179" y="34"/>
                      <a:pt x="183" y="34"/>
                      <a:pt x="184" y="33"/>
                    </a:cubicBezTo>
                    <a:cubicBezTo>
                      <a:pt x="186" y="32"/>
                      <a:pt x="184" y="30"/>
                      <a:pt x="183" y="29"/>
                    </a:cubicBezTo>
                    <a:cubicBezTo>
                      <a:pt x="182" y="29"/>
                      <a:pt x="181" y="28"/>
                      <a:pt x="180" y="28"/>
                    </a:cubicBezTo>
                    <a:cubicBezTo>
                      <a:pt x="179" y="27"/>
                      <a:pt x="179" y="26"/>
                      <a:pt x="177" y="26"/>
                    </a:cubicBezTo>
                    <a:cubicBezTo>
                      <a:pt x="175" y="26"/>
                      <a:pt x="173" y="29"/>
                      <a:pt x="171" y="29"/>
                    </a:cubicBezTo>
                    <a:cubicBezTo>
                      <a:pt x="170" y="30"/>
                      <a:pt x="169" y="29"/>
                      <a:pt x="170" y="28"/>
                    </a:cubicBezTo>
                    <a:cubicBezTo>
                      <a:pt x="170" y="27"/>
                      <a:pt x="171" y="26"/>
                      <a:pt x="172" y="26"/>
                    </a:cubicBezTo>
                    <a:cubicBezTo>
                      <a:pt x="173" y="25"/>
                      <a:pt x="174" y="24"/>
                      <a:pt x="174" y="24"/>
                    </a:cubicBezTo>
                    <a:cubicBezTo>
                      <a:pt x="174" y="22"/>
                      <a:pt x="172" y="22"/>
                      <a:pt x="172" y="23"/>
                    </a:cubicBezTo>
                    <a:cubicBezTo>
                      <a:pt x="170" y="23"/>
                      <a:pt x="166" y="24"/>
                      <a:pt x="165" y="22"/>
                    </a:cubicBezTo>
                    <a:cubicBezTo>
                      <a:pt x="164" y="21"/>
                      <a:pt x="167" y="20"/>
                      <a:pt x="168" y="19"/>
                    </a:cubicBezTo>
                    <a:cubicBezTo>
                      <a:pt x="170" y="17"/>
                      <a:pt x="168" y="15"/>
                      <a:pt x="166" y="14"/>
                    </a:cubicBezTo>
                    <a:cubicBezTo>
                      <a:pt x="165" y="14"/>
                      <a:pt x="164" y="14"/>
                      <a:pt x="163" y="14"/>
                    </a:cubicBezTo>
                    <a:cubicBezTo>
                      <a:pt x="162" y="14"/>
                      <a:pt x="161" y="14"/>
                      <a:pt x="160" y="13"/>
                    </a:cubicBezTo>
                    <a:cubicBezTo>
                      <a:pt x="159" y="12"/>
                      <a:pt x="161" y="12"/>
                      <a:pt x="162" y="12"/>
                    </a:cubicBezTo>
                    <a:cubicBezTo>
                      <a:pt x="163" y="11"/>
                      <a:pt x="163" y="9"/>
                      <a:pt x="164" y="9"/>
                    </a:cubicBezTo>
                    <a:cubicBezTo>
                      <a:pt x="165" y="8"/>
                      <a:pt x="166" y="8"/>
                      <a:pt x="166" y="6"/>
                    </a:cubicBezTo>
                    <a:cubicBezTo>
                      <a:pt x="166" y="6"/>
                      <a:pt x="164" y="6"/>
                      <a:pt x="164" y="6"/>
                    </a:cubicBezTo>
                    <a:cubicBezTo>
                      <a:pt x="162" y="7"/>
                      <a:pt x="161" y="7"/>
                      <a:pt x="160" y="7"/>
                    </a:cubicBezTo>
                    <a:cubicBezTo>
                      <a:pt x="159" y="8"/>
                      <a:pt x="158" y="9"/>
                      <a:pt x="157" y="10"/>
                    </a:cubicBezTo>
                    <a:cubicBezTo>
                      <a:pt x="155" y="11"/>
                      <a:pt x="154" y="10"/>
                      <a:pt x="153" y="9"/>
                    </a:cubicBezTo>
                    <a:cubicBezTo>
                      <a:pt x="152" y="9"/>
                      <a:pt x="150" y="8"/>
                      <a:pt x="150" y="7"/>
                    </a:cubicBezTo>
                    <a:cubicBezTo>
                      <a:pt x="151" y="6"/>
                      <a:pt x="151" y="5"/>
                      <a:pt x="150" y="4"/>
                    </a:cubicBezTo>
                    <a:cubicBezTo>
                      <a:pt x="149" y="4"/>
                      <a:pt x="148" y="4"/>
                      <a:pt x="148" y="3"/>
                    </a:cubicBezTo>
                    <a:cubicBezTo>
                      <a:pt x="147" y="3"/>
                      <a:pt x="147" y="1"/>
                      <a:pt x="146" y="1"/>
                    </a:cubicBezTo>
                    <a:cubicBezTo>
                      <a:pt x="144" y="1"/>
                      <a:pt x="140" y="0"/>
                      <a:pt x="138" y="1"/>
                    </a:cubicBezTo>
                    <a:cubicBezTo>
                      <a:pt x="135" y="3"/>
                      <a:pt x="139" y="8"/>
                      <a:pt x="139" y="10"/>
                    </a:cubicBezTo>
                    <a:cubicBezTo>
                      <a:pt x="138" y="13"/>
                      <a:pt x="135" y="12"/>
                      <a:pt x="133" y="11"/>
                    </a:cubicBezTo>
                    <a:cubicBezTo>
                      <a:pt x="130" y="11"/>
                      <a:pt x="128" y="10"/>
                      <a:pt x="125" y="12"/>
                    </a:cubicBezTo>
                    <a:cubicBezTo>
                      <a:pt x="123" y="13"/>
                      <a:pt x="120" y="14"/>
                      <a:pt x="119" y="15"/>
                    </a:cubicBezTo>
                    <a:cubicBezTo>
                      <a:pt x="118" y="17"/>
                      <a:pt x="117" y="15"/>
                      <a:pt x="116" y="14"/>
                    </a:cubicBezTo>
                    <a:cubicBezTo>
                      <a:pt x="115" y="13"/>
                      <a:pt x="115" y="12"/>
                      <a:pt x="114" y="12"/>
                    </a:cubicBezTo>
                    <a:cubicBezTo>
                      <a:pt x="113" y="12"/>
                      <a:pt x="112" y="12"/>
                      <a:pt x="111" y="11"/>
                    </a:cubicBezTo>
                    <a:cubicBezTo>
                      <a:pt x="109" y="11"/>
                      <a:pt x="108" y="12"/>
                      <a:pt x="108" y="14"/>
                    </a:cubicBezTo>
                    <a:cubicBezTo>
                      <a:pt x="108" y="15"/>
                      <a:pt x="109" y="16"/>
                      <a:pt x="110" y="17"/>
                    </a:cubicBezTo>
                    <a:cubicBezTo>
                      <a:pt x="110" y="18"/>
                      <a:pt x="110" y="19"/>
                      <a:pt x="110" y="20"/>
                    </a:cubicBezTo>
                    <a:cubicBezTo>
                      <a:pt x="111" y="21"/>
                      <a:pt x="111" y="22"/>
                      <a:pt x="111" y="23"/>
                    </a:cubicBezTo>
                    <a:cubicBezTo>
                      <a:pt x="111" y="24"/>
                      <a:pt x="110" y="24"/>
                      <a:pt x="109" y="23"/>
                    </a:cubicBezTo>
                    <a:cubicBezTo>
                      <a:pt x="108" y="21"/>
                      <a:pt x="107" y="19"/>
                      <a:pt x="105" y="18"/>
                    </a:cubicBezTo>
                    <a:cubicBezTo>
                      <a:pt x="104" y="17"/>
                      <a:pt x="103" y="17"/>
                      <a:pt x="103" y="16"/>
                    </a:cubicBezTo>
                    <a:cubicBezTo>
                      <a:pt x="102" y="15"/>
                      <a:pt x="102" y="14"/>
                      <a:pt x="102" y="13"/>
                    </a:cubicBezTo>
                    <a:cubicBezTo>
                      <a:pt x="101" y="10"/>
                      <a:pt x="97" y="11"/>
                      <a:pt x="95" y="11"/>
                    </a:cubicBezTo>
                    <a:cubicBezTo>
                      <a:pt x="94" y="11"/>
                      <a:pt x="93" y="12"/>
                      <a:pt x="92" y="13"/>
                    </a:cubicBezTo>
                    <a:cubicBezTo>
                      <a:pt x="91" y="14"/>
                      <a:pt x="91" y="14"/>
                      <a:pt x="90" y="15"/>
                    </a:cubicBezTo>
                    <a:cubicBezTo>
                      <a:pt x="89" y="15"/>
                      <a:pt x="88" y="16"/>
                      <a:pt x="88" y="17"/>
                    </a:cubicBezTo>
                    <a:cubicBezTo>
                      <a:pt x="87" y="18"/>
                      <a:pt x="89" y="19"/>
                      <a:pt x="89" y="20"/>
                    </a:cubicBezTo>
                    <a:cubicBezTo>
                      <a:pt x="89" y="21"/>
                      <a:pt x="88" y="23"/>
                      <a:pt x="87" y="23"/>
                    </a:cubicBezTo>
                    <a:cubicBezTo>
                      <a:pt x="86" y="23"/>
                      <a:pt x="85" y="21"/>
                      <a:pt x="84" y="20"/>
                    </a:cubicBezTo>
                    <a:cubicBezTo>
                      <a:pt x="83" y="19"/>
                      <a:pt x="82" y="19"/>
                      <a:pt x="81" y="18"/>
                    </a:cubicBezTo>
                    <a:cubicBezTo>
                      <a:pt x="80" y="17"/>
                      <a:pt x="80" y="16"/>
                      <a:pt x="79" y="15"/>
                    </a:cubicBezTo>
                    <a:cubicBezTo>
                      <a:pt x="77" y="14"/>
                      <a:pt x="74" y="11"/>
                      <a:pt x="72" y="13"/>
                    </a:cubicBezTo>
                    <a:cubicBezTo>
                      <a:pt x="71" y="14"/>
                      <a:pt x="72" y="15"/>
                      <a:pt x="72" y="16"/>
                    </a:cubicBezTo>
                    <a:cubicBezTo>
                      <a:pt x="73" y="17"/>
                      <a:pt x="72" y="18"/>
                      <a:pt x="73" y="19"/>
                    </a:cubicBezTo>
                    <a:cubicBezTo>
                      <a:pt x="73" y="20"/>
                      <a:pt x="74" y="21"/>
                      <a:pt x="74" y="22"/>
                    </a:cubicBezTo>
                    <a:cubicBezTo>
                      <a:pt x="74" y="24"/>
                      <a:pt x="73" y="24"/>
                      <a:pt x="72" y="25"/>
                    </a:cubicBezTo>
                    <a:cubicBezTo>
                      <a:pt x="71" y="26"/>
                      <a:pt x="71" y="29"/>
                      <a:pt x="70" y="29"/>
                    </a:cubicBezTo>
                    <a:cubicBezTo>
                      <a:pt x="67" y="30"/>
                      <a:pt x="67" y="26"/>
                      <a:pt x="65" y="25"/>
                    </a:cubicBezTo>
                    <a:cubicBezTo>
                      <a:pt x="63" y="25"/>
                      <a:pt x="63" y="28"/>
                      <a:pt x="63" y="29"/>
                    </a:cubicBezTo>
                    <a:cubicBezTo>
                      <a:pt x="63" y="30"/>
                      <a:pt x="62" y="31"/>
                      <a:pt x="61" y="32"/>
                    </a:cubicBezTo>
                    <a:cubicBezTo>
                      <a:pt x="60" y="33"/>
                      <a:pt x="60" y="34"/>
                      <a:pt x="60" y="35"/>
                    </a:cubicBezTo>
                    <a:cubicBezTo>
                      <a:pt x="60" y="36"/>
                      <a:pt x="60" y="40"/>
                      <a:pt x="58" y="38"/>
                    </a:cubicBezTo>
                    <a:cubicBezTo>
                      <a:pt x="57" y="38"/>
                      <a:pt x="57" y="36"/>
                      <a:pt x="56" y="36"/>
                    </a:cubicBezTo>
                    <a:cubicBezTo>
                      <a:pt x="56" y="34"/>
                      <a:pt x="55" y="34"/>
                      <a:pt x="54" y="33"/>
                    </a:cubicBezTo>
                    <a:cubicBezTo>
                      <a:pt x="51" y="32"/>
                      <a:pt x="54" y="29"/>
                      <a:pt x="53" y="28"/>
                    </a:cubicBezTo>
                    <a:cubicBezTo>
                      <a:pt x="53" y="25"/>
                      <a:pt x="51" y="25"/>
                      <a:pt x="49" y="24"/>
                    </a:cubicBezTo>
                    <a:cubicBezTo>
                      <a:pt x="48" y="24"/>
                      <a:pt x="48" y="23"/>
                      <a:pt x="47" y="23"/>
                    </a:cubicBezTo>
                    <a:cubicBezTo>
                      <a:pt x="47" y="22"/>
                      <a:pt x="48" y="21"/>
                      <a:pt x="48" y="22"/>
                    </a:cubicBezTo>
                    <a:cubicBezTo>
                      <a:pt x="49" y="22"/>
                      <a:pt x="50" y="22"/>
                      <a:pt x="50" y="23"/>
                    </a:cubicBezTo>
                    <a:cubicBezTo>
                      <a:pt x="51" y="24"/>
                      <a:pt x="52" y="24"/>
                      <a:pt x="53" y="23"/>
                    </a:cubicBezTo>
                    <a:cubicBezTo>
                      <a:pt x="56" y="23"/>
                      <a:pt x="56" y="20"/>
                      <a:pt x="55" y="18"/>
                    </a:cubicBezTo>
                    <a:cubicBezTo>
                      <a:pt x="54" y="17"/>
                      <a:pt x="53" y="18"/>
                      <a:pt x="52" y="18"/>
                    </a:cubicBezTo>
                    <a:cubicBezTo>
                      <a:pt x="51" y="17"/>
                      <a:pt x="50" y="15"/>
                      <a:pt x="50" y="15"/>
                    </a:cubicBezTo>
                    <a:cubicBezTo>
                      <a:pt x="49" y="12"/>
                      <a:pt x="47" y="11"/>
                      <a:pt x="45" y="10"/>
                    </a:cubicBezTo>
                    <a:cubicBezTo>
                      <a:pt x="43" y="8"/>
                      <a:pt x="42" y="6"/>
                      <a:pt x="40" y="4"/>
                    </a:cubicBezTo>
                    <a:cubicBezTo>
                      <a:pt x="38" y="3"/>
                      <a:pt x="35" y="3"/>
                      <a:pt x="33" y="3"/>
                    </a:cubicBezTo>
                    <a:cubicBezTo>
                      <a:pt x="32" y="3"/>
                      <a:pt x="31" y="3"/>
                      <a:pt x="30" y="3"/>
                    </a:cubicBezTo>
                    <a:cubicBezTo>
                      <a:pt x="29" y="3"/>
                      <a:pt x="27" y="2"/>
                      <a:pt x="26" y="3"/>
                    </a:cubicBezTo>
                    <a:cubicBezTo>
                      <a:pt x="25" y="4"/>
                      <a:pt x="25" y="7"/>
                      <a:pt x="27" y="7"/>
                    </a:cubicBezTo>
                    <a:cubicBezTo>
                      <a:pt x="28" y="7"/>
                      <a:pt x="28" y="6"/>
                      <a:pt x="29" y="6"/>
                    </a:cubicBezTo>
                    <a:cubicBezTo>
                      <a:pt x="30" y="5"/>
                      <a:pt x="32" y="5"/>
                      <a:pt x="33" y="5"/>
                    </a:cubicBezTo>
                    <a:cubicBezTo>
                      <a:pt x="34" y="5"/>
                      <a:pt x="33" y="7"/>
                      <a:pt x="34" y="7"/>
                    </a:cubicBezTo>
                    <a:cubicBezTo>
                      <a:pt x="34" y="7"/>
                      <a:pt x="36" y="7"/>
                      <a:pt x="36" y="7"/>
                    </a:cubicBezTo>
                    <a:cubicBezTo>
                      <a:pt x="39" y="7"/>
                      <a:pt x="38" y="9"/>
                      <a:pt x="36" y="10"/>
                    </a:cubicBezTo>
                    <a:cubicBezTo>
                      <a:pt x="36" y="10"/>
                      <a:pt x="32" y="11"/>
                      <a:pt x="34" y="12"/>
                    </a:cubicBezTo>
                    <a:cubicBezTo>
                      <a:pt x="35" y="12"/>
                      <a:pt x="37" y="12"/>
                      <a:pt x="38" y="13"/>
                    </a:cubicBezTo>
                    <a:cubicBezTo>
                      <a:pt x="38" y="14"/>
                      <a:pt x="38" y="15"/>
                      <a:pt x="38" y="16"/>
                    </a:cubicBezTo>
                    <a:cubicBezTo>
                      <a:pt x="37" y="17"/>
                      <a:pt x="38" y="18"/>
                      <a:pt x="38" y="19"/>
                    </a:cubicBezTo>
                    <a:cubicBezTo>
                      <a:pt x="38" y="20"/>
                      <a:pt x="37" y="21"/>
                      <a:pt x="36" y="20"/>
                    </a:cubicBezTo>
                    <a:cubicBezTo>
                      <a:pt x="36" y="20"/>
                      <a:pt x="35" y="18"/>
                      <a:pt x="34" y="19"/>
                    </a:cubicBezTo>
                    <a:cubicBezTo>
                      <a:pt x="34" y="19"/>
                      <a:pt x="34" y="21"/>
                      <a:pt x="33" y="21"/>
                    </a:cubicBezTo>
                    <a:cubicBezTo>
                      <a:pt x="33" y="21"/>
                      <a:pt x="32" y="20"/>
                      <a:pt x="32" y="19"/>
                    </a:cubicBezTo>
                    <a:cubicBezTo>
                      <a:pt x="32" y="18"/>
                      <a:pt x="33" y="18"/>
                      <a:pt x="33" y="17"/>
                    </a:cubicBezTo>
                    <a:cubicBezTo>
                      <a:pt x="33" y="16"/>
                      <a:pt x="33" y="15"/>
                      <a:pt x="32" y="16"/>
                    </a:cubicBezTo>
                    <a:cubicBezTo>
                      <a:pt x="31" y="17"/>
                      <a:pt x="29" y="19"/>
                      <a:pt x="28" y="17"/>
                    </a:cubicBezTo>
                    <a:cubicBezTo>
                      <a:pt x="27" y="16"/>
                      <a:pt x="26" y="14"/>
                      <a:pt x="24" y="13"/>
                    </a:cubicBezTo>
                    <a:cubicBezTo>
                      <a:pt x="23" y="12"/>
                      <a:pt x="22" y="12"/>
                      <a:pt x="21" y="12"/>
                    </a:cubicBezTo>
                    <a:cubicBezTo>
                      <a:pt x="21" y="12"/>
                      <a:pt x="19" y="14"/>
                      <a:pt x="20" y="14"/>
                    </a:cubicBezTo>
                    <a:cubicBezTo>
                      <a:pt x="21" y="15"/>
                      <a:pt x="21" y="16"/>
                      <a:pt x="20" y="16"/>
                    </a:cubicBezTo>
                    <a:cubicBezTo>
                      <a:pt x="19" y="16"/>
                      <a:pt x="18" y="16"/>
                      <a:pt x="17" y="15"/>
                    </a:cubicBezTo>
                    <a:cubicBezTo>
                      <a:pt x="15" y="14"/>
                      <a:pt x="16" y="17"/>
                      <a:pt x="17" y="18"/>
                    </a:cubicBezTo>
                    <a:cubicBezTo>
                      <a:pt x="19" y="19"/>
                      <a:pt x="21" y="19"/>
                      <a:pt x="23" y="21"/>
                    </a:cubicBezTo>
                    <a:cubicBezTo>
                      <a:pt x="25" y="23"/>
                      <a:pt x="21" y="23"/>
                      <a:pt x="20" y="23"/>
                    </a:cubicBezTo>
                    <a:cubicBezTo>
                      <a:pt x="18" y="23"/>
                      <a:pt x="19" y="27"/>
                      <a:pt x="16" y="26"/>
                    </a:cubicBezTo>
                    <a:cubicBezTo>
                      <a:pt x="14" y="25"/>
                      <a:pt x="12" y="22"/>
                      <a:pt x="10" y="23"/>
                    </a:cubicBezTo>
                    <a:cubicBezTo>
                      <a:pt x="8" y="23"/>
                      <a:pt x="12" y="25"/>
                      <a:pt x="12" y="25"/>
                    </a:cubicBezTo>
                    <a:cubicBezTo>
                      <a:pt x="13" y="25"/>
                      <a:pt x="13" y="26"/>
                      <a:pt x="14" y="26"/>
                    </a:cubicBezTo>
                    <a:cubicBezTo>
                      <a:pt x="14" y="27"/>
                      <a:pt x="12" y="27"/>
                      <a:pt x="12" y="27"/>
                    </a:cubicBezTo>
                    <a:cubicBezTo>
                      <a:pt x="12" y="28"/>
                      <a:pt x="13" y="29"/>
                      <a:pt x="12" y="29"/>
                    </a:cubicBezTo>
                    <a:cubicBezTo>
                      <a:pt x="11" y="29"/>
                      <a:pt x="9" y="28"/>
                      <a:pt x="8" y="27"/>
                    </a:cubicBezTo>
                    <a:cubicBezTo>
                      <a:pt x="7" y="26"/>
                      <a:pt x="4" y="27"/>
                      <a:pt x="3" y="28"/>
                    </a:cubicBezTo>
                    <a:cubicBezTo>
                      <a:pt x="0" y="29"/>
                      <a:pt x="4" y="29"/>
                      <a:pt x="4" y="30"/>
                    </a:cubicBezTo>
                    <a:cubicBezTo>
                      <a:pt x="7" y="30"/>
                      <a:pt x="9" y="32"/>
                      <a:pt x="12" y="32"/>
                    </a:cubicBezTo>
                    <a:cubicBezTo>
                      <a:pt x="15" y="31"/>
                      <a:pt x="17" y="29"/>
                      <a:pt x="20" y="29"/>
                    </a:cubicBezTo>
                    <a:cubicBezTo>
                      <a:pt x="23" y="28"/>
                      <a:pt x="25" y="27"/>
                      <a:pt x="27" y="26"/>
                    </a:cubicBezTo>
                    <a:cubicBezTo>
                      <a:pt x="30" y="26"/>
                      <a:pt x="33" y="27"/>
                      <a:pt x="36" y="28"/>
                    </a:cubicBezTo>
                    <a:cubicBezTo>
                      <a:pt x="37" y="29"/>
                      <a:pt x="38" y="28"/>
                      <a:pt x="39" y="29"/>
                    </a:cubicBezTo>
                    <a:cubicBezTo>
                      <a:pt x="41" y="29"/>
                      <a:pt x="42" y="29"/>
                      <a:pt x="44" y="30"/>
                    </a:cubicBezTo>
                    <a:cubicBezTo>
                      <a:pt x="45" y="30"/>
                      <a:pt x="46" y="30"/>
                      <a:pt x="47" y="30"/>
                    </a:cubicBezTo>
                    <a:cubicBezTo>
                      <a:pt x="48" y="31"/>
                      <a:pt x="48" y="32"/>
                      <a:pt x="47" y="32"/>
                    </a:cubicBezTo>
                    <a:cubicBezTo>
                      <a:pt x="45" y="33"/>
                      <a:pt x="43" y="35"/>
                      <a:pt x="41" y="35"/>
                    </a:cubicBezTo>
                    <a:cubicBezTo>
                      <a:pt x="40" y="36"/>
                      <a:pt x="39" y="36"/>
                      <a:pt x="37" y="37"/>
                    </a:cubicBezTo>
                    <a:cubicBezTo>
                      <a:pt x="37" y="37"/>
                      <a:pt x="36" y="38"/>
                      <a:pt x="37" y="38"/>
                    </a:cubicBezTo>
                    <a:cubicBezTo>
                      <a:pt x="38" y="39"/>
                      <a:pt x="39" y="38"/>
                      <a:pt x="40" y="38"/>
                    </a:cubicBezTo>
                    <a:cubicBezTo>
                      <a:pt x="42" y="38"/>
                      <a:pt x="43" y="39"/>
                      <a:pt x="44" y="39"/>
                    </a:cubicBezTo>
                    <a:cubicBezTo>
                      <a:pt x="45" y="39"/>
                      <a:pt x="48" y="38"/>
                      <a:pt x="48" y="38"/>
                    </a:cubicBezTo>
                    <a:cubicBezTo>
                      <a:pt x="49" y="39"/>
                      <a:pt x="47" y="42"/>
                      <a:pt x="46" y="42"/>
                    </a:cubicBezTo>
                    <a:cubicBezTo>
                      <a:pt x="45" y="43"/>
                      <a:pt x="45" y="43"/>
                      <a:pt x="44" y="44"/>
                    </a:cubicBezTo>
                    <a:cubicBezTo>
                      <a:pt x="43" y="45"/>
                      <a:pt x="42" y="44"/>
                      <a:pt x="41" y="44"/>
                    </a:cubicBezTo>
                    <a:cubicBezTo>
                      <a:pt x="40" y="43"/>
                      <a:pt x="38" y="43"/>
                      <a:pt x="37" y="43"/>
                    </a:cubicBezTo>
                    <a:cubicBezTo>
                      <a:pt x="36" y="43"/>
                      <a:pt x="35" y="43"/>
                      <a:pt x="34" y="44"/>
                    </a:cubicBezTo>
                    <a:cubicBezTo>
                      <a:pt x="31" y="44"/>
                      <a:pt x="31" y="41"/>
                      <a:pt x="29" y="43"/>
                    </a:cubicBezTo>
                    <a:cubicBezTo>
                      <a:pt x="28" y="44"/>
                      <a:pt x="27" y="44"/>
                      <a:pt x="26" y="45"/>
                    </a:cubicBezTo>
                    <a:cubicBezTo>
                      <a:pt x="25" y="46"/>
                      <a:pt x="24" y="45"/>
                      <a:pt x="23" y="44"/>
                    </a:cubicBezTo>
                    <a:cubicBezTo>
                      <a:pt x="22" y="44"/>
                      <a:pt x="21" y="46"/>
                      <a:pt x="21" y="46"/>
                    </a:cubicBezTo>
                    <a:cubicBezTo>
                      <a:pt x="19" y="47"/>
                      <a:pt x="18" y="47"/>
                      <a:pt x="16" y="46"/>
                    </a:cubicBezTo>
                    <a:cubicBezTo>
                      <a:pt x="15" y="46"/>
                      <a:pt x="13" y="45"/>
                      <a:pt x="11" y="46"/>
                    </a:cubicBezTo>
                    <a:cubicBezTo>
                      <a:pt x="9" y="47"/>
                      <a:pt x="12" y="50"/>
                      <a:pt x="13" y="50"/>
                    </a:cubicBezTo>
                    <a:cubicBezTo>
                      <a:pt x="15" y="51"/>
                      <a:pt x="16" y="50"/>
                      <a:pt x="17" y="50"/>
                    </a:cubicBezTo>
                    <a:cubicBezTo>
                      <a:pt x="19" y="50"/>
                      <a:pt x="20" y="51"/>
                      <a:pt x="21" y="51"/>
                    </a:cubicBezTo>
                    <a:cubicBezTo>
                      <a:pt x="23" y="51"/>
                      <a:pt x="24" y="51"/>
                      <a:pt x="26" y="51"/>
                    </a:cubicBezTo>
                    <a:cubicBezTo>
                      <a:pt x="27" y="51"/>
                      <a:pt x="28" y="50"/>
                      <a:pt x="30" y="49"/>
                    </a:cubicBezTo>
                    <a:cubicBezTo>
                      <a:pt x="32" y="49"/>
                      <a:pt x="35" y="49"/>
                      <a:pt x="37" y="49"/>
                    </a:cubicBezTo>
                    <a:cubicBezTo>
                      <a:pt x="39" y="49"/>
                      <a:pt x="42" y="50"/>
                      <a:pt x="40" y="52"/>
                    </a:cubicBezTo>
                    <a:cubicBezTo>
                      <a:pt x="38" y="53"/>
                      <a:pt x="38" y="55"/>
                      <a:pt x="40" y="57"/>
                    </a:cubicBezTo>
                    <a:cubicBezTo>
                      <a:pt x="41" y="58"/>
                      <a:pt x="42" y="58"/>
                      <a:pt x="42" y="57"/>
                    </a:cubicBezTo>
                    <a:cubicBezTo>
                      <a:pt x="43" y="56"/>
                      <a:pt x="44" y="55"/>
                      <a:pt x="45" y="55"/>
                    </a:cubicBezTo>
                    <a:cubicBezTo>
                      <a:pt x="47" y="54"/>
                      <a:pt x="48" y="53"/>
                      <a:pt x="50" y="53"/>
                    </a:cubicBezTo>
                    <a:cubicBezTo>
                      <a:pt x="52" y="52"/>
                      <a:pt x="52" y="54"/>
                      <a:pt x="50" y="55"/>
                    </a:cubicBezTo>
                    <a:cubicBezTo>
                      <a:pt x="49" y="55"/>
                      <a:pt x="48" y="56"/>
                      <a:pt x="47" y="56"/>
                    </a:cubicBezTo>
                    <a:cubicBezTo>
                      <a:pt x="46" y="57"/>
                      <a:pt x="45" y="58"/>
                      <a:pt x="44" y="59"/>
                    </a:cubicBezTo>
                    <a:cubicBezTo>
                      <a:pt x="44" y="59"/>
                      <a:pt x="43" y="61"/>
                      <a:pt x="44" y="61"/>
                    </a:cubicBezTo>
                    <a:cubicBezTo>
                      <a:pt x="45" y="61"/>
                      <a:pt x="47" y="61"/>
                      <a:pt x="49" y="61"/>
                    </a:cubicBezTo>
                    <a:cubicBezTo>
                      <a:pt x="50" y="61"/>
                      <a:pt x="51" y="60"/>
                      <a:pt x="52" y="59"/>
                    </a:cubicBezTo>
                    <a:cubicBezTo>
                      <a:pt x="53" y="59"/>
                      <a:pt x="55" y="59"/>
                      <a:pt x="55" y="60"/>
                    </a:cubicBezTo>
                    <a:cubicBezTo>
                      <a:pt x="56" y="62"/>
                      <a:pt x="51" y="63"/>
                      <a:pt x="50" y="63"/>
                    </a:cubicBezTo>
                    <a:cubicBezTo>
                      <a:pt x="49" y="63"/>
                      <a:pt x="45" y="63"/>
                      <a:pt x="47" y="65"/>
                    </a:cubicBezTo>
                    <a:cubicBezTo>
                      <a:pt x="49" y="67"/>
                      <a:pt x="49" y="68"/>
                      <a:pt x="47" y="68"/>
                    </a:cubicBezTo>
                    <a:cubicBezTo>
                      <a:pt x="45" y="68"/>
                      <a:pt x="43" y="68"/>
                      <a:pt x="41" y="69"/>
                    </a:cubicBezTo>
                    <a:cubicBezTo>
                      <a:pt x="38" y="70"/>
                      <a:pt x="37" y="71"/>
                      <a:pt x="34" y="70"/>
                    </a:cubicBezTo>
                    <a:cubicBezTo>
                      <a:pt x="32" y="69"/>
                      <a:pt x="32" y="73"/>
                      <a:pt x="33" y="74"/>
                    </a:cubicBezTo>
                    <a:cubicBezTo>
                      <a:pt x="35" y="75"/>
                      <a:pt x="39" y="75"/>
                      <a:pt x="41" y="75"/>
                    </a:cubicBezTo>
                    <a:cubicBezTo>
                      <a:pt x="44" y="75"/>
                      <a:pt x="46" y="74"/>
                      <a:pt x="49" y="74"/>
                    </a:cubicBezTo>
                    <a:cubicBezTo>
                      <a:pt x="52" y="73"/>
                      <a:pt x="54" y="73"/>
                      <a:pt x="57" y="74"/>
                    </a:cubicBezTo>
                    <a:cubicBezTo>
                      <a:pt x="59" y="75"/>
                      <a:pt x="61" y="74"/>
                      <a:pt x="64" y="73"/>
                    </a:cubicBezTo>
                    <a:cubicBezTo>
                      <a:pt x="65" y="73"/>
                      <a:pt x="66" y="73"/>
                      <a:pt x="66" y="74"/>
                    </a:cubicBezTo>
                    <a:cubicBezTo>
                      <a:pt x="66" y="75"/>
                      <a:pt x="65" y="75"/>
                      <a:pt x="65" y="76"/>
                    </a:cubicBezTo>
                    <a:cubicBezTo>
                      <a:pt x="65" y="78"/>
                      <a:pt x="68" y="76"/>
                      <a:pt x="68" y="76"/>
                    </a:cubicBezTo>
                    <a:cubicBezTo>
                      <a:pt x="69" y="75"/>
                      <a:pt x="69" y="75"/>
                      <a:pt x="70" y="75"/>
                    </a:cubicBezTo>
                    <a:cubicBezTo>
                      <a:pt x="71" y="74"/>
                      <a:pt x="70" y="77"/>
                      <a:pt x="70" y="77"/>
                    </a:cubicBezTo>
                    <a:cubicBezTo>
                      <a:pt x="68" y="80"/>
                      <a:pt x="77" y="83"/>
                      <a:pt x="79" y="84"/>
                    </a:cubicBezTo>
                    <a:cubicBezTo>
                      <a:pt x="81" y="84"/>
                      <a:pt x="84" y="83"/>
                      <a:pt x="87" y="84"/>
                    </a:cubicBezTo>
                    <a:cubicBezTo>
                      <a:pt x="89" y="84"/>
                      <a:pt x="92" y="85"/>
                      <a:pt x="95" y="86"/>
                    </a:cubicBezTo>
                    <a:cubicBezTo>
                      <a:pt x="96" y="86"/>
                      <a:pt x="98" y="87"/>
                      <a:pt x="99" y="87"/>
                    </a:cubicBezTo>
                    <a:cubicBezTo>
                      <a:pt x="100" y="86"/>
                      <a:pt x="101" y="86"/>
                      <a:pt x="103" y="86"/>
                    </a:cubicBezTo>
                    <a:cubicBezTo>
                      <a:pt x="104" y="86"/>
                      <a:pt x="105" y="86"/>
                      <a:pt x="105" y="85"/>
                    </a:cubicBezTo>
                    <a:cubicBezTo>
                      <a:pt x="106" y="85"/>
                      <a:pt x="105" y="83"/>
                      <a:pt x="106" y="83"/>
                    </a:cubicBezTo>
                    <a:cubicBezTo>
                      <a:pt x="106" y="81"/>
                      <a:pt x="108" y="83"/>
                      <a:pt x="109" y="83"/>
                    </a:cubicBezTo>
                    <a:cubicBezTo>
                      <a:pt x="110" y="84"/>
                      <a:pt x="111" y="82"/>
                      <a:pt x="111" y="82"/>
                    </a:cubicBezTo>
                    <a:cubicBezTo>
                      <a:pt x="112" y="79"/>
                      <a:pt x="113" y="77"/>
                      <a:pt x="116" y="77"/>
                    </a:cubicBezTo>
                    <a:cubicBezTo>
                      <a:pt x="118" y="77"/>
                      <a:pt x="119" y="77"/>
                      <a:pt x="121" y="77"/>
                    </a:cubicBezTo>
                    <a:cubicBezTo>
                      <a:pt x="123" y="76"/>
                      <a:pt x="124" y="76"/>
                      <a:pt x="126" y="76"/>
                    </a:cubicBezTo>
                    <a:cubicBezTo>
                      <a:pt x="129" y="75"/>
                      <a:pt x="132" y="75"/>
                      <a:pt x="135" y="75"/>
                    </a:cubicBezTo>
                    <a:cubicBezTo>
                      <a:pt x="134" y="75"/>
                      <a:pt x="134" y="75"/>
                      <a:pt x="133" y="75"/>
                    </a:cubicBezTo>
                    <a:cubicBezTo>
                      <a:pt x="137" y="75"/>
                      <a:pt x="133" y="75"/>
                      <a:pt x="133" y="75"/>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08" name="Freeform 529">
                <a:extLst>
                  <a:ext uri="{FF2B5EF4-FFF2-40B4-BE49-F238E27FC236}">
                    <a16:creationId xmlns:a16="http://schemas.microsoft.com/office/drawing/2014/main" id="{AF52A763-3DFC-C49F-E97E-7FF3BDB8E216}"/>
                  </a:ext>
                </a:extLst>
              </p:cNvPr>
              <p:cNvSpPr/>
              <p:nvPr>
                <p:custDataLst>
                  <p:tags r:id="rId246"/>
                </p:custDataLst>
              </p:nvPr>
            </p:nvSpPr>
            <p:spPr bwMode="auto">
              <a:xfrm>
                <a:off x="5041935" y="4053474"/>
                <a:ext cx="75257" cy="20408"/>
              </a:xfrm>
              <a:custGeom>
                <a:avLst/>
                <a:gdLst>
                  <a:gd name="T0" fmla="*/ 19 w 51"/>
                  <a:gd name="T1" fmla="*/ 8 h 13"/>
                  <a:gd name="T2" fmla="*/ 15 w 51"/>
                  <a:gd name="T3" fmla="*/ 8 h 13"/>
                  <a:gd name="T4" fmla="*/ 12 w 51"/>
                  <a:gd name="T5" fmla="*/ 10 h 13"/>
                  <a:gd name="T6" fmla="*/ 6 w 51"/>
                  <a:gd name="T7" fmla="*/ 11 h 13"/>
                  <a:gd name="T8" fmla="*/ 2 w 51"/>
                  <a:gd name="T9" fmla="*/ 7 h 13"/>
                  <a:gd name="T10" fmla="*/ 0 w 51"/>
                  <a:gd name="T11" fmla="*/ 9 h 13"/>
                  <a:gd name="T12" fmla="*/ 2 w 51"/>
                  <a:gd name="T13" fmla="*/ 12 h 13"/>
                  <a:gd name="T14" fmla="*/ 2 w 51"/>
                  <a:gd name="T15" fmla="*/ 13 h 13"/>
                  <a:gd name="T16" fmla="*/ 4 w 51"/>
                  <a:gd name="T17" fmla="*/ 13 h 13"/>
                  <a:gd name="T18" fmla="*/ 8 w 51"/>
                  <a:gd name="T19" fmla="*/ 13 h 13"/>
                  <a:gd name="T20" fmla="*/ 17 w 51"/>
                  <a:gd name="T21" fmla="*/ 11 h 13"/>
                  <a:gd name="T22" fmla="*/ 25 w 51"/>
                  <a:gd name="T23" fmla="*/ 8 h 13"/>
                  <a:gd name="T24" fmla="*/ 34 w 51"/>
                  <a:gd name="T25" fmla="*/ 8 h 13"/>
                  <a:gd name="T26" fmla="*/ 45 w 51"/>
                  <a:gd name="T27" fmla="*/ 10 h 13"/>
                  <a:gd name="T28" fmla="*/ 49 w 51"/>
                  <a:gd name="T29" fmla="*/ 9 h 13"/>
                  <a:gd name="T30" fmla="*/ 48 w 51"/>
                  <a:gd name="T31" fmla="*/ 6 h 13"/>
                  <a:gd name="T32" fmla="*/ 41 w 51"/>
                  <a:gd name="T33" fmla="*/ 6 h 13"/>
                  <a:gd name="T34" fmla="*/ 33 w 51"/>
                  <a:gd name="T35" fmla="*/ 2 h 13"/>
                  <a:gd name="T36" fmla="*/ 26 w 51"/>
                  <a:gd name="T37" fmla="*/ 2 h 13"/>
                  <a:gd name="T38" fmla="*/ 17 w 51"/>
                  <a:gd name="T39" fmla="*/ 4 h 13"/>
                  <a:gd name="T40" fmla="*/ 5 w 51"/>
                  <a:gd name="T41" fmla="*/ 6 h 13"/>
                  <a:gd name="T42" fmla="*/ 9 w 51"/>
                  <a:gd name="T43" fmla="*/ 7 h 13"/>
                  <a:gd name="T44" fmla="*/ 16 w 51"/>
                  <a:gd name="T45" fmla="*/ 6 h 13"/>
                  <a:gd name="T46" fmla="*/ 23 w 51"/>
                  <a:gd name="T47" fmla="*/ 5 h 13"/>
                  <a:gd name="T48" fmla="*/ 22 w 51"/>
                  <a:gd name="T49" fmla="*/ 7 h 13"/>
                  <a:gd name="T50" fmla="*/ 18 w 51"/>
                  <a:gd name="T51" fmla="*/ 8 h 13"/>
                  <a:gd name="T52" fmla="*/ 19 w 51"/>
                  <a:gd name="T53" fmla="*/ 8 h 13"/>
                  <a:gd name="T54" fmla="*/ 19 w 51"/>
                  <a:gd name="T5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 h="13">
                    <a:moveTo>
                      <a:pt x="19" y="8"/>
                    </a:moveTo>
                    <a:cubicBezTo>
                      <a:pt x="18" y="8"/>
                      <a:pt x="17" y="8"/>
                      <a:pt x="15" y="8"/>
                    </a:cubicBezTo>
                    <a:cubicBezTo>
                      <a:pt x="14" y="9"/>
                      <a:pt x="13" y="9"/>
                      <a:pt x="12" y="10"/>
                    </a:cubicBezTo>
                    <a:cubicBezTo>
                      <a:pt x="11" y="11"/>
                      <a:pt x="8" y="13"/>
                      <a:pt x="6" y="11"/>
                    </a:cubicBezTo>
                    <a:cubicBezTo>
                      <a:pt x="5" y="10"/>
                      <a:pt x="4" y="6"/>
                      <a:pt x="2" y="7"/>
                    </a:cubicBezTo>
                    <a:cubicBezTo>
                      <a:pt x="1" y="7"/>
                      <a:pt x="0" y="9"/>
                      <a:pt x="0" y="9"/>
                    </a:cubicBezTo>
                    <a:cubicBezTo>
                      <a:pt x="0" y="11"/>
                      <a:pt x="1" y="12"/>
                      <a:pt x="2" y="12"/>
                    </a:cubicBezTo>
                    <a:cubicBezTo>
                      <a:pt x="2" y="12"/>
                      <a:pt x="2" y="13"/>
                      <a:pt x="2" y="13"/>
                    </a:cubicBezTo>
                    <a:cubicBezTo>
                      <a:pt x="3" y="13"/>
                      <a:pt x="4" y="13"/>
                      <a:pt x="4" y="13"/>
                    </a:cubicBezTo>
                    <a:cubicBezTo>
                      <a:pt x="6" y="13"/>
                      <a:pt x="7" y="13"/>
                      <a:pt x="8" y="13"/>
                    </a:cubicBezTo>
                    <a:cubicBezTo>
                      <a:pt x="12" y="13"/>
                      <a:pt x="14" y="13"/>
                      <a:pt x="17" y="11"/>
                    </a:cubicBezTo>
                    <a:cubicBezTo>
                      <a:pt x="20" y="10"/>
                      <a:pt x="22" y="8"/>
                      <a:pt x="25" y="8"/>
                    </a:cubicBezTo>
                    <a:cubicBezTo>
                      <a:pt x="27" y="7"/>
                      <a:pt x="31" y="7"/>
                      <a:pt x="34" y="8"/>
                    </a:cubicBezTo>
                    <a:cubicBezTo>
                      <a:pt x="38" y="9"/>
                      <a:pt x="41" y="10"/>
                      <a:pt x="45" y="10"/>
                    </a:cubicBezTo>
                    <a:cubicBezTo>
                      <a:pt x="47" y="10"/>
                      <a:pt x="48" y="10"/>
                      <a:pt x="49" y="9"/>
                    </a:cubicBezTo>
                    <a:cubicBezTo>
                      <a:pt x="51" y="8"/>
                      <a:pt x="50" y="6"/>
                      <a:pt x="48" y="6"/>
                    </a:cubicBezTo>
                    <a:cubicBezTo>
                      <a:pt x="46" y="6"/>
                      <a:pt x="43" y="6"/>
                      <a:pt x="41" y="6"/>
                    </a:cubicBezTo>
                    <a:cubicBezTo>
                      <a:pt x="38" y="5"/>
                      <a:pt x="35" y="3"/>
                      <a:pt x="33" y="2"/>
                    </a:cubicBezTo>
                    <a:cubicBezTo>
                      <a:pt x="31" y="0"/>
                      <a:pt x="29" y="1"/>
                      <a:pt x="26" y="2"/>
                    </a:cubicBezTo>
                    <a:cubicBezTo>
                      <a:pt x="23" y="2"/>
                      <a:pt x="20" y="3"/>
                      <a:pt x="17" y="4"/>
                    </a:cubicBezTo>
                    <a:cubicBezTo>
                      <a:pt x="13" y="5"/>
                      <a:pt x="9" y="6"/>
                      <a:pt x="5" y="6"/>
                    </a:cubicBezTo>
                    <a:cubicBezTo>
                      <a:pt x="6" y="7"/>
                      <a:pt x="8" y="7"/>
                      <a:pt x="9" y="7"/>
                    </a:cubicBezTo>
                    <a:cubicBezTo>
                      <a:pt x="12" y="8"/>
                      <a:pt x="14" y="6"/>
                      <a:pt x="16" y="6"/>
                    </a:cubicBezTo>
                    <a:cubicBezTo>
                      <a:pt x="18" y="5"/>
                      <a:pt x="21" y="5"/>
                      <a:pt x="23" y="5"/>
                    </a:cubicBezTo>
                    <a:cubicBezTo>
                      <a:pt x="24" y="5"/>
                      <a:pt x="22" y="7"/>
                      <a:pt x="22" y="7"/>
                    </a:cubicBezTo>
                    <a:cubicBezTo>
                      <a:pt x="21" y="7"/>
                      <a:pt x="20" y="8"/>
                      <a:pt x="18" y="8"/>
                    </a:cubicBezTo>
                    <a:cubicBezTo>
                      <a:pt x="19" y="8"/>
                      <a:pt x="19" y="8"/>
                      <a:pt x="19" y="8"/>
                    </a:cubicBezTo>
                    <a:cubicBezTo>
                      <a:pt x="18" y="8"/>
                      <a:pt x="19" y="8"/>
                      <a:pt x="19" y="8"/>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09" name="Freeform 530">
                <a:extLst>
                  <a:ext uri="{FF2B5EF4-FFF2-40B4-BE49-F238E27FC236}">
                    <a16:creationId xmlns:a16="http://schemas.microsoft.com/office/drawing/2014/main" id="{A5D6B76D-7181-FD9E-6257-EE7412001936}"/>
                  </a:ext>
                </a:extLst>
              </p:cNvPr>
              <p:cNvSpPr/>
              <p:nvPr>
                <p:custDataLst>
                  <p:tags r:id="rId247"/>
                </p:custDataLst>
              </p:nvPr>
            </p:nvSpPr>
            <p:spPr bwMode="auto">
              <a:xfrm>
                <a:off x="5021527" y="3984595"/>
                <a:ext cx="156892" cy="108422"/>
              </a:xfrm>
              <a:custGeom>
                <a:avLst/>
                <a:gdLst>
                  <a:gd name="T0" fmla="*/ 42 w 105"/>
                  <a:gd name="T1" fmla="*/ 69 h 73"/>
                  <a:gd name="T2" fmla="*/ 78 w 105"/>
                  <a:gd name="T3" fmla="*/ 68 h 73"/>
                  <a:gd name="T4" fmla="*/ 86 w 105"/>
                  <a:gd name="T5" fmla="*/ 72 h 73"/>
                  <a:gd name="T6" fmla="*/ 104 w 105"/>
                  <a:gd name="T7" fmla="*/ 71 h 73"/>
                  <a:gd name="T8" fmla="*/ 99 w 105"/>
                  <a:gd name="T9" fmla="*/ 56 h 73"/>
                  <a:gd name="T10" fmla="*/ 92 w 105"/>
                  <a:gd name="T11" fmla="*/ 42 h 73"/>
                  <a:gd name="T12" fmla="*/ 84 w 105"/>
                  <a:gd name="T13" fmla="*/ 27 h 73"/>
                  <a:gd name="T14" fmla="*/ 71 w 105"/>
                  <a:gd name="T15" fmla="*/ 15 h 73"/>
                  <a:gd name="T16" fmla="*/ 68 w 105"/>
                  <a:gd name="T17" fmla="*/ 8 h 73"/>
                  <a:gd name="T18" fmla="*/ 57 w 105"/>
                  <a:gd name="T19" fmla="*/ 2 h 73"/>
                  <a:gd name="T20" fmla="*/ 42 w 105"/>
                  <a:gd name="T21" fmla="*/ 1 h 73"/>
                  <a:gd name="T22" fmla="*/ 24 w 105"/>
                  <a:gd name="T23" fmla="*/ 2 h 73"/>
                  <a:gd name="T24" fmla="*/ 19 w 105"/>
                  <a:gd name="T25" fmla="*/ 5 h 73"/>
                  <a:gd name="T26" fmla="*/ 17 w 105"/>
                  <a:gd name="T27" fmla="*/ 16 h 73"/>
                  <a:gd name="T28" fmla="*/ 7 w 105"/>
                  <a:gd name="T29" fmla="*/ 29 h 73"/>
                  <a:gd name="T30" fmla="*/ 1 w 105"/>
                  <a:gd name="T31" fmla="*/ 30 h 73"/>
                  <a:gd name="T32" fmla="*/ 4 w 105"/>
                  <a:gd name="T33" fmla="*/ 34 h 73"/>
                  <a:gd name="T34" fmla="*/ 11 w 105"/>
                  <a:gd name="T35" fmla="*/ 42 h 73"/>
                  <a:gd name="T36" fmla="*/ 17 w 105"/>
                  <a:gd name="T37" fmla="*/ 43 h 73"/>
                  <a:gd name="T38" fmla="*/ 16 w 105"/>
                  <a:gd name="T39" fmla="*/ 49 h 73"/>
                  <a:gd name="T40" fmla="*/ 24 w 105"/>
                  <a:gd name="T41" fmla="*/ 50 h 73"/>
                  <a:gd name="T42" fmla="*/ 41 w 105"/>
                  <a:gd name="T43" fmla="*/ 46 h 73"/>
                  <a:gd name="T44" fmla="*/ 55 w 105"/>
                  <a:gd name="T45" fmla="*/ 51 h 73"/>
                  <a:gd name="T46" fmla="*/ 56 w 105"/>
                  <a:gd name="T47" fmla="*/ 59 h 73"/>
                  <a:gd name="T48" fmla="*/ 38 w 105"/>
                  <a:gd name="T49" fmla="*/ 57 h 73"/>
                  <a:gd name="T50" fmla="*/ 22 w 105"/>
                  <a:gd name="T51" fmla="*/ 63 h 73"/>
                  <a:gd name="T52" fmla="*/ 15 w 105"/>
                  <a:gd name="T53" fmla="*/ 64 h 73"/>
                  <a:gd name="T54" fmla="*/ 20 w 105"/>
                  <a:gd name="T55" fmla="*/ 68 h 73"/>
                  <a:gd name="T56" fmla="*/ 28 w 105"/>
                  <a:gd name="T57" fmla="*/ 66 h 73"/>
                  <a:gd name="T58" fmla="*/ 34 w 105"/>
                  <a:gd name="T59" fmla="*/ 66 h 73"/>
                  <a:gd name="T60" fmla="*/ 37 w 105"/>
                  <a:gd name="T61" fmla="*/ 66 h 73"/>
                  <a:gd name="T62" fmla="*/ 36 w 105"/>
                  <a:gd name="T63" fmla="*/ 69 h 73"/>
                  <a:gd name="T64" fmla="*/ 27 w 105"/>
                  <a:gd name="T65" fmla="*/ 70 h 73"/>
                  <a:gd name="T66" fmla="*/ 13 w 105"/>
                  <a:gd name="T67" fmla="*/ 73 h 73"/>
                  <a:gd name="T68" fmla="*/ 23 w 105"/>
                  <a:gd name="T69" fmla="*/ 7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73">
                    <a:moveTo>
                      <a:pt x="23" y="71"/>
                    </a:moveTo>
                    <a:cubicBezTo>
                      <a:pt x="29" y="71"/>
                      <a:pt x="36" y="71"/>
                      <a:pt x="42" y="69"/>
                    </a:cubicBezTo>
                    <a:cubicBezTo>
                      <a:pt x="48" y="67"/>
                      <a:pt x="54" y="67"/>
                      <a:pt x="61" y="67"/>
                    </a:cubicBezTo>
                    <a:cubicBezTo>
                      <a:pt x="67" y="66"/>
                      <a:pt x="73" y="66"/>
                      <a:pt x="78" y="68"/>
                    </a:cubicBezTo>
                    <a:cubicBezTo>
                      <a:pt x="80" y="69"/>
                      <a:pt x="81" y="70"/>
                      <a:pt x="82" y="70"/>
                    </a:cubicBezTo>
                    <a:cubicBezTo>
                      <a:pt x="83" y="71"/>
                      <a:pt x="84" y="71"/>
                      <a:pt x="86" y="72"/>
                    </a:cubicBezTo>
                    <a:cubicBezTo>
                      <a:pt x="89" y="72"/>
                      <a:pt x="92" y="72"/>
                      <a:pt x="95" y="72"/>
                    </a:cubicBezTo>
                    <a:cubicBezTo>
                      <a:pt x="98" y="72"/>
                      <a:pt x="101" y="72"/>
                      <a:pt x="104" y="71"/>
                    </a:cubicBezTo>
                    <a:cubicBezTo>
                      <a:pt x="105" y="69"/>
                      <a:pt x="104" y="65"/>
                      <a:pt x="103" y="62"/>
                    </a:cubicBezTo>
                    <a:cubicBezTo>
                      <a:pt x="102" y="59"/>
                      <a:pt x="101" y="58"/>
                      <a:pt x="99" y="56"/>
                    </a:cubicBezTo>
                    <a:cubicBezTo>
                      <a:pt x="96" y="55"/>
                      <a:pt x="95" y="53"/>
                      <a:pt x="94" y="50"/>
                    </a:cubicBezTo>
                    <a:cubicBezTo>
                      <a:pt x="92" y="48"/>
                      <a:pt x="93" y="45"/>
                      <a:pt x="92" y="42"/>
                    </a:cubicBezTo>
                    <a:cubicBezTo>
                      <a:pt x="91" y="39"/>
                      <a:pt x="91" y="36"/>
                      <a:pt x="89" y="34"/>
                    </a:cubicBezTo>
                    <a:cubicBezTo>
                      <a:pt x="88" y="31"/>
                      <a:pt x="86" y="29"/>
                      <a:pt x="84" y="27"/>
                    </a:cubicBezTo>
                    <a:cubicBezTo>
                      <a:pt x="81" y="25"/>
                      <a:pt x="79" y="23"/>
                      <a:pt x="77" y="20"/>
                    </a:cubicBezTo>
                    <a:cubicBezTo>
                      <a:pt x="75" y="18"/>
                      <a:pt x="73" y="17"/>
                      <a:pt x="71" y="15"/>
                    </a:cubicBezTo>
                    <a:cubicBezTo>
                      <a:pt x="71" y="14"/>
                      <a:pt x="70" y="12"/>
                      <a:pt x="70" y="11"/>
                    </a:cubicBezTo>
                    <a:cubicBezTo>
                      <a:pt x="70" y="10"/>
                      <a:pt x="70" y="9"/>
                      <a:pt x="68" y="8"/>
                    </a:cubicBezTo>
                    <a:cubicBezTo>
                      <a:pt x="66" y="8"/>
                      <a:pt x="63" y="8"/>
                      <a:pt x="61" y="7"/>
                    </a:cubicBezTo>
                    <a:cubicBezTo>
                      <a:pt x="59" y="6"/>
                      <a:pt x="58" y="4"/>
                      <a:pt x="57" y="2"/>
                    </a:cubicBezTo>
                    <a:cubicBezTo>
                      <a:pt x="55" y="1"/>
                      <a:pt x="54" y="0"/>
                      <a:pt x="51" y="0"/>
                    </a:cubicBezTo>
                    <a:cubicBezTo>
                      <a:pt x="48" y="0"/>
                      <a:pt x="45" y="0"/>
                      <a:pt x="42" y="1"/>
                    </a:cubicBezTo>
                    <a:cubicBezTo>
                      <a:pt x="39" y="1"/>
                      <a:pt x="36" y="2"/>
                      <a:pt x="33" y="2"/>
                    </a:cubicBezTo>
                    <a:cubicBezTo>
                      <a:pt x="30" y="2"/>
                      <a:pt x="27" y="2"/>
                      <a:pt x="24" y="2"/>
                    </a:cubicBezTo>
                    <a:cubicBezTo>
                      <a:pt x="23" y="3"/>
                      <a:pt x="22" y="3"/>
                      <a:pt x="21" y="4"/>
                    </a:cubicBezTo>
                    <a:cubicBezTo>
                      <a:pt x="20" y="4"/>
                      <a:pt x="20" y="5"/>
                      <a:pt x="19" y="5"/>
                    </a:cubicBezTo>
                    <a:cubicBezTo>
                      <a:pt x="19" y="6"/>
                      <a:pt x="19" y="6"/>
                      <a:pt x="19" y="7"/>
                    </a:cubicBezTo>
                    <a:cubicBezTo>
                      <a:pt x="19" y="10"/>
                      <a:pt x="18" y="13"/>
                      <a:pt x="17" y="16"/>
                    </a:cubicBezTo>
                    <a:cubicBezTo>
                      <a:pt x="15" y="18"/>
                      <a:pt x="13" y="20"/>
                      <a:pt x="12" y="23"/>
                    </a:cubicBezTo>
                    <a:cubicBezTo>
                      <a:pt x="10" y="25"/>
                      <a:pt x="9" y="27"/>
                      <a:pt x="7" y="29"/>
                    </a:cubicBezTo>
                    <a:cubicBezTo>
                      <a:pt x="6" y="30"/>
                      <a:pt x="5" y="31"/>
                      <a:pt x="4" y="31"/>
                    </a:cubicBezTo>
                    <a:cubicBezTo>
                      <a:pt x="3" y="31"/>
                      <a:pt x="2" y="30"/>
                      <a:pt x="1" y="30"/>
                    </a:cubicBezTo>
                    <a:cubicBezTo>
                      <a:pt x="0" y="31"/>
                      <a:pt x="1" y="32"/>
                      <a:pt x="1" y="32"/>
                    </a:cubicBezTo>
                    <a:cubicBezTo>
                      <a:pt x="1" y="33"/>
                      <a:pt x="2" y="34"/>
                      <a:pt x="4" y="34"/>
                    </a:cubicBezTo>
                    <a:cubicBezTo>
                      <a:pt x="6" y="34"/>
                      <a:pt x="7" y="34"/>
                      <a:pt x="9" y="36"/>
                    </a:cubicBezTo>
                    <a:cubicBezTo>
                      <a:pt x="10" y="38"/>
                      <a:pt x="10" y="40"/>
                      <a:pt x="11" y="42"/>
                    </a:cubicBezTo>
                    <a:cubicBezTo>
                      <a:pt x="12" y="43"/>
                      <a:pt x="13" y="45"/>
                      <a:pt x="15" y="43"/>
                    </a:cubicBezTo>
                    <a:cubicBezTo>
                      <a:pt x="16" y="43"/>
                      <a:pt x="16" y="43"/>
                      <a:pt x="17" y="43"/>
                    </a:cubicBezTo>
                    <a:cubicBezTo>
                      <a:pt x="18" y="43"/>
                      <a:pt x="17" y="44"/>
                      <a:pt x="17" y="45"/>
                    </a:cubicBezTo>
                    <a:cubicBezTo>
                      <a:pt x="15" y="46"/>
                      <a:pt x="14" y="47"/>
                      <a:pt x="16" y="49"/>
                    </a:cubicBezTo>
                    <a:cubicBezTo>
                      <a:pt x="17" y="49"/>
                      <a:pt x="17" y="50"/>
                      <a:pt x="18" y="50"/>
                    </a:cubicBezTo>
                    <a:cubicBezTo>
                      <a:pt x="20" y="50"/>
                      <a:pt x="22" y="50"/>
                      <a:pt x="24" y="50"/>
                    </a:cubicBezTo>
                    <a:cubicBezTo>
                      <a:pt x="26" y="50"/>
                      <a:pt x="29" y="49"/>
                      <a:pt x="32" y="48"/>
                    </a:cubicBezTo>
                    <a:cubicBezTo>
                      <a:pt x="35" y="47"/>
                      <a:pt x="38" y="47"/>
                      <a:pt x="41" y="46"/>
                    </a:cubicBezTo>
                    <a:cubicBezTo>
                      <a:pt x="44" y="45"/>
                      <a:pt x="46" y="46"/>
                      <a:pt x="48" y="47"/>
                    </a:cubicBezTo>
                    <a:cubicBezTo>
                      <a:pt x="50" y="49"/>
                      <a:pt x="52" y="50"/>
                      <a:pt x="55" y="51"/>
                    </a:cubicBezTo>
                    <a:cubicBezTo>
                      <a:pt x="58" y="51"/>
                      <a:pt x="65" y="50"/>
                      <a:pt x="65" y="54"/>
                    </a:cubicBezTo>
                    <a:cubicBezTo>
                      <a:pt x="65" y="59"/>
                      <a:pt x="59" y="59"/>
                      <a:pt x="56" y="59"/>
                    </a:cubicBezTo>
                    <a:cubicBezTo>
                      <a:pt x="53" y="58"/>
                      <a:pt x="50" y="58"/>
                      <a:pt x="47" y="57"/>
                    </a:cubicBezTo>
                    <a:cubicBezTo>
                      <a:pt x="44" y="57"/>
                      <a:pt x="41" y="56"/>
                      <a:pt x="38" y="57"/>
                    </a:cubicBezTo>
                    <a:cubicBezTo>
                      <a:pt x="36" y="57"/>
                      <a:pt x="33" y="59"/>
                      <a:pt x="30" y="61"/>
                    </a:cubicBezTo>
                    <a:cubicBezTo>
                      <a:pt x="28" y="62"/>
                      <a:pt x="25" y="63"/>
                      <a:pt x="22" y="63"/>
                    </a:cubicBezTo>
                    <a:cubicBezTo>
                      <a:pt x="20" y="63"/>
                      <a:pt x="19" y="63"/>
                      <a:pt x="17" y="63"/>
                    </a:cubicBezTo>
                    <a:cubicBezTo>
                      <a:pt x="15" y="62"/>
                      <a:pt x="15" y="62"/>
                      <a:pt x="15" y="64"/>
                    </a:cubicBezTo>
                    <a:cubicBezTo>
                      <a:pt x="14" y="65"/>
                      <a:pt x="14" y="67"/>
                      <a:pt x="15" y="68"/>
                    </a:cubicBezTo>
                    <a:cubicBezTo>
                      <a:pt x="17" y="69"/>
                      <a:pt x="19" y="68"/>
                      <a:pt x="20" y="68"/>
                    </a:cubicBezTo>
                    <a:cubicBezTo>
                      <a:pt x="22" y="68"/>
                      <a:pt x="23" y="68"/>
                      <a:pt x="25" y="67"/>
                    </a:cubicBezTo>
                    <a:cubicBezTo>
                      <a:pt x="26" y="66"/>
                      <a:pt x="26" y="66"/>
                      <a:pt x="28" y="66"/>
                    </a:cubicBezTo>
                    <a:cubicBezTo>
                      <a:pt x="29" y="67"/>
                      <a:pt x="30" y="68"/>
                      <a:pt x="31" y="68"/>
                    </a:cubicBezTo>
                    <a:cubicBezTo>
                      <a:pt x="33" y="69"/>
                      <a:pt x="33" y="67"/>
                      <a:pt x="34" y="66"/>
                    </a:cubicBezTo>
                    <a:cubicBezTo>
                      <a:pt x="34" y="65"/>
                      <a:pt x="35" y="65"/>
                      <a:pt x="36" y="65"/>
                    </a:cubicBezTo>
                    <a:cubicBezTo>
                      <a:pt x="37" y="65"/>
                      <a:pt x="38" y="65"/>
                      <a:pt x="37" y="66"/>
                    </a:cubicBezTo>
                    <a:cubicBezTo>
                      <a:pt x="37" y="67"/>
                      <a:pt x="37" y="67"/>
                      <a:pt x="36" y="67"/>
                    </a:cubicBezTo>
                    <a:cubicBezTo>
                      <a:pt x="36" y="68"/>
                      <a:pt x="36" y="69"/>
                      <a:pt x="36" y="69"/>
                    </a:cubicBezTo>
                    <a:cubicBezTo>
                      <a:pt x="35" y="70"/>
                      <a:pt x="33" y="70"/>
                      <a:pt x="31" y="70"/>
                    </a:cubicBezTo>
                    <a:cubicBezTo>
                      <a:pt x="30" y="70"/>
                      <a:pt x="28" y="70"/>
                      <a:pt x="27" y="70"/>
                    </a:cubicBezTo>
                    <a:cubicBezTo>
                      <a:pt x="25" y="71"/>
                      <a:pt x="23" y="70"/>
                      <a:pt x="21" y="70"/>
                    </a:cubicBezTo>
                    <a:cubicBezTo>
                      <a:pt x="18" y="70"/>
                      <a:pt x="14" y="70"/>
                      <a:pt x="13" y="73"/>
                    </a:cubicBezTo>
                    <a:cubicBezTo>
                      <a:pt x="17" y="73"/>
                      <a:pt x="20" y="72"/>
                      <a:pt x="23" y="71"/>
                    </a:cubicBezTo>
                    <a:cubicBezTo>
                      <a:pt x="23" y="71"/>
                      <a:pt x="23" y="71"/>
                      <a:pt x="23" y="71"/>
                    </a:cubicBezTo>
                    <a:cubicBezTo>
                      <a:pt x="27" y="71"/>
                      <a:pt x="23" y="71"/>
                      <a:pt x="23" y="71"/>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10" name="Freeform 532">
                <a:extLst>
                  <a:ext uri="{FF2B5EF4-FFF2-40B4-BE49-F238E27FC236}">
                    <a16:creationId xmlns:a16="http://schemas.microsoft.com/office/drawing/2014/main" id="{23836C1F-8895-34E2-EC1D-52CFFC4B9863}"/>
                  </a:ext>
                </a:extLst>
              </p:cNvPr>
              <p:cNvSpPr/>
              <p:nvPr>
                <p:custDataLst>
                  <p:tags r:id="rId248"/>
                </p:custDataLst>
              </p:nvPr>
            </p:nvSpPr>
            <p:spPr bwMode="auto">
              <a:xfrm>
                <a:off x="5090406" y="4085363"/>
                <a:ext cx="179851" cy="139035"/>
              </a:xfrm>
              <a:custGeom>
                <a:avLst/>
                <a:gdLst>
                  <a:gd name="T0" fmla="*/ 36 w 121"/>
                  <a:gd name="T1" fmla="*/ 52 h 93"/>
                  <a:gd name="T2" fmla="*/ 51 w 121"/>
                  <a:gd name="T3" fmla="*/ 47 h 93"/>
                  <a:gd name="T4" fmla="*/ 69 w 121"/>
                  <a:gd name="T5" fmla="*/ 58 h 93"/>
                  <a:gd name="T6" fmla="*/ 74 w 121"/>
                  <a:gd name="T7" fmla="*/ 72 h 93"/>
                  <a:gd name="T8" fmla="*/ 87 w 121"/>
                  <a:gd name="T9" fmla="*/ 70 h 93"/>
                  <a:gd name="T10" fmla="*/ 93 w 121"/>
                  <a:gd name="T11" fmla="*/ 80 h 93"/>
                  <a:gd name="T12" fmla="*/ 96 w 121"/>
                  <a:gd name="T13" fmla="*/ 91 h 93"/>
                  <a:gd name="T14" fmla="*/ 103 w 121"/>
                  <a:gd name="T15" fmla="*/ 89 h 93"/>
                  <a:gd name="T16" fmla="*/ 109 w 121"/>
                  <a:gd name="T17" fmla="*/ 86 h 93"/>
                  <a:gd name="T18" fmla="*/ 115 w 121"/>
                  <a:gd name="T19" fmla="*/ 83 h 93"/>
                  <a:gd name="T20" fmla="*/ 116 w 121"/>
                  <a:gd name="T21" fmla="*/ 71 h 93"/>
                  <a:gd name="T22" fmla="*/ 118 w 121"/>
                  <a:gd name="T23" fmla="*/ 66 h 93"/>
                  <a:gd name="T24" fmla="*/ 117 w 121"/>
                  <a:gd name="T25" fmla="*/ 57 h 93"/>
                  <a:gd name="T26" fmla="*/ 114 w 121"/>
                  <a:gd name="T27" fmla="*/ 47 h 93"/>
                  <a:gd name="T28" fmla="*/ 112 w 121"/>
                  <a:gd name="T29" fmla="*/ 36 h 93"/>
                  <a:gd name="T30" fmla="*/ 111 w 121"/>
                  <a:gd name="T31" fmla="*/ 30 h 93"/>
                  <a:gd name="T32" fmla="*/ 108 w 121"/>
                  <a:gd name="T33" fmla="*/ 22 h 93"/>
                  <a:gd name="T34" fmla="*/ 102 w 121"/>
                  <a:gd name="T35" fmla="*/ 12 h 93"/>
                  <a:gd name="T36" fmla="*/ 96 w 121"/>
                  <a:gd name="T37" fmla="*/ 5 h 93"/>
                  <a:gd name="T38" fmla="*/ 90 w 121"/>
                  <a:gd name="T39" fmla="*/ 11 h 93"/>
                  <a:gd name="T40" fmla="*/ 82 w 121"/>
                  <a:gd name="T41" fmla="*/ 10 h 93"/>
                  <a:gd name="T42" fmla="*/ 68 w 121"/>
                  <a:gd name="T43" fmla="*/ 11 h 93"/>
                  <a:gd name="T44" fmla="*/ 57 w 121"/>
                  <a:gd name="T45" fmla="*/ 6 h 93"/>
                  <a:gd name="T46" fmla="*/ 29 w 121"/>
                  <a:gd name="T47" fmla="*/ 2 h 93"/>
                  <a:gd name="T48" fmla="*/ 21 w 121"/>
                  <a:gd name="T49" fmla="*/ 6 h 93"/>
                  <a:gd name="T50" fmla="*/ 18 w 121"/>
                  <a:gd name="T51" fmla="*/ 10 h 93"/>
                  <a:gd name="T52" fmla="*/ 19 w 121"/>
                  <a:gd name="T53" fmla="*/ 17 h 93"/>
                  <a:gd name="T54" fmla="*/ 1 w 121"/>
                  <a:gd name="T55" fmla="*/ 25 h 93"/>
                  <a:gd name="T56" fmla="*/ 0 w 121"/>
                  <a:gd name="T57" fmla="*/ 31 h 93"/>
                  <a:gd name="T58" fmla="*/ 4 w 121"/>
                  <a:gd name="T59" fmla="*/ 34 h 93"/>
                  <a:gd name="T60" fmla="*/ 7 w 121"/>
                  <a:gd name="T61" fmla="*/ 43 h 93"/>
                  <a:gd name="T62" fmla="*/ 14 w 121"/>
                  <a:gd name="T63" fmla="*/ 43 h 93"/>
                  <a:gd name="T64" fmla="*/ 17 w 121"/>
                  <a:gd name="T65" fmla="*/ 47 h 93"/>
                  <a:gd name="T66" fmla="*/ 22 w 121"/>
                  <a:gd name="T67" fmla="*/ 52 h 93"/>
                  <a:gd name="T68" fmla="*/ 27 w 121"/>
                  <a:gd name="T69" fmla="*/ 60 h 93"/>
                  <a:gd name="T70" fmla="*/ 30 w 121"/>
                  <a:gd name="T71" fmla="*/ 61 h 93"/>
                  <a:gd name="T72" fmla="*/ 33 w 121"/>
                  <a:gd name="T73" fmla="*/ 5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93">
                    <a:moveTo>
                      <a:pt x="33" y="59"/>
                    </a:moveTo>
                    <a:cubicBezTo>
                      <a:pt x="33" y="56"/>
                      <a:pt x="35" y="54"/>
                      <a:pt x="36" y="52"/>
                    </a:cubicBezTo>
                    <a:cubicBezTo>
                      <a:pt x="38" y="50"/>
                      <a:pt x="39" y="48"/>
                      <a:pt x="42" y="47"/>
                    </a:cubicBezTo>
                    <a:cubicBezTo>
                      <a:pt x="45" y="47"/>
                      <a:pt x="48" y="48"/>
                      <a:pt x="51" y="47"/>
                    </a:cubicBezTo>
                    <a:cubicBezTo>
                      <a:pt x="54" y="47"/>
                      <a:pt x="57" y="45"/>
                      <a:pt x="59" y="45"/>
                    </a:cubicBezTo>
                    <a:cubicBezTo>
                      <a:pt x="66" y="46"/>
                      <a:pt x="66" y="54"/>
                      <a:pt x="69" y="58"/>
                    </a:cubicBezTo>
                    <a:cubicBezTo>
                      <a:pt x="71" y="60"/>
                      <a:pt x="73" y="62"/>
                      <a:pt x="74" y="65"/>
                    </a:cubicBezTo>
                    <a:cubicBezTo>
                      <a:pt x="75" y="67"/>
                      <a:pt x="75" y="70"/>
                      <a:pt x="74" y="72"/>
                    </a:cubicBezTo>
                    <a:cubicBezTo>
                      <a:pt x="77" y="72"/>
                      <a:pt x="79" y="73"/>
                      <a:pt x="81" y="72"/>
                    </a:cubicBezTo>
                    <a:cubicBezTo>
                      <a:pt x="83" y="71"/>
                      <a:pt x="85" y="70"/>
                      <a:pt x="87" y="70"/>
                    </a:cubicBezTo>
                    <a:cubicBezTo>
                      <a:pt x="89" y="69"/>
                      <a:pt x="90" y="71"/>
                      <a:pt x="90" y="73"/>
                    </a:cubicBezTo>
                    <a:cubicBezTo>
                      <a:pt x="91" y="75"/>
                      <a:pt x="92" y="77"/>
                      <a:pt x="93" y="80"/>
                    </a:cubicBezTo>
                    <a:cubicBezTo>
                      <a:pt x="93" y="82"/>
                      <a:pt x="93" y="84"/>
                      <a:pt x="93" y="86"/>
                    </a:cubicBezTo>
                    <a:cubicBezTo>
                      <a:pt x="93" y="89"/>
                      <a:pt x="93" y="90"/>
                      <a:pt x="96" y="91"/>
                    </a:cubicBezTo>
                    <a:cubicBezTo>
                      <a:pt x="97" y="91"/>
                      <a:pt x="98" y="93"/>
                      <a:pt x="99" y="93"/>
                    </a:cubicBezTo>
                    <a:cubicBezTo>
                      <a:pt x="101" y="93"/>
                      <a:pt x="102" y="90"/>
                      <a:pt x="103" y="89"/>
                    </a:cubicBezTo>
                    <a:cubicBezTo>
                      <a:pt x="104" y="88"/>
                      <a:pt x="105" y="86"/>
                      <a:pt x="107" y="86"/>
                    </a:cubicBezTo>
                    <a:cubicBezTo>
                      <a:pt x="108" y="86"/>
                      <a:pt x="108" y="86"/>
                      <a:pt x="109" y="86"/>
                    </a:cubicBezTo>
                    <a:cubicBezTo>
                      <a:pt x="110" y="86"/>
                      <a:pt x="110" y="88"/>
                      <a:pt x="111" y="88"/>
                    </a:cubicBezTo>
                    <a:cubicBezTo>
                      <a:pt x="112" y="89"/>
                      <a:pt x="114" y="84"/>
                      <a:pt x="115" y="83"/>
                    </a:cubicBezTo>
                    <a:cubicBezTo>
                      <a:pt x="117" y="80"/>
                      <a:pt x="112" y="78"/>
                      <a:pt x="112" y="74"/>
                    </a:cubicBezTo>
                    <a:cubicBezTo>
                      <a:pt x="112" y="72"/>
                      <a:pt x="114" y="71"/>
                      <a:pt x="116" y="71"/>
                    </a:cubicBezTo>
                    <a:cubicBezTo>
                      <a:pt x="117" y="71"/>
                      <a:pt x="120" y="73"/>
                      <a:pt x="121" y="73"/>
                    </a:cubicBezTo>
                    <a:cubicBezTo>
                      <a:pt x="121" y="73"/>
                      <a:pt x="118" y="67"/>
                      <a:pt x="118" y="66"/>
                    </a:cubicBezTo>
                    <a:cubicBezTo>
                      <a:pt x="118" y="64"/>
                      <a:pt x="120" y="61"/>
                      <a:pt x="119" y="59"/>
                    </a:cubicBezTo>
                    <a:cubicBezTo>
                      <a:pt x="119" y="57"/>
                      <a:pt x="118" y="57"/>
                      <a:pt x="117" y="57"/>
                    </a:cubicBezTo>
                    <a:cubicBezTo>
                      <a:pt x="115" y="56"/>
                      <a:pt x="115" y="54"/>
                      <a:pt x="114" y="53"/>
                    </a:cubicBezTo>
                    <a:cubicBezTo>
                      <a:pt x="114" y="51"/>
                      <a:pt x="114" y="49"/>
                      <a:pt x="114" y="47"/>
                    </a:cubicBezTo>
                    <a:cubicBezTo>
                      <a:pt x="113" y="45"/>
                      <a:pt x="114" y="44"/>
                      <a:pt x="116" y="42"/>
                    </a:cubicBezTo>
                    <a:cubicBezTo>
                      <a:pt x="114" y="40"/>
                      <a:pt x="113" y="38"/>
                      <a:pt x="112" y="36"/>
                    </a:cubicBezTo>
                    <a:cubicBezTo>
                      <a:pt x="112" y="35"/>
                      <a:pt x="111" y="34"/>
                      <a:pt x="111" y="33"/>
                    </a:cubicBezTo>
                    <a:cubicBezTo>
                      <a:pt x="112" y="32"/>
                      <a:pt x="112" y="31"/>
                      <a:pt x="111" y="30"/>
                    </a:cubicBezTo>
                    <a:cubicBezTo>
                      <a:pt x="110" y="28"/>
                      <a:pt x="107" y="31"/>
                      <a:pt x="106" y="29"/>
                    </a:cubicBezTo>
                    <a:cubicBezTo>
                      <a:pt x="104" y="26"/>
                      <a:pt x="107" y="24"/>
                      <a:pt x="108" y="22"/>
                    </a:cubicBezTo>
                    <a:cubicBezTo>
                      <a:pt x="108" y="21"/>
                      <a:pt x="104" y="19"/>
                      <a:pt x="104" y="18"/>
                    </a:cubicBezTo>
                    <a:cubicBezTo>
                      <a:pt x="102" y="16"/>
                      <a:pt x="102" y="14"/>
                      <a:pt x="102" y="12"/>
                    </a:cubicBezTo>
                    <a:cubicBezTo>
                      <a:pt x="101" y="10"/>
                      <a:pt x="100" y="8"/>
                      <a:pt x="99" y="6"/>
                    </a:cubicBezTo>
                    <a:cubicBezTo>
                      <a:pt x="98" y="4"/>
                      <a:pt x="96" y="3"/>
                      <a:pt x="96" y="5"/>
                    </a:cubicBezTo>
                    <a:cubicBezTo>
                      <a:pt x="96" y="7"/>
                      <a:pt x="95" y="8"/>
                      <a:pt x="93" y="9"/>
                    </a:cubicBezTo>
                    <a:cubicBezTo>
                      <a:pt x="92" y="10"/>
                      <a:pt x="91" y="10"/>
                      <a:pt x="90" y="11"/>
                    </a:cubicBezTo>
                    <a:cubicBezTo>
                      <a:pt x="89" y="11"/>
                      <a:pt x="88" y="12"/>
                      <a:pt x="87" y="13"/>
                    </a:cubicBezTo>
                    <a:cubicBezTo>
                      <a:pt x="85" y="13"/>
                      <a:pt x="83" y="11"/>
                      <a:pt x="82" y="10"/>
                    </a:cubicBezTo>
                    <a:cubicBezTo>
                      <a:pt x="79" y="9"/>
                      <a:pt x="77" y="12"/>
                      <a:pt x="75" y="13"/>
                    </a:cubicBezTo>
                    <a:cubicBezTo>
                      <a:pt x="72" y="14"/>
                      <a:pt x="70" y="13"/>
                      <a:pt x="68" y="11"/>
                    </a:cubicBezTo>
                    <a:cubicBezTo>
                      <a:pt x="66" y="9"/>
                      <a:pt x="66" y="11"/>
                      <a:pt x="64" y="12"/>
                    </a:cubicBezTo>
                    <a:cubicBezTo>
                      <a:pt x="61" y="15"/>
                      <a:pt x="56" y="9"/>
                      <a:pt x="57" y="6"/>
                    </a:cubicBezTo>
                    <a:cubicBezTo>
                      <a:pt x="51" y="6"/>
                      <a:pt x="43" y="7"/>
                      <a:pt x="37" y="5"/>
                    </a:cubicBezTo>
                    <a:cubicBezTo>
                      <a:pt x="34" y="5"/>
                      <a:pt x="32" y="2"/>
                      <a:pt x="29" y="2"/>
                    </a:cubicBezTo>
                    <a:cubicBezTo>
                      <a:pt x="26" y="1"/>
                      <a:pt x="23" y="0"/>
                      <a:pt x="20" y="1"/>
                    </a:cubicBezTo>
                    <a:cubicBezTo>
                      <a:pt x="21" y="2"/>
                      <a:pt x="21" y="4"/>
                      <a:pt x="21" y="6"/>
                    </a:cubicBezTo>
                    <a:cubicBezTo>
                      <a:pt x="20" y="7"/>
                      <a:pt x="20" y="8"/>
                      <a:pt x="19" y="8"/>
                    </a:cubicBezTo>
                    <a:cubicBezTo>
                      <a:pt x="19" y="9"/>
                      <a:pt x="18" y="9"/>
                      <a:pt x="18" y="10"/>
                    </a:cubicBezTo>
                    <a:cubicBezTo>
                      <a:pt x="18" y="11"/>
                      <a:pt x="19" y="12"/>
                      <a:pt x="20" y="13"/>
                    </a:cubicBezTo>
                    <a:cubicBezTo>
                      <a:pt x="20" y="14"/>
                      <a:pt x="20" y="16"/>
                      <a:pt x="19" y="17"/>
                    </a:cubicBezTo>
                    <a:cubicBezTo>
                      <a:pt x="16" y="19"/>
                      <a:pt x="12" y="18"/>
                      <a:pt x="9" y="19"/>
                    </a:cubicBezTo>
                    <a:cubicBezTo>
                      <a:pt x="5" y="20"/>
                      <a:pt x="3" y="23"/>
                      <a:pt x="1" y="25"/>
                    </a:cubicBezTo>
                    <a:cubicBezTo>
                      <a:pt x="3" y="26"/>
                      <a:pt x="1" y="27"/>
                      <a:pt x="1" y="28"/>
                    </a:cubicBezTo>
                    <a:cubicBezTo>
                      <a:pt x="0" y="29"/>
                      <a:pt x="0" y="30"/>
                      <a:pt x="0" y="31"/>
                    </a:cubicBezTo>
                    <a:cubicBezTo>
                      <a:pt x="1" y="32"/>
                      <a:pt x="2" y="31"/>
                      <a:pt x="3" y="31"/>
                    </a:cubicBezTo>
                    <a:cubicBezTo>
                      <a:pt x="5" y="30"/>
                      <a:pt x="5" y="33"/>
                      <a:pt x="4" y="34"/>
                    </a:cubicBezTo>
                    <a:cubicBezTo>
                      <a:pt x="4" y="35"/>
                      <a:pt x="6" y="37"/>
                      <a:pt x="7" y="38"/>
                    </a:cubicBezTo>
                    <a:cubicBezTo>
                      <a:pt x="8" y="39"/>
                      <a:pt x="6" y="41"/>
                      <a:pt x="7" y="43"/>
                    </a:cubicBezTo>
                    <a:cubicBezTo>
                      <a:pt x="8" y="43"/>
                      <a:pt x="11" y="44"/>
                      <a:pt x="12" y="44"/>
                    </a:cubicBezTo>
                    <a:cubicBezTo>
                      <a:pt x="13" y="44"/>
                      <a:pt x="13" y="43"/>
                      <a:pt x="14" y="43"/>
                    </a:cubicBezTo>
                    <a:cubicBezTo>
                      <a:pt x="14" y="43"/>
                      <a:pt x="15" y="43"/>
                      <a:pt x="16" y="44"/>
                    </a:cubicBezTo>
                    <a:cubicBezTo>
                      <a:pt x="16" y="45"/>
                      <a:pt x="16" y="46"/>
                      <a:pt x="17" y="47"/>
                    </a:cubicBezTo>
                    <a:cubicBezTo>
                      <a:pt x="19" y="47"/>
                      <a:pt x="20" y="47"/>
                      <a:pt x="21" y="47"/>
                    </a:cubicBezTo>
                    <a:cubicBezTo>
                      <a:pt x="22" y="48"/>
                      <a:pt x="22" y="51"/>
                      <a:pt x="22" y="52"/>
                    </a:cubicBezTo>
                    <a:cubicBezTo>
                      <a:pt x="21" y="54"/>
                      <a:pt x="23" y="54"/>
                      <a:pt x="24" y="54"/>
                    </a:cubicBezTo>
                    <a:cubicBezTo>
                      <a:pt x="26" y="54"/>
                      <a:pt x="25" y="59"/>
                      <a:pt x="27" y="60"/>
                    </a:cubicBezTo>
                    <a:cubicBezTo>
                      <a:pt x="27" y="60"/>
                      <a:pt x="28" y="60"/>
                      <a:pt x="29" y="60"/>
                    </a:cubicBezTo>
                    <a:cubicBezTo>
                      <a:pt x="29" y="61"/>
                      <a:pt x="29" y="61"/>
                      <a:pt x="30" y="61"/>
                    </a:cubicBezTo>
                    <a:cubicBezTo>
                      <a:pt x="32" y="61"/>
                      <a:pt x="32" y="59"/>
                      <a:pt x="33" y="58"/>
                    </a:cubicBezTo>
                    <a:cubicBezTo>
                      <a:pt x="33" y="58"/>
                      <a:pt x="33" y="58"/>
                      <a:pt x="33" y="59"/>
                    </a:cubicBezTo>
                    <a:cubicBezTo>
                      <a:pt x="34" y="55"/>
                      <a:pt x="33" y="59"/>
                      <a:pt x="33" y="59"/>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11" name="Freeform 533">
                <a:extLst>
                  <a:ext uri="{FF2B5EF4-FFF2-40B4-BE49-F238E27FC236}">
                    <a16:creationId xmlns:a16="http://schemas.microsoft.com/office/drawing/2014/main" id="{FA58220E-C46C-28F3-FFDC-91C2C9E39AB7}"/>
                  </a:ext>
                </a:extLst>
              </p:cNvPr>
              <p:cNvSpPr>
                <a:spLocks noEditPoints="1"/>
              </p:cNvSpPr>
              <p:nvPr>
                <p:custDataLst>
                  <p:tags r:id="rId249"/>
                </p:custDataLst>
              </p:nvPr>
            </p:nvSpPr>
            <p:spPr bwMode="auto">
              <a:xfrm>
                <a:off x="5043211" y="4085363"/>
                <a:ext cx="75257" cy="42094"/>
              </a:xfrm>
              <a:custGeom>
                <a:avLst/>
                <a:gdLst>
                  <a:gd name="T0" fmla="*/ 43 w 51"/>
                  <a:gd name="T1" fmla="*/ 16 h 28"/>
                  <a:gd name="T2" fmla="*/ 48 w 51"/>
                  <a:gd name="T3" fmla="*/ 12 h 28"/>
                  <a:gd name="T4" fmla="*/ 51 w 51"/>
                  <a:gd name="T5" fmla="*/ 4 h 28"/>
                  <a:gd name="T6" fmla="*/ 48 w 51"/>
                  <a:gd name="T7" fmla="*/ 1 h 28"/>
                  <a:gd name="T8" fmla="*/ 24 w 51"/>
                  <a:gd name="T9" fmla="*/ 4 h 28"/>
                  <a:gd name="T10" fmla="*/ 0 w 51"/>
                  <a:gd name="T11" fmla="*/ 7 h 28"/>
                  <a:gd name="T12" fmla="*/ 10 w 51"/>
                  <a:gd name="T13" fmla="*/ 8 h 28"/>
                  <a:gd name="T14" fmla="*/ 15 w 51"/>
                  <a:gd name="T15" fmla="*/ 11 h 28"/>
                  <a:gd name="T16" fmla="*/ 16 w 51"/>
                  <a:gd name="T17" fmla="*/ 14 h 28"/>
                  <a:gd name="T18" fmla="*/ 24 w 51"/>
                  <a:gd name="T19" fmla="*/ 12 h 28"/>
                  <a:gd name="T20" fmla="*/ 29 w 51"/>
                  <a:gd name="T21" fmla="*/ 12 h 28"/>
                  <a:gd name="T22" fmla="*/ 28 w 51"/>
                  <a:gd name="T23" fmla="*/ 18 h 28"/>
                  <a:gd name="T24" fmla="*/ 30 w 51"/>
                  <a:gd name="T25" fmla="*/ 25 h 28"/>
                  <a:gd name="T26" fmla="*/ 34 w 51"/>
                  <a:gd name="T27" fmla="*/ 21 h 28"/>
                  <a:gd name="T28" fmla="*/ 18 w 51"/>
                  <a:gd name="T29" fmla="*/ 23 h 28"/>
                  <a:gd name="T30" fmla="*/ 19 w 51"/>
                  <a:gd name="T31" fmla="*/ 24 h 28"/>
                  <a:gd name="T32" fmla="*/ 18 w 51"/>
                  <a:gd name="T33" fmla="*/ 23 h 28"/>
                  <a:gd name="T34" fmla="*/ 13 w 51"/>
                  <a:gd name="T35" fmla="*/ 21 h 28"/>
                  <a:gd name="T36" fmla="*/ 14 w 51"/>
                  <a:gd name="T37" fmla="*/ 20 h 28"/>
                  <a:gd name="T38" fmla="*/ 14 w 51"/>
                  <a:gd name="T39" fmla="*/ 21 h 28"/>
                  <a:gd name="T40" fmla="*/ 13 w 51"/>
                  <a:gd name="T41" fmla="*/ 21 h 28"/>
                  <a:gd name="T42" fmla="*/ 11 w 51"/>
                  <a:gd name="T43" fmla="*/ 24 h 28"/>
                  <a:gd name="T44" fmla="*/ 14 w 51"/>
                  <a:gd name="T45" fmla="*/ 27 h 28"/>
                  <a:gd name="T46" fmla="*/ 14 w 51"/>
                  <a:gd name="T47" fmla="*/ 25 h 28"/>
                  <a:gd name="T48" fmla="*/ 15 w 51"/>
                  <a:gd name="T49" fmla="*/ 25 h 28"/>
                  <a:gd name="T50" fmla="*/ 6 w 51"/>
                  <a:gd name="T51" fmla="*/ 19 h 28"/>
                  <a:gd name="T52" fmla="*/ 7 w 51"/>
                  <a:gd name="T53" fmla="*/ 18 h 28"/>
                  <a:gd name="T54" fmla="*/ 7 w 51"/>
                  <a:gd name="T55" fmla="*/ 18 h 28"/>
                  <a:gd name="T56" fmla="*/ 28 w 51"/>
                  <a:gd name="T57" fmla="*/ 16 h 28"/>
                  <a:gd name="T58" fmla="*/ 23 w 51"/>
                  <a:gd name="T59" fmla="*/ 15 h 28"/>
                  <a:gd name="T60" fmla="*/ 26 w 51"/>
                  <a:gd name="T61" fmla="*/ 17 h 28"/>
                  <a:gd name="T62" fmla="*/ 28 w 51"/>
                  <a:gd name="T63"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 h="28">
                    <a:moveTo>
                      <a:pt x="34" y="21"/>
                    </a:moveTo>
                    <a:cubicBezTo>
                      <a:pt x="37" y="18"/>
                      <a:pt x="39" y="17"/>
                      <a:pt x="43" y="16"/>
                    </a:cubicBezTo>
                    <a:cubicBezTo>
                      <a:pt x="44" y="16"/>
                      <a:pt x="50" y="16"/>
                      <a:pt x="50" y="14"/>
                    </a:cubicBezTo>
                    <a:cubicBezTo>
                      <a:pt x="49" y="13"/>
                      <a:pt x="48" y="13"/>
                      <a:pt x="48" y="12"/>
                    </a:cubicBezTo>
                    <a:cubicBezTo>
                      <a:pt x="47" y="10"/>
                      <a:pt x="48" y="9"/>
                      <a:pt x="48" y="8"/>
                    </a:cubicBezTo>
                    <a:cubicBezTo>
                      <a:pt x="49" y="7"/>
                      <a:pt x="50" y="6"/>
                      <a:pt x="51" y="4"/>
                    </a:cubicBezTo>
                    <a:cubicBezTo>
                      <a:pt x="51" y="3"/>
                      <a:pt x="51" y="3"/>
                      <a:pt x="50" y="2"/>
                    </a:cubicBezTo>
                    <a:cubicBezTo>
                      <a:pt x="50" y="0"/>
                      <a:pt x="49" y="1"/>
                      <a:pt x="48" y="1"/>
                    </a:cubicBezTo>
                    <a:cubicBezTo>
                      <a:pt x="44" y="1"/>
                      <a:pt x="40" y="1"/>
                      <a:pt x="36" y="2"/>
                    </a:cubicBezTo>
                    <a:cubicBezTo>
                      <a:pt x="32" y="2"/>
                      <a:pt x="28" y="4"/>
                      <a:pt x="24" y="4"/>
                    </a:cubicBezTo>
                    <a:cubicBezTo>
                      <a:pt x="20" y="5"/>
                      <a:pt x="16" y="5"/>
                      <a:pt x="12" y="5"/>
                    </a:cubicBezTo>
                    <a:cubicBezTo>
                      <a:pt x="8" y="6"/>
                      <a:pt x="5" y="7"/>
                      <a:pt x="0" y="7"/>
                    </a:cubicBezTo>
                    <a:cubicBezTo>
                      <a:pt x="4" y="9"/>
                      <a:pt x="6" y="7"/>
                      <a:pt x="10" y="6"/>
                    </a:cubicBezTo>
                    <a:cubicBezTo>
                      <a:pt x="11" y="6"/>
                      <a:pt x="11" y="7"/>
                      <a:pt x="10" y="8"/>
                    </a:cubicBezTo>
                    <a:cubicBezTo>
                      <a:pt x="9" y="9"/>
                      <a:pt x="8" y="10"/>
                      <a:pt x="9" y="11"/>
                    </a:cubicBezTo>
                    <a:cubicBezTo>
                      <a:pt x="11" y="13"/>
                      <a:pt x="14" y="12"/>
                      <a:pt x="15" y="11"/>
                    </a:cubicBezTo>
                    <a:cubicBezTo>
                      <a:pt x="16" y="11"/>
                      <a:pt x="18" y="10"/>
                      <a:pt x="18" y="10"/>
                    </a:cubicBezTo>
                    <a:cubicBezTo>
                      <a:pt x="19" y="12"/>
                      <a:pt x="17" y="13"/>
                      <a:pt x="16" y="14"/>
                    </a:cubicBezTo>
                    <a:cubicBezTo>
                      <a:pt x="18" y="15"/>
                      <a:pt x="20" y="14"/>
                      <a:pt x="21" y="13"/>
                    </a:cubicBezTo>
                    <a:cubicBezTo>
                      <a:pt x="22" y="12"/>
                      <a:pt x="23" y="12"/>
                      <a:pt x="24" y="12"/>
                    </a:cubicBezTo>
                    <a:cubicBezTo>
                      <a:pt x="25" y="12"/>
                      <a:pt x="26" y="11"/>
                      <a:pt x="27" y="11"/>
                    </a:cubicBezTo>
                    <a:cubicBezTo>
                      <a:pt x="28" y="11"/>
                      <a:pt x="29" y="12"/>
                      <a:pt x="29" y="12"/>
                    </a:cubicBezTo>
                    <a:cubicBezTo>
                      <a:pt x="30" y="13"/>
                      <a:pt x="30" y="14"/>
                      <a:pt x="30" y="15"/>
                    </a:cubicBezTo>
                    <a:cubicBezTo>
                      <a:pt x="32" y="17"/>
                      <a:pt x="30" y="18"/>
                      <a:pt x="28" y="18"/>
                    </a:cubicBezTo>
                    <a:cubicBezTo>
                      <a:pt x="26" y="19"/>
                      <a:pt x="21" y="22"/>
                      <a:pt x="24" y="24"/>
                    </a:cubicBezTo>
                    <a:cubicBezTo>
                      <a:pt x="26" y="25"/>
                      <a:pt x="28" y="26"/>
                      <a:pt x="30" y="25"/>
                    </a:cubicBezTo>
                    <a:cubicBezTo>
                      <a:pt x="31" y="24"/>
                      <a:pt x="31" y="25"/>
                      <a:pt x="32" y="24"/>
                    </a:cubicBezTo>
                    <a:cubicBezTo>
                      <a:pt x="32" y="23"/>
                      <a:pt x="33" y="22"/>
                      <a:pt x="34" y="21"/>
                    </a:cubicBezTo>
                    <a:cubicBezTo>
                      <a:pt x="36" y="19"/>
                      <a:pt x="34" y="21"/>
                      <a:pt x="34" y="21"/>
                    </a:cubicBezTo>
                    <a:close/>
                    <a:moveTo>
                      <a:pt x="18" y="23"/>
                    </a:moveTo>
                    <a:cubicBezTo>
                      <a:pt x="18" y="23"/>
                      <a:pt x="18" y="23"/>
                      <a:pt x="18" y="24"/>
                    </a:cubicBezTo>
                    <a:cubicBezTo>
                      <a:pt x="18" y="24"/>
                      <a:pt x="19" y="24"/>
                      <a:pt x="19" y="24"/>
                    </a:cubicBezTo>
                    <a:cubicBezTo>
                      <a:pt x="20" y="24"/>
                      <a:pt x="19" y="22"/>
                      <a:pt x="18" y="23"/>
                    </a:cubicBezTo>
                    <a:cubicBezTo>
                      <a:pt x="18" y="23"/>
                      <a:pt x="18" y="23"/>
                      <a:pt x="18" y="23"/>
                    </a:cubicBezTo>
                    <a:cubicBezTo>
                      <a:pt x="18" y="23"/>
                      <a:pt x="18" y="23"/>
                      <a:pt x="18" y="23"/>
                    </a:cubicBezTo>
                    <a:close/>
                    <a:moveTo>
                      <a:pt x="13" y="21"/>
                    </a:moveTo>
                    <a:cubicBezTo>
                      <a:pt x="14" y="21"/>
                      <a:pt x="15" y="22"/>
                      <a:pt x="15" y="22"/>
                    </a:cubicBezTo>
                    <a:cubicBezTo>
                      <a:pt x="16" y="21"/>
                      <a:pt x="14" y="20"/>
                      <a:pt x="14" y="20"/>
                    </a:cubicBezTo>
                    <a:cubicBezTo>
                      <a:pt x="14" y="20"/>
                      <a:pt x="13" y="18"/>
                      <a:pt x="13" y="19"/>
                    </a:cubicBezTo>
                    <a:cubicBezTo>
                      <a:pt x="12" y="20"/>
                      <a:pt x="13" y="21"/>
                      <a:pt x="14" y="21"/>
                    </a:cubicBezTo>
                    <a:cubicBezTo>
                      <a:pt x="14" y="21"/>
                      <a:pt x="14" y="21"/>
                      <a:pt x="13" y="21"/>
                    </a:cubicBezTo>
                    <a:cubicBezTo>
                      <a:pt x="14" y="21"/>
                      <a:pt x="13" y="21"/>
                      <a:pt x="13" y="21"/>
                    </a:cubicBezTo>
                    <a:close/>
                    <a:moveTo>
                      <a:pt x="15" y="25"/>
                    </a:moveTo>
                    <a:cubicBezTo>
                      <a:pt x="13" y="25"/>
                      <a:pt x="12" y="24"/>
                      <a:pt x="11" y="24"/>
                    </a:cubicBezTo>
                    <a:cubicBezTo>
                      <a:pt x="8" y="23"/>
                      <a:pt x="9" y="26"/>
                      <a:pt x="10" y="27"/>
                    </a:cubicBezTo>
                    <a:cubicBezTo>
                      <a:pt x="11" y="28"/>
                      <a:pt x="13" y="27"/>
                      <a:pt x="14" y="27"/>
                    </a:cubicBezTo>
                    <a:cubicBezTo>
                      <a:pt x="15" y="27"/>
                      <a:pt x="15" y="26"/>
                      <a:pt x="16" y="26"/>
                    </a:cubicBezTo>
                    <a:cubicBezTo>
                      <a:pt x="16" y="25"/>
                      <a:pt x="15" y="25"/>
                      <a:pt x="14" y="25"/>
                    </a:cubicBezTo>
                    <a:cubicBezTo>
                      <a:pt x="14" y="25"/>
                      <a:pt x="15" y="25"/>
                      <a:pt x="15" y="25"/>
                    </a:cubicBezTo>
                    <a:cubicBezTo>
                      <a:pt x="13" y="25"/>
                      <a:pt x="15" y="25"/>
                      <a:pt x="15" y="25"/>
                    </a:cubicBezTo>
                    <a:close/>
                    <a:moveTo>
                      <a:pt x="7" y="18"/>
                    </a:moveTo>
                    <a:cubicBezTo>
                      <a:pt x="7" y="18"/>
                      <a:pt x="6" y="18"/>
                      <a:pt x="6" y="19"/>
                    </a:cubicBezTo>
                    <a:cubicBezTo>
                      <a:pt x="6" y="20"/>
                      <a:pt x="6" y="21"/>
                      <a:pt x="7" y="20"/>
                    </a:cubicBezTo>
                    <a:cubicBezTo>
                      <a:pt x="8" y="20"/>
                      <a:pt x="9" y="17"/>
                      <a:pt x="7" y="18"/>
                    </a:cubicBezTo>
                    <a:cubicBezTo>
                      <a:pt x="7" y="18"/>
                      <a:pt x="7" y="18"/>
                      <a:pt x="7" y="18"/>
                    </a:cubicBezTo>
                    <a:cubicBezTo>
                      <a:pt x="7" y="18"/>
                      <a:pt x="7" y="18"/>
                      <a:pt x="7" y="18"/>
                    </a:cubicBezTo>
                    <a:close/>
                    <a:moveTo>
                      <a:pt x="28" y="17"/>
                    </a:moveTo>
                    <a:cubicBezTo>
                      <a:pt x="29" y="17"/>
                      <a:pt x="29" y="16"/>
                      <a:pt x="28" y="16"/>
                    </a:cubicBezTo>
                    <a:cubicBezTo>
                      <a:pt x="28" y="15"/>
                      <a:pt x="29" y="14"/>
                      <a:pt x="28" y="14"/>
                    </a:cubicBezTo>
                    <a:cubicBezTo>
                      <a:pt x="27" y="12"/>
                      <a:pt x="24" y="14"/>
                      <a:pt x="23" y="15"/>
                    </a:cubicBezTo>
                    <a:cubicBezTo>
                      <a:pt x="22" y="16"/>
                      <a:pt x="21" y="18"/>
                      <a:pt x="23" y="18"/>
                    </a:cubicBezTo>
                    <a:cubicBezTo>
                      <a:pt x="24" y="18"/>
                      <a:pt x="25" y="17"/>
                      <a:pt x="26" y="17"/>
                    </a:cubicBezTo>
                    <a:cubicBezTo>
                      <a:pt x="27" y="16"/>
                      <a:pt x="28" y="17"/>
                      <a:pt x="28" y="17"/>
                    </a:cubicBezTo>
                    <a:cubicBezTo>
                      <a:pt x="28" y="17"/>
                      <a:pt x="28" y="17"/>
                      <a:pt x="28" y="17"/>
                    </a:cubicBezTo>
                    <a:cubicBezTo>
                      <a:pt x="29" y="17"/>
                      <a:pt x="28" y="17"/>
                      <a:pt x="28" y="17"/>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12" name="Freeform 535">
                <a:extLst>
                  <a:ext uri="{FF2B5EF4-FFF2-40B4-BE49-F238E27FC236}">
                    <a16:creationId xmlns:a16="http://schemas.microsoft.com/office/drawing/2014/main" id="{983F43DA-FEC4-AB21-FEE4-CEE9B93E42D1}"/>
                  </a:ext>
                </a:extLst>
              </p:cNvPr>
              <p:cNvSpPr>
                <a:spLocks noEditPoints="1"/>
              </p:cNvSpPr>
              <p:nvPr>
                <p:custDataLst>
                  <p:tags r:id="rId250"/>
                </p:custDataLst>
              </p:nvPr>
            </p:nvSpPr>
            <p:spPr bwMode="auto">
              <a:xfrm>
                <a:off x="6644023" y="2841704"/>
                <a:ext cx="1031918" cy="479606"/>
              </a:xfrm>
              <a:custGeom>
                <a:avLst/>
                <a:gdLst>
                  <a:gd name="T0" fmla="*/ 663 w 693"/>
                  <a:gd name="T1" fmla="*/ 132 h 322"/>
                  <a:gd name="T2" fmla="*/ 631 w 693"/>
                  <a:gd name="T3" fmla="*/ 102 h 322"/>
                  <a:gd name="T4" fmla="*/ 589 w 693"/>
                  <a:gd name="T5" fmla="*/ 99 h 322"/>
                  <a:gd name="T6" fmla="*/ 560 w 693"/>
                  <a:gd name="T7" fmla="*/ 85 h 322"/>
                  <a:gd name="T8" fmla="*/ 516 w 693"/>
                  <a:gd name="T9" fmla="*/ 22 h 322"/>
                  <a:gd name="T10" fmla="*/ 477 w 693"/>
                  <a:gd name="T11" fmla="*/ 42 h 322"/>
                  <a:gd name="T12" fmla="*/ 463 w 693"/>
                  <a:gd name="T13" fmla="*/ 30 h 322"/>
                  <a:gd name="T14" fmla="*/ 428 w 693"/>
                  <a:gd name="T15" fmla="*/ 28 h 322"/>
                  <a:gd name="T16" fmla="*/ 415 w 693"/>
                  <a:gd name="T17" fmla="*/ 2 h 322"/>
                  <a:gd name="T18" fmla="*/ 381 w 693"/>
                  <a:gd name="T19" fmla="*/ 0 h 322"/>
                  <a:gd name="T20" fmla="*/ 326 w 693"/>
                  <a:gd name="T21" fmla="*/ 17 h 322"/>
                  <a:gd name="T22" fmla="*/ 283 w 693"/>
                  <a:gd name="T23" fmla="*/ 29 h 322"/>
                  <a:gd name="T24" fmla="*/ 256 w 693"/>
                  <a:gd name="T25" fmla="*/ 30 h 322"/>
                  <a:gd name="T26" fmla="*/ 261 w 693"/>
                  <a:gd name="T27" fmla="*/ 49 h 322"/>
                  <a:gd name="T28" fmla="*/ 248 w 693"/>
                  <a:gd name="T29" fmla="*/ 66 h 322"/>
                  <a:gd name="T30" fmla="*/ 256 w 693"/>
                  <a:gd name="T31" fmla="*/ 90 h 322"/>
                  <a:gd name="T32" fmla="*/ 230 w 693"/>
                  <a:gd name="T33" fmla="*/ 107 h 322"/>
                  <a:gd name="T34" fmla="*/ 194 w 693"/>
                  <a:gd name="T35" fmla="*/ 99 h 322"/>
                  <a:gd name="T36" fmla="*/ 164 w 693"/>
                  <a:gd name="T37" fmla="*/ 107 h 322"/>
                  <a:gd name="T38" fmla="*/ 137 w 693"/>
                  <a:gd name="T39" fmla="*/ 106 h 322"/>
                  <a:gd name="T40" fmla="*/ 99 w 693"/>
                  <a:gd name="T41" fmla="*/ 83 h 322"/>
                  <a:gd name="T42" fmla="*/ 73 w 693"/>
                  <a:gd name="T43" fmla="*/ 87 h 322"/>
                  <a:gd name="T44" fmla="*/ 40 w 693"/>
                  <a:gd name="T45" fmla="*/ 107 h 322"/>
                  <a:gd name="T46" fmla="*/ 19 w 693"/>
                  <a:gd name="T47" fmla="*/ 115 h 322"/>
                  <a:gd name="T48" fmla="*/ 10 w 693"/>
                  <a:gd name="T49" fmla="*/ 140 h 322"/>
                  <a:gd name="T50" fmla="*/ 33 w 693"/>
                  <a:gd name="T51" fmla="*/ 174 h 322"/>
                  <a:gd name="T52" fmla="*/ 51 w 693"/>
                  <a:gd name="T53" fmla="*/ 197 h 322"/>
                  <a:gd name="T54" fmla="*/ 102 w 693"/>
                  <a:gd name="T55" fmla="*/ 189 h 322"/>
                  <a:gd name="T56" fmla="*/ 114 w 693"/>
                  <a:gd name="T57" fmla="*/ 213 h 322"/>
                  <a:gd name="T58" fmla="*/ 133 w 693"/>
                  <a:gd name="T59" fmla="*/ 224 h 322"/>
                  <a:gd name="T60" fmla="*/ 115 w 693"/>
                  <a:gd name="T61" fmla="*/ 225 h 322"/>
                  <a:gd name="T62" fmla="*/ 79 w 693"/>
                  <a:gd name="T63" fmla="*/ 233 h 322"/>
                  <a:gd name="T64" fmla="*/ 73 w 693"/>
                  <a:gd name="T65" fmla="*/ 247 h 322"/>
                  <a:gd name="T66" fmla="*/ 95 w 693"/>
                  <a:gd name="T67" fmla="*/ 273 h 322"/>
                  <a:gd name="T68" fmla="*/ 101 w 693"/>
                  <a:gd name="T69" fmla="*/ 289 h 322"/>
                  <a:gd name="T70" fmla="*/ 134 w 693"/>
                  <a:gd name="T71" fmla="*/ 286 h 322"/>
                  <a:gd name="T72" fmla="*/ 163 w 693"/>
                  <a:gd name="T73" fmla="*/ 246 h 322"/>
                  <a:gd name="T74" fmla="*/ 203 w 693"/>
                  <a:gd name="T75" fmla="*/ 219 h 322"/>
                  <a:gd name="T76" fmla="*/ 216 w 693"/>
                  <a:gd name="T77" fmla="*/ 214 h 322"/>
                  <a:gd name="T78" fmla="*/ 266 w 693"/>
                  <a:gd name="T79" fmla="*/ 260 h 322"/>
                  <a:gd name="T80" fmla="*/ 322 w 693"/>
                  <a:gd name="T81" fmla="*/ 261 h 322"/>
                  <a:gd name="T82" fmla="*/ 340 w 693"/>
                  <a:gd name="T83" fmla="*/ 292 h 322"/>
                  <a:gd name="T84" fmla="*/ 371 w 693"/>
                  <a:gd name="T85" fmla="*/ 312 h 322"/>
                  <a:gd name="T86" fmla="*/ 391 w 693"/>
                  <a:gd name="T87" fmla="*/ 302 h 322"/>
                  <a:gd name="T88" fmla="*/ 438 w 693"/>
                  <a:gd name="T89" fmla="*/ 276 h 322"/>
                  <a:gd name="T90" fmla="*/ 481 w 693"/>
                  <a:gd name="T91" fmla="*/ 270 h 322"/>
                  <a:gd name="T92" fmla="*/ 559 w 693"/>
                  <a:gd name="T93" fmla="*/ 276 h 322"/>
                  <a:gd name="T94" fmla="*/ 578 w 693"/>
                  <a:gd name="T95" fmla="*/ 271 h 322"/>
                  <a:gd name="T96" fmla="*/ 575 w 693"/>
                  <a:gd name="T97" fmla="*/ 234 h 322"/>
                  <a:gd name="T98" fmla="*/ 604 w 693"/>
                  <a:gd name="T99" fmla="*/ 224 h 322"/>
                  <a:gd name="T100" fmla="*/ 620 w 693"/>
                  <a:gd name="T101" fmla="*/ 188 h 322"/>
                  <a:gd name="T102" fmla="*/ 656 w 693"/>
                  <a:gd name="T103" fmla="*/ 188 h 322"/>
                  <a:gd name="T104" fmla="*/ 676 w 693"/>
                  <a:gd name="T105" fmla="*/ 154 h 322"/>
                  <a:gd name="T106" fmla="*/ 690 w 693"/>
                  <a:gd name="T107" fmla="*/ 138 h 322"/>
                  <a:gd name="T108" fmla="*/ 251 w 693"/>
                  <a:gd name="T109" fmla="*/ 202 h 322"/>
                  <a:gd name="T110" fmla="*/ 235 w 693"/>
                  <a:gd name="T111" fmla="*/ 194 h 322"/>
                  <a:gd name="T112" fmla="*/ 251 w 693"/>
                  <a:gd name="T113" fmla="*/ 202 h 322"/>
                  <a:gd name="T114" fmla="*/ 516 w 693"/>
                  <a:gd name="T115" fmla="*/ 196 h 322"/>
                  <a:gd name="T116" fmla="*/ 473 w 693"/>
                  <a:gd name="T117" fmla="*/ 210 h 322"/>
                  <a:gd name="T118" fmla="*/ 465 w 693"/>
                  <a:gd name="T119" fmla="*/ 219 h 322"/>
                  <a:gd name="T120" fmla="*/ 479 w 693"/>
                  <a:gd name="T121" fmla="*/ 193 h 322"/>
                  <a:gd name="T122" fmla="*/ 518 w 693"/>
                  <a:gd name="T123" fmla="*/ 194 h 322"/>
                  <a:gd name="T124" fmla="*/ 553 w 693"/>
                  <a:gd name="T125" fmla="*/ 19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3" h="322">
                    <a:moveTo>
                      <a:pt x="690" y="138"/>
                    </a:moveTo>
                    <a:cubicBezTo>
                      <a:pt x="689" y="137"/>
                      <a:pt x="686" y="136"/>
                      <a:pt x="685" y="134"/>
                    </a:cubicBezTo>
                    <a:cubicBezTo>
                      <a:pt x="684" y="132"/>
                      <a:pt x="685" y="129"/>
                      <a:pt x="684" y="127"/>
                    </a:cubicBezTo>
                    <a:cubicBezTo>
                      <a:pt x="682" y="129"/>
                      <a:pt x="680" y="131"/>
                      <a:pt x="678" y="133"/>
                    </a:cubicBezTo>
                    <a:cubicBezTo>
                      <a:pt x="676" y="134"/>
                      <a:pt x="673" y="134"/>
                      <a:pt x="671" y="134"/>
                    </a:cubicBezTo>
                    <a:cubicBezTo>
                      <a:pt x="668" y="133"/>
                      <a:pt x="665" y="133"/>
                      <a:pt x="663" y="132"/>
                    </a:cubicBezTo>
                    <a:cubicBezTo>
                      <a:pt x="660" y="132"/>
                      <a:pt x="658" y="130"/>
                      <a:pt x="657" y="127"/>
                    </a:cubicBezTo>
                    <a:cubicBezTo>
                      <a:pt x="655" y="125"/>
                      <a:pt x="656" y="123"/>
                      <a:pt x="654" y="121"/>
                    </a:cubicBezTo>
                    <a:cubicBezTo>
                      <a:pt x="652" y="119"/>
                      <a:pt x="649" y="118"/>
                      <a:pt x="647" y="118"/>
                    </a:cubicBezTo>
                    <a:cubicBezTo>
                      <a:pt x="644" y="117"/>
                      <a:pt x="643" y="115"/>
                      <a:pt x="642" y="113"/>
                    </a:cubicBezTo>
                    <a:cubicBezTo>
                      <a:pt x="641" y="110"/>
                      <a:pt x="640" y="107"/>
                      <a:pt x="638" y="105"/>
                    </a:cubicBezTo>
                    <a:cubicBezTo>
                      <a:pt x="636" y="103"/>
                      <a:pt x="634" y="102"/>
                      <a:pt x="631" y="102"/>
                    </a:cubicBezTo>
                    <a:cubicBezTo>
                      <a:pt x="629" y="101"/>
                      <a:pt x="626" y="100"/>
                      <a:pt x="623" y="101"/>
                    </a:cubicBezTo>
                    <a:cubicBezTo>
                      <a:pt x="620" y="102"/>
                      <a:pt x="619" y="103"/>
                      <a:pt x="617" y="105"/>
                    </a:cubicBezTo>
                    <a:cubicBezTo>
                      <a:pt x="615" y="106"/>
                      <a:pt x="612" y="106"/>
                      <a:pt x="609" y="106"/>
                    </a:cubicBezTo>
                    <a:cubicBezTo>
                      <a:pt x="606" y="105"/>
                      <a:pt x="604" y="105"/>
                      <a:pt x="601" y="106"/>
                    </a:cubicBezTo>
                    <a:cubicBezTo>
                      <a:pt x="598" y="107"/>
                      <a:pt x="596" y="107"/>
                      <a:pt x="593" y="105"/>
                    </a:cubicBezTo>
                    <a:cubicBezTo>
                      <a:pt x="590" y="104"/>
                      <a:pt x="589" y="102"/>
                      <a:pt x="589" y="99"/>
                    </a:cubicBezTo>
                    <a:cubicBezTo>
                      <a:pt x="589" y="97"/>
                      <a:pt x="588" y="95"/>
                      <a:pt x="585" y="94"/>
                    </a:cubicBezTo>
                    <a:cubicBezTo>
                      <a:pt x="583" y="94"/>
                      <a:pt x="581" y="95"/>
                      <a:pt x="580" y="98"/>
                    </a:cubicBezTo>
                    <a:cubicBezTo>
                      <a:pt x="580" y="100"/>
                      <a:pt x="579" y="102"/>
                      <a:pt x="577" y="103"/>
                    </a:cubicBezTo>
                    <a:cubicBezTo>
                      <a:pt x="576" y="104"/>
                      <a:pt x="574" y="106"/>
                      <a:pt x="572" y="105"/>
                    </a:cubicBezTo>
                    <a:cubicBezTo>
                      <a:pt x="570" y="104"/>
                      <a:pt x="569" y="102"/>
                      <a:pt x="568" y="100"/>
                    </a:cubicBezTo>
                    <a:cubicBezTo>
                      <a:pt x="566" y="95"/>
                      <a:pt x="563" y="90"/>
                      <a:pt x="560" y="85"/>
                    </a:cubicBezTo>
                    <a:cubicBezTo>
                      <a:pt x="556" y="79"/>
                      <a:pt x="553" y="74"/>
                      <a:pt x="549" y="69"/>
                    </a:cubicBezTo>
                    <a:cubicBezTo>
                      <a:pt x="546" y="63"/>
                      <a:pt x="542" y="58"/>
                      <a:pt x="538" y="53"/>
                    </a:cubicBezTo>
                    <a:cubicBezTo>
                      <a:pt x="535" y="48"/>
                      <a:pt x="530" y="45"/>
                      <a:pt x="525" y="41"/>
                    </a:cubicBezTo>
                    <a:cubicBezTo>
                      <a:pt x="523" y="39"/>
                      <a:pt x="521" y="37"/>
                      <a:pt x="518" y="35"/>
                    </a:cubicBezTo>
                    <a:cubicBezTo>
                      <a:pt x="516" y="33"/>
                      <a:pt x="513" y="32"/>
                      <a:pt x="513" y="29"/>
                    </a:cubicBezTo>
                    <a:cubicBezTo>
                      <a:pt x="513" y="26"/>
                      <a:pt x="514" y="24"/>
                      <a:pt x="516" y="22"/>
                    </a:cubicBezTo>
                    <a:cubicBezTo>
                      <a:pt x="516" y="22"/>
                      <a:pt x="518" y="21"/>
                      <a:pt x="518" y="20"/>
                    </a:cubicBezTo>
                    <a:cubicBezTo>
                      <a:pt x="518" y="19"/>
                      <a:pt x="516" y="21"/>
                      <a:pt x="515" y="21"/>
                    </a:cubicBezTo>
                    <a:cubicBezTo>
                      <a:pt x="508" y="24"/>
                      <a:pt x="501" y="28"/>
                      <a:pt x="493" y="32"/>
                    </a:cubicBezTo>
                    <a:cubicBezTo>
                      <a:pt x="489" y="33"/>
                      <a:pt x="486" y="35"/>
                      <a:pt x="482" y="36"/>
                    </a:cubicBezTo>
                    <a:cubicBezTo>
                      <a:pt x="481" y="37"/>
                      <a:pt x="479" y="37"/>
                      <a:pt x="478" y="38"/>
                    </a:cubicBezTo>
                    <a:cubicBezTo>
                      <a:pt x="477" y="39"/>
                      <a:pt x="477" y="41"/>
                      <a:pt x="477" y="42"/>
                    </a:cubicBezTo>
                    <a:cubicBezTo>
                      <a:pt x="476" y="44"/>
                      <a:pt x="475" y="45"/>
                      <a:pt x="473" y="44"/>
                    </a:cubicBezTo>
                    <a:cubicBezTo>
                      <a:pt x="471" y="44"/>
                      <a:pt x="470" y="43"/>
                      <a:pt x="468" y="42"/>
                    </a:cubicBezTo>
                    <a:cubicBezTo>
                      <a:pt x="465" y="42"/>
                      <a:pt x="464" y="47"/>
                      <a:pt x="460" y="45"/>
                    </a:cubicBezTo>
                    <a:cubicBezTo>
                      <a:pt x="457" y="44"/>
                      <a:pt x="455" y="40"/>
                      <a:pt x="457" y="38"/>
                    </a:cubicBezTo>
                    <a:cubicBezTo>
                      <a:pt x="458" y="36"/>
                      <a:pt x="459" y="35"/>
                      <a:pt x="460" y="34"/>
                    </a:cubicBezTo>
                    <a:cubicBezTo>
                      <a:pt x="461" y="33"/>
                      <a:pt x="463" y="32"/>
                      <a:pt x="463" y="30"/>
                    </a:cubicBezTo>
                    <a:cubicBezTo>
                      <a:pt x="461" y="31"/>
                      <a:pt x="458" y="31"/>
                      <a:pt x="455" y="31"/>
                    </a:cubicBezTo>
                    <a:cubicBezTo>
                      <a:pt x="452" y="31"/>
                      <a:pt x="449" y="29"/>
                      <a:pt x="447" y="30"/>
                    </a:cubicBezTo>
                    <a:cubicBezTo>
                      <a:pt x="445" y="31"/>
                      <a:pt x="443" y="33"/>
                      <a:pt x="441" y="30"/>
                    </a:cubicBezTo>
                    <a:cubicBezTo>
                      <a:pt x="441" y="30"/>
                      <a:pt x="440" y="29"/>
                      <a:pt x="440" y="28"/>
                    </a:cubicBezTo>
                    <a:cubicBezTo>
                      <a:pt x="439" y="27"/>
                      <a:pt x="438" y="27"/>
                      <a:pt x="437" y="27"/>
                    </a:cubicBezTo>
                    <a:cubicBezTo>
                      <a:pt x="434" y="28"/>
                      <a:pt x="431" y="28"/>
                      <a:pt x="428" y="28"/>
                    </a:cubicBezTo>
                    <a:cubicBezTo>
                      <a:pt x="425" y="28"/>
                      <a:pt x="423" y="29"/>
                      <a:pt x="421" y="27"/>
                    </a:cubicBezTo>
                    <a:cubicBezTo>
                      <a:pt x="419" y="26"/>
                      <a:pt x="418" y="24"/>
                      <a:pt x="419" y="22"/>
                    </a:cubicBezTo>
                    <a:cubicBezTo>
                      <a:pt x="421" y="20"/>
                      <a:pt x="420" y="18"/>
                      <a:pt x="420" y="16"/>
                    </a:cubicBezTo>
                    <a:cubicBezTo>
                      <a:pt x="421" y="14"/>
                      <a:pt x="421" y="13"/>
                      <a:pt x="420" y="12"/>
                    </a:cubicBezTo>
                    <a:cubicBezTo>
                      <a:pt x="420" y="11"/>
                      <a:pt x="419" y="10"/>
                      <a:pt x="419" y="9"/>
                    </a:cubicBezTo>
                    <a:cubicBezTo>
                      <a:pt x="418" y="7"/>
                      <a:pt x="417" y="3"/>
                      <a:pt x="415" y="2"/>
                    </a:cubicBezTo>
                    <a:cubicBezTo>
                      <a:pt x="414" y="1"/>
                      <a:pt x="411" y="1"/>
                      <a:pt x="409" y="1"/>
                    </a:cubicBezTo>
                    <a:cubicBezTo>
                      <a:pt x="407" y="2"/>
                      <a:pt x="407" y="5"/>
                      <a:pt x="405" y="5"/>
                    </a:cubicBezTo>
                    <a:cubicBezTo>
                      <a:pt x="403" y="5"/>
                      <a:pt x="401" y="4"/>
                      <a:pt x="400" y="3"/>
                    </a:cubicBezTo>
                    <a:cubicBezTo>
                      <a:pt x="398" y="1"/>
                      <a:pt x="396" y="0"/>
                      <a:pt x="393" y="0"/>
                    </a:cubicBezTo>
                    <a:cubicBezTo>
                      <a:pt x="391" y="0"/>
                      <a:pt x="388" y="0"/>
                      <a:pt x="385" y="0"/>
                    </a:cubicBezTo>
                    <a:cubicBezTo>
                      <a:pt x="384" y="0"/>
                      <a:pt x="382" y="0"/>
                      <a:pt x="381" y="0"/>
                    </a:cubicBezTo>
                    <a:cubicBezTo>
                      <a:pt x="380" y="1"/>
                      <a:pt x="379" y="2"/>
                      <a:pt x="378" y="3"/>
                    </a:cubicBezTo>
                    <a:cubicBezTo>
                      <a:pt x="377" y="5"/>
                      <a:pt x="374" y="7"/>
                      <a:pt x="372" y="8"/>
                    </a:cubicBezTo>
                    <a:cubicBezTo>
                      <a:pt x="369" y="9"/>
                      <a:pt x="366" y="9"/>
                      <a:pt x="362" y="10"/>
                    </a:cubicBezTo>
                    <a:cubicBezTo>
                      <a:pt x="356" y="11"/>
                      <a:pt x="351" y="13"/>
                      <a:pt x="345" y="15"/>
                    </a:cubicBezTo>
                    <a:cubicBezTo>
                      <a:pt x="342" y="16"/>
                      <a:pt x="339" y="16"/>
                      <a:pt x="336" y="17"/>
                    </a:cubicBezTo>
                    <a:cubicBezTo>
                      <a:pt x="333" y="17"/>
                      <a:pt x="330" y="17"/>
                      <a:pt x="326" y="17"/>
                    </a:cubicBezTo>
                    <a:cubicBezTo>
                      <a:pt x="325" y="17"/>
                      <a:pt x="324" y="17"/>
                      <a:pt x="322" y="18"/>
                    </a:cubicBezTo>
                    <a:cubicBezTo>
                      <a:pt x="321" y="19"/>
                      <a:pt x="321" y="19"/>
                      <a:pt x="321" y="20"/>
                    </a:cubicBezTo>
                    <a:cubicBezTo>
                      <a:pt x="321" y="23"/>
                      <a:pt x="320" y="24"/>
                      <a:pt x="318" y="24"/>
                    </a:cubicBezTo>
                    <a:cubicBezTo>
                      <a:pt x="312" y="25"/>
                      <a:pt x="307" y="23"/>
                      <a:pt x="302" y="24"/>
                    </a:cubicBezTo>
                    <a:cubicBezTo>
                      <a:pt x="299" y="25"/>
                      <a:pt x="296" y="26"/>
                      <a:pt x="293" y="27"/>
                    </a:cubicBezTo>
                    <a:cubicBezTo>
                      <a:pt x="290" y="28"/>
                      <a:pt x="287" y="28"/>
                      <a:pt x="283" y="29"/>
                    </a:cubicBezTo>
                    <a:cubicBezTo>
                      <a:pt x="281" y="29"/>
                      <a:pt x="278" y="29"/>
                      <a:pt x="277" y="31"/>
                    </a:cubicBezTo>
                    <a:cubicBezTo>
                      <a:pt x="277" y="32"/>
                      <a:pt x="275" y="35"/>
                      <a:pt x="273" y="34"/>
                    </a:cubicBezTo>
                    <a:cubicBezTo>
                      <a:pt x="272" y="34"/>
                      <a:pt x="272" y="32"/>
                      <a:pt x="272" y="32"/>
                    </a:cubicBezTo>
                    <a:cubicBezTo>
                      <a:pt x="271" y="31"/>
                      <a:pt x="270" y="31"/>
                      <a:pt x="269" y="31"/>
                    </a:cubicBezTo>
                    <a:cubicBezTo>
                      <a:pt x="266" y="32"/>
                      <a:pt x="263" y="32"/>
                      <a:pt x="260" y="32"/>
                    </a:cubicBezTo>
                    <a:cubicBezTo>
                      <a:pt x="259" y="32"/>
                      <a:pt x="258" y="31"/>
                      <a:pt x="256" y="30"/>
                    </a:cubicBezTo>
                    <a:cubicBezTo>
                      <a:pt x="255" y="30"/>
                      <a:pt x="253" y="31"/>
                      <a:pt x="251" y="32"/>
                    </a:cubicBezTo>
                    <a:cubicBezTo>
                      <a:pt x="250" y="33"/>
                      <a:pt x="250" y="33"/>
                      <a:pt x="251" y="34"/>
                    </a:cubicBezTo>
                    <a:cubicBezTo>
                      <a:pt x="252" y="36"/>
                      <a:pt x="251" y="37"/>
                      <a:pt x="250" y="38"/>
                    </a:cubicBezTo>
                    <a:cubicBezTo>
                      <a:pt x="249" y="39"/>
                      <a:pt x="255" y="40"/>
                      <a:pt x="256" y="40"/>
                    </a:cubicBezTo>
                    <a:cubicBezTo>
                      <a:pt x="259" y="42"/>
                      <a:pt x="254" y="45"/>
                      <a:pt x="253" y="46"/>
                    </a:cubicBezTo>
                    <a:cubicBezTo>
                      <a:pt x="255" y="48"/>
                      <a:pt x="258" y="48"/>
                      <a:pt x="261" y="49"/>
                    </a:cubicBezTo>
                    <a:cubicBezTo>
                      <a:pt x="262" y="50"/>
                      <a:pt x="265" y="51"/>
                      <a:pt x="267" y="52"/>
                    </a:cubicBezTo>
                    <a:cubicBezTo>
                      <a:pt x="268" y="53"/>
                      <a:pt x="267" y="55"/>
                      <a:pt x="266" y="56"/>
                    </a:cubicBezTo>
                    <a:cubicBezTo>
                      <a:pt x="264" y="57"/>
                      <a:pt x="262" y="56"/>
                      <a:pt x="260" y="56"/>
                    </a:cubicBezTo>
                    <a:cubicBezTo>
                      <a:pt x="257" y="56"/>
                      <a:pt x="255" y="56"/>
                      <a:pt x="252" y="56"/>
                    </a:cubicBezTo>
                    <a:cubicBezTo>
                      <a:pt x="250" y="56"/>
                      <a:pt x="248" y="58"/>
                      <a:pt x="246" y="60"/>
                    </a:cubicBezTo>
                    <a:cubicBezTo>
                      <a:pt x="245" y="62"/>
                      <a:pt x="246" y="64"/>
                      <a:pt x="248" y="66"/>
                    </a:cubicBezTo>
                    <a:cubicBezTo>
                      <a:pt x="249" y="68"/>
                      <a:pt x="248" y="71"/>
                      <a:pt x="246" y="72"/>
                    </a:cubicBezTo>
                    <a:cubicBezTo>
                      <a:pt x="244" y="74"/>
                      <a:pt x="242" y="75"/>
                      <a:pt x="239" y="75"/>
                    </a:cubicBezTo>
                    <a:cubicBezTo>
                      <a:pt x="238" y="76"/>
                      <a:pt x="234" y="76"/>
                      <a:pt x="234" y="78"/>
                    </a:cubicBezTo>
                    <a:cubicBezTo>
                      <a:pt x="233" y="79"/>
                      <a:pt x="238" y="81"/>
                      <a:pt x="239" y="82"/>
                    </a:cubicBezTo>
                    <a:cubicBezTo>
                      <a:pt x="242" y="84"/>
                      <a:pt x="245" y="85"/>
                      <a:pt x="248" y="87"/>
                    </a:cubicBezTo>
                    <a:cubicBezTo>
                      <a:pt x="251" y="88"/>
                      <a:pt x="253" y="89"/>
                      <a:pt x="256" y="90"/>
                    </a:cubicBezTo>
                    <a:cubicBezTo>
                      <a:pt x="258" y="91"/>
                      <a:pt x="260" y="92"/>
                      <a:pt x="260" y="95"/>
                    </a:cubicBezTo>
                    <a:cubicBezTo>
                      <a:pt x="260" y="97"/>
                      <a:pt x="258" y="99"/>
                      <a:pt x="257" y="101"/>
                    </a:cubicBezTo>
                    <a:cubicBezTo>
                      <a:pt x="256" y="104"/>
                      <a:pt x="254" y="105"/>
                      <a:pt x="251" y="106"/>
                    </a:cubicBezTo>
                    <a:cubicBezTo>
                      <a:pt x="249" y="107"/>
                      <a:pt x="246" y="108"/>
                      <a:pt x="243" y="108"/>
                    </a:cubicBezTo>
                    <a:cubicBezTo>
                      <a:pt x="240" y="108"/>
                      <a:pt x="237" y="106"/>
                      <a:pt x="234" y="105"/>
                    </a:cubicBezTo>
                    <a:cubicBezTo>
                      <a:pt x="232" y="105"/>
                      <a:pt x="231" y="105"/>
                      <a:pt x="230" y="107"/>
                    </a:cubicBezTo>
                    <a:cubicBezTo>
                      <a:pt x="228" y="109"/>
                      <a:pt x="227" y="111"/>
                      <a:pt x="225" y="111"/>
                    </a:cubicBezTo>
                    <a:cubicBezTo>
                      <a:pt x="222" y="111"/>
                      <a:pt x="220" y="110"/>
                      <a:pt x="218" y="109"/>
                    </a:cubicBezTo>
                    <a:cubicBezTo>
                      <a:pt x="216" y="108"/>
                      <a:pt x="213" y="108"/>
                      <a:pt x="211" y="107"/>
                    </a:cubicBezTo>
                    <a:cubicBezTo>
                      <a:pt x="209" y="106"/>
                      <a:pt x="207" y="104"/>
                      <a:pt x="206" y="102"/>
                    </a:cubicBezTo>
                    <a:cubicBezTo>
                      <a:pt x="205" y="100"/>
                      <a:pt x="203" y="99"/>
                      <a:pt x="200" y="98"/>
                    </a:cubicBezTo>
                    <a:cubicBezTo>
                      <a:pt x="198" y="98"/>
                      <a:pt x="196" y="98"/>
                      <a:pt x="194" y="99"/>
                    </a:cubicBezTo>
                    <a:cubicBezTo>
                      <a:pt x="193" y="100"/>
                      <a:pt x="193" y="101"/>
                      <a:pt x="193" y="102"/>
                    </a:cubicBezTo>
                    <a:cubicBezTo>
                      <a:pt x="192" y="103"/>
                      <a:pt x="191" y="103"/>
                      <a:pt x="190" y="103"/>
                    </a:cubicBezTo>
                    <a:cubicBezTo>
                      <a:pt x="188" y="103"/>
                      <a:pt x="187" y="101"/>
                      <a:pt x="185" y="100"/>
                    </a:cubicBezTo>
                    <a:cubicBezTo>
                      <a:pt x="183" y="98"/>
                      <a:pt x="180" y="99"/>
                      <a:pt x="177" y="99"/>
                    </a:cubicBezTo>
                    <a:cubicBezTo>
                      <a:pt x="175" y="100"/>
                      <a:pt x="172" y="99"/>
                      <a:pt x="171" y="101"/>
                    </a:cubicBezTo>
                    <a:cubicBezTo>
                      <a:pt x="169" y="103"/>
                      <a:pt x="166" y="105"/>
                      <a:pt x="164" y="107"/>
                    </a:cubicBezTo>
                    <a:cubicBezTo>
                      <a:pt x="162" y="108"/>
                      <a:pt x="160" y="111"/>
                      <a:pt x="158" y="110"/>
                    </a:cubicBezTo>
                    <a:cubicBezTo>
                      <a:pt x="155" y="109"/>
                      <a:pt x="153" y="107"/>
                      <a:pt x="150" y="105"/>
                    </a:cubicBezTo>
                    <a:cubicBezTo>
                      <a:pt x="148" y="103"/>
                      <a:pt x="146" y="102"/>
                      <a:pt x="143" y="101"/>
                    </a:cubicBezTo>
                    <a:cubicBezTo>
                      <a:pt x="143" y="101"/>
                      <a:pt x="141" y="100"/>
                      <a:pt x="142" y="101"/>
                    </a:cubicBezTo>
                    <a:cubicBezTo>
                      <a:pt x="142" y="103"/>
                      <a:pt x="142" y="104"/>
                      <a:pt x="141" y="105"/>
                    </a:cubicBezTo>
                    <a:cubicBezTo>
                      <a:pt x="141" y="107"/>
                      <a:pt x="138" y="108"/>
                      <a:pt x="137" y="106"/>
                    </a:cubicBezTo>
                    <a:cubicBezTo>
                      <a:pt x="135" y="105"/>
                      <a:pt x="133" y="102"/>
                      <a:pt x="131" y="100"/>
                    </a:cubicBezTo>
                    <a:cubicBezTo>
                      <a:pt x="129" y="98"/>
                      <a:pt x="127" y="96"/>
                      <a:pt x="125" y="94"/>
                    </a:cubicBezTo>
                    <a:cubicBezTo>
                      <a:pt x="123" y="92"/>
                      <a:pt x="121" y="89"/>
                      <a:pt x="118" y="89"/>
                    </a:cubicBezTo>
                    <a:cubicBezTo>
                      <a:pt x="115" y="89"/>
                      <a:pt x="112" y="90"/>
                      <a:pt x="109" y="90"/>
                    </a:cubicBezTo>
                    <a:cubicBezTo>
                      <a:pt x="106" y="90"/>
                      <a:pt x="104" y="89"/>
                      <a:pt x="103" y="86"/>
                    </a:cubicBezTo>
                    <a:cubicBezTo>
                      <a:pt x="102" y="84"/>
                      <a:pt x="101" y="83"/>
                      <a:pt x="99" y="83"/>
                    </a:cubicBezTo>
                    <a:cubicBezTo>
                      <a:pt x="96" y="84"/>
                      <a:pt x="94" y="85"/>
                      <a:pt x="93" y="88"/>
                    </a:cubicBezTo>
                    <a:cubicBezTo>
                      <a:pt x="91" y="90"/>
                      <a:pt x="89" y="90"/>
                      <a:pt x="86" y="89"/>
                    </a:cubicBezTo>
                    <a:cubicBezTo>
                      <a:pt x="85" y="88"/>
                      <a:pt x="85" y="87"/>
                      <a:pt x="83" y="86"/>
                    </a:cubicBezTo>
                    <a:cubicBezTo>
                      <a:pt x="82" y="86"/>
                      <a:pt x="80" y="85"/>
                      <a:pt x="79" y="84"/>
                    </a:cubicBezTo>
                    <a:cubicBezTo>
                      <a:pt x="77" y="84"/>
                      <a:pt x="75" y="82"/>
                      <a:pt x="74" y="84"/>
                    </a:cubicBezTo>
                    <a:cubicBezTo>
                      <a:pt x="74" y="85"/>
                      <a:pt x="74" y="87"/>
                      <a:pt x="73" y="87"/>
                    </a:cubicBezTo>
                    <a:cubicBezTo>
                      <a:pt x="72" y="88"/>
                      <a:pt x="71" y="89"/>
                      <a:pt x="69" y="90"/>
                    </a:cubicBezTo>
                    <a:cubicBezTo>
                      <a:pt x="67" y="91"/>
                      <a:pt x="66" y="93"/>
                      <a:pt x="63" y="95"/>
                    </a:cubicBezTo>
                    <a:cubicBezTo>
                      <a:pt x="61" y="97"/>
                      <a:pt x="59" y="97"/>
                      <a:pt x="56" y="98"/>
                    </a:cubicBezTo>
                    <a:cubicBezTo>
                      <a:pt x="54" y="99"/>
                      <a:pt x="52" y="99"/>
                      <a:pt x="52" y="101"/>
                    </a:cubicBezTo>
                    <a:cubicBezTo>
                      <a:pt x="51" y="104"/>
                      <a:pt x="49" y="105"/>
                      <a:pt x="47" y="106"/>
                    </a:cubicBezTo>
                    <a:cubicBezTo>
                      <a:pt x="45" y="106"/>
                      <a:pt x="42" y="106"/>
                      <a:pt x="40" y="107"/>
                    </a:cubicBezTo>
                    <a:cubicBezTo>
                      <a:pt x="38" y="109"/>
                      <a:pt x="40" y="113"/>
                      <a:pt x="41" y="115"/>
                    </a:cubicBezTo>
                    <a:cubicBezTo>
                      <a:pt x="42" y="117"/>
                      <a:pt x="43" y="119"/>
                      <a:pt x="42" y="122"/>
                    </a:cubicBezTo>
                    <a:cubicBezTo>
                      <a:pt x="41" y="124"/>
                      <a:pt x="39" y="125"/>
                      <a:pt x="37" y="126"/>
                    </a:cubicBezTo>
                    <a:cubicBezTo>
                      <a:pt x="34" y="127"/>
                      <a:pt x="33" y="125"/>
                      <a:pt x="31" y="124"/>
                    </a:cubicBezTo>
                    <a:cubicBezTo>
                      <a:pt x="29" y="121"/>
                      <a:pt x="27" y="119"/>
                      <a:pt x="24" y="116"/>
                    </a:cubicBezTo>
                    <a:cubicBezTo>
                      <a:pt x="23" y="115"/>
                      <a:pt x="21" y="114"/>
                      <a:pt x="19" y="115"/>
                    </a:cubicBezTo>
                    <a:cubicBezTo>
                      <a:pt x="16" y="116"/>
                      <a:pt x="17" y="118"/>
                      <a:pt x="16" y="120"/>
                    </a:cubicBezTo>
                    <a:cubicBezTo>
                      <a:pt x="16" y="122"/>
                      <a:pt x="14" y="123"/>
                      <a:pt x="13" y="124"/>
                    </a:cubicBezTo>
                    <a:cubicBezTo>
                      <a:pt x="12" y="125"/>
                      <a:pt x="11" y="125"/>
                      <a:pt x="10" y="126"/>
                    </a:cubicBezTo>
                    <a:cubicBezTo>
                      <a:pt x="10" y="127"/>
                      <a:pt x="10" y="127"/>
                      <a:pt x="10" y="128"/>
                    </a:cubicBezTo>
                    <a:cubicBezTo>
                      <a:pt x="9" y="131"/>
                      <a:pt x="9" y="134"/>
                      <a:pt x="9" y="137"/>
                    </a:cubicBezTo>
                    <a:cubicBezTo>
                      <a:pt x="9" y="138"/>
                      <a:pt x="10" y="139"/>
                      <a:pt x="10" y="140"/>
                    </a:cubicBezTo>
                    <a:cubicBezTo>
                      <a:pt x="11" y="142"/>
                      <a:pt x="10" y="143"/>
                      <a:pt x="9" y="145"/>
                    </a:cubicBezTo>
                    <a:cubicBezTo>
                      <a:pt x="7" y="148"/>
                      <a:pt x="0" y="153"/>
                      <a:pt x="6" y="157"/>
                    </a:cubicBezTo>
                    <a:cubicBezTo>
                      <a:pt x="8" y="159"/>
                      <a:pt x="11" y="160"/>
                      <a:pt x="12" y="162"/>
                    </a:cubicBezTo>
                    <a:cubicBezTo>
                      <a:pt x="14" y="165"/>
                      <a:pt x="13" y="168"/>
                      <a:pt x="15" y="170"/>
                    </a:cubicBezTo>
                    <a:cubicBezTo>
                      <a:pt x="16" y="172"/>
                      <a:pt x="21" y="171"/>
                      <a:pt x="24" y="171"/>
                    </a:cubicBezTo>
                    <a:cubicBezTo>
                      <a:pt x="28" y="170"/>
                      <a:pt x="30" y="171"/>
                      <a:pt x="33" y="174"/>
                    </a:cubicBezTo>
                    <a:cubicBezTo>
                      <a:pt x="35" y="177"/>
                      <a:pt x="37" y="180"/>
                      <a:pt x="39" y="183"/>
                    </a:cubicBezTo>
                    <a:cubicBezTo>
                      <a:pt x="41" y="186"/>
                      <a:pt x="44" y="188"/>
                      <a:pt x="44" y="191"/>
                    </a:cubicBezTo>
                    <a:cubicBezTo>
                      <a:pt x="43" y="194"/>
                      <a:pt x="38" y="194"/>
                      <a:pt x="40" y="196"/>
                    </a:cubicBezTo>
                    <a:cubicBezTo>
                      <a:pt x="42" y="199"/>
                      <a:pt x="45" y="200"/>
                      <a:pt x="48" y="201"/>
                    </a:cubicBezTo>
                    <a:cubicBezTo>
                      <a:pt x="48" y="200"/>
                      <a:pt x="48" y="200"/>
                      <a:pt x="49" y="199"/>
                    </a:cubicBezTo>
                    <a:cubicBezTo>
                      <a:pt x="50" y="198"/>
                      <a:pt x="50" y="197"/>
                      <a:pt x="51" y="197"/>
                    </a:cubicBezTo>
                    <a:cubicBezTo>
                      <a:pt x="53" y="196"/>
                      <a:pt x="56" y="196"/>
                      <a:pt x="58" y="196"/>
                    </a:cubicBezTo>
                    <a:cubicBezTo>
                      <a:pt x="61" y="196"/>
                      <a:pt x="62" y="193"/>
                      <a:pt x="64" y="192"/>
                    </a:cubicBezTo>
                    <a:cubicBezTo>
                      <a:pt x="66" y="190"/>
                      <a:pt x="69" y="189"/>
                      <a:pt x="72" y="188"/>
                    </a:cubicBezTo>
                    <a:cubicBezTo>
                      <a:pt x="78" y="186"/>
                      <a:pt x="84" y="185"/>
                      <a:pt x="90" y="186"/>
                    </a:cubicBezTo>
                    <a:cubicBezTo>
                      <a:pt x="93" y="187"/>
                      <a:pt x="95" y="188"/>
                      <a:pt x="97" y="189"/>
                    </a:cubicBezTo>
                    <a:cubicBezTo>
                      <a:pt x="99" y="190"/>
                      <a:pt x="102" y="192"/>
                      <a:pt x="102" y="189"/>
                    </a:cubicBezTo>
                    <a:cubicBezTo>
                      <a:pt x="102" y="188"/>
                      <a:pt x="103" y="187"/>
                      <a:pt x="104" y="187"/>
                    </a:cubicBezTo>
                    <a:cubicBezTo>
                      <a:pt x="105" y="187"/>
                      <a:pt x="106" y="188"/>
                      <a:pt x="107" y="188"/>
                    </a:cubicBezTo>
                    <a:cubicBezTo>
                      <a:pt x="109" y="190"/>
                      <a:pt x="111" y="191"/>
                      <a:pt x="112" y="193"/>
                    </a:cubicBezTo>
                    <a:cubicBezTo>
                      <a:pt x="113" y="196"/>
                      <a:pt x="115" y="198"/>
                      <a:pt x="116" y="200"/>
                    </a:cubicBezTo>
                    <a:cubicBezTo>
                      <a:pt x="117" y="203"/>
                      <a:pt x="117" y="206"/>
                      <a:pt x="116" y="209"/>
                    </a:cubicBezTo>
                    <a:cubicBezTo>
                      <a:pt x="116" y="211"/>
                      <a:pt x="115" y="212"/>
                      <a:pt x="114" y="213"/>
                    </a:cubicBezTo>
                    <a:cubicBezTo>
                      <a:pt x="114" y="214"/>
                      <a:pt x="113" y="215"/>
                      <a:pt x="113" y="216"/>
                    </a:cubicBezTo>
                    <a:cubicBezTo>
                      <a:pt x="112" y="217"/>
                      <a:pt x="113" y="218"/>
                      <a:pt x="114" y="219"/>
                    </a:cubicBezTo>
                    <a:cubicBezTo>
                      <a:pt x="114" y="220"/>
                      <a:pt x="115" y="221"/>
                      <a:pt x="116" y="222"/>
                    </a:cubicBezTo>
                    <a:cubicBezTo>
                      <a:pt x="119" y="222"/>
                      <a:pt x="122" y="223"/>
                      <a:pt x="124" y="223"/>
                    </a:cubicBezTo>
                    <a:cubicBezTo>
                      <a:pt x="126" y="222"/>
                      <a:pt x="128" y="219"/>
                      <a:pt x="130" y="219"/>
                    </a:cubicBezTo>
                    <a:cubicBezTo>
                      <a:pt x="132" y="219"/>
                      <a:pt x="133" y="223"/>
                      <a:pt x="133" y="224"/>
                    </a:cubicBezTo>
                    <a:cubicBezTo>
                      <a:pt x="134" y="225"/>
                      <a:pt x="135" y="226"/>
                      <a:pt x="135" y="227"/>
                    </a:cubicBezTo>
                    <a:cubicBezTo>
                      <a:pt x="135" y="229"/>
                      <a:pt x="133" y="229"/>
                      <a:pt x="132" y="230"/>
                    </a:cubicBezTo>
                    <a:cubicBezTo>
                      <a:pt x="131" y="230"/>
                      <a:pt x="126" y="231"/>
                      <a:pt x="127" y="228"/>
                    </a:cubicBezTo>
                    <a:cubicBezTo>
                      <a:pt x="127" y="228"/>
                      <a:pt x="128" y="227"/>
                      <a:pt x="127" y="226"/>
                    </a:cubicBezTo>
                    <a:cubicBezTo>
                      <a:pt x="127" y="225"/>
                      <a:pt x="124" y="226"/>
                      <a:pt x="123" y="226"/>
                    </a:cubicBezTo>
                    <a:cubicBezTo>
                      <a:pt x="120" y="227"/>
                      <a:pt x="118" y="226"/>
                      <a:pt x="115" y="225"/>
                    </a:cubicBezTo>
                    <a:cubicBezTo>
                      <a:pt x="112" y="224"/>
                      <a:pt x="109" y="224"/>
                      <a:pt x="106" y="224"/>
                    </a:cubicBezTo>
                    <a:cubicBezTo>
                      <a:pt x="103" y="224"/>
                      <a:pt x="101" y="224"/>
                      <a:pt x="99" y="223"/>
                    </a:cubicBezTo>
                    <a:cubicBezTo>
                      <a:pt x="96" y="222"/>
                      <a:pt x="93" y="220"/>
                      <a:pt x="90" y="221"/>
                    </a:cubicBezTo>
                    <a:cubicBezTo>
                      <a:pt x="88" y="221"/>
                      <a:pt x="86" y="222"/>
                      <a:pt x="85" y="222"/>
                    </a:cubicBezTo>
                    <a:cubicBezTo>
                      <a:pt x="82" y="223"/>
                      <a:pt x="83" y="226"/>
                      <a:pt x="81" y="227"/>
                    </a:cubicBezTo>
                    <a:cubicBezTo>
                      <a:pt x="80" y="229"/>
                      <a:pt x="78" y="230"/>
                      <a:pt x="79" y="233"/>
                    </a:cubicBezTo>
                    <a:cubicBezTo>
                      <a:pt x="79" y="235"/>
                      <a:pt x="81" y="236"/>
                      <a:pt x="83" y="237"/>
                    </a:cubicBezTo>
                    <a:cubicBezTo>
                      <a:pt x="84" y="238"/>
                      <a:pt x="87" y="239"/>
                      <a:pt x="86" y="240"/>
                    </a:cubicBezTo>
                    <a:cubicBezTo>
                      <a:pt x="85" y="242"/>
                      <a:pt x="81" y="240"/>
                      <a:pt x="80" y="240"/>
                    </a:cubicBezTo>
                    <a:cubicBezTo>
                      <a:pt x="76" y="239"/>
                      <a:pt x="71" y="236"/>
                      <a:pt x="67" y="237"/>
                    </a:cubicBezTo>
                    <a:cubicBezTo>
                      <a:pt x="63" y="239"/>
                      <a:pt x="65" y="243"/>
                      <a:pt x="68" y="245"/>
                    </a:cubicBezTo>
                    <a:cubicBezTo>
                      <a:pt x="69" y="246"/>
                      <a:pt x="71" y="246"/>
                      <a:pt x="73" y="247"/>
                    </a:cubicBezTo>
                    <a:cubicBezTo>
                      <a:pt x="75" y="248"/>
                      <a:pt x="76" y="250"/>
                      <a:pt x="77" y="252"/>
                    </a:cubicBezTo>
                    <a:cubicBezTo>
                      <a:pt x="80" y="255"/>
                      <a:pt x="81" y="259"/>
                      <a:pt x="81" y="263"/>
                    </a:cubicBezTo>
                    <a:cubicBezTo>
                      <a:pt x="81" y="265"/>
                      <a:pt x="81" y="267"/>
                      <a:pt x="82" y="268"/>
                    </a:cubicBezTo>
                    <a:cubicBezTo>
                      <a:pt x="84" y="269"/>
                      <a:pt x="85" y="268"/>
                      <a:pt x="87" y="268"/>
                    </a:cubicBezTo>
                    <a:cubicBezTo>
                      <a:pt x="88" y="268"/>
                      <a:pt x="90" y="269"/>
                      <a:pt x="92" y="269"/>
                    </a:cubicBezTo>
                    <a:cubicBezTo>
                      <a:pt x="93" y="270"/>
                      <a:pt x="93" y="272"/>
                      <a:pt x="95" y="273"/>
                    </a:cubicBezTo>
                    <a:cubicBezTo>
                      <a:pt x="95" y="273"/>
                      <a:pt x="96" y="273"/>
                      <a:pt x="97" y="273"/>
                    </a:cubicBezTo>
                    <a:cubicBezTo>
                      <a:pt x="98" y="273"/>
                      <a:pt x="98" y="273"/>
                      <a:pt x="99" y="273"/>
                    </a:cubicBezTo>
                    <a:cubicBezTo>
                      <a:pt x="101" y="274"/>
                      <a:pt x="103" y="275"/>
                      <a:pt x="104" y="277"/>
                    </a:cubicBezTo>
                    <a:cubicBezTo>
                      <a:pt x="105" y="278"/>
                      <a:pt x="106" y="280"/>
                      <a:pt x="105" y="281"/>
                    </a:cubicBezTo>
                    <a:cubicBezTo>
                      <a:pt x="104" y="282"/>
                      <a:pt x="103" y="283"/>
                      <a:pt x="101" y="284"/>
                    </a:cubicBezTo>
                    <a:cubicBezTo>
                      <a:pt x="100" y="285"/>
                      <a:pt x="100" y="287"/>
                      <a:pt x="101" y="289"/>
                    </a:cubicBezTo>
                    <a:cubicBezTo>
                      <a:pt x="101" y="291"/>
                      <a:pt x="101" y="293"/>
                      <a:pt x="102" y="295"/>
                    </a:cubicBezTo>
                    <a:cubicBezTo>
                      <a:pt x="104" y="293"/>
                      <a:pt x="105" y="291"/>
                      <a:pt x="108" y="290"/>
                    </a:cubicBezTo>
                    <a:cubicBezTo>
                      <a:pt x="110" y="288"/>
                      <a:pt x="113" y="287"/>
                      <a:pt x="116" y="287"/>
                    </a:cubicBezTo>
                    <a:cubicBezTo>
                      <a:pt x="119" y="286"/>
                      <a:pt x="123" y="285"/>
                      <a:pt x="126" y="285"/>
                    </a:cubicBezTo>
                    <a:cubicBezTo>
                      <a:pt x="127" y="285"/>
                      <a:pt x="129" y="284"/>
                      <a:pt x="131" y="284"/>
                    </a:cubicBezTo>
                    <a:cubicBezTo>
                      <a:pt x="132" y="284"/>
                      <a:pt x="133" y="286"/>
                      <a:pt x="134" y="286"/>
                    </a:cubicBezTo>
                    <a:cubicBezTo>
                      <a:pt x="137" y="288"/>
                      <a:pt x="139" y="290"/>
                      <a:pt x="142" y="292"/>
                    </a:cubicBezTo>
                    <a:cubicBezTo>
                      <a:pt x="144" y="295"/>
                      <a:pt x="146" y="297"/>
                      <a:pt x="148" y="300"/>
                    </a:cubicBezTo>
                    <a:cubicBezTo>
                      <a:pt x="149" y="302"/>
                      <a:pt x="151" y="304"/>
                      <a:pt x="153" y="304"/>
                    </a:cubicBezTo>
                    <a:cubicBezTo>
                      <a:pt x="157" y="305"/>
                      <a:pt x="160" y="305"/>
                      <a:pt x="163" y="305"/>
                    </a:cubicBezTo>
                    <a:cubicBezTo>
                      <a:pt x="163" y="292"/>
                      <a:pt x="163" y="278"/>
                      <a:pt x="163" y="265"/>
                    </a:cubicBezTo>
                    <a:cubicBezTo>
                      <a:pt x="163" y="259"/>
                      <a:pt x="163" y="252"/>
                      <a:pt x="163" y="246"/>
                    </a:cubicBezTo>
                    <a:cubicBezTo>
                      <a:pt x="163" y="243"/>
                      <a:pt x="162" y="240"/>
                      <a:pt x="162" y="236"/>
                    </a:cubicBezTo>
                    <a:cubicBezTo>
                      <a:pt x="162" y="234"/>
                      <a:pt x="163" y="232"/>
                      <a:pt x="164" y="230"/>
                    </a:cubicBezTo>
                    <a:cubicBezTo>
                      <a:pt x="165" y="228"/>
                      <a:pt x="168" y="228"/>
                      <a:pt x="170" y="227"/>
                    </a:cubicBezTo>
                    <a:cubicBezTo>
                      <a:pt x="173" y="226"/>
                      <a:pt x="177" y="225"/>
                      <a:pt x="180" y="225"/>
                    </a:cubicBezTo>
                    <a:cubicBezTo>
                      <a:pt x="186" y="223"/>
                      <a:pt x="192" y="221"/>
                      <a:pt x="199" y="220"/>
                    </a:cubicBezTo>
                    <a:cubicBezTo>
                      <a:pt x="200" y="219"/>
                      <a:pt x="202" y="219"/>
                      <a:pt x="203" y="219"/>
                    </a:cubicBezTo>
                    <a:cubicBezTo>
                      <a:pt x="204" y="219"/>
                      <a:pt x="206" y="219"/>
                      <a:pt x="207" y="218"/>
                    </a:cubicBezTo>
                    <a:cubicBezTo>
                      <a:pt x="207" y="218"/>
                      <a:pt x="208" y="216"/>
                      <a:pt x="208" y="215"/>
                    </a:cubicBezTo>
                    <a:cubicBezTo>
                      <a:pt x="208" y="214"/>
                      <a:pt x="208" y="213"/>
                      <a:pt x="208" y="212"/>
                    </a:cubicBezTo>
                    <a:cubicBezTo>
                      <a:pt x="209" y="210"/>
                      <a:pt x="213" y="209"/>
                      <a:pt x="214" y="209"/>
                    </a:cubicBezTo>
                    <a:cubicBezTo>
                      <a:pt x="216" y="209"/>
                      <a:pt x="221" y="209"/>
                      <a:pt x="220" y="211"/>
                    </a:cubicBezTo>
                    <a:cubicBezTo>
                      <a:pt x="219" y="213"/>
                      <a:pt x="217" y="214"/>
                      <a:pt x="216" y="214"/>
                    </a:cubicBezTo>
                    <a:cubicBezTo>
                      <a:pt x="214" y="215"/>
                      <a:pt x="212" y="216"/>
                      <a:pt x="212" y="217"/>
                    </a:cubicBezTo>
                    <a:cubicBezTo>
                      <a:pt x="211" y="220"/>
                      <a:pt x="213" y="220"/>
                      <a:pt x="215" y="221"/>
                    </a:cubicBezTo>
                    <a:cubicBezTo>
                      <a:pt x="218" y="223"/>
                      <a:pt x="221" y="224"/>
                      <a:pt x="223" y="226"/>
                    </a:cubicBezTo>
                    <a:cubicBezTo>
                      <a:pt x="229" y="230"/>
                      <a:pt x="235" y="233"/>
                      <a:pt x="240" y="236"/>
                    </a:cubicBezTo>
                    <a:cubicBezTo>
                      <a:pt x="245" y="239"/>
                      <a:pt x="250" y="242"/>
                      <a:pt x="254" y="247"/>
                    </a:cubicBezTo>
                    <a:cubicBezTo>
                      <a:pt x="258" y="252"/>
                      <a:pt x="262" y="255"/>
                      <a:pt x="266" y="260"/>
                    </a:cubicBezTo>
                    <a:cubicBezTo>
                      <a:pt x="268" y="262"/>
                      <a:pt x="270" y="261"/>
                      <a:pt x="273" y="260"/>
                    </a:cubicBezTo>
                    <a:cubicBezTo>
                      <a:pt x="276" y="260"/>
                      <a:pt x="279" y="259"/>
                      <a:pt x="282" y="259"/>
                    </a:cubicBezTo>
                    <a:cubicBezTo>
                      <a:pt x="289" y="257"/>
                      <a:pt x="295" y="258"/>
                      <a:pt x="301" y="259"/>
                    </a:cubicBezTo>
                    <a:cubicBezTo>
                      <a:pt x="304" y="259"/>
                      <a:pt x="307" y="259"/>
                      <a:pt x="310" y="259"/>
                    </a:cubicBezTo>
                    <a:cubicBezTo>
                      <a:pt x="312" y="258"/>
                      <a:pt x="314" y="255"/>
                      <a:pt x="316" y="256"/>
                    </a:cubicBezTo>
                    <a:cubicBezTo>
                      <a:pt x="318" y="256"/>
                      <a:pt x="320" y="259"/>
                      <a:pt x="322" y="261"/>
                    </a:cubicBezTo>
                    <a:cubicBezTo>
                      <a:pt x="324" y="263"/>
                      <a:pt x="326" y="266"/>
                      <a:pt x="328" y="268"/>
                    </a:cubicBezTo>
                    <a:cubicBezTo>
                      <a:pt x="330" y="270"/>
                      <a:pt x="331" y="271"/>
                      <a:pt x="334" y="272"/>
                    </a:cubicBezTo>
                    <a:cubicBezTo>
                      <a:pt x="336" y="273"/>
                      <a:pt x="337" y="277"/>
                      <a:pt x="337" y="279"/>
                    </a:cubicBezTo>
                    <a:cubicBezTo>
                      <a:pt x="337" y="282"/>
                      <a:pt x="337" y="285"/>
                      <a:pt x="337" y="287"/>
                    </a:cubicBezTo>
                    <a:cubicBezTo>
                      <a:pt x="337" y="288"/>
                      <a:pt x="336" y="290"/>
                      <a:pt x="337" y="291"/>
                    </a:cubicBezTo>
                    <a:cubicBezTo>
                      <a:pt x="337" y="292"/>
                      <a:pt x="339" y="292"/>
                      <a:pt x="340" y="292"/>
                    </a:cubicBezTo>
                    <a:cubicBezTo>
                      <a:pt x="341" y="292"/>
                      <a:pt x="343" y="292"/>
                      <a:pt x="345" y="293"/>
                    </a:cubicBezTo>
                    <a:cubicBezTo>
                      <a:pt x="346" y="296"/>
                      <a:pt x="346" y="299"/>
                      <a:pt x="347" y="302"/>
                    </a:cubicBezTo>
                    <a:cubicBezTo>
                      <a:pt x="347" y="303"/>
                      <a:pt x="348" y="307"/>
                      <a:pt x="349" y="308"/>
                    </a:cubicBezTo>
                    <a:cubicBezTo>
                      <a:pt x="350" y="308"/>
                      <a:pt x="352" y="308"/>
                      <a:pt x="353" y="308"/>
                    </a:cubicBezTo>
                    <a:cubicBezTo>
                      <a:pt x="355" y="308"/>
                      <a:pt x="356" y="308"/>
                      <a:pt x="358" y="308"/>
                    </a:cubicBezTo>
                    <a:cubicBezTo>
                      <a:pt x="363" y="307"/>
                      <a:pt x="370" y="306"/>
                      <a:pt x="371" y="312"/>
                    </a:cubicBezTo>
                    <a:cubicBezTo>
                      <a:pt x="371" y="313"/>
                      <a:pt x="371" y="314"/>
                      <a:pt x="371" y="315"/>
                    </a:cubicBezTo>
                    <a:cubicBezTo>
                      <a:pt x="370" y="316"/>
                      <a:pt x="371" y="317"/>
                      <a:pt x="372" y="317"/>
                    </a:cubicBezTo>
                    <a:cubicBezTo>
                      <a:pt x="373" y="318"/>
                      <a:pt x="377" y="322"/>
                      <a:pt x="378" y="319"/>
                    </a:cubicBezTo>
                    <a:cubicBezTo>
                      <a:pt x="378" y="318"/>
                      <a:pt x="378" y="316"/>
                      <a:pt x="378" y="315"/>
                    </a:cubicBezTo>
                    <a:cubicBezTo>
                      <a:pt x="379" y="312"/>
                      <a:pt x="381" y="311"/>
                      <a:pt x="383" y="309"/>
                    </a:cubicBezTo>
                    <a:cubicBezTo>
                      <a:pt x="386" y="307"/>
                      <a:pt x="388" y="304"/>
                      <a:pt x="391" y="302"/>
                    </a:cubicBezTo>
                    <a:cubicBezTo>
                      <a:pt x="394" y="299"/>
                      <a:pt x="397" y="297"/>
                      <a:pt x="400" y="296"/>
                    </a:cubicBezTo>
                    <a:cubicBezTo>
                      <a:pt x="404" y="294"/>
                      <a:pt x="408" y="292"/>
                      <a:pt x="411" y="290"/>
                    </a:cubicBezTo>
                    <a:cubicBezTo>
                      <a:pt x="413" y="289"/>
                      <a:pt x="415" y="289"/>
                      <a:pt x="416" y="288"/>
                    </a:cubicBezTo>
                    <a:cubicBezTo>
                      <a:pt x="418" y="287"/>
                      <a:pt x="417" y="285"/>
                      <a:pt x="418" y="284"/>
                    </a:cubicBezTo>
                    <a:cubicBezTo>
                      <a:pt x="419" y="281"/>
                      <a:pt x="422" y="277"/>
                      <a:pt x="426" y="276"/>
                    </a:cubicBezTo>
                    <a:cubicBezTo>
                      <a:pt x="429" y="276"/>
                      <a:pt x="434" y="276"/>
                      <a:pt x="438" y="276"/>
                    </a:cubicBezTo>
                    <a:cubicBezTo>
                      <a:pt x="442" y="276"/>
                      <a:pt x="446" y="278"/>
                      <a:pt x="450" y="279"/>
                    </a:cubicBezTo>
                    <a:cubicBezTo>
                      <a:pt x="451" y="280"/>
                      <a:pt x="453" y="280"/>
                      <a:pt x="455" y="281"/>
                    </a:cubicBezTo>
                    <a:cubicBezTo>
                      <a:pt x="456" y="281"/>
                      <a:pt x="460" y="283"/>
                      <a:pt x="460" y="282"/>
                    </a:cubicBezTo>
                    <a:cubicBezTo>
                      <a:pt x="460" y="279"/>
                      <a:pt x="460" y="277"/>
                      <a:pt x="461" y="274"/>
                    </a:cubicBezTo>
                    <a:cubicBezTo>
                      <a:pt x="462" y="272"/>
                      <a:pt x="464" y="271"/>
                      <a:pt x="466" y="269"/>
                    </a:cubicBezTo>
                    <a:cubicBezTo>
                      <a:pt x="471" y="266"/>
                      <a:pt x="476" y="267"/>
                      <a:pt x="481" y="270"/>
                    </a:cubicBezTo>
                    <a:cubicBezTo>
                      <a:pt x="486" y="272"/>
                      <a:pt x="492" y="275"/>
                      <a:pt x="497" y="274"/>
                    </a:cubicBezTo>
                    <a:cubicBezTo>
                      <a:pt x="500" y="273"/>
                      <a:pt x="503" y="273"/>
                      <a:pt x="506" y="272"/>
                    </a:cubicBezTo>
                    <a:cubicBezTo>
                      <a:pt x="509" y="272"/>
                      <a:pt x="512" y="273"/>
                      <a:pt x="515" y="273"/>
                    </a:cubicBezTo>
                    <a:cubicBezTo>
                      <a:pt x="521" y="273"/>
                      <a:pt x="527" y="273"/>
                      <a:pt x="533" y="273"/>
                    </a:cubicBezTo>
                    <a:cubicBezTo>
                      <a:pt x="539" y="273"/>
                      <a:pt x="545" y="275"/>
                      <a:pt x="551" y="275"/>
                    </a:cubicBezTo>
                    <a:cubicBezTo>
                      <a:pt x="553" y="275"/>
                      <a:pt x="556" y="275"/>
                      <a:pt x="559" y="276"/>
                    </a:cubicBezTo>
                    <a:cubicBezTo>
                      <a:pt x="560" y="277"/>
                      <a:pt x="561" y="279"/>
                      <a:pt x="562" y="281"/>
                    </a:cubicBezTo>
                    <a:cubicBezTo>
                      <a:pt x="563" y="283"/>
                      <a:pt x="566" y="282"/>
                      <a:pt x="568" y="282"/>
                    </a:cubicBezTo>
                    <a:cubicBezTo>
                      <a:pt x="571" y="282"/>
                      <a:pt x="572" y="283"/>
                      <a:pt x="574" y="285"/>
                    </a:cubicBezTo>
                    <a:cubicBezTo>
                      <a:pt x="574" y="282"/>
                      <a:pt x="573" y="280"/>
                      <a:pt x="574" y="277"/>
                    </a:cubicBezTo>
                    <a:cubicBezTo>
                      <a:pt x="575" y="276"/>
                      <a:pt x="575" y="275"/>
                      <a:pt x="577" y="274"/>
                    </a:cubicBezTo>
                    <a:cubicBezTo>
                      <a:pt x="578" y="273"/>
                      <a:pt x="577" y="273"/>
                      <a:pt x="578" y="271"/>
                    </a:cubicBezTo>
                    <a:cubicBezTo>
                      <a:pt x="578" y="269"/>
                      <a:pt x="581" y="269"/>
                      <a:pt x="582" y="267"/>
                    </a:cubicBezTo>
                    <a:cubicBezTo>
                      <a:pt x="583" y="266"/>
                      <a:pt x="583" y="264"/>
                      <a:pt x="582" y="262"/>
                    </a:cubicBezTo>
                    <a:cubicBezTo>
                      <a:pt x="581" y="257"/>
                      <a:pt x="577" y="252"/>
                      <a:pt x="577" y="247"/>
                    </a:cubicBezTo>
                    <a:cubicBezTo>
                      <a:pt x="576" y="244"/>
                      <a:pt x="576" y="241"/>
                      <a:pt x="577" y="238"/>
                    </a:cubicBezTo>
                    <a:cubicBezTo>
                      <a:pt x="577" y="238"/>
                      <a:pt x="578" y="236"/>
                      <a:pt x="578" y="235"/>
                    </a:cubicBezTo>
                    <a:cubicBezTo>
                      <a:pt x="577" y="234"/>
                      <a:pt x="576" y="234"/>
                      <a:pt x="575" y="234"/>
                    </a:cubicBezTo>
                    <a:cubicBezTo>
                      <a:pt x="574" y="235"/>
                      <a:pt x="572" y="235"/>
                      <a:pt x="571" y="235"/>
                    </a:cubicBezTo>
                    <a:cubicBezTo>
                      <a:pt x="569" y="234"/>
                      <a:pt x="568" y="232"/>
                      <a:pt x="569" y="230"/>
                    </a:cubicBezTo>
                    <a:cubicBezTo>
                      <a:pt x="570" y="227"/>
                      <a:pt x="577" y="226"/>
                      <a:pt x="580" y="225"/>
                    </a:cubicBezTo>
                    <a:cubicBezTo>
                      <a:pt x="586" y="224"/>
                      <a:pt x="592" y="222"/>
                      <a:pt x="598" y="222"/>
                    </a:cubicBezTo>
                    <a:cubicBezTo>
                      <a:pt x="599" y="222"/>
                      <a:pt x="601" y="222"/>
                      <a:pt x="602" y="222"/>
                    </a:cubicBezTo>
                    <a:cubicBezTo>
                      <a:pt x="603" y="223"/>
                      <a:pt x="603" y="224"/>
                      <a:pt x="604" y="224"/>
                    </a:cubicBezTo>
                    <a:cubicBezTo>
                      <a:pt x="606" y="225"/>
                      <a:pt x="609" y="225"/>
                      <a:pt x="612" y="224"/>
                    </a:cubicBezTo>
                    <a:cubicBezTo>
                      <a:pt x="613" y="224"/>
                      <a:pt x="616" y="225"/>
                      <a:pt x="616" y="223"/>
                    </a:cubicBezTo>
                    <a:cubicBezTo>
                      <a:pt x="615" y="221"/>
                      <a:pt x="613" y="221"/>
                      <a:pt x="612" y="220"/>
                    </a:cubicBezTo>
                    <a:cubicBezTo>
                      <a:pt x="610" y="220"/>
                      <a:pt x="610" y="218"/>
                      <a:pt x="610" y="216"/>
                    </a:cubicBezTo>
                    <a:cubicBezTo>
                      <a:pt x="611" y="213"/>
                      <a:pt x="612" y="210"/>
                      <a:pt x="613" y="207"/>
                    </a:cubicBezTo>
                    <a:cubicBezTo>
                      <a:pt x="615" y="200"/>
                      <a:pt x="618" y="194"/>
                      <a:pt x="620" y="188"/>
                    </a:cubicBezTo>
                    <a:cubicBezTo>
                      <a:pt x="621" y="186"/>
                      <a:pt x="621" y="184"/>
                      <a:pt x="623" y="183"/>
                    </a:cubicBezTo>
                    <a:cubicBezTo>
                      <a:pt x="625" y="181"/>
                      <a:pt x="628" y="183"/>
                      <a:pt x="630" y="184"/>
                    </a:cubicBezTo>
                    <a:cubicBezTo>
                      <a:pt x="632" y="186"/>
                      <a:pt x="635" y="187"/>
                      <a:pt x="638" y="187"/>
                    </a:cubicBezTo>
                    <a:cubicBezTo>
                      <a:pt x="641" y="187"/>
                      <a:pt x="645" y="187"/>
                      <a:pt x="648" y="187"/>
                    </a:cubicBezTo>
                    <a:cubicBezTo>
                      <a:pt x="649" y="187"/>
                      <a:pt x="651" y="187"/>
                      <a:pt x="652" y="187"/>
                    </a:cubicBezTo>
                    <a:cubicBezTo>
                      <a:pt x="654" y="187"/>
                      <a:pt x="655" y="188"/>
                      <a:pt x="656" y="188"/>
                    </a:cubicBezTo>
                    <a:cubicBezTo>
                      <a:pt x="658" y="188"/>
                      <a:pt x="661" y="186"/>
                      <a:pt x="662" y="185"/>
                    </a:cubicBezTo>
                    <a:cubicBezTo>
                      <a:pt x="664" y="184"/>
                      <a:pt x="666" y="183"/>
                      <a:pt x="667" y="181"/>
                    </a:cubicBezTo>
                    <a:cubicBezTo>
                      <a:pt x="668" y="178"/>
                      <a:pt x="667" y="175"/>
                      <a:pt x="666" y="173"/>
                    </a:cubicBezTo>
                    <a:cubicBezTo>
                      <a:pt x="666" y="170"/>
                      <a:pt x="665" y="167"/>
                      <a:pt x="665" y="165"/>
                    </a:cubicBezTo>
                    <a:cubicBezTo>
                      <a:pt x="666" y="162"/>
                      <a:pt x="667" y="160"/>
                      <a:pt x="669" y="158"/>
                    </a:cubicBezTo>
                    <a:cubicBezTo>
                      <a:pt x="671" y="155"/>
                      <a:pt x="673" y="155"/>
                      <a:pt x="676" y="154"/>
                    </a:cubicBezTo>
                    <a:cubicBezTo>
                      <a:pt x="679" y="154"/>
                      <a:pt x="683" y="153"/>
                      <a:pt x="684" y="151"/>
                    </a:cubicBezTo>
                    <a:cubicBezTo>
                      <a:pt x="686" y="148"/>
                      <a:pt x="686" y="145"/>
                      <a:pt x="687" y="142"/>
                    </a:cubicBezTo>
                    <a:cubicBezTo>
                      <a:pt x="688" y="140"/>
                      <a:pt x="691" y="141"/>
                      <a:pt x="693" y="141"/>
                    </a:cubicBezTo>
                    <a:cubicBezTo>
                      <a:pt x="692" y="140"/>
                      <a:pt x="691" y="139"/>
                      <a:pt x="690" y="138"/>
                    </a:cubicBezTo>
                    <a:cubicBezTo>
                      <a:pt x="690" y="138"/>
                      <a:pt x="690" y="138"/>
                      <a:pt x="690" y="138"/>
                    </a:cubicBezTo>
                    <a:cubicBezTo>
                      <a:pt x="689" y="137"/>
                      <a:pt x="690" y="138"/>
                      <a:pt x="690" y="138"/>
                    </a:cubicBezTo>
                    <a:close/>
                    <a:moveTo>
                      <a:pt x="229" y="206"/>
                    </a:moveTo>
                    <a:cubicBezTo>
                      <a:pt x="229" y="209"/>
                      <a:pt x="223" y="206"/>
                      <a:pt x="225" y="203"/>
                    </a:cubicBezTo>
                    <a:cubicBezTo>
                      <a:pt x="225" y="201"/>
                      <a:pt x="228" y="202"/>
                      <a:pt x="229" y="202"/>
                    </a:cubicBezTo>
                    <a:cubicBezTo>
                      <a:pt x="230" y="202"/>
                      <a:pt x="229" y="205"/>
                      <a:pt x="229" y="206"/>
                    </a:cubicBezTo>
                    <a:cubicBezTo>
                      <a:pt x="229" y="208"/>
                      <a:pt x="229" y="206"/>
                      <a:pt x="229" y="206"/>
                    </a:cubicBezTo>
                    <a:close/>
                    <a:moveTo>
                      <a:pt x="251" y="202"/>
                    </a:moveTo>
                    <a:cubicBezTo>
                      <a:pt x="250" y="204"/>
                      <a:pt x="248" y="205"/>
                      <a:pt x="246" y="205"/>
                    </a:cubicBezTo>
                    <a:cubicBezTo>
                      <a:pt x="243" y="205"/>
                      <a:pt x="244" y="203"/>
                      <a:pt x="243" y="201"/>
                    </a:cubicBezTo>
                    <a:cubicBezTo>
                      <a:pt x="242" y="200"/>
                      <a:pt x="241" y="201"/>
                      <a:pt x="240" y="201"/>
                    </a:cubicBezTo>
                    <a:cubicBezTo>
                      <a:pt x="239" y="201"/>
                      <a:pt x="238" y="200"/>
                      <a:pt x="236" y="200"/>
                    </a:cubicBezTo>
                    <a:cubicBezTo>
                      <a:pt x="235" y="199"/>
                      <a:pt x="233" y="200"/>
                      <a:pt x="231" y="198"/>
                    </a:cubicBezTo>
                    <a:cubicBezTo>
                      <a:pt x="229" y="197"/>
                      <a:pt x="234" y="194"/>
                      <a:pt x="235" y="194"/>
                    </a:cubicBezTo>
                    <a:cubicBezTo>
                      <a:pt x="236" y="193"/>
                      <a:pt x="237" y="195"/>
                      <a:pt x="237" y="195"/>
                    </a:cubicBezTo>
                    <a:cubicBezTo>
                      <a:pt x="238" y="196"/>
                      <a:pt x="238" y="196"/>
                      <a:pt x="239" y="196"/>
                    </a:cubicBezTo>
                    <a:cubicBezTo>
                      <a:pt x="242" y="196"/>
                      <a:pt x="243" y="199"/>
                      <a:pt x="246" y="200"/>
                    </a:cubicBezTo>
                    <a:cubicBezTo>
                      <a:pt x="247" y="200"/>
                      <a:pt x="248" y="200"/>
                      <a:pt x="249" y="200"/>
                    </a:cubicBezTo>
                    <a:cubicBezTo>
                      <a:pt x="251" y="200"/>
                      <a:pt x="252" y="201"/>
                      <a:pt x="251" y="202"/>
                    </a:cubicBezTo>
                    <a:cubicBezTo>
                      <a:pt x="250" y="205"/>
                      <a:pt x="251" y="202"/>
                      <a:pt x="251" y="202"/>
                    </a:cubicBezTo>
                    <a:close/>
                    <a:moveTo>
                      <a:pt x="554" y="199"/>
                    </a:moveTo>
                    <a:cubicBezTo>
                      <a:pt x="552" y="201"/>
                      <a:pt x="550" y="201"/>
                      <a:pt x="548" y="202"/>
                    </a:cubicBezTo>
                    <a:cubicBezTo>
                      <a:pt x="545" y="202"/>
                      <a:pt x="542" y="203"/>
                      <a:pt x="539" y="202"/>
                    </a:cubicBezTo>
                    <a:cubicBezTo>
                      <a:pt x="537" y="202"/>
                      <a:pt x="535" y="200"/>
                      <a:pt x="533" y="199"/>
                    </a:cubicBezTo>
                    <a:cubicBezTo>
                      <a:pt x="530" y="198"/>
                      <a:pt x="527" y="198"/>
                      <a:pt x="525" y="198"/>
                    </a:cubicBezTo>
                    <a:cubicBezTo>
                      <a:pt x="522" y="197"/>
                      <a:pt x="519" y="196"/>
                      <a:pt x="516" y="196"/>
                    </a:cubicBezTo>
                    <a:cubicBezTo>
                      <a:pt x="513" y="197"/>
                      <a:pt x="511" y="197"/>
                      <a:pt x="508" y="197"/>
                    </a:cubicBezTo>
                    <a:cubicBezTo>
                      <a:pt x="505" y="197"/>
                      <a:pt x="502" y="196"/>
                      <a:pt x="499" y="196"/>
                    </a:cubicBezTo>
                    <a:cubicBezTo>
                      <a:pt x="497" y="195"/>
                      <a:pt x="493" y="197"/>
                      <a:pt x="491" y="199"/>
                    </a:cubicBezTo>
                    <a:cubicBezTo>
                      <a:pt x="489" y="200"/>
                      <a:pt x="488" y="203"/>
                      <a:pt x="486" y="204"/>
                    </a:cubicBezTo>
                    <a:cubicBezTo>
                      <a:pt x="483" y="205"/>
                      <a:pt x="481" y="206"/>
                      <a:pt x="478" y="207"/>
                    </a:cubicBezTo>
                    <a:cubicBezTo>
                      <a:pt x="477" y="208"/>
                      <a:pt x="473" y="208"/>
                      <a:pt x="473" y="210"/>
                    </a:cubicBezTo>
                    <a:cubicBezTo>
                      <a:pt x="473" y="211"/>
                      <a:pt x="473" y="212"/>
                      <a:pt x="473" y="213"/>
                    </a:cubicBezTo>
                    <a:cubicBezTo>
                      <a:pt x="473" y="214"/>
                      <a:pt x="472" y="215"/>
                      <a:pt x="471" y="217"/>
                    </a:cubicBezTo>
                    <a:cubicBezTo>
                      <a:pt x="471" y="219"/>
                      <a:pt x="472" y="222"/>
                      <a:pt x="472" y="224"/>
                    </a:cubicBezTo>
                    <a:cubicBezTo>
                      <a:pt x="473" y="226"/>
                      <a:pt x="472" y="229"/>
                      <a:pt x="469" y="228"/>
                    </a:cubicBezTo>
                    <a:cubicBezTo>
                      <a:pt x="467" y="228"/>
                      <a:pt x="467" y="226"/>
                      <a:pt x="467" y="224"/>
                    </a:cubicBezTo>
                    <a:cubicBezTo>
                      <a:pt x="467" y="222"/>
                      <a:pt x="466" y="221"/>
                      <a:pt x="465" y="219"/>
                    </a:cubicBezTo>
                    <a:cubicBezTo>
                      <a:pt x="463" y="218"/>
                      <a:pt x="461" y="217"/>
                      <a:pt x="460" y="215"/>
                    </a:cubicBezTo>
                    <a:cubicBezTo>
                      <a:pt x="459" y="213"/>
                      <a:pt x="462" y="211"/>
                      <a:pt x="463" y="209"/>
                    </a:cubicBezTo>
                    <a:cubicBezTo>
                      <a:pt x="463" y="207"/>
                      <a:pt x="463" y="206"/>
                      <a:pt x="465" y="205"/>
                    </a:cubicBezTo>
                    <a:cubicBezTo>
                      <a:pt x="467" y="204"/>
                      <a:pt x="471" y="205"/>
                      <a:pt x="471" y="202"/>
                    </a:cubicBezTo>
                    <a:cubicBezTo>
                      <a:pt x="472" y="200"/>
                      <a:pt x="472" y="198"/>
                      <a:pt x="473" y="196"/>
                    </a:cubicBezTo>
                    <a:cubicBezTo>
                      <a:pt x="475" y="195"/>
                      <a:pt x="477" y="194"/>
                      <a:pt x="479" y="193"/>
                    </a:cubicBezTo>
                    <a:cubicBezTo>
                      <a:pt x="480" y="192"/>
                      <a:pt x="481" y="192"/>
                      <a:pt x="482" y="192"/>
                    </a:cubicBezTo>
                    <a:cubicBezTo>
                      <a:pt x="484" y="192"/>
                      <a:pt x="485" y="193"/>
                      <a:pt x="486" y="193"/>
                    </a:cubicBezTo>
                    <a:cubicBezTo>
                      <a:pt x="489" y="193"/>
                      <a:pt x="492" y="192"/>
                      <a:pt x="495" y="191"/>
                    </a:cubicBezTo>
                    <a:cubicBezTo>
                      <a:pt x="497" y="191"/>
                      <a:pt x="500" y="190"/>
                      <a:pt x="502" y="191"/>
                    </a:cubicBezTo>
                    <a:cubicBezTo>
                      <a:pt x="505" y="191"/>
                      <a:pt x="507" y="193"/>
                      <a:pt x="510" y="194"/>
                    </a:cubicBezTo>
                    <a:cubicBezTo>
                      <a:pt x="512" y="195"/>
                      <a:pt x="515" y="194"/>
                      <a:pt x="518" y="194"/>
                    </a:cubicBezTo>
                    <a:cubicBezTo>
                      <a:pt x="521" y="194"/>
                      <a:pt x="525" y="195"/>
                      <a:pt x="528" y="195"/>
                    </a:cubicBezTo>
                    <a:cubicBezTo>
                      <a:pt x="530" y="195"/>
                      <a:pt x="533" y="197"/>
                      <a:pt x="535" y="198"/>
                    </a:cubicBezTo>
                    <a:cubicBezTo>
                      <a:pt x="536" y="198"/>
                      <a:pt x="538" y="198"/>
                      <a:pt x="539" y="197"/>
                    </a:cubicBezTo>
                    <a:cubicBezTo>
                      <a:pt x="540" y="197"/>
                      <a:pt x="541" y="196"/>
                      <a:pt x="542" y="195"/>
                    </a:cubicBezTo>
                    <a:cubicBezTo>
                      <a:pt x="545" y="194"/>
                      <a:pt x="547" y="196"/>
                      <a:pt x="549" y="196"/>
                    </a:cubicBezTo>
                    <a:cubicBezTo>
                      <a:pt x="552" y="196"/>
                      <a:pt x="552" y="193"/>
                      <a:pt x="553" y="191"/>
                    </a:cubicBezTo>
                    <a:cubicBezTo>
                      <a:pt x="554" y="188"/>
                      <a:pt x="558" y="193"/>
                      <a:pt x="559" y="194"/>
                    </a:cubicBezTo>
                    <a:cubicBezTo>
                      <a:pt x="561" y="198"/>
                      <a:pt x="555" y="197"/>
                      <a:pt x="554" y="199"/>
                    </a:cubicBezTo>
                    <a:cubicBezTo>
                      <a:pt x="552" y="201"/>
                      <a:pt x="554" y="199"/>
                      <a:pt x="554" y="199"/>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13" name="Freeform 536">
                <a:extLst>
                  <a:ext uri="{FF2B5EF4-FFF2-40B4-BE49-F238E27FC236}">
                    <a16:creationId xmlns:a16="http://schemas.microsoft.com/office/drawing/2014/main" id="{B3E31430-2D47-8CA7-5383-678C1F6D4CDA}"/>
                  </a:ext>
                </a:extLst>
              </p:cNvPr>
              <p:cNvSpPr/>
              <p:nvPr>
                <p:custDataLst>
                  <p:tags r:id="rId251"/>
                </p:custDataLst>
              </p:nvPr>
            </p:nvSpPr>
            <p:spPr bwMode="auto">
              <a:xfrm>
                <a:off x="6888928" y="3170796"/>
                <a:ext cx="426033" cy="248733"/>
              </a:xfrm>
              <a:custGeom>
                <a:avLst/>
                <a:gdLst>
                  <a:gd name="T0" fmla="*/ 205 w 286"/>
                  <a:gd name="T1" fmla="*/ 154 h 167"/>
                  <a:gd name="T2" fmla="*/ 204 w 286"/>
                  <a:gd name="T3" fmla="*/ 142 h 167"/>
                  <a:gd name="T4" fmla="*/ 193 w 286"/>
                  <a:gd name="T5" fmla="*/ 122 h 167"/>
                  <a:gd name="T6" fmla="*/ 214 w 286"/>
                  <a:gd name="T7" fmla="*/ 113 h 167"/>
                  <a:gd name="T8" fmla="*/ 222 w 286"/>
                  <a:gd name="T9" fmla="*/ 107 h 167"/>
                  <a:gd name="T10" fmla="*/ 231 w 286"/>
                  <a:gd name="T11" fmla="*/ 97 h 167"/>
                  <a:gd name="T12" fmla="*/ 245 w 286"/>
                  <a:gd name="T13" fmla="*/ 92 h 167"/>
                  <a:gd name="T14" fmla="*/ 247 w 286"/>
                  <a:gd name="T15" fmla="*/ 104 h 167"/>
                  <a:gd name="T16" fmla="*/ 266 w 286"/>
                  <a:gd name="T17" fmla="*/ 108 h 167"/>
                  <a:gd name="T18" fmla="*/ 275 w 286"/>
                  <a:gd name="T19" fmla="*/ 101 h 167"/>
                  <a:gd name="T20" fmla="*/ 284 w 286"/>
                  <a:gd name="T21" fmla="*/ 98 h 167"/>
                  <a:gd name="T22" fmla="*/ 273 w 286"/>
                  <a:gd name="T23" fmla="*/ 89 h 167"/>
                  <a:gd name="T24" fmla="*/ 260 w 286"/>
                  <a:gd name="T25" fmla="*/ 90 h 167"/>
                  <a:gd name="T26" fmla="*/ 244 w 286"/>
                  <a:gd name="T27" fmla="*/ 83 h 167"/>
                  <a:gd name="T28" fmla="*/ 254 w 286"/>
                  <a:gd name="T29" fmla="*/ 67 h 167"/>
                  <a:gd name="T30" fmla="*/ 224 w 286"/>
                  <a:gd name="T31" fmla="*/ 85 h 167"/>
                  <a:gd name="T32" fmla="*/ 215 w 286"/>
                  <a:gd name="T33" fmla="*/ 98 h 167"/>
                  <a:gd name="T34" fmla="*/ 204 w 286"/>
                  <a:gd name="T35" fmla="*/ 92 h 167"/>
                  <a:gd name="T36" fmla="*/ 181 w 286"/>
                  <a:gd name="T37" fmla="*/ 85 h 167"/>
                  <a:gd name="T38" fmla="*/ 170 w 286"/>
                  <a:gd name="T39" fmla="*/ 69 h 167"/>
                  <a:gd name="T40" fmla="*/ 162 w 286"/>
                  <a:gd name="T41" fmla="*/ 48 h 167"/>
                  <a:gd name="T42" fmla="*/ 142 w 286"/>
                  <a:gd name="T43" fmla="*/ 40 h 167"/>
                  <a:gd name="T44" fmla="*/ 99 w 286"/>
                  <a:gd name="T45" fmla="*/ 40 h 167"/>
                  <a:gd name="T46" fmla="*/ 67 w 286"/>
                  <a:gd name="T47" fmla="*/ 13 h 167"/>
                  <a:gd name="T48" fmla="*/ 44 w 286"/>
                  <a:gd name="T49" fmla="*/ 2 h 167"/>
                  <a:gd name="T50" fmla="*/ 37 w 286"/>
                  <a:gd name="T51" fmla="*/ 21 h 167"/>
                  <a:gd name="T52" fmla="*/ 37 w 286"/>
                  <a:gd name="T53" fmla="*/ 7 h 167"/>
                  <a:gd name="T54" fmla="*/ 8 w 286"/>
                  <a:gd name="T55" fmla="*/ 8 h 167"/>
                  <a:gd name="T56" fmla="*/ 0 w 286"/>
                  <a:gd name="T57" fmla="*/ 31 h 167"/>
                  <a:gd name="T58" fmla="*/ 0 w 286"/>
                  <a:gd name="T59" fmla="*/ 83 h 167"/>
                  <a:gd name="T60" fmla="*/ 16 w 286"/>
                  <a:gd name="T61" fmla="*/ 84 h 167"/>
                  <a:gd name="T62" fmla="*/ 29 w 286"/>
                  <a:gd name="T63" fmla="*/ 66 h 167"/>
                  <a:gd name="T64" fmla="*/ 39 w 286"/>
                  <a:gd name="T65" fmla="*/ 63 h 167"/>
                  <a:gd name="T66" fmla="*/ 40 w 286"/>
                  <a:gd name="T67" fmla="*/ 57 h 167"/>
                  <a:gd name="T68" fmla="*/ 58 w 286"/>
                  <a:gd name="T69" fmla="*/ 63 h 167"/>
                  <a:gd name="T70" fmla="*/ 68 w 286"/>
                  <a:gd name="T71" fmla="*/ 67 h 167"/>
                  <a:gd name="T72" fmla="*/ 69 w 286"/>
                  <a:gd name="T73" fmla="*/ 81 h 167"/>
                  <a:gd name="T74" fmla="*/ 82 w 286"/>
                  <a:gd name="T75" fmla="*/ 86 h 167"/>
                  <a:gd name="T76" fmla="*/ 100 w 286"/>
                  <a:gd name="T77" fmla="*/ 93 h 167"/>
                  <a:gd name="T78" fmla="*/ 110 w 286"/>
                  <a:gd name="T79" fmla="*/ 111 h 167"/>
                  <a:gd name="T80" fmla="*/ 150 w 286"/>
                  <a:gd name="T81" fmla="*/ 137 h 167"/>
                  <a:gd name="T82" fmla="*/ 179 w 286"/>
                  <a:gd name="T83" fmla="*/ 151 h 167"/>
                  <a:gd name="T84" fmla="*/ 184 w 286"/>
                  <a:gd name="T85" fmla="*/ 163 h 167"/>
                  <a:gd name="T86" fmla="*/ 192 w 286"/>
                  <a:gd name="T87" fmla="*/ 166 h 167"/>
                  <a:gd name="T88" fmla="*/ 198 w 286"/>
                  <a:gd name="T89" fmla="*/ 166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6" h="167">
                    <a:moveTo>
                      <a:pt x="198" y="166"/>
                    </a:moveTo>
                    <a:cubicBezTo>
                      <a:pt x="198" y="163"/>
                      <a:pt x="199" y="161"/>
                      <a:pt x="201" y="159"/>
                    </a:cubicBezTo>
                    <a:cubicBezTo>
                      <a:pt x="202" y="157"/>
                      <a:pt x="204" y="155"/>
                      <a:pt x="205" y="154"/>
                    </a:cubicBezTo>
                    <a:cubicBezTo>
                      <a:pt x="207" y="152"/>
                      <a:pt x="208" y="151"/>
                      <a:pt x="207" y="149"/>
                    </a:cubicBezTo>
                    <a:cubicBezTo>
                      <a:pt x="207" y="148"/>
                      <a:pt x="206" y="147"/>
                      <a:pt x="206" y="146"/>
                    </a:cubicBezTo>
                    <a:cubicBezTo>
                      <a:pt x="204" y="145"/>
                      <a:pt x="204" y="144"/>
                      <a:pt x="204" y="142"/>
                    </a:cubicBezTo>
                    <a:cubicBezTo>
                      <a:pt x="204" y="139"/>
                      <a:pt x="205" y="137"/>
                      <a:pt x="204" y="134"/>
                    </a:cubicBezTo>
                    <a:cubicBezTo>
                      <a:pt x="203" y="132"/>
                      <a:pt x="200" y="133"/>
                      <a:pt x="198" y="132"/>
                    </a:cubicBezTo>
                    <a:cubicBezTo>
                      <a:pt x="194" y="131"/>
                      <a:pt x="190" y="126"/>
                      <a:pt x="193" y="122"/>
                    </a:cubicBezTo>
                    <a:cubicBezTo>
                      <a:pt x="197" y="117"/>
                      <a:pt x="202" y="119"/>
                      <a:pt x="207" y="120"/>
                    </a:cubicBezTo>
                    <a:cubicBezTo>
                      <a:pt x="210" y="120"/>
                      <a:pt x="211" y="118"/>
                      <a:pt x="212" y="116"/>
                    </a:cubicBezTo>
                    <a:cubicBezTo>
                      <a:pt x="212" y="115"/>
                      <a:pt x="213" y="114"/>
                      <a:pt x="214" y="113"/>
                    </a:cubicBezTo>
                    <a:cubicBezTo>
                      <a:pt x="215" y="112"/>
                      <a:pt x="216" y="112"/>
                      <a:pt x="216" y="111"/>
                    </a:cubicBezTo>
                    <a:cubicBezTo>
                      <a:pt x="217" y="109"/>
                      <a:pt x="218" y="108"/>
                      <a:pt x="220" y="107"/>
                    </a:cubicBezTo>
                    <a:cubicBezTo>
                      <a:pt x="220" y="107"/>
                      <a:pt x="221" y="107"/>
                      <a:pt x="222" y="107"/>
                    </a:cubicBezTo>
                    <a:cubicBezTo>
                      <a:pt x="223" y="106"/>
                      <a:pt x="223" y="105"/>
                      <a:pt x="223" y="104"/>
                    </a:cubicBezTo>
                    <a:cubicBezTo>
                      <a:pt x="222" y="102"/>
                      <a:pt x="222" y="99"/>
                      <a:pt x="224" y="97"/>
                    </a:cubicBezTo>
                    <a:cubicBezTo>
                      <a:pt x="226" y="95"/>
                      <a:pt x="228" y="96"/>
                      <a:pt x="231" y="97"/>
                    </a:cubicBezTo>
                    <a:cubicBezTo>
                      <a:pt x="232" y="98"/>
                      <a:pt x="234" y="96"/>
                      <a:pt x="235" y="96"/>
                    </a:cubicBezTo>
                    <a:cubicBezTo>
                      <a:pt x="237" y="95"/>
                      <a:pt x="238" y="94"/>
                      <a:pt x="240" y="93"/>
                    </a:cubicBezTo>
                    <a:cubicBezTo>
                      <a:pt x="242" y="92"/>
                      <a:pt x="243" y="91"/>
                      <a:pt x="245" y="92"/>
                    </a:cubicBezTo>
                    <a:cubicBezTo>
                      <a:pt x="247" y="93"/>
                      <a:pt x="248" y="94"/>
                      <a:pt x="249" y="96"/>
                    </a:cubicBezTo>
                    <a:cubicBezTo>
                      <a:pt x="250" y="97"/>
                      <a:pt x="249" y="99"/>
                      <a:pt x="248" y="100"/>
                    </a:cubicBezTo>
                    <a:cubicBezTo>
                      <a:pt x="248" y="101"/>
                      <a:pt x="247" y="103"/>
                      <a:pt x="247" y="104"/>
                    </a:cubicBezTo>
                    <a:cubicBezTo>
                      <a:pt x="248" y="106"/>
                      <a:pt x="251" y="106"/>
                      <a:pt x="252" y="106"/>
                    </a:cubicBezTo>
                    <a:cubicBezTo>
                      <a:pt x="256" y="105"/>
                      <a:pt x="259" y="104"/>
                      <a:pt x="262" y="106"/>
                    </a:cubicBezTo>
                    <a:cubicBezTo>
                      <a:pt x="263" y="106"/>
                      <a:pt x="265" y="107"/>
                      <a:pt x="266" y="108"/>
                    </a:cubicBezTo>
                    <a:cubicBezTo>
                      <a:pt x="268" y="108"/>
                      <a:pt x="269" y="106"/>
                      <a:pt x="270" y="105"/>
                    </a:cubicBezTo>
                    <a:cubicBezTo>
                      <a:pt x="271" y="104"/>
                      <a:pt x="272" y="103"/>
                      <a:pt x="273" y="102"/>
                    </a:cubicBezTo>
                    <a:cubicBezTo>
                      <a:pt x="274" y="102"/>
                      <a:pt x="274" y="102"/>
                      <a:pt x="275" y="101"/>
                    </a:cubicBezTo>
                    <a:cubicBezTo>
                      <a:pt x="276" y="101"/>
                      <a:pt x="277" y="100"/>
                      <a:pt x="278" y="100"/>
                    </a:cubicBezTo>
                    <a:cubicBezTo>
                      <a:pt x="279" y="99"/>
                      <a:pt x="281" y="100"/>
                      <a:pt x="282" y="100"/>
                    </a:cubicBezTo>
                    <a:cubicBezTo>
                      <a:pt x="283" y="99"/>
                      <a:pt x="283" y="99"/>
                      <a:pt x="284" y="98"/>
                    </a:cubicBezTo>
                    <a:cubicBezTo>
                      <a:pt x="284" y="97"/>
                      <a:pt x="285" y="97"/>
                      <a:pt x="286" y="96"/>
                    </a:cubicBezTo>
                    <a:cubicBezTo>
                      <a:pt x="283" y="97"/>
                      <a:pt x="281" y="94"/>
                      <a:pt x="280" y="93"/>
                    </a:cubicBezTo>
                    <a:cubicBezTo>
                      <a:pt x="277" y="92"/>
                      <a:pt x="275" y="91"/>
                      <a:pt x="273" y="89"/>
                    </a:cubicBezTo>
                    <a:cubicBezTo>
                      <a:pt x="271" y="87"/>
                      <a:pt x="270" y="85"/>
                      <a:pt x="268" y="84"/>
                    </a:cubicBezTo>
                    <a:cubicBezTo>
                      <a:pt x="266" y="84"/>
                      <a:pt x="265" y="86"/>
                      <a:pt x="264" y="87"/>
                    </a:cubicBezTo>
                    <a:cubicBezTo>
                      <a:pt x="263" y="89"/>
                      <a:pt x="262" y="90"/>
                      <a:pt x="260" y="90"/>
                    </a:cubicBezTo>
                    <a:cubicBezTo>
                      <a:pt x="257" y="90"/>
                      <a:pt x="253" y="90"/>
                      <a:pt x="252" y="88"/>
                    </a:cubicBezTo>
                    <a:cubicBezTo>
                      <a:pt x="251" y="86"/>
                      <a:pt x="252" y="84"/>
                      <a:pt x="249" y="84"/>
                    </a:cubicBezTo>
                    <a:cubicBezTo>
                      <a:pt x="248" y="84"/>
                      <a:pt x="246" y="84"/>
                      <a:pt x="244" y="83"/>
                    </a:cubicBezTo>
                    <a:cubicBezTo>
                      <a:pt x="239" y="81"/>
                      <a:pt x="247" y="76"/>
                      <a:pt x="249" y="75"/>
                    </a:cubicBezTo>
                    <a:cubicBezTo>
                      <a:pt x="251" y="73"/>
                      <a:pt x="253" y="71"/>
                      <a:pt x="255" y="70"/>
                    </a:cubicBezTo>
                    <a:cubicBezTo>
                      <a:pt x="258" y="68"/>
                      <a:pt x="254" y="66"/>
                      <a:pt x="254" y="67"/>
                    </a:cubicBezTo>
                    <a:cubicBezTo>
                      <a:pt x="253" y="69"/>
                      <a:pt x="250" y="70"/>
                      <a:pt x="248" y="71"/>
                    </a:cubicBezTo>
                    <a:cubicBezTo>
                      <a:pt x="245" y="72"/>
                      <a:pt x="242" y="74"/>
                      <a:pt x="239" y="75"/>
                    </a:cubicBezTo>
                    <a:cubicBezTo>
                      <a:pt x="234" y="78"/>
                      <a:pt x="228" y="81"/>
                      <a:pt x="224" y="85"/>
                    </a:cubicBezTo>
                    <a:cubicBezTo>
                      <a:pt x="222" y="87"/>
                      <a:pt x="221" y="89"/>
                      <a:pt x="218" y="91"/>
                    </a:cubicBezTo>
                    <a:cubicBezTo>
                      <a:pt x="217" y="92"/>
                      <a:pt x="216" y="92"/>
                      <a:pt x="216" y="94"/>
                    </a:cubicBezTo>
                    <a:cubicBezTo>
                      <a:pt x="215" y="95"/>
                      <a:pt x="215" y="96"/>
                      <a:pt x="215" y="98"/>
                    </a:cubicBezTo>
                    <a:cubicBezTo>
                      <a:pt x="215" y="100"/>
                      <a:pt x="214" y="101"/>
                      <a:pt x="211" y="101"/>
                    </a:cubicBezTo>
                    <a:cubicBezTo>
                      <a:pt x="209" y="101"/>
                      <a:pt x="206" y="99"/>
                      <a:pt x="204" y="97"/>
                    </a:cubicBezTo>
                    <a:cubicBezTo>
                      <a:pt x="202" y="95"/>
                      <a:pt x="204" y="94"/>
                      <a:pt x="204" y="92"/>
                    </a:cubicBezTo>
                    <a:cubicBezTo>
                      <a:pt x="204" y="90"/>
                      <a:pt x="202" y="89"/>
                      <a:pt x="200" y="88"/>
                    </a:cubicBezTo>
                    <a:cubicBezTo>
                      <a:pt x="195" y="88"/>
                      <a:pt x="191" y="90"/>
                      <a:pt x="186" y="89"/>
                    </a:cubicBezTo>
                    <a:cubicBezTo>
                      <a:pt x="183" y="89"/>
                      <a:pt x="182" y="88"/>
                      <a:pt x="181" y="85"/>
                    </a:cubicBezTo>
                    <a:cubicBezTo>
                      <a:pt x="180" y="82"/>
                      <a:pt x="179" y="79"/>
                      <a:pt x="179" y="76"/>
                    </a:cubicBezTo>
                    <a:cubicBezTo>
                      <a:pt x="178" y="73"/>
                      <a:pt x="177" y="73"/>
                      <a:pt x="174" y="73"/>
                    </a:cubicBezTo>
                    <a:cubicBezTo>
                      <a:pt x="171" y="73"/>
                      <a:pt x="170" y="72"/>
                      <a:pt x="170" y="69"/>
                    </a:cubicBezTo>
                    <a:cubicBezTo>
                      <a:pt x="169" y="66"/>
                      <a:pt x="170" y="64"/>
                      <a:pt x="170" y="61"/>
                    </a:cubicBezTo>
                    <a:cubicBezTo>
                      <a:pt x="170" y="59"/>
                      <a:pt x="170" y="54"/>
                      <a:pt x="168" y="53"/>
                    </a:cubicBezTo>
                    <a:cubicBezTo>
                      <a:pt x="165" y="52"/>
                      <a:pt x="163" y="50"/>
                      <a:pt x="162" y="48"/>
                    </a:cubicBezTo>
                    <a:cubicBezTo>
                      <a:pt x="159" y="46"/>
                      <a:pt x="157" y="44"/>
                      <a:pt x="155" y="41"/>
                    </a:cubicBezTo>
                    <a:cubicBezTo>
                      <a:pt x="154" y="40"/>
                      <a:pt x="152" y="36"/>
                      <a:pt x="150" y="37"/>
                    </a:cubicBezTo>
                    <a:cubicBezTo>
                      <a:pt x="147" y="39"/>
                      <a:pt x="145" y="40"/>
                      <a:pt x="142" y="40"/>
                    </a:cubicBezTo>
                    <a:cubicBezTo>
                      <a:pt x="136" y="41"/>
                      <a:pt x="129" y="39"/>
                      <a:pt x="123" y="39"/>
                    </a:cubicBezTo>
                    <a:cubicBezTo>
                      <a:pt x="117" y="39"/>
                      <a:pt x="111" y="42"/>
                      <a:pt x="105" y="42"/>
                    </a:cubicBezTo>
                    <a:cubicBezTo>
                      <a:pt x="102" y="42"/>
                      <a:pt x="101" y="42"/>
                      <a:pt x="99" y="40"/>
                    </a:cubicBezTo>
                    <a:cubicBezTo>
                      <a:pt x="98" y="38"/>
                      <a:pt x="96" y="37"/>
                      <a:pt x="94" y="35"/>
                    </a:cubicBezTo>
                    <a:cubicBezTo>
                      <a:pt x="90" y="31"/>
                      <a:pt x="87" y="26"/>
                      <a:pt x="82" y="23"/>
                    </a:cubicBezTo>
                    <a:cubicBezTo>
                      <a:pt x="77" y="19"/>
                      <a:pt x="72" y="16"/>
                      <a:pt x="67" y="13"/>
                    </a:cubicBezTo>
                    <a:cubicBezTo>
                      <a:pt x="61" y="9"/>
                      <a:pt x="56" y="6"/>
                      <a:pt x="50" y="3"/>
                    </a:cubicBezTo>
                    <a:cubicBezTo>
                      <a:pt x="49" y="2"/>
                      <a:pt x="48" y="1"/>
                      <a:pt x="46" y="1"/>
                    </a:cubicBezTo>
                    <a:cubicBezTo>
                      <a:pt x="45" y="0"/>
                      <a:pt x="45" y="1"/>
                      <a:pt x="44" y="2"/>
                    </a:cubicBezTo>
                    <a:cubicBezTo>
                      <a:pt x="43" y="5"/>
                      <a:pt x="42" y="7"/>
                      <a:pt x="43" y="10"/>
                    </a:cubicBezTo>
                    <a:cubicBezTo>
                      <a:pt x="45" y="14"/>
                      <a:pt x="45" y="17"/>
                      <a:pt x="42" y="19"/>
                    </a:cubicBezTo>
                    <a:cubicBezTo>
                      <a:pt x="41" y="20"/>
                      <a:pt x="39" y="21"/>
                      <a:pt x="37" y="21"/>
                    </a:cubicBezTo>
                    <a:cubicBezTo>
                      <a:pt x="36" y="21"/>
                      <a:pt x="37" y="19"/>
                      <a:pt x="37" y="18"/>
                    </a:cubicBezTo>
                    <a:cubicBezTo>
                      <a:pt x="37" y="17"/>
                      <a:pt x="38" y="15"/>
                      <a:pt x="38" y="13"/>
                    </a:cubicBezTo>
                    <a:cubicBezTo>
                      <a:pt x="37" y="11"/>
                      <a:pt x="37" y="9"/>
                      <a:pt x="37" y="7"/>
                    </a:cubicBezTo>
                    <a:cubicBezTo>
                      <a:pt x="37" y="6"/>
                      <a:pt x="36" y="4"/>
                      <a:pt x="38" y="3"/>
                    </a:cubicBezTo>
                    <a:cubicBezTo>
                      <a:pt x="39" y="2"/>
                      <a:pt x="40" y="1"/>
                      <a:pt x="40" y="0"/>
                    </a:cubicBezTo>
                    <a:cubicBezTo>
                      <a:pt x="29" y="2"/>
                      <a:pt x="19" y="5"/>
                      <a:pt x="8" y="8"/>
                    </a:cubicBezTo>
                    <a:cubicBezTo>
                      <a:pt x="6" y="8"/>
                      <a:pt x="2" y="9"/>
                      <a:pt x="1" y="10"/>
                    </a:cubicBezTo>
                    <a:cubicBezTo>
                      <a:pt x="0" y="12"/>
                      <a:pt x="0" y="14"/>
                      <a:pt x="0" y="16"/>
                    </a:cubicBezTo>
                    <a:cubicBezTo>
                      <a:pt x="0" y="21"/>
                      <a:pt x="0" y="26"/>
                      <a:pt x="0" y="31"/>
                    </a:cubicBezTo>
                    <a:cubicBezTo>
                      <a:pt x="0" y="42"/>
                      <a:pt x="0" y="54"/>
                      <a:pt x="0" y="66"/>
                    </a:cubicBezTo>
                    <a:cubicBezTo>
                      <a:pt x="0" y="71"/>
                      <a:pt x="0" y="77"/>
                      <a:pt x="0" y="82"/>
                    </a:cubicBezTo>
                    <a:cubicBezTo>
                      <a:pt x="0" y="82"/>
                      <a:pt x="0" y="83"/>
                      <a:pt x="0" y="83"/>
                    </a:cubicBezTo>
                    <a:cubicBezTo>
                      <a:pt x="0" y="84"/>
                      <a:pt x="1" y="84"/>
                      <a:pt x="2" y="84"/>
                    </a:cubicBezTo>
                    <a:cubicBezTo>
                      <a:pt x="3" y="84"/>
                      <a:pt x="5" y="84"/>
                      <a:pt x="7" y="84"/>
                    </a:cubicBezTo>
                    <a:cubicBezTo>
                      <a:pt x="10" y="84"/>
                      <a:pt x="13" y="84"/>
                      <a:pt x="16" y="84"/>
                    </a:cubicBezTo>
                    <a:cubicBezTo>
                      <a:pt x="14" y="80"/>
                      <a:pt x="13" y="76"/>
                      <a:pt x="16" y="72"/>
                    </a:cubicBezTo>
                    <a:cubicBezTo>
                      <a:pt x="18" y="69"/>
                      <a:pt x="22" y="69"/>
                      <a:pt x="25" y="68"/>
                    </a:cubicBezTo>
                    <a:cubicBezTo>
                      <a:pt x="27" y="68"/>
                      <a:pt x="28" y="67"/>
                      <a:pt x="29" y="66"/>
                    </a:cubicBezTo>
                    <a:cubicBezTo>
                      <a:pt x="29" y="64"/>
                      <a:pt x="29" y="62"/>
                      <a:pt x="31" y="60"/>
                    </a:cubicBezTo>
                    <a:cubicBezTo>
                      <a:pt x="33" y="59"/>
                      <a:pt x="35" y="60"/>
                      <a:pt x="36" y="61"/>
                    </a:cubicBezTo>
                    <a:cubicBezTo>
                      <a:pt x="36" y="61"/>
                      <a:pt x="39" y="63"/>
                      <a:pt x="39" y="63"/>
                    </a:cubicBezTo>
                    <a:cubicBezTo>
                      <a:pt x="39" y="63"/>
                      <a:pt x="39" y="63"/>
                      <a:pt x="39" y="62"/>
                    </a:cubicBezTo>
                    <a:cubicBezTo>
                      <a:pt x="38" y="61"/>
                      <a:pt x="38" y="61"/>
                      <a:pt x="38" y="60"/>
                    </a:cubicBezTo>
                    <a:cubicBezTo>
                      <a:pt x="39" y="59"/>
                      <a:pt x="39" y="58"/>
                      <a:pt x="40" y="57"/>
                    </a:cubicBezTo>
                    <a:cubicBezTo>
                      <a:pt x="41" y="55"/>
                      <a:pt x="43" y="54"/>
                      <a:pt x="45" y="56"/>
                    </a:cubicBezTo>
                    <a:cubicBezTo>
                      <a:pt x="47" y="58"/>
                      <a:pt x="48" y="59"/>
                      <a:pt x="51" y="60"/>
                    </a:cubicBezTo>
                    <a:cubicBezTo>
                      <a:pt x="54" y="60"/>
                      <a:pt x="55" y="62"/>
                      <a:pt x="58" y="63"/>
                    </a:cubicBezTo>
                    <a:cubicBezTo>
                      <a:pt x="59" y="64"/>
                      <a:pt x="61" y="64"/>
                      <a:pt x="62" y="64"/>
                    </a:cubicBezTo>
                    <a:cubicBezTo>
                      <a:pt x="63" y="64"/>
                      <a:pt x="65" y="64"/>
                      <a:pt x="66" y="65"/>
                    </a:cubicBezTo>
                    <a:cubicBezTo>
                      <a:pt x="67" y="65"/>
                      <a:pt x="67" y="66"/>
                      <a:pt x="68" y="67"/>
                    </a:cubicBezTo>
                    <a:cubicBezTo>
                      <a:pt x="68" y="68"/>
                      <a:pt x="67" y="69"/>
                      <a:pt x="67" y="70"/>
                    </a:cubicBezTo>
                    <a:cubicBezTo>
                      <a:pt x="67" y="73"/>
                      <a:pt x="70" y="73"/>
                      <a:pt x="70" y="75"/>
                    </a:cubicBezTo>
                    <a:cubicBezTo>
                      <a:pt x="71" y="77"/>
                      <a:pt x="68" y="79"/>
                      <a:pt x="69" y="81"/>
                    </a:cubicBezTo>
                    <a:cubicBezTo>
                      <a:pt x="70" y="82"/>
                      <a:pt x="71" y="83"/>
                      <a:pt x="71" y="84"/>
                    </a:cubicBezTo>
                    <a:cubicBezTo>
                      <a:pt x="71" y="85"/>
                      <a:pt x="72" y="84"/>
                      <a:pt x="73" y="84"/>
                    </a:cubicBezTo>
                    <a:cubicBezTo>
                      <a:pt x="76" y="85"/>
                      <a:pt x="79" y="85"/>
                      <a:pt x="82" y="86"/>
                    </a:cubicBezTo>
                    <a:cubicBezTo>
                      <a:pt x="85" y="87"/>
                      <a:pt x="87" y="86"/>
                      <a:pt x="89" y="85"/>
                    </a:cubicBezTo>
                    <a:cubicBezTo>
                      <a:pt x="92" y="84"/>
                      <a:pt x="94" y="86"/>
                      <a:pt x="96" y="87"/>
                    </a:cubicBezTo>
                    <a:cubicBezTo>
                      <a:pt x="98" y="89"/>
                      <a:pt x="99" y="91"/>
                      <a:pt x="100" y="93"/>
                    </a:cubicBezTo>
                    <a:cubicBezTo>
                      <a:pt x="101" y="95"/>
                      <a:pt x="101" y="98"/>
                      <a:pt x="103" y="100"/>
                    </a:cubicBezTo>
                    <a:cubicBezTo>
                      <a:pt x="105" y="102"/>
                      <a:pt x="107" y="103"/>
                      <a:pt x="108" y="105"/>
                    </a:cubicBezTo>
                    <a:cubicBezTo>
                      <a:pt x="109" y="107"/>
                      <a:pt x="109" y="109"/>
                      <a:pt x="110" y="111"/>
                    </a:cubicBezTo>
                    <a:cubicBezTo>
                      <a:pt x="112" y="114"/>
                      <a:pt x="117" y="116"/>
                      <a:pt x="119" y="118"/>
                    </a:cubicBezTo>
                    <a:cubicBezTo>
                      <a:pt x="123" y="120"/>
                      <a:pt x="126" y="123"/>
                      <a:pt x="130" y="125"/>
                    </a:cubicBezTo>
                    <a:cubicBezTo>
                      <a:pt x="136" y="130"/>
                      <a:pt x="144" y="133"/>
                      <a:pt x="150" y="137"/>
                    </a:cubicBezTo>
                    <a:cubicBezTo>
                      <a:pt x="153" y="140"/>
                      <a:pt x="155" y="142"/>
                      <a:pt x="158" y="144"/>
                    </a:cubicBezTo>
                    <a:cubicBezTo>
                      <a:pt x="162" y="146"/>
                      <a:pt x="165" y="144"/>
                      <a:pt x="169" y="145"/>
                    </a:cubicBezTo>
                    <a:cubicBezTo>
                      <a:pt x="172" y="146"/>
                      <a:pt x="177" y="148"/>
                      <a:pt x="179" y="151"/>
                    </a:cubicBezTo>
                    <a:cubicBezTo>
                      <a:pt x="180" y="152"/>
                      <a:pt x="180" y="154"/>
                      <a:pt x="179" y="156"/>
                    </a:cubicBezTo>
                    <a:cubicBezTo>
                      <a:pt x="179" y="158"/>
                      <a:pt x="179" y="160"/>
                      <a:pt x="179" y="163"/>
                    </a:cubicBezTo>
                    <a:cubicBezTo>
                      <a:pt x="181" y="163"/>
                      <a:pt x="182" y="162"/>
                      <a:pt x="184" y="163"/>
                    </a:cubicBezTo>
                    <a:cubicBezTo>
                      <a:pt x="185" y="163"/>
                      <a:pt x="186" y="163"/>
                      <a:pt x="186" y="164"/>
                    </a:cubicBezTo>
                    <a:cubicBezTo>
                      <a:pt x="187" y="164"/>
                      <a:pt x="187" y="165"/>
                      <a:pt x="188" y="166"/>
                    </a:cubicBezTo>
                    <a:cubicBezTo>
                      <a:pt x="189" y="166"/>
                      <a:pt x="191" y="166"/>
                      <a:pt x="192" y="166"/>
                    </a:cubicBezTo>
                    <a:cubicBezTo>
                      <a:pt x="194" y="166"/>
                      <a:pt x="196" y="166"/>
                      <a:pt x="198" y="167"/>
                    </a:cubicBezTo>
                    <a:cubicBezTo>
                      <a:pt x="198" y="167"/>
                      <a:pt x="198" y="166"/>
                      <a:pt x="198" y="166"/>
                    </a:cubicBezTo>
                    <a:cubicBezTo>
                      <a:pt x="198" y="166"/>
                      <a:pt x="198" y="166"/>
                      <a:pt x="198" y="166"/>
                    </a:cubicBezTo>
                    <a:cubicBezTo>
                      <a:pt x="198" y="164"/>
                      <a:pt x="198" y="166"/>
                      <a:pt x="198" y="166"/>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14" name="Freeform 537">
                <a:extLst>
                  <a:ext uri="{FF2B5EF4-FFF2-40B4-BE49-F238E27FC236}">
                    <a16:creationId xmlns:a16="http://schemas.microsoft.com/office/drawing/2014/main" id="{343B2FC2-32E3-A908-A57B-1EBB3CCCB799}"/>
                  </a:ext>
                </a:extLst>
              </p:cNvPr>
              <p:cNvSpPr/>
              <p:nvPr>
                <p:custDataLst>
                  <p:tags r:id="rId252"/>
                </p:custDataLst>
              </p:nvPr>
            </p:nvSpPr>
            <p:spPr bwMode="auto">
              <a:xfrm>
                <a:off x="7225672" y="3240951"/>
                <a:ext cx="272967" cy="119902"/>
              </a:xfrm>
              <a:custGeom>
                <a:avLst/>
                <a:gdLst>
                  <a:gd name="T0" fmla="*/ 177 w 183"/>
                  <a:gd name="T1" fmla="*/ 16 h 81"/>
                  <a:gd name="T2" fmla="*/ 167 w 183"/>
                  <a:gd name="T3" fmla="*/ 11 h 81"/>
                  <a:gd name="T4" fmla="*/ 140 w 183"/>
                  <a:gd name="T5" fmla="*/ 7 h 81"/>
                  <a:gd name="T6" fmla="*/ 111 w 183"/>
                  <a:gd name="T7" fmla="*/ 7 h 81"/>
                  <a:gd name="T8" fmla="*/ 94 w 183"/>
                  <a:gd name="T9" fmla="*/ 6 h 81"/>
                  <a:gd name="T10" fmla="*/ 72 w 183"/>
                  <a:gd name="T11" fmla="*/ 7 h 81"/>
                  <a:gd name="T12" fmla="*/ 66 w 183"/>
                  <a:gd name="T13" fmla="*/ 16 h 81"/>
                  <a:gd name="T14" fmla="*/ 40 w 183"/>
                  <a:gd name="T15" fmla="*/ 10 h 81"/>
                  <a:gd name="T16" fmla="*/ 28 w 183"/>
                  <a:gd name="T17" fmla="*/ 17 h 81"/>
                  <a:gd name="T18" fmla="*/ 33 w 183"/>
                  <a:gd name="T19" fmla="*/ 21 h 81"/>
                  <a:gd name="T20" fmla="*/ 21 w 183"/>
                  <a:gd name="T21" fmla="*/ 31 h 81"/>
                  <a:gd name="T22" fmla="*/ 27 w 183"/>
                  <a:gd name="T23" fmla="*/ 36 h 81"/>
                  <a:gd name="T24" fmla="*/ 35 w 183"/>
                  <a:gd name="T25" fmla="*/ 40 h 81"/>
                  <a:gd name="T26" fmla="*/ 44 w 183"/>
                  <a:gd name="T27" fmla="*/ 36 h 81"/>
                  <a:gd name="T28" fmla="*/ 55 w 183"/>
                  <a:gd name="T29" fmla="*/ 44 h 81"/>
                  <a:gd name="T30" fmla="*/ 61 w 183"/>
                  <a:gd name="T31" fmla="*/ 47 h 81"/>
                  <a:gd name="T32" fmla="*/ 60 w 183"/>
                  <a:gd name="T33" fmla="*/ 52 h 81"/>
                  <a:gd name="T34" fmla="*/ 54 w 183"/>
                  <a:gd name="T35" fmla="*/ 55 h 81"/>
                  <a:gd name="T36" fmla="*/ 47 w 183"/>
                  <a:gd name="T37" fmla="*/ 57 h 81"/>
                  <a:gd name="T38" fmla="*/ 35 w 183"/>
                  <a:gd name="T39" fmla="*/ 61 h 81"/>
                  <a:gd name="T40" fmla="*/ 25 w 183"/>
                  <a:gd name="T41" fmla="*/ 61 h 81"/>
                  <a:gd name="T42" fmla="*/ 21 w 183"/>
                  <a:gd name="T43" fmla="*/ 65 h 81"/>
                  <a:gd name="T44" fmla="*/ 6 w 183"/>
                  <a:gd name="T45" fmla="*/ 63 h 81"/>
                  <a:gd name="T46" fmla="*/ 0 w 183"/>
                  <a:gd name="T47" fmla="*/ 72 h 81"/>
                  <a:gd name="T48" fmla="*/ 14 w 183"/>
                  <a:gd name="T49" fmla="*/ 73 h 81"/>
                  <a:gd name="T50" fmla="*/ 32 w 183"/>
                  <a:gd name="T51" fmla="*/ 75 h 81"/>
                  <a:gd name="T52" fmla="*/ 42 w 183"/>
                  <a:gd name="T53" fmla="*/ 79 h 81"/>
                  <a:gd name="T54" fmla="*/ 57 w 183"/>
                  <a:gd name="T55" fmla="*/ 76 h 81"/>
                  <a:gd name="T56" fmla="*/ 70 w 183"/>
                  <a:gd name="T57" fmla="*/ 76 h 81"/>
                  <a:gd name="T58" fmla="*/ 73 w 183"/>
                  <a:gd name="T59" fmla="*/ 74 h 81"/>
                  <a:gd name="T60" fmla="*/ 79 w 183"/>
                  <a:gd name="T61" fmla="*/ 62 h 81"/>
                  <a:gd name="T62" fmla="*/ 91 w 183"/>
                  <a:gd name="T63" fmla="*/ 56 h 81"/>
                  <a:gd name="T64" fmla="*/ 102 w 183"/>
                  <a:gd name="T65" fmla="*/ 52 h 81"/>
                  <a:gd name="T66" fmla="*/ 108 w 183"/>
                  <a:gd name="T67" fmla="*/ 54 h 81"/>
                  <a:gd name="T68" fmla="*/ 117 w 183"/>
                  <a:gd name="T69" fmla="*/ 55 h 81"/>
                  <a:gd name="T70" fmla="*/ 131 w 183"/>
                  <a:gd name="T71" fmla="*/ 42 h 81"/>
                  <a:gd name="T72" fmla="*/ 151 w 183"/>
                  <a:gd name="T73" fmla="*/ 39 h 81"/>
                  <a:gd name="T74" fmla="*/ 158 w 183"/>
                  <a:gd name="T75" fmla="*/ 32 h 81"/>
                  <a:gd name="T76" fmla="*/ 179 w 183"/>
                  <a:gd name="T77" fmla="*/ 24 h 81"/>
                  <a:gd name="T78" fmla="*/ 183 w 183"/>
                  <a:gd name="T79" fmla="*/ 19 h 81"/>
                  <a:gd name="T80" fmla="*/ 183 w 183"/>
                  <a:gd name="T81" fmla="*/ 2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3" h="81">
                    <a:moveTo>
                      <a:pt x="183" y="20"/>
                    </a:moveTo>
                    <a:cubicBezTo>
                      <a:pt x="181" y="18"/>
                      <a:pt x="180" y="16"/>
                      <a:pt x="177" y="16"/>
                    </a:cubicBezTo>
                    <a:cubicBezTo>
                      <a:pt x="175" y="16"/>
                      <a:pt x="172" y="18"/>
                      <a:pt x="170" y="16"/>
                    </a:cubicBezTo>
                    <a:cubicBezTo>
                      <a:pt x="169" y="15"/>
                      <a:pt x="169" y="12"/>
                      <a:pt x="167" y="11"/>
                    </a:cubicBezTo>
                    <a:cubicBezTo>
                      <a:pt x="166" y="9"/>
                      <a:pt x="162" y="9"/>
                      <a:pt x="159" y="9"/>
                    </a:cubicBezTo>
                    <a:cubicBezTo>
                      <a:pt x="153" y="9"/>
                      <a:pt x="147" y="8"/>
                      <a:pt x="140" y="7"/>
                    </a:cubicBezTo>
                    <a:cubicBezTo>
                      <a:pt x="134" y="7"/>
                      <a:pt x="127" y="7"/>
                      <a:pt x="120" y="7"/>
                    </a:cubicBezTo>
                    <a:cubicBezTo>
                      <a:pt x="117" y="7"/>
                      <a:pt x="114" y="6"/>
                      <a:pt x="111" y="7"/>
                    </a:cubicBezTo>
                    <a:cubicBezTo>
                      <a:pt x="108" y="7"/>
                      <a:pt x="105" y="8"/>
                      <a:pt x="102" y="8"/>
                    </a:cubicBezTo>
                    <a:cubicBezTo>
                      <a:pt x="99" y="8"/>
                      <a:pt x="97" y="7"/>
                      <a:pt x="94" y="6"/>
                    </a:cubicBezTo>
                    <a:cubicBezTo>
                      <a:pt x="91" y="5"/>
                      <a:pt x="89" y="3"/>
                      <a:pt x="86" y="2"/>
                    </a:cubicBezTo>
                    <a:cubicBezTo>
                      <a:pt x="81" y="0"/>
                      <a:pt x="75" y="2"/>
                      <a:pt x="72" y="7"/>
                    </a:cubicBezTo>
                    <a:cubicBezTo>
                      <a:pt x="71" y="9"/>
                      <a:pt x="71" y="11"/>
                      <a:pt x="71" y="14"/>
                    </a:cubicBezTo>
                    <a:cubicBezTo>
                      <a:pt x="71" y="16"/>
                      <a:pt x="69" y="17"/>
                      <a:pt x="66" y="16"/>
                    </a:cubicBezTo>
                    <a:cubicBezTo>
                      <a:pt x="61" y="15"/>
                      <a:pt x="55" y="11"/>
                      <a:pt x="49" y="10"/>
                    </a:cubicBezTo>
                    <a:cubicBezTo>
                      <a:pt x="46" y="10"/>
                      <a:pt x="43" y="10"/>
                      <a:pt x="40" y="10"/>
                    </a:cubicBezTo>
                    <a:cubicBezTo>
                      <a:pt x="37" y="10"/>
                      <a:pt x="35" y="10"/>
                      <a:pt x="33" y="12"/>
                    </a:cubicBezTo>
                    <a:cubicBezTo>
                      <a:pt x="31" y="13"/>
                      <a:pt x="29" y="15"/>
                      <a:pt x="28" y="17"/>
                    </a:cubicBezTo>
                    <a:cubicBezTo>
                      <a:pt x="28" y="18"/>
                      <a:pt x="30" y="18"/>
                      <a:pt x="30" y="18"/>
                    </a:cubicBezTo>
                    <a:cubicBezTo>
                      <a:pt x="31" y="19"/>
                      <a:pt x="32" y="19"/>
                      <a:pt x="33" y="21"/>
                    </a:cubicBezTo>
                    <a:cubicBezTo>
                      <a:pt x="33" y="23"/>
                      <a:pt x="31" y="24"/>
                      <a:pt x="29" y="26"/>
                    </a:cubicBezTo>
                    <a:cubicBezTo>
                      <a:pt x="27" y="27"/>
                      <a:pt x="24" y="29"/>
                      <a:pt x="21" y="31"/>
                    </a:cubicBezTo>
                    <a:cubicBezTo>
                      <a:pt x="20" y="32"/>
                      <a:pt x="17" y="34"/>
                      <a:pt x="20" y="35"/>
                    </a:cubicBezTo>
                    <a:cubicBezTo>
                      <a:pt x="22" y="35"/>
                      <a:pt x="26" y="34"/>
                      <a:pt x="27" y="36"/>
                    </a:cubicBezTo>
                    <a:cubicBezTo>
                      <a:pt x="27" y="37"/>
                      <a:pt x="27" y="38"/>
                      <a:pt x="28" y="39"/>
                    </a:cubicBezTo>
                    <a:cubicBezTo>
                      <a:pt x="29" y="41"/>
                      <a:pt x="33" y="41"/>
                      <a:pt x="35" y="40"/>
                    </a:cubicBezTo>
                    <a:cubicBezTo>
                      <a:pt x="37" y="40"/>
                      <a:pt x="37" y="38"/>
                      <a:pt x="38" y="36"/>
                    </a:cubicBezTo>
                    <a:cubicBezTo>
                      <a:pt x="40" y="35"/>
                      <a:pt x="42" y="34"/>
                      <a:pt x="44" y="36"/>
                    </a:cubicBezTo>
                    <a:cubicBezTo>
                      <a:pt x="46" y="37"/>
                      <a:pt x="47" y="39"/>
                      <a:pt x="48" y="40"/>
                    </a:cubicBezTo>
                    <a:cubicBezTo>
                      <a:pt x="50" y="42"/>
                      <a:pt x="52" y="43"/>
                      <a:pt x="55" y="44"/>
                    </a:cubicBezTo>
                    <a:cubicBezTo>
                      <a:pt x="56" y="45"/>
                      <a:pt x="57" y="46"/>
                      <a:pt x="58" y="46"/>
                    </a:cubicBezTo>
                    <a:cubicBezTo>
                      <a:pt x="59" y="47"/>
                      <a:pt x="60" y="47"/>
                      <a:pt x="61" y="47"/>
                    </a:cubicBezTo>
                    <a:cubicBezTo>
                      <a:pt x="62" y="47"/>
                      <a:pt x="62" y="48"/>
                      <a:pt x="62" y="49"/>
                    </a:cubicBezTo>
                    <a:cubicBezTo>
                      <a:pt x="62" y="50"/>
                      <a:pt x="61" y="51"/>
                      <a:pt x="60" y="52"/>
                    </a:cubicBezTo>
                    <a:cubicBezTo>
                      <a:pt x="59" y="53"/>
                      <a:pt x="58" y="54"/>
                      <a:pt x="58" y="54"/>
                    </a:cubicBezTo>
                    <a:cubicBezTo>
                      <a:pt x="57" y="55"/>
                      <a:pt x="55" y="55"/>
                      <a:pt x="54" y="55"/>
                    </a:cubicBezTo>
                    <a:cubicBezTo>
                      <a:pt x="53" y="55"/>
                      <a:pt x="52" y="56"/>
                      <a:pt x="51" y="56"/>
                    </a:cubicBezTo>
                    <a:cubicBezTo>
                      <a:pt x="50" y="57"/>
                      <a:pt x="48" y="57"/>
                      <a:pt x="47" y="57"/>
                    </a:cubicBezTo>
                    <a:cubicBezTo>
                      <a:pt x="45" y="59"/>
                      <a:pt x="44" y="61"/>
                      <a:pt x="42" y="62"/>
                    </a:cubicBezTo>
                    <a:cubicBezTo>
                      <a:pt x="39" y="64"/>
                      <a:pt x="38" y="62"/>
                      <a:pt x="35" y="61"/>
                    </a:cubicBezTo>
                    <a:cubicBezTo>
                      <a:pt x="33" y="59"/>
                      <a:pt x="30" y="60"/>
                      <a:pt x="27" y="61"/>
                    </a:cubicBezTo>
                    <a:cubicBezTo>
                      <a:pt x="27" y="61"/>
                      <a:pt x="26" y="61"/>
                      <a:pt x="25" y="61"/>
                    </a:cubicBezTo>
                    <a:cubicBezTo>
                      <a:pt x="25" y="61"/>
                      <a:pt x="25" y="62"/>
                      <a:pt x="24" y="63"/>
                    </a:cubicBezTo>
                    <a:cubicBezTo>
                      <a:pt x="23" y="64"/>
                      <a:pt x="22" y="65"/>
                      <a:pt x="21" y="65"/>
                    </a:cubicBezTo>
                    <a:cubicBezTo>
                      <a:pt x="18" y="65"/>
                      <a:pt x="17" y="63"/>
                      <a:pt x="14" y="63"/>
                    </a:cubicBezTo>
                    <a:cubicBezTo>
                      <a:pt x="12" y="62"/>
                      <a:pt x="9" y="62"/>
                      <a:pt x="6" y="63"/>
                    </a:cubicBezTo>
                    <a:cubicBezTo>
                      <a:pt x="4" y="63"/>
                      <a:pt x="2" y="64"/>
                      <a:pt x="1" y="66"/>
                    </a:cubicBezTo>
                    <a:cubicBezTo>
                      <a:pt x="1" y="68"/>
                      <a:pt x="0" y="70"/>
                      <a:pt x="0" y="72"/>
                    </a:cubicBezTo>
                    <a:cubicBezTo>
                      <a:pt x="1" y="74"/>
                      <a:pt x="4" y="73"/>
                      <a:pt x="5" y="73"/>
                    </a:cubicBezTo>
                    <a:cubicBezTo>
                      <a:pt x="8" y="73"/>
                      <a:pt x="11" y="73"/>
                      <a:pt x="14" y="73"/>
                    </a:cubicBezTo>
                    <a:cubicBezTo>
                      <a:pt x="17" y="73"/>
                      <a:pt x="20" y="73"/>
                      <a:pt x="23" y="73"/>
                    </a:cubicBezTo>
                    <a:cubicBezTo>
                      <a:pt x="26" y="74"/>
                      <a:pt x="29" y="76"/>
                      <a:pt x="32" y="75"/>
                    </a:cubicBezTo>
                    <a:cubicBezTo>
                      <a:pt x="34" y="75"/>
                      <a:pt x="36" y="73"/>
                      <a:pt x="38" y="74"/>
                    </a:cubicBezTo>
                    <a:cubicBezTo>
                      <a:pt x="40" y="75"/>
                      <a:pt x="41" y="78"/>
                      <a:pt x="42" y="79"/>
                    </a:cubicBezTo>
                    <a:cubicBezTo>
                      <a:pt x="44" y="81"/>
                      <a:pt x="48" y="80"/>
                      <a:pt x="50" y="79"/>
                    </a:cubicBezTo>
                    <a:cubicBezTo>
                      <a:pt x="53" y="79"/>
                      <a:pt x="54" y="77"/>
                      <a:pt x="57" y="76"/>
                    </a:cubicBezTo>
                    <a:cubicBezTo>
                      <a:pt x="60" y="76"/>
                      <a:pt x="63" y="76"/>
                      <a:pt x="66" y="76"/>
                    </a:cubicBezTo>
                    <a:cubicBezTo>
                      <a:pt x="67" y="76"/>
                      <a:pt x="69" y="76"/>
                      <a:pt x="70" y="76"/>
                    </a:cubicBezTo>
                    <a:cubicBezTo>
                      <a:pt x="71" y="76"/>
                      <a:pt x="71" y="76"/>
                      <a:pt x="71" y="75"/>
                    </a:cubicBezTo>
                    <a:cubicBezTo>
                      <a:pt x="72" y="75"/>
                      <a:pt x="73" y="74"/>
                      <a:pt x="73" y="74"/>
                    </a:cubicBezTo>
                    <a:cubicBezTo>
                      <a:pt x="75" y="73"/>
                      <a:pt x="77" y="72"/>
                      <a:pt x="77" y="69"/>
                    </a:cubicBezTo>
                    <a:cubicBezTo>
                      <a:pt x="78" y="67"/>
                      <a:pt x="77" y="64"/>
                      <a:pt x="79" y="62"/>
                    </a:cubicBezTo>
                    <a:cubicBezTo>
                      <a:pt x="80" y="60"/>
                      <a:pt x="83" y="60"/>
                      <a:pt x="85" y="59"/>
                    </a:cubicBezTo>
                    <a:cubicBezTo>
                      <a:pt x="86" y="59"/>
                      <a:pt x="91" y="58"/>
                      <a:pt x="91" y="56"/>
                    </a:cubicBezTo>
                    <a:cubicBezTo>
                      <a:pt x="92" y="54"/>
                      <a:pt x="94" y="53"/>
                      <a:pt x="96" y="54"/>
                    </a:cubicBezTo>
                    <a:cubicBezTo>
                      <a:pt x="99" y="55"/>
                      <a:pt x="100" y="55"/>
                      <a:pt x="102" y="52"/>
                    </a:cubicBezTo>
                    <a:cubicBezTo>
                      <a:pt x="103" y="51"/>
                      <a:pt x="105" y="49"/>
                      <a:pt x="106" y="51"/>
                    </a:cubicBezTo>
                    <a:cubicBezTo>
                      <a:pt x="107" y="52"/>
                      <a:pt x="108" y="53"/>
                      <a:pt x="108" y="54"/>
                    </a:cubicBezTo>
                    <a:cubicBezTo>
                      <a:pt x="108" y="55"/>
                      <a:pt x="107" y="55"/>
                      <a:pt x="108" y="56"/>
                    </a:cubicBezTo>
                    <a:cubicBezTo>
                      <a:pt x="110" y="57"/>
                      <a:pt x="114" y="56"/>
                      <a:pt x="117" y="55"/>
                    </a:cubicBezTo>
                    <a:cubicBezTo>
                      <a:pt x="119" y="55"/>
                      <a:pt x="121" y="51"/>
                      <a:pt x="123" y="49"/>
                    </a:cubicBezTo>
                    <a:cubicBezTo>
                      <a:pt x="125" y="46"/>
                      <a:pt x="128" y="43"/>
                      <a:pt x="131" y="42"/>
                    </a:cubicBezTo>
                    <a:cubicBezTo>
                      <a:pt x="134" y="41"/>
                      <a:pt x="138" y="41"/>
                      <a:pt x="142" y="41"/>
                    </a:cubicBezTo>
                    <a:cubicBezTo>
                      <a:pt x="145" y="41"/>
                      <a:pt x="149" y="41"/>
                      <a:pt x="151" y="39"/>
                    </a:cubicBezTo>
                    <a:cubicBezTo>
                      <a:pt x="152" y="38"/>
                      <a:pt x="153" y="37"/>
                      <a:pt x="153" y="36"/>
                    </a:cubicBezTo>
                    <a:cubicBezTo>
                      <a:pt x="155" y="34"/>
                      <a:pt x="156" y="33"/>
                      <a:pt x="158" y="32"/>
                    </a:cubicBezTo>
                    <a:cubicBezTo>
                      <a:pt x="161" y="30"/>
                      <a:pt x="164" y="29"/>
                      <a:pt x="168" y="28"/>
                    </a:cubicBezTo>
                    <a:cubicBezTo>
                      <a:pt x="172" y="27"/>
                      <a:pt x="176" y="25"/>
                      <a:pt x="179" y="24"/>
                    </a:cubicBezTo>
                    <a:cubicBezTo>
                      <a:pt x="180" y="24"/>
                      <a:pt x="183" y="24"/>
                      <a:pt x="183" y="23"/>
                    </a:cubicBezTo>
                    <a:cubicBezTo>
                      <a:pt x="183" y="22"/>
                      <a:pt x="183" y="20"/>
                      <a:pt x="183" y="19"/>
                    </a:cubicBezTo>
                    <a:cubicBezTo>
                      <a:pt x="183" y="19"/>
                      <a:pt x="183" y="20"/>
                      <a:pt x="183" y="20"/>
                    </a:cubicBezTo>
                    <a:cubicBezTo>
                      <a:pt x="182" y="19"/>
                      <a:pt x="183" y="20"/>
                      <a:pt x="183" y="20"/>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15" name="Freeform 538">
                <a:extLst>
                  <a:ext uri="{FF2B5EF4-FFF2-40B4-BE49-F238E27FC236}">
                    <a16:creationId xmlns:a16="http://schemas.microsoft.com/office/drawing/2014/main" id="{ADB2C024-3193-743F-AD86-85F39C77CBC5}"/>
                  </a:ext>
                </a:extLst>
              </p:cNvPr>
              <p:cNvSpPr/>
              <p:nvPr>
                <p:custDataLst>
                  <p:tags r:id="rId253"/>
                </p:custDataLst>
              </p:nvPr>
            </p:nvSpPr>
            <p:spPr bwMode="auto">
              <a:xfrm>
                <a:off x="7174650" y="3311106"/>
                <a:ext cx="195158" cy="122453"/>
              </a:xfrm>
              <a:custGeom>
                <a:avLst/>
                <a:gdLst>
                  <a:gd name="T0" fmla="*/ 126 w 131"/>
                  <a:gd name="T1" fmla="*/ 51 h 82"/>
                  <a:gd name="T2" fmla="*/ 112 w 131"/>
                  <a:gd name="T3" fmla="*/ 46 h 82"/>
                  <a:gd name="T4" fmla="*/ 107 w 131"/>
                  <a:gd name="T5" fmla="*/ 40 h 82"/>
                  <a:gd name="T6" fmla="*/ 105 w 131"/>
                  <a:gd name="T7" fmla="*/ 32 h 82"/>
                  <a:gd name="T8" fmla="*/ 89 w 131"/>
                  <a:gd name="T9" fmla="*/ 32 h 82"/>
                  <a:gd name="T10" fmla="*/ 83 w 131"/>
                  <a:gd name="T11" fmla="*/ 35 h 82"/>
                  <a:gd name="T12" fmla="*/ 72 w 131"/>
                  <a:gd name="T13" fmla="*/ 29 h 82"/>
                  <a:gd name="T14" fmla="*/ 64 w 131"/>
                  <a:gd name="T15" fmla="*/ 30 h 82"/>
                  <a:gd name="T16" fmla="*/ 36 w 131"/>
                  <a:gd name="T17" fmla="*/ 28 h 82"/>
                  <a:gd name="T18" fmla="*/ 36 w 131"/>
                  <a:gd name="T19" fmla="*/ 15 h 82"/>
                  <a:gd name="T20" fmla="*/ 53 w 131"/>
                  <a:gd name="T21" fmla="*/ 15 h 82"/>
                  <a:gd name="T22" fmla="*/ 53 w 131"/>
                  <a:gd name="T23" fmla="*/ 9 h 82"/>
                  <a:gd name="T24" fmla="*/ 49 w 131"/>
                  <a:gd name="T25" fmla="*/ 1 h 82"/>
                  <a:gd name="T26" fmla="*/ 34 w 131"/>
                  <a:gd name="T27" fmla="*/ 4 h 82"/>
                  <a:gd name="T28" fmla="*/ 31 w 131"/>
                  <a:gd name="T29" fmla="*/ 15 h 82"/>
                  <a:gd name="T30" fmla="*/ 22 w 131"/>
                  <a:gd name="T31" fmla="*/ 22 h 82"/>
                  <a:gd name="T32" fmla="*/ 4 w 131"/>
                  <a:gd name="T33" fmla="*/ 28 h 82"/>
                  <a:gd name="T34" fmla="*/ 13 w 131"/>
                  <a:gd name="T35" fmla="*/ 38 h 82"/>
                  <a:gd name="T36" fmla="*/ 16 w 131"/>
                  <a:gd name="T37" fmla="*/ 51 h 82"/>
                  <a:gd name="T38" fmla="*/ 12 w 131"/>
                  <a:gd name="T39" fmla="*/ 64 h 82"/>
                  <a:gd name="T40" fmla="*/ 10 w 131"/>
                  <a:gd name="T41" fmla="*/ 76 h 82"/>
                  <a:gd name="T42" fmla="*/ 27 w 131"/>
                  <a:gd name="T43" fmla="*/ 71 h 82"/>
                  <a:gd name="T44" fmla="*/ 35 w 131"/>
                  <a:gd name="T45" fmla="*/ 66 h 82"/>
                  <a:gd name="T46" fmla="*/ 46 w 131"/>
                  <a:gd name="T47" fmla="*/ 65 h 82"/>
                  <a:gd name="T48" fmla="*/ 51 w 131"/>
                  <a:gd name="T49" fmla="*/ 53 h 82"/>
                  <a:gd name="T50" fmla="*/ 67 w 131"/>
                  <a:gd name="T51" fmla="*/ 54 h 82"/>
                  <a:gd name="T52" fmla="*/ 71 w 131"/>
                  <a:gd name="T53" fmla="*/ 70 h 82"/>
                  <a:gd name="T54" fmla="*/ 74 w 131"/>
                  <a:gd name="T55" fmla="*/ 81 h 82"/>
                  <a:gd name="T56" fmla="*/ 86 w 131"/>
                  <a:gd name="T57" fmla="*/ 76 h 82"/>
                  <a:gd name="T58" fmla="*/ 99 w 131"/>
                  <a:gd name="T59" fmla="*/ 68 h 82"/>
                  <a:gd name="T60" fmla="*/ 111 w 131"/>
                  <a:gd name="T61" fmla="*/ 69 h 82"/>
                  <a:gd name="T62" fmla="*/ 125 w 131"/>
                  <a:gd name="T63" fmla="*/ 70 h 82"/>
                  <a:gd name="T64" fmla="*/ 130 w 131"/>
                  <a:gd name="T65" fmla="*/ 68 h 82"/>
                  <a:gd name="T66" fmla="*/ 129 w 131"/>
                  <a:gd name="T67" fmla="*/ 6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1" h="82">
                    <a:moveTo>
                      <a:pt x="129" y="67"/>
                    </a:moveTo>
                    <a:cubicBezTo>
                      <a:pt x="126" y="62"/>
                      <a:pt x="128" y="56"/>
                      <a:pt x="126" y="51"/>
                    </a:cubicBezTo>
                    <a:cubicBezTo>
                      <a:pt x="125" y="49"/>
                      <a:pt x="122" y="47"/>
                      <a:pt x="120" y="46"/>
                    </a:cubicBezTo>
                    <a:cubicBezTo>
                      <a:pt x="117" y="45"/>
                      <a:pt x="115" y="46"/>
                      <a:pt x="112" y="46"/>
                    </a:cubicBezTo>
                    <a:cubicBezTo>
                      <a:pt x="110" y="46"/>
                      <a:pt x="107" y="46"/>
                      <a:pt x="106" y="43"/>
                    </a:cubicBezTo>
                    <a:cubicBezTo>
                      <a:pt x="106" y="42"/>
                      <a:pt x="106" y="41"/>
                      <a:pt x="107" y="40"/>
                    </a:cubicBezTo>
                    <a:cubicBezTo>
                      <a:pt x="107" y="39"/>
                      <a:pt x="109" y="38"/>
                      <a:pt x="108" y="37"/>
                    </a:cubicBezTo>
                    <a:cubicBezTo>
                      <a:pt x="107" y="35"/>
                      <a:pt x="106" y="34"/>
                      <a:pt x="105" y="32"/>
                    </a:cubicBezTo>
                    <a:cubicBezTo>
                      <a:pt x="105" y="30"/>
                      <a:pt x="98" y="31"/>
                      <a:pt x="97" y="31"/>
                    </a:cubicBezTo>
                    <a:cubicBezTo>
                      <a:pt x="94" y="31"/>
                      <a:pt x="91" y="31"/>
                      <a:pt x="89" y="32"/>
                    </a:cubicBezTo>
                    <a:cubicBezTo>
                      <a:pt x="88" y="33"/>
                      <a:pt x="87" y="34"/>
                      <a:pt x="86" y="34"/>
                    </a:cubicBezTo>
                    <a:cubicBezTo>
                      <a:pt x="85" y="34"/>
                      <a:pt x="84" y="35"/>
                      <a:pt x="83" y="35"/>
                    </a:cubicBezTo>
                    <a:cubicBezTo>
                      <a:pt x="80" y="35"/>
                      <a:pt x="78" y="35"/>
                      <a:pt x="76" y="34"/>
                    </a:cubicBezTo>
                    <a:cubicBezTo>
                      <a:pt x="73" y="33"/>
                      <a:pt x="73" y="30"/>
                      <a:pt x="72" y="29"/>
                    </a:cubicBezTo>
                    <a:cubicBezTo>
                      <a:pt x="71" y="28"/>
                      <a:pt x="69" y="29"/>
                      <a:pt x="68" y="29"/>
                    </a:cubicBezTo>
                    <a:cubicBezTo>
                      <a:pt x="67" y="30"/>
                      <a:pt x="66" y="30"/>
                      <a:pt x="64" y="30"/>
                    </a:cubicBezTo>
                    <a:cubicBezTo>
                      <a:pt x="61" y="30"/>
                      <a:pt x="58" y="29"/>
                      <a:pt x="55" y="28"/>
                    </a:cubicBezTo>
                    <a:cubicBezTo>
                      <a:pt x="49" y="28"/>
                      <a:pt x="42" y="29"/>
                      <a:pt x="36" y="28"/>
                    </a:cubicBezTo>
                    <a:cubicBezTo>
                      <a:pt x="33" y="28"/>
                      <a:pt x="32" y="26"/>
                      <a:pt x="32" y="23"/>
                    </a:cubicBezTo>
                    <a:cubicBezTo>
                      <a:pt x="33" y="20"/>
                      <a:pt x="33" y="16"/>
                      <a:pt x="36" y="15"/>
                    </a:cubicBezTo>
                    <a:cubicBezTo>
                      <a:pt x="40" y="13"/>
                      <a:pt x="44" y="13"/>
                      <a:pt x="48" y="13"/>
                    </a:cubicBezTo>
                    <a:cubicBezTo>
                      <a:pt x="49" y="14"/>
                      <a:pt x="51" y="14"/>
                      <a:pt x="53" y="15"/>
                    </a:cubicBezTo>
                    <a:cubicBezTo>
                      <a:pt x="54" y="17"/>
                      <a:pt x="56" y="15"/>
                      <a:pt x="57" y="14"/>
                    </a:cubicBezTo>
                    <a:cubicBezTo>
                      <a:pt x="55" y="13"/>
                      <a:pt x="53" y="12"/>
                      <a:pt x="53" y="9"/>
                    </a:cubicBezTo>
                    <a:cubicBezTo>
                      <a:pt x="53" y="7"/>
                      <a:pt x="56" y="5"/>
                      <a:pt x="55" y="2"/>
                    </a:cubicBezTo>
                    <a:cubicBezTo>
                      <a:pt x="53" y="0"/>
                      <a:pt x="51" y="0"/>
                      <a:pt x="49" y="1"/>
                    </a:cubicBezTo>
                    <a:cubicBezTo>
                      <a:pt x="46" y="2"/>
                      <a:pt x="43" y="5"/>
                      <a:pt x="40" y="6"/>
                    </a:cubicBezTo>
                    <a:cubicBezTo>
                      <a:pt x="38" y="7"/>
                      <a:pt x="36" y="3"/>
                      <a:pt x="34" y="4"/>
                    </a:cubicBezTo>
                    <a:cubicBezTo>
                      <a:pt x="32" y="5"/>
                      <a:pt x="33" y="8"/>
                      <a:pt x="33" y="10"/>
                    </a:cubicBezTo>
                    <a:cubicBezTo>
                      <a:pt x="33" y="12"/>
                      <a:pt x="33" y="14"/>
                      <a:pt x="31" y="15"/>
                    </a:cubicBezTo>
                    <a:cubicBezTo>
                      <a:pt x="28" y="15"/>
                      <a:pt x="27" y="15"/>
                      <a:pt x="26" y="18"/>
                    </a:cubicBezTo>
                    <a:cubicBezTo>
                      <a:pt x="25" y="20"/>
                      <a:pt x="23" y="20"/>
                      <a:pt x="22" y="22"/>
                    </a:cubicBezTo>
                    <a:cubicBezTo>
                      <a:pt x="21" y="24"/>
                      <a:pt x="21" y="27"/>
                      <a:pt x="18" y="28"/>
                    </a:cubicBezTo>
                    <a:cubicBezTo>
                      <a:pt x="14" y="29"/>
                      <a:pt x="8" y="25"/>
                      <a:pt x="4" y="28"/>
                    </a:cubicBezTo>
                    <a:cubicBezTo>
                      <a:pt x="0" y="31"/>
                      <a:pt x="3" y="35"/>
                      <a:pt x="7" y="36"/>
                    </a:cubicBezTo>
                    <a:cubicBezTo>
                      <a:pt x="9" y="37"/>
                      <a:pt x="12" y="36"/>
                      <a:pt x="13" y="38"/>
                    </a:cubicBezTo>
                    <a:cubicBezTo>
                      <a:pt x="14" y="40"/>
                      <a:pt x="15" y="43"/>
                      <a:pt x="15" y="45"/>
                    </a:cubicBezTo>
                    <a:cubicBezTo>
                      <a:pt x="14" y="47"/>
                      <a:pt x="14" y="50"/>
                      <a:pt x="16" y="51"/>
                    </a:cubicBezTo>
                    <a:cubicBezTo>
                      <a:pt x="17" y="53"/>
                      <a:pt x="18" y="56"/>
                      <a:pt x="17" y="58"/>
                    </a:cubicBezTo>
                    <a:cubicBezTo>
                      <a:pt x="16" y="61"/>
                      <a:pt x="14" y="62"/>
                      <a:pt x="12" y="64"/>
                    </a:cubicBezTo>
                    <a:cubicBezTo>
                      <a:pt x="11" y="66"/>
                      <a:pt x="9" y="68"/>
                      <a:pt x="8" y="71"/>
                    </a:cubicBezTo>
                    <a:cubicBezTo>
                      <a:pt x="8" y="73"/>
                      <a:pt x="7" y="75"/>
                      <a:pt x="10" y="76"/>
                    </a:cubicBezTo>
                    <a:cubicBezTo>
                      <a:pt x="11" y="77"/>
                      <a:pt x="13" y="75"/>
                      <a:pt x="15" y="74"/>
                    </a:cubicBezTo>
                    <a:cubicBezTo>
                      <a:pt x="18" y="72"/>
                      <a:pt x="23" y="69"/>
                      <a:pt x="27" y="71"/>
                    </a:cubicBezTo>
                    <a:cubicBezTo>
                      <a:pt x="29" y="72"/>
                      <a:pt x="31" y="74"/>
                      <a:pt x="33" y="72"/>
                    </a:cubicBezTo>
                    <a:cubicBezTo>
                      <a:pt x="34" y="71"/>
                      <a:pt x="34" y="68"/>
                      <a:pt x="35" y="66"/>
                    </a:cubicBezTo>
                    <a:cubicBezTo>
                      <a:pt x="37" y="65"/>
                      <a:pt x="39" y="64"/>
                      <a:pt x="40" y="64"/>
                    </a:cubicBezTo>
                    <a:cubicBezTo>
                      <a:pt x="42" y="64"/>
                      <a:pt x="45" y="65"/>
                      <a:pt x="46" y="65"/>
                    </a:cubicBezTo>
                    <a:cubicBezTo>
                      <a:pt x="49" y="64"/>
                      <a:pt x="47" y="61"/>
                      <a:pt x="47" y="59"/>
                    </a:cubicBezTo>
                    <a:cubicBezTo>
                      <a:pt x="47" y="57"/>
                      <a:pt x="50" y="55"/>
                      <a:pt x="51" y="53"/>
                    </a:cubicBezTo>
                    <a:cubicBezTo>
                      <a:pt x="54" y="50"/>
                      <a:pt x="59" y="45"/>
                      <a:pt x="64" y="49"/>
                    </a:cubicBezTo>
                    <a:cubicBezTo>
                      <a:pt x="66" y="50"/>
                      <a:pt x="67" y="52"/>
                      <a:pt x="67" y="54"/>
                    </a:cubicBezTo>
                    <a:cubicBezTo>
                      <a:pt x="67" y="57"/>
                      <a:pt x="70" y="56"/>
                      <a:pt x="71" y="58"/>
                    </a:cubicBezTo>
                    <a:cubicBezTo>
                      <a:pt x="72" y="62"/>
                      <a:pt x="71" y="67"/>
                      <a:pt x="71" y="70"/>
                    </a:cubicBezTo>
                    <a:cubicBezTo>
                      <a:pt x="70" y="72"/>
                      <a:pt x="70" y="75"/>
                      <a:pt x="71" y="77"/>
                    </a:cubicBezTo>
                    <a:cubicBezTo>
                      <a:pt x="71" y="78"/>
                      <a:pt x="72" y="81"/>
                      <a:pt x="74" y="81"/>
                    </a:cubicBezTo>
                    <a:cubicBezTo>
                      <a:pt x="75" y="82"/>
                      <a:pt x="78" y="80"/>
                      <a:pt x="80" y="79"/>
                    </a:cubicBezTo>
                    <a:cubicBezTo>
                      <a:pt x="82" y="79"/>
                      <a:pt x="84" y="78"/>
                      <a:pt x="86" y="76"/>
                    </a:cubicBezTo>
                    <a:cubicBezTo>
                      <a:pt x="88" y="75"/>
                      <a:pt x="90" y="73"/>
                      <a:pt x="92" y="72"/>
                    </a:cubicBezTo>
                    <a:cubicBezTo>
                      <a:pt x="94" y="70"/>
                      <a:pt x="96" y="69"/>
                      <a:pt x="99" y="68"/>
                    </a:cubicBezTo>
                    <a:cubicBezTo>
                      <a:pt x="101" y="67"/>
                      <a:pt x="103" y="67"/>
                      <a:pt x="105" y="68"/>
                    </a:cubicBezTo>
                    <a:cubicBezTo>
                      <a:pt x="107" y="69"/>
                      <a:pt x="109" y="69"/>
                      <a:pt x="111" y="69"/>
                    </a:cubicBezTo>
                    <a:cubicBezTo>
                      <a:pt x="115" y="68"/>
                      <a:pt x="120" y="66"/>
                      <a:pt x="123" y="70"/>
                    </a:cubicBezTo>
                    <a:cubicBezTo>
                      <a:pt x="124" y="71"/>
                      <a:pt x="124" y="71"/>
                      <a:pt x="125" y="70"/>
                    </a:cubicBezTo>
                    <a:cubicBezTo>
                      <a:pt x="126" y="70"/>
                      <a:pt x="128" y="70"/>
                      <a:pt x="129" y="70"/>
                    </a:cubicBezTo>
                    <a:cubicBezTo>
                      <a:pt x="130" y="70"/>
                      <a:pt x="131" y="69"/>
                      <a:pt x="130" y="68"/>
                    </a:cubicBezTo>
                    <a:cubicBezTo>
                      <a:pt x="130" y="68"/>
                      <a:pt x="129" y="67"/>
                      <a:pt x="129" y="67"/>
                    </a:cubicBezTo>
                    <a:cubicBezTo>
                      <a:pt x="129" y="67"/>
                      <a:pt x="129" y="67"/>
                      <a:pt x="129" y="67"/>
                    </a:cubicBezTo>
                    <a:cubicBezTo>
                      <a:pt x="128" y="66"/>
                      <a:pt x="129" y="67"/>
                      <a:pt x="129" y="67"/>
                    </a:cubicBez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000000"/>
                  </a:solidFill>
                </a:endParaRPr>
              </a:p>
            </p:txBody>
          </p:sp>
          <p:sp>
            <p:nvSpPr>
              <p:cNvPr id="316" name="Freeform 306">
                <a:extLst>
                  <a:ext uri="{FF2B5EF4-FFF2-40B4-BE49-F238E27FC236}">
                    <a16:creationId xmlns:a16="http://schemas.microsoft.com/office/drawing/2014/main" id="{6502A998-05A0-8EA8-AAFC-61E4CDAF9245}"/>
                  </a:ext>
                </a:extLst>
              </p:cNvPr>
              <p:cNvSpPr/>
              <p:nvPr>
                <p:custDataLst>
                  <p:tags r:id="rId254"/>
                </p:custDataLst>
              </p:nvPr>
            </p:nvSpPr>
            <p:spPr bwMode="auto">
              <a:xfrm>
                <a:off x="6292768" y="3150196"/>
                <a:ext cx="99631" cy="51214"/>
              </a:xfrm>
              <a:custGeom>
                <a:avLst/>
                <a:gdLst>
                  <a:gd name="connsiteX0" fmla="*/ 34972 w 123997"/>
                  <a:gd name="connsiteY0" fmla="*/ 239 h 63739"/>
                  <a:gd name="connsiteX1" fmla="*/ 45835 w 123997"/>
                  <a:gd name="connsiteY1" fmla="*/ 239 h 63739"/>
                  <a:gd name="connsiteX2" fmla="*/ 49809 w 123997"/>
                  <a:gd name="connsiteY2" fmla="*/ 2620 h 63739"/>
                  <a:gd name="connsiteX3" fmla="*/ 57228 w 123997"/>
                  <a:gd name="connsiteY3" fmla="*/ 768 h 63739"/>
                  <a:gd name="connsiteX4" fmla="*/ 57228 w 123997"/>
                  <a:gd name="connsiteY4" fmla="*/ 4472 h 63739"/>
                  <a:gd name="connsiteX5" fmla="*/ 66502 w 123997"/>
                  <a:gd name="connsiteY5" fmla="*/ 10029 h 63739"/>
                  <a:gd name="connsiteX6" fmla="*/ 77630 w 123997"/>
                  <a:gd name="connsiteY6" fmla="*/ 19289 h 63739"/>
                  <a:gd name="connsiteX7" fmla="*/ 81339 w 123997"/>
                  <a:gd name="connsiteY7" fmla="*/ 30402 h 63739"/>
                  <a:gd name="connsiteX8" fmla="*/ 86903 w 123997"/>
                  <a:gd name="connsiteY8" fmla="*/ 30402 h 63739"/>
                  <a:gd name="connsiteX9" fmla="*/ 85049 w 123997"/>
                  <a:gd name="connsiteY9" fmla="*/ 24845 h 63739"/>
                  <a:gd name="connsiteX10" fmla="*/ 77630 w 123997"/>
                  <a:gd name="connsiteY10" fmla="*/ 13733 h 63739"/>
                  <a:gd name="connsiteX11" fmla="*/ 72066 w 123997"/>
                  <a:gd name="connsiteY11" fmla="*/ 768 h 63739"/>
                  <a:gd name="connsiteX12" fmla="*/ 73920 w 123997"/>
                  <a:gd name="connsiteY12" fmla="*/ 2620 h 63739"/>
                  <a:gd name="connsiteX13" fmla="*/ 77630 w 123997"/>
                  <a:gd name="connsiteY13" fmla="*/ 10029 h 63739"/>
                  <a:gd name="connsiteX14" fmla="*/ 86903 w 123997"/>
                  <a:gd name="connsiteY14" fmla="*/ 21141 h 63739"/>
                  <a:gd name="connsiteX15" fmla="*/ 90613 w 123997"/>
                  <a:gd name="connsiteY15" fmla="*/ 26697 h 63739"/>
                  <a:gd name="connsiteX16" fmla="*/ 96177 w 123997"/>
                  <a:gd name="connsiteY16" fmla="*/ 28550 h 63739"/>
                  <a:gd name="connsiteX17" fmla="*/ 103596 w 123997"/>
                  <a:gd name="connsiteY17" fmla="*/ 26697 h 63739"/>
                  <a:gd name="connsiteX18" fmla="*/ 109160 w 123997"/>
                  <a:gd name="connsiteY18" fmla="*/ 26697 h 63739"/>
                  <a:gd name="connsiteX19" fmla="*/ 116579 w 123997"/>
                  <a:gd name="connsiteY19" fmla="*/ 28550 h 63739"/>
                  <a:gd name="connsiteX20" fmla="*/ 123997 w 123997"/>
                  <a:gd name="connsiteY20" fmla="*/ 28550 h 63739"/>
                  <a:gd name="connsiteX21" fmla="*/ 120288 w 123997"/>
                  <a:gd name="connsiteY21" fmla="*/ 30402 h 63739"/>
                  <a:gd name="connsiteX22" fmla="*/ 120288 w 123997"/>
                  <a:gd name="connsiteY22" fmla="*/ 34106 h 63739"/>
                  <a:gd name="connsiteX23" fmla="*/ 114724 w 123997"/>
                  <a:gd name="connsiteY23" fmla="*/ 37810 h 63739"/>
                  <a:gd name="connsiteX24" fmla="*/ 98032 w 123997"/>
                  <a:gd name="connsiteY24" fmla="*/ 37810 h 63739"/>
                  <a:gd name="connsiteX25" fmla="*/ 90613 w 123997"/>
                  <a:gd name="connsiteY25" fmla="*/ 35958 h 63739"/>
                  <a:gd name="connsiteX26" fmla="*/ 86903 w 123997"/>
                  <a:gd name="connsiteY26" fmla="*/ 37810 h 63739"/>
                  <a:gd name="connsiteX27" fmla="*/ 73920 w 123997"/>
                  <a:gd name="connsiteY27" fmla="*/ 43366 h 63739"/>
                  <a:gd name="connsiteX28" fmla="*/ 66502 w 123997"/>
                  <a:gd name="connsiteY28" fmla="*/ 48922 h 63739"/>
                  <a:gd name="connsiteX29" fmla="*/ 60937 w 123997"/>
                  <a:gd name="connsiteY29" fmla="*/ 50775 h 63739"/>
                  <a:gd name="connsiteX30" fmla="*/ 53519 w 123997"/>
                  <a:gd name="connsiteY30" fmla="*/ 56331 h 63739"/>
                  <a:gd name="connsiteX31" fmla="*/ 47955 w 123997"/>
                  <a:gd name="connsiteY31" fmla="*/ 58183 h 63739"/>
                  <a:gd name="connsiteX32" fmla="*/ 36826 w 123997"/>
                  <a:gd name="connsiteY32" fmla="*/ 63739 h 63739"/>
                  <a:gd name="connsiteX33" fmla="*/ 29408 w 123997"/>
                  <a:gd name="connsiteY33" fmla="*/ 58183 h 63739"/>
                  <a:gd name="connsiteX34" fmla="*/ 31262 w 123997"/>
                  <a:gd name="connsiteY34" fmla="*/ 52627 h 63739"/>
                  <a:gd name="connsiteX35" fmla="*/ 31262 w 123997"/>
                  <a:gd name="connsiteY35" fmla="*/ 47070 h 63739"/>
                  <a:gd name="connsiteX36" fmla="*/ 29408 w 123997"/>
                  <a:gd name="connsiteY36" fmla="*/ 35958 h 63739"/>
                  <a:gd name="connsiteX37" fmla="*/ 21989 w 123997"/>
                  <a:gd name="connsiteY37" fmla="*/ 34106 h 63739"/>
                  <a:gd name="connsiteX38" fmla="*/ 16425 w 123997"/>
                  <a:gd name="connsiteY38" fmla="*/ 30402 h 63739"/>
                  <a:gd name="connsiteX39" fmla="*/ 3442 w 123997"/>
                  <a:gd name="connsiteY39" fmla="*/ 28550 h 63739"/>
                  <a:gd name="connsiteX40" fmla="*/ 1587 w 123997"/>
                  <a:gd name="connsiteY40" fmla="*/ 22993 h 63739"/>
                  <a:gd name="connsiteX41" fmla="*/ 12715 w 123997"/>
                  <a:gd name="connsiteY41" fmla="*/ 17437 h 63739"/>
                  <a:gd name="connsiteX42" fmla="*/ 23843 w 123997"/>
                  <a:gd name="connsiteY42" fmla="*/ 8177 h 63739"/>
                  <a:gd name="connsiteX43" fmla="*/ 34972 w 123997"/>
                  <a:gd name="connsiteY43" fmla="*/ 4472 h 63739"/>
                  <a:gd name="connsiteX44" fmla="*/ 34972 w 123997"/>
                  <a:gd name="connsiteY44" fmla="*/ 239 h 6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23997" h="63739">
                    <a:moveTo>
                      <a:pt x="34972" y="239"/>
                    </a:moveTo>
                    <a:lnTo>
                      <a:pt x="45835" y="239"/>
                    </a:lnTo>
                    <a:lnTo>
                      <a:pt x="49809" y="2620"/>
                    </a:lnTo>
                    <a:cubicBezTo>
                      <a:pt x="53519" y="768"/>
                      <a:pt x="53519" y="-1084"/>
                      <a:pt x="57228" y="768"/>
                    </a:cubicBezTo>
                    <a:cubicBezTo>
                      <a:pt x="59083" y="768"/>
                      <a:pt x="57228" y="2620"/>
                      <a:pt x="57228" y="4472"/>
                    </a:cubicBezTo>
                    <a:cubicBezTo>
                      <a:pt x="57228" y="10029"/>
                      <a:pt x="60937" y="10029"/>
                      <a:pt x="66502" y="10029"/>
                    </a:cubicBezTo>
                    <a:cubicBezTo>
                      <a:pt x="72066" y="11881"/>
                      <a:pt x="75775" y="13733"/>
                      <a:pt x="77630" y="19289"/>
                    </a:cubicBezTo>
                    <a:cubicBezTo>
                      <a:pt x="79484" y="22993"/>
                      <a:pt x="79484" y="28550"/>
                      <a:pt x="81339" y="30402"/>
                    </a:cubicBezTo>
                    <a:cubicBezTo>
                      <a:pt x="83194" y="32254"/>
                      <a:pt x="85049" y="30402"/>
                      <a:pt x="86903" y="30402"/>
                    </a:cubicBezTo>
                    <a:cubicBezTo>
                      <a:pt x="86903" y="28550"/>
                      <a:pt x="85049" y="26697"/>
                      <a:pt x="85049" y="24845"/>
                    </a:cubicBezTo>
                    <a:cubicBezTo>
                      <a:pt x="83194" y="21141"/>
                      <a:pt x="79484" y="17437"/>
                      <a:pt x="77630" y="13733"/>
                    </a:cubicBezTo>
                    <a:cubicBezTo>
                      <a:pt x="75775" y="10029"/>
                      <a:pt x="70211" y="2620"/>
                      <a:pt x="72066" y="768"/>
                    </a:cubicBezTo>
                    <a:cubicBezTo>
                      <a:pt x="73920" y="-1084"/>
                      <a:pt x="73920" y="2620"/>
                      <a:pt x="73920" y="2620"/>
                    </a:cubicBezTo>
                    <a:cubicBezTo>
                      <a:pt x="75775" y="6324"/>
                      <a:pt x="75775" y="8177"/>
                      <a:pt x="77630" y="10029"/>
                    </a:cubicBezTo>
                    <a:cubicBezTo>
                      <a:pt x="79484" y="15585"/>
                      <a:pt x="83194" y="17437"/>
                      <a:pt x="86903" y="21141"/>
                    </a:cubicBezTo>
                    <a:cubicBezTo>
                      <a:pt x="88758" y="22993"/>
                      <a:pt x="88758" y="24845"/>
                      <a:pt x="90613" y="26697"/>
                    </a:cubicBezTo>
                    <a:cubicBezTo>
                      <a:pt x="92467" y="28550"/>
                      <a:pt x="92467" y="30402"/>
                      <a:pt x="96177" y="28550"/>
                    </a:cubicBezTo>
                    <a:cubicBezTo>
                      <a:pt x="98032" y="28550"/>
                      <a:pt x="99886" y="26697"/>
                      <a:pt x="103596" y="26697"/>
                    </a:cubicBezTo>
                    <a:cubicBezTo>
                      <a:pt x="105450" y="24845"/>
                      <a:pt x="107305" y="26697"/>
                      <a:pt x="109160" y="26697"/>
                    </a:cubicBezTo>
                    <a:cubicBezTo>
                      <a:pt x="112869" y="26697"/>
                      <a:pt x="114724" y="28550"/>
                      <a:pt x="116579" y="28550"/>
                    </a:cubicBezTo>
                    <a:cubicBezTo>
                      <a:pt x="118433" y="28550"/>
                      <a:pt x="122143" y="26697"/>
                      <a:pt x="123997" y="28550"/>
                    </a:cubicBezTo>
                    <a:cubicBezTo>
                      <a:pt x="123997" y="28550"/>
                      <a:pt x="120288" y="30402"/>
                      <a:pt x="120288" y="30402"/>
                    </a:cubicBezTo>
                    <a:cubicBezTo>
                      <a:pt x="120288" y="32254"/>
                      <a:pt x="120288" y="32254"/>
                      <a:pt x="120288" y="34106"/>
                    </a:cubicBezTo>
                    <a:cubicBezTo>
                      <a:pt x="118433" y="35958"/>
                      <a:pt x="118433" y="35958"/>
                      <a:pt x="114724" y="37810"/>
                    </a:cubicBezTo>
                    <a:cubicBezTo>
                      <a:pt x="109160" y="37810"/>
                      <a:pt x="103596" y="39662"/>
                      <a:pt x="98032" y="37810"/>
                    </a:cubicBezTo>
                    <a:cubicBezTo>
                      <a:pt x="96177" y="35958"/>
                      <a:pt x="94322" y="35958"/>
                      <a:pt x="90613" y="35958"/>
                    </a:cubicBezTo>
                    <a:cubicBezTo>
                      <a:pt x="88758" y="34106"/>
                      <a:pt x="88758" y="35958"/>
                      <a:pt x="86903" y="37810"/>
                    </a:cubicBezTo>
                    <a:cubicBezTo>
                      <a:pt x="83194" y="41514"/>
                      <a:pt x="77630" y="41514"/>
                      <a:pt x="73920" y="43366"/>
                    </a:cubicBezTo>
                    <a:cubicBezTo>
                      <a:pt x="72066" y="45218"/>
                      <a:pt x="70211" y="47070"/>
                      <a:pt x="66502" y="48922"/>
                    </a:cubicBezTo>
                    <a:cubicBezTo>
                      <a:pt x="64647" y="48922"/>
                      <a:pt x="62792" y="50775"/>
                      <a:pt x="60937" y="50775"/>
                    </a:cubicBezTo>
                    <a:cubicBezTo>
                      <a:pt x="59083" y="52627"/>
                      <a:pt x="57228" y="54479"/>
                      <a:pt x="53519" y="56331"/>
                    </a:cubicBezTo>
                    <a:cubicBezTo>
                      <a:pt x="51664" y="56331"/>
                      <a:pt x="49809" y="56331"/>
                      <a:pt x="47955" y="58183"/>
                    </a:cubicBezTo>
                    <a:cubicBezTo>
                      <a:pt x="44245" y="60035"/>
                      <a:pt x="42390" y="63739"/>
                      <a:pt x="36826" y="63739"/>
                    </a:cubicBezTo>
                    <a:cubicBezTo>
                      <a:pt x="34972" y="63739"/>
                      <a:pt x="29408" y="61887"/>
                      <a:pt x="29408" y="58183"/>
                    </a:cubicBezTo>
                    <a:cubicBezTo>
                      <a:pt x="29408" y="56331"/>
                      <a:pt x="31262" y="54479"/>
                      <a:pt x="31262" y="52627"/>
                    </a:cubicBezTo>
                    <a:cubicBezTo>
                      <a:pt x="33117" y="50775"/>
                      <a:pt x="33117" y="48922"/>
                      <a:pt x="31262" y="47070"/>
                    </a:cubicBezTo>
                    <a:cubicBezTo>
                      <a:pt x="31262" y="43366"/>
                      <a:pt x="33117" y="37810"/>
                      <a:pt x="29408" y="35958"/>
                    </a:cubicBezTo>
                    <a:cubicBezTo>
                      <a:pt x="27553" y="34106"/>
                      <a:pt x="23843" y="34106"/>
                      <a:pt x="21989" y="34106"/>
                    </a:cubicBezTo>
                    <a:cubicBezTo>
                      <a:pt x="20134" y="34106"/>
                      <a:pt x="18279" y="32254"/>
                      <a:pt x="16425" y="30402"/>
                    </a:cubicBezTo>
                    <a:cubicBezTo>
                      <a:pt x="12715" y="28550"/>
                      <a:pt x="9006" y="28550"/>
                      <a:pt x="3442" y="28550"/>
                    </a:cubicBezTo>
                    <a:cubicBezTo>
                      <a:pt x="1587" y="26697"/>
                      <a:pt x="-2122" y="24845"/>
                      <a:pt x="1587" y="22993"/>
                    </a:cubicBezTo>
                    <a:cubicBezTo>
                      <a:pt x="5296" y="21141"/>
                      <a:pt x="9006" y="19289"/>
                      <a:pt x="12715" y="17437"/>
                    </a:cubicBezTo>
                    <a:cubicBezTo>
                      <a:pt x="16425" y="13733"/>
                      <a:pt x="18279" y="10029"/>
                      <a:pt x="23843" y="8177"/>
                    </a:cubicBezTo>
                    <a:cubicBezTo>
                      <a:pt x="27553" y="8177"/>
                      <a:pt x="33117" y="8177"/>
                      <a:pt x="34972" y="4472"/>
                    </a:cubicBezTo>
                    <a:lnTo>
                      <a:pt x="34972" y="239"/>
                    </a:lnTo>
                    <a:close/>
                  </a:path>
                </a:pathLst>
              </a:custGeom>
              <a:solidFill>
                <a:srgbClr val="D6D6D6">
                  <a:alpha val="50000"/>
                </a:srgbClr>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noAutofit/>
              </a:bodyPr>
              <a:lstStyle/>
              <a:p>
                <a:endParaRPr lang="en-US" sz="1200">
                  <a:solidFill>
                    <a:srgbClr val="000000"/>
                  </a:solidFill>
                </a:endParaRPr>
              </a:p>
            </p:txBody>
          </p:sp>
        </p:grpSp>
      </p:grpSp>
      <p:sp>
        <p:nvSpPr>
          <p:cNvPr id="325" name="Freeform 328">
            <a:extLst>
              <a:ext uri="{FF2B5EF4-FFF2-40B4-BE49-F238E27FC236}">
                <a16:creationId xmlns:a16="http://schemas.microsoft.com/office/drawing/2014/main" id="{A9AE4E27-B637-EE32-AF4A-7D216D7818FB}"/>
              </a:ext>
            </a:extLst>
          </p:cNvPr>
          <p:cNvSpPr/>
          <p:nvPr>
            <p:custDataLst>
              <p:tags r:id="rId127"/>
            </p:custDataLst>
          </p:nvPr>
        </p:nvSpPr>
        <p:spPr bwMode="auto">
          <a:xfrm>
            <a:off x="6404808" y="3616339"/>
            <a:ext cx="91301" cy="111875"/>
          </a:xfrm>
          <a:custGeom>
            <a:avLst/>
            <a:gdLst>
              <a:gd name="T0" fmla="*/ 71 w 73"/>
              <a:gd name="T1" fmla="*/ 80 h 89"/>
              <a:gd name="T2" fmla="*/ 70 w 73"/>
              <a:gd name="T3" fmla="*/ 86 h 89"/>
              <a:gd name="T4" fmla="*/ 64 w 73"/>
              <a:gd name="T5" fmla="*/ 82 h 89"/>
              <a:gd name="T6" fmla="*/ 56 w 73"/>
              <a:gd name="T7" fmla="*/ 85 h 89"/>
              <a:gd name="T8" fmla="*/ 23 w 73"/>
              <a:gd name="T9" fmla="*/ 63 h 89"/>
              <a:gd name="T10" fmla="*/ 19 w 73"/>
              <a:gd name="T11" fmla="*/ 55 h 89"/>
              <a:gd name="T12" fmla="*/ 11 w 73"/>
              <a:gd name="T13" fmla="*/ 44 h 89"/>
              <a:gd name="T14" fmla="*/ 7 w 73"/>
              <a:gd name="T15" fmla="*/ 27 h 89"/>
              <a:gd name="T16" fmla="*/ 4 w 73"/>
              <a:gd name="T17" fmla="*/ 22 h 89"/>
              <a:gd name="T18" fmla="*/ 4 w 73"/>
              <a:gd name="T19" fmla="*/ 13 h 89"/>
              <a:gd name="T20" fmla="*/ 2 w 73"/>
              <a:gd name="T21" fmla="*/ 5 h 89"/>
              <a:gd name="T22" fmla="*/ 5 w 73"/>
              <a:gd name="T23" fmla="*/ 1 h 89"/>
              <a:gd name="T24" fmla="*/ 15 w 73"/>
              <a:gd name="T25" fmla="*/ 14 h 89"/>
              <a:gd name="T26" fmla="*/ 19 w 73"/>
              <a:gd name="T27" fmla="*/ 17 h 89"/>
              <a:gd name="T28" fmla="*/ 24 w 73"/>
              <a:gd name="T29" fmla="*/ 12 h 89"/>
              <a:gd name="T30" fmla="*/ 25 w 73"/>
              <a:gd name="T31" fmla="*/ 14 h 89"/>
              <a:gd name="T32" fmla="*/ 30 w 73"/>
              <a:gd name="T33" fmla="*/ 9 h 89"/>
              <a:gd name="T34" fmla="*/ 40 w 73"/>
              <a:gd name="T35" fmla="*/ 15 h 89"/>
              <a:gd name="T36" fmla="*/ 53 w 73"/>
              <a:gd name="T37" fmla="*/ 28 h 89"/>
              <a:gd name="T38" fmla="*/ 53 w 73"/>
              <a:gd name="T39" fmla="*/ 56 h 89"/>
              <a:gd name="T40" fmla="*/ 65 w 73"/>
              <a:gd name="T41" fmla="*/ 77 h 89"/>
              <a:gd name="T42" fmla="*/ 64 w 73"/>
              <a:gd name="T43" fmla="*/ 80 h 89"/>
              <a:gd name="T44" fmla="*/ 71 w 73"/>
              <a:gd name="T45" fmla="*/ 80 h 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3"/>
              <a:gd name="T70" fmla="*/ 0 h 89"/>
              <a:gd name="T71" fmla="*/ 73 w 73"/>
              <a:gd name="T72" fmla="*/ 89 h 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3" h="89">
                <a:moveTo>
                  <a:pt x="71" y="80"/>
                </a:moveTo>
                <a:cubicBezTo>
                  <a:pt x="73" y="82"/>
                  <a:pt x="72" y="85"/>
                  <a:pt x="70" y="86"/>
                </a:cubicBezTo>
                <a:cubicBezTo>
                  <a:pt x="67" y="89"/>
                  <a:pt x="67" y="81"/>
                  <a:pt x="64" y="82"/>
                </a:cubicBezTo>
                <a:cubicBezTo>
                  <a:pt x="62" y="83"/>
                  <a:pt x="58" y="87"/>
                  <a:pt x="56" y="85"/>
                </a:cubicBezTo>
                <a:cubicBezTo>
                  <a:pt x="45" y="76"/>
                  <a:pt x="31" y="73"/>
                  <a:pt x="23" y="63"/>
                </a:cubicBezTo>
                <a:cubicBezTo>
                  <a:pt x="21" y="61"/>
                  <a:pt x="20" y="58"/>
                  <a:pt x="19" y="55"/>
                </a:cubicBezTo>
                <a:cubicBezTo>
                  <a:pt x="18" y="51"/>
                  <a:pt x="12" y="49"/>
                  <a:pt x="11" y="44"/>
                </a:cubicBezTo>
                <a:cubicBezTo>
                  <a:pt x="9" y="38"/>
                  <a:pt x="11" y="32"/>
                  <a:pt x="7" y="27"/>
                </a:cubicBezTo>
                <a:cubicBezTo>
                  <a:pt x="6" y="25"/>
                  <a:pt x="5" y="24"/>
                  <a:pt x="4" y="22"/>
                </a:cubicBezTo>
                <a:cubicBezTo>
                  <a:pt x="2" y="20"/>
                  <a:pt x="5" y="16"/>
                  <a:pt x="4" y="13"/>
                </a:cubicBezTo>
                <a:cubicBezTo>
                  <a:pt x="3" y="10"/>
                  <a:pt x="0" y="8"/>
                  <a:pt x="2" y="5"/>
                </a:cubicBezTo>
                <a:cubicBezTo>
                  <a:pt x="3" y="4"/>
                  <a:pt x="3" y="0"/>
                  <a:pt x="5" y="1"/>
                </a:cubicBezTo>
                <a:cubicBezTo>
                  <a:pt x="12" y="3"/>
                  <a:pt x="20" y="6"/>
                  <a:pt x="15" y="14"/>
                </a:cubicBezTo>
                <a:cubicBezTo>
                  <a:pt x="16" y="15"/>
                  <a:pt x="17" y="17"/>
                  <a:pt x="19" y="17"/>
                </a:cubicBezTo>
                <a:cubicBezTo>
                  <a:pt x="22" y="18"/>
                  <a:pt x="20" y="11"/>
                  <a:pt x="24" y="12"/>
                </a:cubicBezTo>
                <a:cubicBezTo>
                  <a:pt x="25" y="12"/>
                  <a:pt x="25" y="13"/>
                  <a:pt x="25" y="14"/>
                </a:cubicBezTo>
                <a:cubicBezTo>
                  <a:pt x="28" y="14"/>
                  <a:pt x="30" y="13"/>
                  <a:pt x="30" y="9"/>
                </a:cubicBezTo>
                <a:cubicBezTo>
                  <a:pt x="34" y="9"/>
                  <a:pt x="37" y="11"/>
                  <a:pt x="40" y="15"/>
                </a:cubicBezTo>
                <a:cubicBezTo>
                  <a:pt x="43" y="20"/>
                  <a:pt x="51" y="22"/>
                  <a:pt x="53" y="28"/>
                </a:cubicBezTo>
                <a:cubicBezTo>
                  <a:pt x="55" y="37"/>
                  <a:pt x="51" y="46"/>
                  <a:pt x="53" y="56"/>
                </a:cubicBezTo>
                <a:cubicBezTo>
                  <a:pt x="55" y="64"/>
                  <a:pt x="64" y="69"/>
                  <a:pt x="65" y="77"/>
                </a:cubicBezTo>
                <a:cubicBezTo>
                  <a:pt x="66" y="79"/>
                  <a:pt x="64" y="79"/>
                  <a:pt x="64" y="80"/>
                </a:cubicBezTo>
                <a:lnTo>
                  <a:pt x="71" y="80"/>
                </a:ln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326" name="Freeform 399232">
            <a:extLst>
              <a:ext uri="{FF2B5EF4-FFF2-40B4-BE49-F238E27FC236}">
                <a16:creationId xmlns:a16="http://schemas.microsoft.com/office/drawing/2014/main" id="{12FB786C-D3DB-5A57-DCAE-BEEA356674D6}"/>
              </a:ext>
            </a:extLst>
          </p:cNvPr>
          <p:cNvSpPr/>
          <p:nvPr>
            <p:custDataLst>
              <p:tags r:id="rId128"/>
            </p:custDataLst>
          </p:nvPr>
        </p:nvSpPr>
        <p:spPr bwMode="auto">
          <a:xfrm>
            <a:off x="6352941" y="3341150"/>
            <a:ext cx="164599" cy="297906"/>
          </a:xfrm>
          <a:custGeom>
            <a:avLst/>
            <a:gdLst>
              <a:gd name="T0" fmla="*/ 36 w 131"/>
              <a:gd name="T1" fmla="*/ 227 h 237"/>
              <a:gd name="T2" fmla="*/ 33 w 131"/>
              <a:gd name="T3" fmla="*/ 211 h 237"/>
              <a:gd name="T4" fmla="*/ 25 w 131"/>
              <a:gd name="T5" fmla="*/ 199 h 237"/>
              <a:gd name="T6" fmla="*/ 14 w 131"/>
              <a:gd name="T7" fmla="*/ 202 h 237"/>
              <a:gd name="T8" fmla="*/ 15 w 131"/>
              <a:gd name="T9" fmla="*/ 181 h 237"/>
              <a:gd name="T10" fmla="*/ 32 w 131"/>
              <a:gd name="T11" fmla="*/ 126 h 237"/>
              <a:gd name="T12" fmla="*/ 27 w 131"/>
              <a:gd name="T13" fmla="*/ 112 h 237"/>
              <a:gd name="T14" fmla="*/ 15 w 131"/>
              <a:gd name="T15" fmla="*/ 97 h 237"/>
              <a:gd name="T16" fmla="*/ 20 w 131"/>
              <a:gd name="T17" fmla="*/ 80 h 237"/>
              <a:gd name="T18" fmla="*/ 18 w 131"/>
              <a:gd name="T19" fmla="*/ 66 h 237"/>
              <a:gd name="T20" fmla="*/ 8 w 131"/>
              <a:gd name="T21" fmla="*/ 28 h 237"/>
              <a:gd name="T22" fmla="*/ 10 w 131"/>
              <a:gd name="T23" fmla="*/ 15 h 237"/>
              <a:gd name="T24" fmla="*/ 26 w 131"/>
              <a:gd name="T25" fmla="*/ 7 h 237"/>
              <a:gd name="T26" fmla="*/ 34 w 131"/>
              <a:gd name="T27" fmla="*/ 2 h 237"/>
              <a:gd name="T28" fmla="*/ 52 w 131"/>
              <a:gd name="T29" fmla="*/ 13 h 237"/>
              <a:gd name="T30" fmla="*/ 63 w 131"/>
              <a:gd name="T31" fmla="*/ 17 h 237"/>
              <a:gd name="T32" fmla="*/ 64 w 131"/>
              <a:gd name="T33" fmla="*/ 26 h 237"/>
              <a:gd name="T34" fmla="*/ 57 w 131"/>
              <a:gd name="T35" fmla="*/ 35 h 237"/>
              <a:gd name="T36" fmla="*/ 59 w 131"/>
              <a:gd name="T37" fmla="*/ 49 h 237"/>
              <a:gd name="T38" fmla="*/ 84 w 131"/>
              <a:gd name="T39" fmla="*/ 44 h 237"/>
              <a:gd name="T40" fmla="*/ 105 w 131"/>
              <a:gd name="T41" fmla="*/ 36 h 237"/>
              <a:gd name="T42" fmla="*/ 117 w 131"/>
              <a:gd name="T43" fmla="*/ 54 h 237"/>
              <a:gd name="T44" fmla="*/ 126 w 131"/>
              <a:gd name="T45" fmla="*/ 95 h 237"/>
              <a:gd name="T46" fmla="*/ 118 w 131"/>
              <a:gd name="T47" fmla="*/ 98 h 237"/>
              <a:gd name="T48" fmla="*/ 101 w 131"/>
              <a:gd name="T49" fmla="*/ 100 h 237"/>
              <a:gd name="T50" fmla="*/ 89 w 131"/>
              <a:gd name="T51" fmla="*/ 101 h 237"/>
              <a:gd name="T52" fmla="*/ 76 w 131"/>
              <a:gd name="T53" fmla="*/ 116 h 237"/>
              <a:gd name="T54" fmla="*/ 78 w 131"/>
              <a:gd name="T55" fmla="*/ 122 h 237"/>
              <a:gd name="T56" fmla="*/ 83 w 131"/>
              <a:gd name="T57" fmla="*/ 142 h 237"/>
              <a:gd name="T58" fmla="*/ 77 w 131"/>
              <a:gd name="T59" fmla="*/ 137 h 237"/>
              <a:gd name="T60" fmla="*/ 64 w 131"/>
              <a:gd name="T61" fmla="*/ 124 h 237"/>
              <a:gd name="T62" fmla="*/ 58 w 131"/>
              <a:gd name="T63" fmla="*/ 128 h 237"/>
              <a:gd name="T64" fmla="*/ 55 w 131"/>
              <a:gd name="T65" fmla="*/ 116 h 237"/>
              <a:gd name="T66" fmla="*/ 41 w 131"/>
              <a:gd name="T67" fmla="*/ 117 h 237"/>
              <a:gd name="T68" fmla="*/ 43 w 131"/>
              <a:gd name="T69" fmla="*/ 121 h 237"/>
              <a:gd name="T70" fmla="*/ 42 w 131"/>
              <a:gd name="T71" fmla="*/ 131 h 237"/>
              <a:gd name="T72" fmla="*/ 30 w 131"/>
              <a:gd name="T73" fmla="*/ 171 h 237"/>
              <a:gd name="T74" fmla="*/ 41 w 131"/>
              <a:gd name="T75" fmla="*/ 185 h 237"/>
              <a:gd name="T76" fmla="*/ 46 w 131"/>
              <a:gd name="T77" fmla="*/ 197 h 237"/>
              <a:gd name="T78" fmla="*/ 58 w 131"/>
              <a:gd name="T79" fmla="*/ 219 h 237"/>
              <a:gd name="T80" fmla="*/ 68 w 131"/>
              <a:gd name="T81" fmla="*/ 224 h 237"/>
              <a:gd name="T82" fmla="*/ 73 w 131"/>
              <a:gd name="T83" fmla="*/ 228 h 237"/>
              <a:gd name="T84" fmla="*/ 66 w 131"/>
              <a:gd name="T85" fmla="*/ 233 h 237"/>
              <a:gd name="T86" fmla="*/ 60 w 131"/>
              <a:gd name="T87" fmla="*/ 236 h 237"/>
              <a:gd name="T88" fmla="*/ 46 w 131"/>
              <a:gd name="T89" fmla="*/ 220 h 237"/>
              <a:gd name="T90" fmla="*/ 42 w 131"/>
              <a:gd name="T91" fmla="*/ 226 h 2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1"/>
              <a:gd name="T139" fmla="*/ 0 h 237"/>
              <a:gd name="T140" fmla="*/ 131 w 131"/>
              <a:gd name="T141" fmla="*/ 237 h 23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1" h="236">
                <a:moveTo>
                  <a:pt x="42" y="226"/>
                </a:moveTo>
                <a:cubicBezTo>
                  <a:pt x="41" y="225"/>
                  <a:pt x="38" y="229"/>
                  <a:pt x="36" y="227"/>
                </a:cubicBezTo>
                <a:cubicBezTo>
                  <a:pt x="32" y="224"/>
                  <a:pt x="35" y="219"/>
                  <a:pt x="36" y="215"/>
                </a:cubicBezTo>
                <a:cubicBezTo>
                  <a:pt x="33" y="215"/>
                  <a:pt x="35" y="211"/>
                  <a:pt x="33" y="211"/>
                </a:cubicBezTo>
                <a:cubicBezTo>
                  <a:pt x="31" y="210"/>
                  <a:pt x="27" y="210"/>
                  <a:pt x="27" y="207"/>
                </a:cubicBezTo>
                <a:cubicBezTo>
                  <a:pt x="26" y="205"/>
                  <a:pt x="25" y="202"/>
                  <a:pt x="25" y="199"/>
                </a:cubicBezTo>
                <a:cubicBezTo>
                  <a:pt x="25" y="198"/>
                  <a:pt x="23" y="197"/>
                  <a:pt x="21" y="198"/>
                </a:cubicBezTo>
                <a:cubicBezTo>
                  <a:pt x="18" y="200"/>
                  <a:pt x="18" y="206"/>
                  <a:pt x="14" y="202"/>
                </a:cubicBezTo>
                <a:cubicBezTo>
                  <a:pt x="12" y="200"/>
                  <a:pt x="16" y="196"/>
                  <a:pt x="14" y="194"/>
                </a:cubicBezTo>
                <a:cubicBezTo>
                  <a:pt x="12" y="189"/>
                  <a:pt x="13" y="185"/>
                  <a:pt x="15" y="181"/>
                </a:cubicBezTo>
                <a:cubicBezTo>
                  <a:pt x="18" y="171"/>
                  <a:pt x="19" y="160"/>
                  <a:pt x="26" y="152"/>
                </a:cubicBezTo>
                <a:cubicBezTo>
                  <a:pt x="32" y="145"/>
                  <a:pt x="37" y="135"/>
                  <a:pt x="32" y="126"/>
                </a:cubicBezTo>
                <a:cubicBezTo>
                  <a:pt x="31" y="126"/>
                  <a:pt x="27" y="128"/>
                  <a:pt x="25" y="126"/>
                </a:cubicBezTo>
                <a:cubicBezTo>
                  <a:pt x="29" y="123"/>
                  <a:pt x="27" y="116"/>
                  <a:pt x="27" y="112"/>
                </a:cubicBezTo>
                <a:cubicBezTo>
                  <a:pt x="26" y="109"/>
                  <a:pt x="25" y="106"/>
                  <a:pt x="23" y="103"/>
                </a:cubicBezTo>
                <a:cubicBezTo>
                  <a:pt x="21" y="101"/>
                  <a:pt x="16" y="100"/>
                  <a:pt x="15" y="97"/>
                </a:cubicBezTo>
                <a:cubicBezTo>
                  <a:pt x="14" y="93"/>
                  <a:pt x="11" y="89"/>
                  <a:pt x="13" y="85"/>
                </a:cubicBezTo>
                <a:cubicBezTo>
                  <a:pt x="15" y="82"/>
                  <a:pt x="20" y="83"/>
                  <a:pt x="20" y="80"/>
                </a:cubicBezTo>
                <a:cubicBezTo>
                  <a:pt x="21" y="76"/>
                  <a:pt x="21" y="71"/>
                  <a:pt x="25" y="69"/>
                </a:cubicBezTo>
                <a:cubicBezTo>
                  <a:pt x="21" y="70"/>
                  <a:pt x="18" y="68"/>
                  <a:pt x="18" y="66"/>
                </a:cubicBezTo>
                <a:cubicBezTo>
                  <a:pt x="14" y="55"/>
                  <a:pt x="5" y="48"/>
                  <a:pt x="2" y="37"/>
                </a:cubicBezTo>
                <a:cubicBezTo>
                  <a:pt x="0" y="33"/>
                  <a:pt x="4" y="30"/>
                  <a:pt x="8" y="28"/>
                </a:cubicBezTo>
                <a:cubicBezTo>
                  <a:pt x="8" y="27"/>
                  <a:pt x="7" y="26"/>
                  <a:pt x="7" y="25"/>
                </a:cubicBezTo>
                <a:cubicBezTo>
                  <a:pt x="7" y="21"/>
                  <a:pt x="9" y="18"/>
                  <a:pt x="10" y="15"/>
                </a:cubicBezTo>
                <a:cubicBezTo>
                  <a:pt x="11" y="11"/>
                  <a:pt x="18" y="14"/>
                  <a:pt x="23" y="13"/>
                </a:cubicBezTo>
                <a:cubicBezTo>
                  <a:pt x="25" y="13"/>
                  <a:pt x="24" y="9"/>
                  <a:pt x="26" y="7"/>
                </a:cubicBezTo>
                <a:cubicBezTo>
                  <a:pt x="27" y="5"/>
                  <a:pt x="33" y="10"/>
                  <a:pt x="35" y="6"/>
                </a:cubicBezTo>
                <a:cubicBezTo>
                  <a:pt x="35" y="5"/>
                  <a:pt x="32" y="2"/>
                  <a:pt x="34" y="2"/>
                </a:cubicBezTo>
                <a:cubicBezTo>
                  <a:pt x="39" y="0"/>
                  <a:pt x="46" y="0"/>
                  <a:pt x="49" y="4"/>
                </a:cubicBezTo>
                <a:cubicBezTo>
                  <a:pt x="51" y="6"/>
                  <a:pt x="49" y="12"/>
                  <a:pt x="52" y="13"/>
                </a:cubicBezTo>
                <a:cubicBezTo>
                  <a:pt x="55" y="14"/>
                  <a:pt x="58" y="13"/>
                  <a:pt x="62" y="14"/>
                </a:cubicBezTo>
                <a:cubicBezTo>
                  <a:pt x="61" y="15"/>
                  <a:pt x="64" y="16"/>
                  <a:pt x="63" y="17"/>
                </a:cubicBezTo>
                <a:cubicBezTo>
                  <a:pt x="60" y="18"/>
                  <a:pt x="61" y="22"/>
                  <a:pt x="64" y="23"/>
                </a:cubicBezTo>
                <a:cubicBezTo>
                  <a:pt x="64" y="24"/>
                  <a:pt x="64" y="25"/>
                  <a:pt x="64" y="26"/>
                </a:cubicBezTo>
                <a:cubicBezTo>
                  <a:pt x="63" y="27"/>
                  <a:pt x="61" y="28"/>
                  <a:pt x="60" y="28"/>
                </a:cubicBezTo>
                <a:cubicBezTo>
                  <a:pt x="61" y="31"/>
                  <a:pt x="60" y="33"/>
                  <a:pt x="57" y="35"/>
                </a:cubicBezTo>
                <a:cubicBezTo>
                  <a:pt x="55" y="36"/>
                  <a:pt x="60" y="38"/>
                  <a:pt x="60" y="39"/>
                </a:cubicBezTo>
                <a:cubicBezTo>
                  <a:pt x="60" y="43"/>
                  <a:pt x="52" y="46"/>
                  <a:pt x="59" y="49"/>
                </a:cubicBezTo>
                <a:cubicBezTo>
                  <a:pt x="65" y="51"/>
                  <a:pt x="69" y="41"/>
                  <a:pt x="73" y="39"/>
                </a:cubicBezTo>
                <a:cubicBezTo>
                  <a:pt x="77" y="38"/>
                  <a:pt x="81" y="44"/>
                  <a:pt x="84" y="44"/>
                </a:cubicBezTo>
                <a:cubicBezTo>
                  <a:pt x="88" y="44"/>
                  <a:pt x="89" y="37"/>
                  <a:pt x="94" y="36"/>
                </a:cubicBezTo>
                <a:cubicBezTo>
                  <a:pt x="99" y="36"/>
                  <a:pt x="102" y="38"/>
                  <a:pt x="105" y="36"/>
                </a:cubicBezTo>
                <a:cubicBezTo>
                  <a:pt x="107" y="42"/>
                  <a:pt x="111" y="45"/>
                  <a:pt x="115" y="50"/>
                </a:cubicBezTo>
                <a:cubicBezTo>
                  <a:pt x="116" y="51"/>
                  <a:pt x="118" y="53"/>
                  <a:pt x="117" y="54"/>
                </a:cubicBezTo>
                <a:cubicBezTo>
                  <a:pt x="115" y="57"/>
                  <a:pt x="114" y="59"/>
                  <a:pt x="115" y="62"/>
                </a:cubicBezTo>
                <a:cubicBezTo>
                  <a:pt x="122" y="72"/>
                  <a:pt x="131" y="82"/>
                  <a:pt x="126" y="95"/>
                </a:cubicBezTo>
                <a:lnTo>
                  <a:pt x="120" y="101"/>
                </a:lnTo>
                <a:cubicBezTo>
                  <a:pt x="120" y="100"/>
                  <a:pt x="119" y="98"/>
                  <a:pt x="118" y="98"/>
                </a:cubicBezTo>
                <a:cubicBezTo>
                  <a:pt x="115" y="96"/>
                  <a:pt x="112" y="99"/>
                  <a:pt x="110" y="100"/>
                </a:cubicBezTo>
                <a:cubicBezTo>
                  <a:pt x="107" y="101"/>
                  <a:pt x="104" y="99"/>
                  <a:pt x="101" y="100"/>
                </a:cubicBezTo>
                <a:cubicBezTo>
                  <a:pt x="99" y="100"/>
                  <a:pt x="97" y="98"/>
                  <a:pt x="96" y="99"/>
                </a:cubicBezTo>
                <a:cubicBezTo>
                  <a:pt x="93" y="100"/>
                  <a:pt x="92" y="100"/>
                  <a:pt x="89" y="101"/>
                </a:cubicBezTo>
                <a:cubicBezTo>
                  <a:pt x="87" y="101"/>
                  <a:pt x="88" y="104"/>
                  <a:pt x="87" y="105"/>
                </a:cubicBezTo>
                <a:cubicBezTo>
                  <a:pt x="84" y="110"/>
                  <a:pt x="79" y="111"/>
                  <a:pt x="76" y="116"/>
                </a:cubicBezTo>
                <a:cubicBezTo>
                  <a:pt x="76" y="117"/>
                  <a:pt x="79" y="116"/>
                  <a:pt x="79" y="118"/>
                </a:cubicBezTo>
                <a:cubicBezTo>
                  <a:pt x="79" y="119"/>
                  <a:pt x="80" y="121"/>
                  <a:pt x="78" y="122"/>
                </a:cubicBezTo>
                <a:cubicBezTo>
                  <a:pt x="84" y="133"/>
                  <a:pt x="83" y="136"/>
                  <a:pt x="83" y="142"/>
                </a:cubicBezTo>
                <a:cubicBezTo>
                  <a:pt x="80" y="142"/>
                  <a:pt x="79" y="143"/>
                  <a:pt x="78" y="143"/>
                </a:cubicBezTo>
                <a:cubicBezTo>
                  <a:pt x="79" y="141"/>
                  <a:pt x="78" y="138"/>
                  <a:pt x="77" y="137"/>
                </a:cubicBezTo>
                <a:cubicBezTo>
                  <a:pt x="74" y="133"/>
                  <a:pt x="73" y="130"/>
                  <a:pt x="71" y="126"/>
                </a:cubicBezTo>
                <a:cubicBezTo>
                  <a:pt x="68" y="129"/>
                  <a:pt x="67" y="125"/>
                  <a:pt x="64" y="124"/>
                </a:cubicBezTo>
                <a:cubicBezTo>
                  <a:pt x="64" y="125"/>
                  <a:pt x="64" y="126"/>
                  <a:pt x="63" y="126"/>
                </a:cubicBezTo>
                <a:cubicBezTo>
                  <a:pt x="61" y="126"/>
                  <a:pt x="59" y="127"/>
                  <a:pt x="58" y="128"/>
                </a:cubicBezTo>
                <a:cubicBezTo>
                  <a:pt x="55" y="129"/>
                  <a:pt x="51" y="127"/>
                  <a:pt x="53" y="124"/>
                </a:cubicBezTo>
                <a:cubicBezTo>
                  <a:pt x="54" y="122"/>
                  <a:pt x="56" y="119"/>
                  <a:pt x="55" y="116"/>
                </a:cubicBezTo>
                <a:cubicBezTo>
                  <a:pt x="52" y="111"/>
                  <a:pt x="47" y="111"/>
                  <a:pt x="43" y="112"/>
                </a:cubicBezTo>
                <a:cubicBezTo>
                  <a:pt x="41" y="113"/>
                  <a:pt x="41" y="115"/>
                  <a:pt x="41" y="117"/>
                </a:cubicBezTo>
                <a:cubicBezTo>
                  <a:pt x="42" y="117"/>
                  <a:pt x="43" y="117"/>
                  <a:pt x="43" y="118"/>
                </a:cubicBezTo>
                <a:cubicBezTo>
                  <a:pt x="44" y="119"/>
                  <a:pt x="43" y="120"/>
                  <a:pt x="43" y="121"/>
                </a:cubicBezTo>
                <a:cubicBezTo>
                  <a:pt x="42" y="120"/>
                  <a:pt x="43" y="123"/>
                  <a:pt x="41" y="122"/>
                </a:cubicBezTo>
                <a:cubicBezTo>
                  <a:pt x="42" y="125"/>
                  <a:pt x="43" y="128"/>
                  <a:pt x="42" y="131"/>
                </a:cubicBezTo>
                <a:cubicBezTo>
                  <a:pt x="39" y="140"/>
                  <a:pt x="38" y="148"/>
                  <a:pt x="33" y="157"/>
                </a:cubicBezTo>
                <a:cubicBezTo>
                  <a:pt x="30" y="161"/>
                  <a:pt x="28" y="166"/>
                  <a:pt x="30" y="171"/>
                </a:cubicBezTo>
                <a:cubicBezTo>
                  <a:pt x="30" y="173"/>
                  <a:pt x="29" y="175"/>
                  <a:pt x="30" y="176"/>
                </a:cubicBezTo>
                <a:cubicBezTo>
                  <a:pt x="34" y="179"/>
                  <a:pt x="37" y="182"/>
                  <a:pt x="41" y="185"/>
                </a:cubicBezTo>
                <a:cubicBezTo>
                  <a:pt x="42" y="186"/>
                  <a:pt x="41" y="187"/>
                  <a:pt x="41" y="188"/>
                </a:cubicBezTo>
                <a:cubicBezTo>
                  <a:pt x="40" y="192"/>
                  <a:pt x="45" y="194"/>
                  <a:pt x="46" y="197"/>
                </a:cubicBezTo>
                <a:cubicBezTo>
                  <a:pt x="47" y="200"/>
                  <a:pt x="45" y="203"/>
                  <a:pt x="46" y="205"/>
                </a:cubicBezTo>
                <a:cubicBezTo>
                  <a:pt x="48" y="211"/>
                  <a:pt x="52" y="216"/>
                  <a:pt x="58" y="219"/>
                </a:cubicBezTo>
                <a:cubicBezTo>
                  <a:pt x="60" y="220"/>
                  <a:pt x="62" y="217"/>
                  <a:pt x="65" y="217"/>
                </a:cubicBezTo>
                <a:cubicBezTo>
                  <a:pt x="64" y="220"/>
                  <a:pt x="69" y="221"/>
                  <a:pt x="68" y="224"/>
                </a:cubicBezTo>
                <a:cubicBezTo>
                  <a:pt x="71" y="223"/>
                  <a:pt x="73" y="225"/>
                  <a:pt x="73" y="227"/>
                </a:cubicBezTo>
                <a:lnTo>
                  <a:pt x="73" y="228"/>
                </a:lnTo>
                <a:cubicBezTo>
                  <a:pt x="72" y="228"/>
                  <a:pt x="71" y="228"/>
                  <a:pt x="71" y="228"/>
                </a:cubicBezTo>
                <a:cubicBezTo>
                  <a:pt x="71" y="232"/>
                  <a:pt x="69" y="233"/>
                  <a:pt x="66" y="233"/>
                </a:cubicBezTo>
                <a:cubicBezTo>
                  <a:pt x="66" y="232"/>
                  <a:pt x="66" y="231"/>
                  <a:pt x="65" y="231"/>
                </a:cubicBezTo>
                <a:cubicBezTo>
                  <a:pt x="61" y="230"/>
                  <a:pt x="63" y="237"/>
                  <a:pt x="60" y="236"/>
                </a:cubicBezTo>
                <a:cubicBezTo>
                  <a:pt x="58" y="236"/>
                  <a:pt x="57" y="234"/>
                  <a:pt x="56" y="233"/>
                </a:cubicBezTo>
                <a:cubicBezTo>
                  <a:pt x="61" y="225"/>
                  <a:pt x="53" y="222"/>
                  <a:pt x="46" y="220"/>
                </a:cubicBezTo>
                <a:cubicBezTo>
                  <a:pt x="45" y="220"/>
                  <a:pt x="44" y="220"/>
                  <a:pt x="44" y="221"/>
                </a:cubicBezTo>
                <a:lnTo>
                  <a:pt x="42" y="226"/>
                </a:ln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327" name="Rectangle 326">
            <a:extLst>
              <a:ext uri="{FF2B5EF4-FFF2-40B4-BE49-F238E27FC236}">
                <a16:creationId xmlns:a16="http://schemas.microsoft.com/office/drawing/2014/main" id="{12F375B1-F717-5A8A-BE2A-5CB998022DE5}"/>
              </a:ext>
            </a:extLst>
          </p:cNvPr>
          <p:cNvSpPr/>
          <p:nvPr>
            <p:custDataLst>
              <p:tags r:id="rId129"/>
            </p:custDataLst>
          </p:nvPr>
        </p:nvSpPr>
        <p:spPr>
          <a:xfrm>
            <a:off x="7515430" y="3337920"/>
            <a:ext cx="948438" cy="226146"/>
          </a:xfrm>
          <a:prstGeom prst="rect">
            <a:avLst/>
          </a:prstGeom>
          <a:noFill/>
          <a:extLst>
            <a:ext uri="{909E8E84-426E-40DD-AFC4-6F175D3DCCD1}">
              <a14:hiddenFill xmlns:a14="http://schemas.microsoft.com/office/drawing/2010/main">
                <a:solidFill>
                  <a:srgbClr val="973B74"/>
                </a:solidFill>
              </a14:hiddenFill>
            </a:ext>
          </a:extLst>
        </p:spPr>
        <p:txBody>
          <a:bodyPr wrap="none" lIns="36000" tIns="36000" rIns="36000" bIns="36000">
            <a:spAutoFit/>
          </a:bodyPr>
          <a:lstStyle/>
          <a:p>
            <a:pPr marL="0" indent="0" defTabSz="931777" eaLnBrk="0" hangingPunct="0">
              <a:spcBef>
                <a:spcPct val="0"/>
              </a:spcBef>
              <a:buNone/>
            </a:pPr>
            <a:r>
              <a:rPr lang="en-GB" sz="1400" b="1">
                <a:solidFill>
                  <a:srgbClr val="2D475A"/>
                </a:solidFill>
              </a:rPr>
              <a:t>China / APAC</a:t>
            </a:r>
          </a:p>
        </p:txBody>
      </p:sp>
      <p:sp>
        <p:nvSpPr>
          <p:cNvPr id="328" name="btfpBulletedList768771">
            <a:extLst>
              <a:ext uri="{FF2B5EF4-FFF2-40B4-BE49-F238E27FC236}">
                <a16:creationId xmlns:a16="http://schemas.microsoft.com/office/drawing/2014/main" id="{5AEEE598-6B84-DAFB-3505-2195C372413D}"/>
              </a:ext>
            </a:extLst>
          </p:cNvPr>
          <p:cNvSpPr txBox="1"/>
          <p:nvPr>
            <p:custDataLst>
              <p:tags r:id="rId130"/>
            </p:custDataLst>
          </p:nvPr>
        </p:nvSpPr>
        <p:spPr bwMode="gray">
          <a:xfrm>
            <a:off x="7516545" y="3603144"/>
            <a:ext cx="1927706" cy="2688804"/>
          </a:xfrm>
          <a:prstGeom prst="rect">
            <a:avLst/>
          </a:prstGeom>
          <a:solidFill>
            <a:srgbClr val="FFFFFF">
              <a:alpha val="40000"/>
            </a:srgbClr>
          </a:solidFill>
          <a:ln>
            <a:noFill/>
          </a:ln>
          <a:extLst>
            <a:ext uri="{91240B29-F687-4F45-9708-019B960494DF}">
              <a14:hiddenLine xmlns:a14="http://schemas.microsoft.com/office/drawing/2010/main">
                <a:solidFill>
                  <a:srgbClr val="000000">
                    <a:alpha val="40000"/>
                  </a:srgbClr>
                </a:solidFill>
              </a14:hiddenLine>
            </a:ext>
          </a:extLst>
        </p:spPr>
        <p:txBody>
          <a:bodyPr vert="horz" wrap="square" lIns="36000" tIns="36000" rIns="36000" bIns="36000" rtlCol="0">
            <a:spAutoFit/>
          </a:bodyPr>
          <a:lstStyle/>
          <a:p>
            <a:pPr marL="0" indent="0" defTabSz="931777" eaLnBrk="0" hangingPunct="0">
              <a:spcBef>
                <a:spcPts val="600"/>
              </a:spcBef>
              <a:buClr>
                <a:prstClr val="black"/>
              </a:buClr>
              <a:buNone/>
            </a:pPr>
            <a:r>
              <a:rPr lang="en-GB" sz="1000" b="1">
                <a:solidFill>
                  <a:srgbClr val="000000"/>
                </a:solidFill>
              </a:rPr>
              <a:t>AI regulation varies significantly from country to country</a:t>
            </a:r>
          </a:p>
          <a:p>
            <a:pPr marL="0" indent="0" defTabSz="931777" eaLnBrk="0" hangingPunct="0">
              <a:spcBef>
                <a:spcPts val="600"/>
              </a:spcBef>
              <a:buClr>
                <a:prstClr val="black"/>
              </a:buClr>
              <a:buNone/>
            </a:pPr>
            <a:r>
              <a:rPr lang="en-GB" sz="1000">
                <a:solidFill>
                  <a:srgbClr val="000000"/>
                </a:solidFill>
              </a:rPr>
              <a:t>China has several key pieces of legislation targeting specific use cases</a:t>
            </a:r>
          </a:p>
          <a:p>
            <a:pPr marL="0" indent="0" defTabSz="931777" eaLnBrk="0" hangingPunct="0">
              <a:spcBef>
                <a:spcPts val="600"/>
              </a:spcBef>
              <a:buClr>
                <a:prstClr val="black"/>
              </a:buClr>
              <a:buNone/>
            </a:pPr>
            <a:r>
              <a:rPr lang="en-GB" sz="1000">
                <a:solidFill>
                  <a:srgbClr val="000000"/>
                </a:solidFill>
              </a:rPr>
              <a:t>India has limited regulation despite calls for global regulatory framework </a:t>
            </a:r>
          </a:p>
          <a:p>
            <a:pPr marL="0" indent="0" defTabSz="931777" eaLnBrk="0" hangingPunct="0">
              <a:spcBef>
                <a:spcPts val="600"/>
              </a:spcBef>
              <a:buClr>
                <a:prstClr val="black"/>
              </a:buClr>
              <a:buNone/>
            </a:pPr>
            <a:r>
              <a:rPr lang="en-GB" sz="1000">
                <a:solidFill>
                  <a:srgbClr val="000000"/>
                </a:solidFill>
              </a:rPr>
              <a:t>ASEAN signalling a more measured regulatory approach</a:t>
            </a:r>
          </a:p>
          <a:p>
            <a:pPr marL="0" indent="0" defTabSz="931777" eaLnBrk="0" hangingPunct="0">
              <a:spcBef>
                <a:spcPts val="600"/>
              </a:spcBef>
              <a:buClr>
                <a:prstClr val="black"/>
              </a:buClr>
              <a:buNone/>
            </a:pPr>
            <a:r>
              <a:rPr lang="en-GB" sz="1000">
                <a:solidFill>
                  <a:srgbClr val="000000"/>
                </a:solidFill>
              </a:rPr>
              <a:t>Australia more likely to follow UK-style risk-based regulation, but still in early stages of public discussion.</a:t>
            </a:r>
          </a:p>
        </p:txBody>
      </p:sp>
      <p:sp>
        <p:nvSpPr>
          <p:cNvPr id="330" name="Rectangle 329">
            <a:extLst>
              <a:ext uri="{FF2B5EF4-FFF2-40B4-BE49-F238E27FC236}">
                <a16:creationId xmlns:a16="http://schemas.microsoft.com/office/drawing/2014/main" id="{7766B186-607C-BDCC-F018-9C1FF1FEF1AF}"/>
              </a:ext>
            </a:extLst>
          </p:cNvPr>
          <p:cNvSpPr/>
          <p:nvPr>
            <p:custDataLst>
              <p:tags r:id="rId131"/>
            </p:custDataLst>
          </p:nvPr>
        </p:nvSpPr>
        <p:spPr>
          <a:xfrm>
            <a:off x="579616" y="3883939"/>
            <a:ext cx="1439923" cy="226146"/>
          </a:xfrm>
          <a:prstGeom prst="rect">
            <a:avLst/>
          </a:prstGeom>
          <a:noFill/>
          <a:extLst>
            <a:ext uri="{909E8E84-426E-40DD-AFC4-6F175D3DCCD1}">
              <a14:hiddenFill xmlns:a14="http://schemas.microsoft.com/office/drawing/2010/main">
                <a:solidFill>
                  <a:srgbClr val="973B74"/>
                </a:solidFill>
              </a14:hiddenFill>
            </a:ext>
          </a:extLst>
        </p:spPr>
        <p:txBody>
          <a:bodyPr wrap="square" lIns="36000" tIns="36000" rIns="36000" bIns="36000">
            <a:spAutoFit/>
          </a:bodyPr>
          <a:lstStyle/>
          <a:p>
            <a:pPr marL="0" indent="0" defTabSz="931777" eaLnBrk="0" hangingPunct="0">
              <a:spcBef>
                <a:spcPct val="0"/>
              </a:spcBef>
              <a:buNone/>
            </a:pPr>
            <a:r>
              <a:rPr lang="en-GB" sz="1400" b="1">
                <a:solidFill>
                  <a:srgbClr val="CC0000"/>
                </a:solidFill>
              </a:rPr>
              <a:t>North America</a:t>
            </a:r>
          </a:p>
        </p:txBody>
      </p:sp>
      <p:sp>
        <p:nvSpPr>
          <p:cNvPr id="331" name="btfpBulletedList768771244">
            <a:extLst>
              <a:ext uri="{FF2B5EF4-FFF2-40B4-BE49-F238E27FC236}">
                <a16:creationId xmlns:a16="http://schemas.microsoft.com/office/drawing/2014/main" id="{B7D52AB0-6B79-7FCB-537D-2379541825C2}"/>
              </a:ext>
            </a:extLst>
          </p:cNvPr>
          <p:cNvSpPr txBox="1"/>
          <p:nvPr>
            <p:custDataLst>
              <p:tags r:id="rId132"/>
            </p:custDataLst>
          </p:nvPr>
        </p:nvSpPr>
        <p:spPr bwMode="gray">
          <a:xfrm>
            <a:off x="579614" y="4149500"/>
            <a:ext cx="2832434" cy="1534642"/>
          </a:xfrm>
          <a:prstGeom prst="rect">
            <a:avLst/>
          </a:prstGeom>
          <a:noFill/>
        </p:spPr>
        <p:txBody>
          <a:bodyPr vert="horz" wrap="square" lIns="36000" tIns="36000" rIns="36000" bIns="36000" rtlCol="0">
            <a:spAutoFit/>
          </a:bodyPr>
          <a:lstStyle/>
          <a:p>
            <a:pPr marL="0" indent="0" defTabSz="931777" eaLnBrk="0" hangingPunct="0">
              <a:spcBef>
                <a:spcPts val="600"/>
              </a:spcBef>
              <a:buClr>
                <a:prstClr val="black"/>
              </a:buClr>
              <a:buNone/>
            </a:pPr>
            <a:r>
              <a:rPr lang="en-GB" sz="1000" b="1">
                <a:solidFill>
                  <a:srgbClr val="000000"/>
                </a:solidFill>
              </a:rPr>
              <a:t>Overall approach seeks to limit major risks while encouraging innovation and US leadership</a:t>
            </a:r>
          </a:p>
          <a:p>
            <a:pPr marL="0" indent="0" defTabSz="931777" eaLnBrk="0" hangingPunct="0">
              <a:spcBef>
                <a:spcPts val="600"/>
              </a:spcBef>
              <a:buClr>
                <a:prstClr val="black"/>
              </a:buClr>
              <a:buNone/>
            </a:pPr>
            <a:r>
              <a:rPr lang="en-GB" sz="1000">
                <a:solidFill>
                  <a:srgbClr val="000000"/>
                </a:solidFill>
              </a:rPr>
              <a:t>Recent Executive Order signals horizontal requirements for most capable models, highest risk use cases, and areas like equality and civil rights, with the most significant requirements on Frontier AI </a:t>
            </a:r>
            <a:r>
              <a:rPr lang="en-GB" sz="1000" i="1">
                <a:solidFill>
                  <a:srgbClr val="000000"/>
                </a:solidFill>
              </a:rPr>
              <a:t>developers</a:t>
            </a:r>
            <a:r>
              <a:rPr lang="en-GB" sz="1000">
                <a:solidFill>
                  <a:srgbClr val="000000"/>
                </a:solidFill>
              </a:rPr>
              <a:t>, rather than on AI </a:t>
            </a:r>
            <a:r>
              <a:rPr lang="en-GB" sz="1000" i="1">
                <a:solidFill>
                  <a:srgbClr val="000000"/>
                </a:solidFill>
              </a:rPr>
              <a:t>consumers.</a:t>
            </a:r>
            <a:endParaRPr lang="en-GB" sz="1000">
              <a:solidFill>
                <a:srgbClr val="000000"/>
              </a:solidFill>
            </a:endParaRPr>
          </a:p>
        </p:txBody>
      </p:sp>
      <p:sp>
        <p:nvSpPr>
          <p:cNvPr id="332" name="btfpBulletedList768771245">
            <a:extLst>
              <a:ext uri="{FF2B5EF4-FFF2-40B4-BE49-F238E27FC236}">
                <a16:creationId xmlns:a16="http://schemas.microsoft.com/office/drawing/2014/main" id="{E2E30326-C5AF-25DC-4A60-D263193CF6D9}"/>
              </a:ext>
            </a:extLst>
          </p:cNvPr>
          <p:cNvSpPr txBox="1"/>
          <p:nvPr>
            <p:custDataLst>
              <p:tags r:id="rId133"/>
            </p:custDataLst>
          </p:nvPr>
        </p:nvSpPr>
        <p:spPr bwMode="gray">
          <a:xfrm>
            <a:off x="3785674" y="5014076"/>
            <a:ext cx="2776187" cy="1226865"/>
          </a:xfrm>
          <a:prstGeom prst="rect">
            <a:avLst/>
          </a:prstGeom>
          <a:noFill/>
        </p:spPr>
        <p:txBody>
          <a:bodyPr vert="horz" wrap="square" lIns="36000" tIns="36000" rIns="36000" bIns="36000" rtlCol="0">
            <a:spAutoFit/>
          </a:bodyPr>
          <a:lstStyle/>
          <a:p>
            <a:pPr marL="0" indent="0" defTabSz="931777" eaLnBrk="0" hangingPunct="0">
              <a:spcBef>
                <a:spcPts val="600"/>
              </a:spcBef>
              <a:buClr>
                <a:prstClr val="black"/>
              </a:buClr>
              <a:buNone/>
            </a:pPr>
            <a:r>
              <a:rPr lang="en-CA" sz="1000" b="1">
                <a:solidFill>
                  <a:srgbClr val="000000"/>
                </a:solidFill>
              </a:rPr>
              <a:t>A few major players lead significant regulatory advances</a:t>
            </a:r>
          </a:p>
          <a:p>
            <a:pPr marL="0" indent="0" defTabSz="931777" eaLnBrk="0" hangingPunct="0">
              <a:spcBef>
                <a:spcPts val="600"/>
              </a:spcBef>
              <a:buClr>
                <a:prstClr val="black"/>
              </a:buClr>
              <a:buNone/>
            </a:pPr>
            <a:r>
              <a:rPr lang="en-GB" sz="1000">
                <a:solidFill>
                  <a:srgbClr val="000000"/>
                </a:solidFill>
              </a:rPr>
              <a:t>Leading the way are UAE and Saudi Arabia. UAE betting on state-backed AI startups with limited binding regulation to-date, while Saudi Arabia has launched comprehensive AI regulation similar to EU AI Act</a:t>
            </a:r>
            <a:endParaRPr lang="en-GB" sz="700">
              <a:solidFill>
                <a:prstClr val="black"/>
              </a:solidFill>
            </a:endParaRPr>
          </a:p>
        </p:txBody>
      </p:sp>
      <p:sp>
        <p:nvSpPr>
          <p:cNvPr id="333" name="Rectangle 332">
            <a:extLst>
              <a:ext uri="{FF2B5EF4-FFF2-40B4-BE49-F238E27FC236}">
                <a16:creationId xmlns:a16="http://schemas.microsoft.com/office/drawing/2014/main" id="{4D4D8EDA-2FA5-1D25-AEF0-FF22B1F4A313}"/>
              </a:ext>
            </a:extLst>
          </p:cNvPr>
          <p:cNvSpPr/>
          <p:nvPr>
            <p:custDataLst>
              <p:tags r:id="rId134"/>
            </p:custDataLst>
          </p:nvPr>
        </p:nvSpPr>
        <p:spPr>
          <a:xfrm>
            <a:off x="3785674" y="4726159"/>
            <a:ext cx="472228" cy="226146"/>
          </a:xfrm>
          <a:prstGeom prst="rect">
            <a:avLst/>
          </a:prstGeom>
          <a:noFill/>
          <a:extLst>
            <a:ext uri="{909E8E84-426E-40DD-AFC4-6F175D3DCCD1}">
              <a14:hiddenFill xmlns:a14="http://schemas.microsoft.com/office/drawing/2010/main">
                <a:solidFill>
                  <a:srgbClr val="973B74"/>
                </a:solidFill>
              </a14:hiddenFill>
            </a:ext>
          </a:extLst>
        </p:spPr>
        <p:txBody>
          <a:bodyPr wrap="none" lIns="36000" tIns="36000" rIns="36000" bIns="36000">
            <a:spAutoFit/>
          </a:bodyPr>
          <a:lstStyle/>
          <a:p>
            <a:pPr marL="0" indent="0" defTabSz="931777" eaLnBrk="0" hangingPunct="0">
              <a:spcBef>
                <a:spcPct val="0"/>
              </a:spcBef>
              <a:buNone/>
            </a:pPr>
            <a:r>
              <a:rPr lang="en-GB" sz="1400" b="1">
                <a:solidFill>
                  <a:srgbClr val="C6AA3D"/>
                </a:solidFill>
              </a:rPr>
              <a:t>MENA</a:t>
            </a:r>
          </a:p>
        </p:txBody>
      </p:sp>
      <p:sp>
        <p:nvSpPr>
          <p:cNvPr id="334" name="Rectangle 333">
            <a:extLst>
              <a:ext uri="{FF2B5EF4-FFF2-40B4-BE49-F238E27FC236}">
                <a16:creationId xmlns:a16="http://schemas.microsoft.com/office/drawing/2014/main" id="{C46870C3-6398-7FCE-5452-0101960BB43D}"/>
              </a:ext>
            </a:extLst>
          </p:cNvPr>
          <p:cNvSpPr/>
          <p:nvPr>
            <p:custDataLst>
              <p:tags r:id="rId135"/>
            </p:custDataLst>
          </p:nvPr>
        </p:nvSpPr>
        <p:spPr>
          <a:xfrm>
            <a:off x="5766127" y="1383853"/>
            <a:ext cx="253321" cy="226146"/>
          </a:xfrm>
          <a:prstGeom prst="rect">
            <a:avLst/>
          </a:prstGeom>
          <a:noFill/>
          <a:extLst>
            <a:ext uri="{909E8E84-426E-40DD-AFC4-6F175D3DCCD1}">
              <a14:hiddenFill xmlns:a14="http://schemas.microsoft.com/office/drawing/2010/main">
                <a:solidFill>
                  <a:srgbClr val="973B74"/>
                </a:solidFill>
              </a14:hiddenFill>
            </a:ext>
          </a:extLst>
        </p:spPr>
        <p:txBody>
          <a:bodyPr wrap="none" lIns="36000" tIns="36000" rIns="36000" bIns="36000">
            <a:spAutoFit/>
          </a:bodyPr>
          <a:lstStyle/>
          <a:p>
            <a:pPr marL="0" indent="0" defTabSz="931777" eaLnBrk="0" hangingPunct="0">
              <a:spcBef>
                <a:spcPct val="0"/>
              </a:spcBef>
              <a:buNone/>
            </a:pPr>
            <a:r>
              <a:rPr lang="en-GB" sz="1400" b="1">
                <a:solidFill>
                  <a:srgbClr val="640A40"/>
                </a:solidFill>
              </a:rPr>
              <a:t>EU</a:t>
            </a:r>
          </a:p>
        </p:txBody>
      </p:sp>
      <p:sp>
        <p:nvSpPr>
          <p:cNvPr id="335" name="btfpBulletedList768771248">
            <a:extLst>
              <a:ext uri="{FF2B5EF4-FFF2-40B4-BE49-F238E27FC236}">
                <a16:creationId xmlns:a16="http://schemas.microsoft.com/office/drawing/2014/main" id="{07EF6ED9-EA8D-21BC-FDFC-9EA6D026EB0F}"/>
              </a:ext>
            </a:extLst>
          </p:cNvPr>
          <p:cNvSpPr txBox="1"/>
          <p:nvPr>
            <p:custDataLst>
              <p:tags r:id="rId136"/>
            </p:custDataLst>
          </p:nvPr>
        </p:nvSpPr>
        <p:spPr bwMode="gray">
          <a:xfrm>
            <a:off x="6154905" y="1386910"/>
            <a:ext cx="3741858" cy="1072977"/>
          </a:xfrm>
          <a:prstGeom prst="rect">
            <a:avLst/>
          </a:prstGeom>
          <a:solidFill>
            <a:srgbClr val="FFFFFF">
              <a:alpha val="40000"/>
            </a:srgbClr>
          </a:solidFill>
          <a:ln>
            <a:noFill/>
          </a:ln>
          <a:extLst>
            <a:ext uri="{91240B29-F687-4F45-9708-019B960494DF}">
              <a14:hiddenLine xmlns:a14="http://schemas.microsoft.com/office/drawing/2010/main">
                <a:solidFill>
                  <a:srgbClr val="000000">
                    <a:alpha val="40000"/>
                  </a:srgbClr>
                </a:solidFill>
              </a14:hiddenLine>
            </a:ext>
          </a:extLst>
        </p:spPr>
        <p:txBody>
          <a:bodyPr vert="horz" wrap="square" lIns="36000" tIns="36000" rIns="36000" bIns="36000" rtlCol="0">
            <a:spAutoFit/>
          </a:bodyPr>
          <a:lstStyle>
            <a:defPPr>
              <a:defRPr lang="en-US"/>
            </a:defPPr>
            <a:lvl1pPr marL="0" indent="0" defTabSz="931777" eaLnBrk="0" hangingPunct="0">
              <a:spcBef>
                <a:spcPts val="600"/>
              </a:spcBef>
              <a:buClr>
                <a:prstClr val="black"/>
              </a:buClr>
              <a:buNone/>
              <a:defRPr sz="1200" b="1">
                <a:solidFill>
                  <a:srgbClr val="000000"/>
                </a:solidFill>
              </a:defRPr>
            </a:lvl1pPr>
          </a:lstStyle>
          <a:p>
            <a:r>
              <a:rPr lang="en-GB" sz="1000"/>
              <a:t>AI regulatory landscape ahead of other regions</a:t>
            </a:r>
          </a:p>
          <a:p>
            <a:r>
              <a:rPr lang="en-GB" sz="1000" b="0"/>
              <a:t>Tighter regulation specifies “red lines” for prohibited AI applications and a “risk based” approach to AI. AI Act explicitly defines risk level for a list of use cases  or applications (vs. a more general set of principles) and imposes significant risk management requirements on them.</a:t>
            </a:r>
          </a:p>
        </p:txBody>
      </p:sp>
      <p:sp>
        <p:nvSpPr>
          <p:cNvPr id="336" name="Rectangle 335">
            <a:extLst>
              <a:ext uri="{FF2B5EF4-FFF2-40B4-BE49-F238E27FC236}">
                <a16:creationId xmlns:a16="http://schemas.microsoft.com/office/drawing/2014/main" id="{64D546ED-E270-E918-30D3-464ED5A4D7EC}"/>
              </a:ext>
            </a:extLst>
          </p:cNvPr>
          <p:cNvSpPr/>
          <p:nvPr>
            <p:custDataLst>
              <p:tags r:id="rId137"/>
            </p:custDataLst>
          </p:nvPr>
        </p:nvSpPr>
        <p:spPr>
          <a:xfrm>
            <a:off x="1698733" y="1378949"/>
            <a:ext cx="260870" cy="226146"/>
          </a:xfrm>
          <a:prstGeom prst="rect">
            <a:avLst/>
          </a:prstGeom>
          <a:noFill/>
          <a:extLst>
            <a:ext uri="{909E8E84-426E-40DD-AFC4-6F175D3DCCD1}">
              <a14:hiddenFill xmlns:a14="http://schemas.microsoft.com/office/drawing/2010/main">
                <a:solidFill>
                  <a:srgbClr val="973B74"/>
                </a:solidFill>
              </a14:hiddenFill>
            </a:ext>
          </a:extLst>
        </p:spPr>
        <p:txBody>
          <a:bodyPr wrap="none" lIns="36000" tIns="36000" rIns="36000" bIns="36000">
            <a:spAutoFit/>
          </a:bodyPr>
          <a:lstStyle/>
          <a:p>
            <a:pPr marL="0" indent="0" defTabSz="931777" eaLnBrk="0" hangingPunct="0">
              <a:spcBef>
                <a:spcPct val="0"/>
              </a:spcBef>
              <a:buNone/>
            </a:pPr>
            <a:r>
              <a:rPr lang="en-GB" sz="1400" b="1">
                <a:solidFill>
                  <a:srgbClr val="507867"/>
                </a:solidFill>
              </a:rPr>
              <a:t>UK</a:t>
            </a:r>
          </a:p>
        </p:txBody>
      </p:sp>
      <p:sp>
        <p:nvSpPr>
          <p:cNvPr id="337" name="btfpBulletedList768771248">
            <a:extLst>
              <a:ext uri="{FF2B5EF4-FFF2-40B4-BE49-F238E27FC236}">
                <a16:creationId xmlns:a16="http://schemas.microsoft.com/office/drawing/2014/main" id="{F282A76D-7788-7124-1466-93EDDD48E43A}"/>
              </a:ext>
            </a:extLst>
          </p:cNvPr>
          <p:cNvSpPr txBox="1"/>
          <p:nvPr>
            <p:custDataLst>
              <p:tags r:id="rId138"/>
            </p:custDataLst>
          </p:nvPr>
        </p:nvSpPr>
        <p:spPr bwMode="gray">
          <a:xfrm>
            <a:off x="2087512" y="1382007"/>
            <a:ext cx="3474776" cy="1072977"/>
          </a:xfrm>
          <a:prstGeom prst="rect">
            <a:avLst/>
          </a:prstGeom>
          <a:solidFill>
            <a:srgbClr val="FFFFFF">
              <a:alpha val="75000"/>
            </a:srgbClr>
          </a:solidFill>
          <a:ln>
            <a:noFill/>
          </a:ln>
        </p:spPr>
        <p:txBody>
          <a:bodyPr vert="horz" wrap="square" lIns="36000" tIns="36000" rIns="36000" bIns="36000" rtlCol="0">
            <a:spAutoFit/>
          </a:bodyPr>
          <a:lstStyle>
            <a:defPPr>
              <a:defRPr lang="en-US"/>
            </a:defPPr>
            <a:lvl1pPr marL="0" indent="0" defTabSz="931777" eaLnBrk="0" hangingPunct="0">
              <a:spcBef>
                <a:spcPts val="600"/>
              </a:spcBef>
              <a:buClr>
                <a:prstClr val="black"/>
              </a:buClr>
              <a:buNone/>
              <a:defRPr sz="1200" b="1">
                <a:solidFill>
                  <a:srgbClr val="000000"/>
                </a:solidFill>
              </a:defRPr>
            </a:lvl1pPr>
          </a:lstStyle>
          <a:p>
            <a:r>
              <a:rPr lang="en-US" sz="1000"/>
              <a:t>More of a ‘hybrid’ and pro-innovation approach to regulation but still in development</a:t>
            </a:r>
          </a:p>
          <a:p>
            <a:r>
              <a:rPr lang="en-US" sz="1000" b="0"/>
              <a:t>Short-term, do not intend to create any new regulatory bodies and expect regulation to happen through existing (mostly vertically-aligned) agencies. Long-term, some horizontal regulation is expected.</a:t>
            </a:r>
          </a:p>
        </p:txBody>
      </p:sp>
      <p:sp>
        <p:nvSpPr>
          <p:cNvPr id="113" name="Freeform 317">
            <a:extLst>
              <a:ext uri="{FF2B5EF4-FFF2-40B4-BE49-F238E27FC236}">
                <a16:creationId xmlns:a16="http://schemas.microsoft.com/office/drawing/2014/main" id="{24A6F50B-890E-7604-DAAF-EBC915B8C70C}"/>
              </a:ext>
            </a:extLst>
          </p:cNvPr>
          <p:cNvSpPr/>
          <p:nvPr>
            <p:custDataLst>
              <p:tags r:id="rId139"/>
            </p:custDataLst>
          </p:nvPr>
        </p:nvSpPr>
        <p:spPr bwMode="auto">
          <a:xfrm>
            <a:off x="7712726" y="4856496"/>
            <a:ext cx="9011" cy="11013"/>
          </a:xfrm>
          <a:custGeom>
            <a:avLst/>
            <a:gdLst>
              <a:gd name="T0" fmla="*/ 7 w 7"/>
              <a:gd name="T1" fmla="*/ 2 h 9"/>
              <a:gd name="T2" fmla="*/ 5 w 7"/>
              <a:gd name="T3" fmla="*/ 0 h 9"/>
              <a:gd name="T4" fmla="*/ 3 w 7"/>
              <a:gd name="T5" fmla="*/ 2 h 9"/>
              <a:gd name="T6" fmla="*/ 1 w 7"/>
              <a:gd name="T7" fmla="*/ 4 h 9"/>
              <a:gd name="T8" fmla="*/ 1 w 7"/>
              <a:gd name="T9" fmla="*/ 6 h 9"/>
              <a:gd name="T10" fmla="*/ 6 w 7"/>
              <a:gd name="T11" fmla="*/ 7 h 9"/>
              <a:gd name="T12" fmla="*/ 6 w 7"/>
              <a:gd name="T13" fmla="*/ 4 h 9"/>
              <a:gd name="T14" fmla="*/ 7 w 7"/>
              <a:gd name="T15" fmla="*/ 1 h 9"/>
              <a:gd name="T16" fmla="*/ 7 w 7"/>
              <a:gd name="T17" fmla="*/ 2 h 9"/>
              <a:gd name="T18" fmla="*/ 7 w 7"/>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7" y="2"/>
                </a:moveTo>
                <a:cubicBezTo>
                  <a:pt x="7" y="1"/>
                  <a:pt x="6" y="0"/>
                  <a:pt x="5" y="0"/>
                </a:cubicBezTo>
                <a:cubicBezTo>
                  <a:pt x="4" y="0"/>
                  <a:pt x="4" y="1"/>
                  <a:pt x="3" y="2"/>
                </a:cubicBezTo>
                <a:cubicBezTo>
                  <a:pt x="2" y="3"/>
                  <a:pt x="1" y="3"/>
                  <a:pt x="1" y="4"/>
                </a:cubicBezTo>
                <a:cubicBezTo>
                  <a:pt x="1" y="5"/>
                  <a:pt x="0" y="6"/>
                  <a:pt x="1" y="6"/>
                </a:cubicBezTo>
                <a:cubicBezTo>
                  <a:pt x="2" y="7"/>
                  <a:pt x="5" y="9"/>
                  <a:pt x="6" y="7"/>
                </a:cubicBezTo>
                <a:cubicBezTo>
                  <a:pt x="6" y="6"/>
                  <a:pt x="5" y="5"/>
                  <a:pt x="6" y="4"/>
                </a:cubicBezTo>
                <a:cubicBezTo>
                  <a:pt x="7" y="3"/>
                  <a:pt x="7" y="2"/>
                  <a:pt x="7" y="1"/>
                </a:cubicBezTo>
                <a:cubicBezTo>
                  <a:pt x="7" y="2"/>
                  <a:pt x="7" y="2"/>
                  <a:pt x="7" y="2"/>
                </a:cubicBezTo>
                <a:cubicBezTo>
                  <a:pt x="7" y="1"/>
                  <a:pt x="7" y="2"/>
                  <a:pt x="7" y="2"/>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140" name="Freeform 374">
            <a:extLst>
              <a:ext uri="{FF2B5EF4-FFF2-40B4-BE49-F238E27FC236}">
                <a16:creationId xmlns:a16="http://schemas.microsoft.com/office/drawing/2014/main" id="{9E953E11-B93B-08C1-D59E-3967CDC92E28}"/>
              </a:ext>
            </a:extLst>
          </p:cNvPr>
          <p:cNvSpPr/>
          <p:nvPr>
            <p:custDataLst>
              <p:tags r:id="rId140"/>
            </p:custDataLst>
          </p:nvPr>
        </p:nvSpPr>
        <p:spPr bwMode="auto">
          <a:xfrm>
            <a:off x="7774793" y="4905550"/>
            <a:ext cx="6006" cy="6006"/>
          </a:xfrm>
          <a:custGeom>
            <a:avLst/>
            <a:gdLst>
              <a:gd name="T0" fmla="*/ 2 w 5"/>
              <a:gd name="T1" fmla="*/ 1 h 5"/>
              <a:gd name="T2" fmla="*/ 0 w 5"/>
              <a:gd name="T3" fmla="*/ 3 h 5"/>
              <a:gd name="T4" fmla="*/ 3 w 5"/>
              <a:gd name="T5" fmla="*/ 5 h 5"/>
              <a:gd name="T6" fmla="*/ 5 w 5"/>
              <a:gd name="T7" fmla="*/ 1 h 5"/>
              <a:gd name="T8" fmla="*/ 1 w 5"/>
              <a:gd name="T9" fmla="*/ 2 h 5"/>
              <a:gd name="T10" fmla="*/ 2 w 5"/>
              <a:gd name="T11" fmla="*/ 1 h 5"/>
              <a:gd name="T12" fmla="*/ 2 w 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2" y="1"/>
                </a:moveTo>
                <a:cubicBezTo>
                  <a:pt x="2" y="2"/>
                  <a:pt x="0" y="2"/>
                  <a:pt x="0" y="3"/>
                </a:cubicBezTo>
                <a:cubicBezTo>
                  <a:pt x="0" y="3"/>
                  <a:pt x="3" y="5"/>
                  <a:pt x="3" y="5"/>
                </a:cubicBezTo>
                <a:cubicBezTo>
                  <a:pt x="4" y="4"/>
                  <a:pt x="5" y="2"/>
                  <a:pt x="5" y="1"/>
                </a:cubicBezTo>
                <a:cubicBezTo>
                  <a:pt x="4" y="0"/>
                  <a:pt x="2" y="2"/>
                  <a:pt x="1" y="2"/>
                </a:cubicBezTo>
                <a:cubicBezTo>
                  <a:pt x="2" y="2"/>
                  <a:pt x="2" y="2"/>
                  <a:pt x="2" y="1"/>
                </a:cubicBezTo>
                <a:cubicBezTo>
                  <a:pt x="2" y="2"/>
                  <a:pt x="2" y="1"/>
                  <a:pt x="2" y="1"/>
                </a:cubicBezTo>
                <a:close/>
              </a:path>
            </a:pathLst>
          </a:custGeom>
          <a:solidFill>
            <a:srgbClr val="46647B"/>
          </a:solidFill>
          <a:ln w="317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sz="1200">
              <a:solidFill>
                <a:srgbClr val="FFFFFF"/>
              </a:solidFill>
            </a:endParaRPr>
          </a:p>
        </p:txBody>
      </p:sp>
      <p:sp>
        <p:nvSpPr>
          <p:cNvPr id="9" name="Rectangle 8">
            <a:extLst>
              <a:ext uri="{FF2B5EF4-FFF2-40B4-BE49-F238E27FC236}">
                <a16:creationId xmlns:a16="http://schemas.microsoft.com/office/drawing/2014/main" id="{AAC50B27-F26F-68B2-353B-A4E4EC3EFB25}"/>
              </a:ext>
            </a:extLst>
          </p:cNvPr>
          <p:cNvSpPr/>
          <p:nvPr>
            <p:custDataLst>
              <p:tags r:id="rId141"/>
            </p:custDataLst>
          </p:nvPr>
        </p:nvSpPr>
        <p:spPr>
          <a:xfrm>
            <a:off x="9918735" y="2651307"/>
            <a:ext cx="628946" cy="288147"/>
          </a:xfrm>
          <a:prstGeom prst="rect">
            <a:avLst/>
          </a:prstGeom>
          <a:noFill/>
          <a:extLst>
            <a:ext uri="{909E8E84-426E-40DD-AFC4-6F175D3DCCD1}">
              <a14:hiddenFill xmlns:a14="http://schemas.microsoft.com/office/drawing/2010/main">
                <a:solidFill>
                  <a:srgbClr val="973B74"/>
                </a:solidFill>
              </a14:hiddenFill>
            </a:ext>
          </a:extLst>
        </p:spPr>
        <p:txBody>
          <a:bodyPr wrap="none" lIns="36000" tIns="36000" rIns="36000" bIns="36000">
            <a:spAutoFit/>
          </a:bodyPr>
          <a:lstStyle/>
          <a:p>
            <a:pPr marL="0" indent="0" defTabSz="931777" eaLnBrk="0" hangingPunct="0">
              <a:spcBef>
                <a:spcPct val="0"/>
              </a:spcBef>
              <a:buNone/>
            </a:pPr>
            <a:r>
              <a:rPr lang="en-GB" sz="1400" b="1"/>
              <a:t>Global</a:t>
            </a:r>
          </a:p>
        </p:txBody>
      </p:sp>
      <p:sp>
        <p:nvSpPr>
          <p:cNvPr id="10" name="btfpBulletedList768771248">
            <a:extLst>
              <a:ext uri="{FF2B5EF4-FFF2-40B4-BE49-F238E27FC236}">
                <a16:creationId xmlns:a16="http://schemas.microsoft.com/office/drawing/2014/main" id="{B185868E-C1A9-D971-77BA-0F3607965186}"/>
              </a:ext>
            </a:extLst>
          </p:cNvPr>
          <p:cNvSpPr txBox="1"/>
          <p:nvPr>
            <p:custDataLst>
              <p:tags r:id="rId142"/>
            </p:custDataLst>
          </p:nvPr>
        </p:nvSpPr>
        <p:spPr bwMode="gray">
          <a:xfrm>
            <a:off x="9918735" y="2961180"/>
            <a:ext cx="1902243" cy="2381027"/>
          </a:xfrm>
          <a:prstGeom prst="rect">
            <a:avLst/>
          </a:prstGeom>
          <a:solidFill>
            <a:srgbClr val="FFFFFF">
              <a:alpha val="75000"/>
            </a:srgbClr>
          </a:solidFill>
          <a:ln>
            <a:noFill/>
          </a:ln>
        </p:spPr>
        <p:txBody>
          <a:bodyPr vert="horz" wrap="square" lIns="36000" tIns="36000" rIns="36000" bIns="36000" rtlCol="0">
            <a:spAutoFit/>
          </a:bodyPr>
          <a:lstStyle>
            <a:defPPr>
              <a:defRPr lang="en-US"/>
            </a:defPPr>
            <a:lvl1pPr marL="0" indent="0" defTabSz="931777" eaLnBrk="0" hangingPunct="0">
              <a:spcBef>
                <a:spcPts val="600"/>
              </a:spcBef>
              <a:buClr>
                <a:prstClr val="black"/>
              </a:buClr>
              <a:buNone/>
              <a:defRPr sz="1200" b="1">
                <a:solidFill>
                  <a:srgbClr val="000000"/>
                </a:solidFill>
              </a:defRPr>
            </a:lvl1pPr>
          </a:lstStyle>
          <a:p>
            <a:r>
              <a:rPr lang="en-US" sz="1000"/>
              <a:t>Major global forums largely aligned on principles, and have signaled intention to coordinate but no substantial agreements yet</a:t>
            </a:r>
          </a:p>
          <a:p>
            <a:r>
              <a:rPr lang="en-US" sz="1000" b="0"/>
              <a:t>Hiroshima, Bletchley, and other global meetings have seen broad alignment on importance and ethical considerations. </a:t>
            </a:r>
          </a:p>
          <a:p>
            <a:r>
              <a:rPr lang="en-US" sz="1000" b="0"/>
              <a:t>Meanwhile, standards organisations (NIST, IEEE, ISO, Bureau Veritas) are still in early stages, but actively developing measures, standards and tools.</a:t>
            </a:r>
          </a:p>
        </p:txBody>
      </p:sp>
      <p:sp>
        <p:nvSpPr>
          <p:cNvPr id="352" name="btfpNotesBox271340">
            <a:extLst>
              <a:ext uri="{FF2B5EF4-FFF2-40B4-BE49-F238E27FC236}">
                <a16:creationId xmlns:a16="http://schemas.microsoft.com/office/drawing/2014/main" id="{EAF2A5B3-F9B8-09BF-9841-5ECAA642B10A}"/>
              </a:ext>
            </a:extLst>
          </p:cNvPr>
          <p:cNvSpPr txBox="1"/>
          <p:nvPr>
            <p:custDataLst>
              <p:tags r:id="rId143"/>
            </p:custDataLst>
          </p:nvPr>
        </p:nvSpPr>
        <p:spPr bwMode="gray">
          <a:xfrm>
            <a:off x="330199" y="6458178"/>
            <a:ext cx="11531600" cy="107722"/>
          </a:xfrm>
          <a:prstGeom prst="rect">
            <a:avLst/>
          </a:prstGeom>
          <a:noFill/>
        </p:spPr>
        <p:txBody>
          <a:bodyPr vert="horz" wrap="square" lIns="0" tIns="0" rIns="0" bIns="0" rtlCol="0" anchor="b">
            <a:spAutoFit/>
          </a:bodyPr>
          <a:lstStyle/>
          <a:p>
            <a:pPr marL="0" indent="0">
              <a:spcBef>
                <a:spcPct val="0"/>
              </a:spcBef>
              <a:buNone/>
            </a:pPr>
            <a:r>
              <a:rPr lang="en-US" sz="700">
                <a:solidFill>
                  <a:srgbClr val="000000"/>
                </a:solidFill>
              </a:rPr>
              <a:t>Source: </a:t>
            </a:r>
            <a:r>
              <a:rPr lang="en-US" sz="700" i="1"/>
              <a:t>The Artificial Intelligence (AI) global regulatory landscape</a:t>
            </a:r>
            <a:r>
              <a:rPr lang="en-US" sz="700"/>
              <a:t>, EY, September 2023; Information Age report, Bird &amp; Bird; Indian Express; OECD; Literature Review</a:t>
            </a:r>
            <a:endParaRPr lang="en-US" sz="700" i="1">
              <a:solidFill>
                <a:srgbClr val="000000"/>
              </a:solidFill>
            </a:endParaRPr>
          </a:p>
        </p:txBody>
      </p:sp>
    </p:spTree>
    <p:custDataLst>
      <p:tags r:id="rId1"/>
    </p:custDataLst>
    <p:extLst>
      <p:ext uri="{BB962C8B-B14F-4D97-AF65-F5344CB8AC3E}">
        <p14:creationId xmlns:p14="http://schemas.microsoft.com/office/powerpoint/2010/main" val="2572200704"/>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btfpColumnIndicatorGroup2">
            <a:extLst>
              <a:ext uri="{FF2B5EF4-FFF2-40B4-BE49-F238E27FC236}">
                <a16:creationId xmlns:a16="http://schemas.microsoft.com/office/drawing/2014/main" id="{0C0E5608-4BDA-6E3A-D025-BDBDD2B9186B}"/>
              </a:ext>
            </a:extLst>
          </p:cNvPr>
          <p:cNvGrpSpPr/>
          <p:nvPr>
            <p:custDataLst>
              <p:tags r:id="rId2"/>
            </p:custDataLst>
          </p:nvPr>
        </p:nvGrpSpPr>
        <p:grpSpPr>
          <a:xfrm>
            <a:off x="0" y="6926580"/>
            <a:ext cx="12192000" cy="137160"/>
            <a:chOff x="0" y="6926580"/>
            <a:chExt cx="12192000" cy="137160"/>
          </a:xfrm>
        </p:grpSpPr>
        <p:sp>
          <p:nvSpPr>
            <p:cNvPr id="33" name="btfpColumnGapBlocker303603">
              <a:extLst>
                <a:ext uri="{FF2B5EF4-FFF2-40B4-BE49-F238E27FC236}">
                  <a16:creationId xmlns:a16="http://schemas.microsoft.com/office/drawing/2014/main" id="{27D20C06-BFBC-F884-BF23-12B777B6D60F}"/>
                </a:ext>
              </a:extLst>
            </p:cNvPr>
            <p:cNvSpPr/>
            <p:nvPr>
              <p:custDataLst>
                <p:tags r:id="rId51"/>
              </p:custDataLst>
            </p:nvPr>
          </p:nvSpPr>
          <p:spPr bwMode="gray">
            <a:xfrm>
              <a:off x="11861800" y="692658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sp>
          <p:nvSpPr>
            <p:cNvPr id="30" name="btfpColumnGapBlocker634255">
              <a:extLst>
                <a:ext uri="{FF2B5EF4-FFF2-40B4-BE49-F238E27FC236}">
                  <a16:creationId xmlns:a16="http://schemas.microsoft.com/office/drawing/2014/main" id="{37478D8E-D92F-CB6D-C912-2FEA113CC4BD}"/>
                </a:ext>
              </a:extLst>
            </p:cNvPr>
            <p:cNvSpPr/>
            <p:nvPr>
              <p:custDataLst>
                <p:tags r:id="rId52"/>
              </p:custDataLst>
            </p:nvPr>
          </p:nvSpPr>
          <p:spPr bwMode="gray">
            <a:xfrm>
              <a:off x="7837752" y="6926580"/>
              <a:ext cx="540544"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28" name="btfpColumnIndicator911196">
              <a:extLst>
                <a:ext uri="{FF2B5EF4-FFF2-40B4-BE49-F238E27FC236}">
                  <a16:creationId xmlns:a16="http://schemas.microsoft.com/office/drawing/2014/main" id="{4223300B-6284-5390-00FB-F3ED32812FA8}"/>
                </a:ext>
              </a:extLst>
            </p:cNvPr>
            <p:cNvCxnSpPr/>
            <p:nvPr>
              <p:custDataLst>
                <p:tags r:id="rId53"/>
              </p:custDataLst>
            </p:nvPr>
          </p:nvCxnSpPr>
          <p:spPr bwMode="gray">
            <a:xfrm flipH="1" flipV="1">
              <a:off x="11861800"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6" name="btfpColumnIndicator804329">
              <a:extLst>
                <a:ext uri="{FF2B5EF4-FFF2-40B4-BE49-F238E27FC236}">
                  <a16:creationId xmlns:a16="http://schemas.microsoft.com/office/drawing/2014/main" id="{BFDB5CA3-8825-1D31-603F-51AB26B18CF1}"/>
                </a:ext>
              </a:extLst>
            </p:cNvPr>
            <p:cNvCxnSpPr/>
            <p:nvPr>
              <p:custDataLst>
                <p:tags r:id="rId54"/>
              </p:custDataLst>
            </p:nvPr>
          </p:nvCxnSpPr>
          <p:spPr bwMode="gray">
            <a:xfrm flipH="1" flipV="1">
              <a:off x="8378296"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4" name="btfpColumnGapBlocker638189">
              <a:extLst>
                <a:ext uri="{FF2B5EF4-FFF2-40B4-BE49-F238E27FC236}">
                  <a16:creationId xmlns:a16="http://schemas.microsoft.com/office/drawing/2014/main" id="{2A692585-78F1-24E6-0F6C-3B036CFB763C}"/>
                </a:ext>
              </a:extLst>
            </p:cNvPr>
            <p:cNvSpPr/>
            <p:nvPr>
              <p:custDataLst>
                <p:tags r:id="rId55"/>
              </p:custDataLst>
            </p:nvPr>
          </p:nvSpPr>
          <p:spPr bwMode="gray">
            <a:xfrm>
              <a:off x="3813704" y="6926580"/>
              <a:ext cx="540544"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22" name="btfpColumnIndicator560160">
              <a:extLst>
                <a:ext uri="{FF2B5EF4-FFF2-40B4-BE49-F238E27FC236}">
                  <a16:creationId xmlns:a16="http://schemas.microsoft.com/office/drawing/2014/main" id="{5A5E7503-DC56-D20B-0DBA-0A5BA59E4528}"/>
                </a:ext>
              </a:extLst>
            </p:cNvPr>
            <p:cNvCxnSpPr/>
            <p:nvPr>
              <p:custDataLst>
                <p:tags r:id="rId56"/>
              </p:custDataLst>
            </p:nvPr>
          </p:nvCxnSpPr>
          <p:spPr bwMode="gray">
            <a:xfrm flipH="1" flipV="1">
              <a:off x="7837752"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410844">
              <a:extLst>
                <a:ext uri="{FF2B5EF4-FFF2-40B4-BE49-F238E27FC236}">
                  <a16:creationId xmlns:a16="http://schemas.microsoft.com/office/drawing/2014/main" id="{3DE773B3-313E-5445-1102-627E2132065F}"/>
                </a:ext>
              </a:extLst>
            </p:cNvPr>
            <p:cNvCxnSpPr/>
            <p:nvPr>
              <p:custDataLst>
                <p:tags r:id="rId57"/>
              </p:custDataLst>
            </p:nvPr>
          </p:nvCxnSpPr>
          <p:spPr bwMode="gray">
            <a:xfrm flipH="1" flipV="1">
              <a:off x="4354248"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977384">
              <a:extLst>
                <a:ext uri="{FF2B5EF4-FFF2-40B4-BE49-F238E27FC236}">
                  <a16:creationId xmlns:a16="http://schemas.microsoft.com/office/drawing/2014/main" id="{E29B117B-FD02-5468-048D-73FFD19C6407}"/>
                </a:ext>
              </a:extLst>
            </p:cNvPr>
            <p:cNvSpPr/>
            <p:nvPr>
              <p:custDataLst>
                <p:tags r:id="rId58"/>
              </p:custDataLst>
            </p:nvPr>
          </p:nvSpPr>
          <p:spPr bwMode="gray">
            <a:xfrm>
              <a:off x="0" y="692658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16" name="btfpColumnIndicator410503">
              <a:extLst>
                <a:ext uri="{FF2B5EF4-FFF2-40B4-BE49-F238E27FC236}">
                  <a16:creationId xmlns:a16="http://schemas.microsoft.com/office/drawing/2014/main" id="{C0123A81-A57D-48BE-0CFC-9E97588E69BC}"/>
                </a:ext>
              </a:extLst>
            </p:cNvPr>
            <p:cNvCxnSpPr/>
            <p:nvPr>
              <p:custDataLst>
                <p:tags r:id="rId59"/>
              </p:custDataLst>
            </p:nvPr>
          </p:nvCxnSpPr>
          <p:spPr bwMode="gray">
            <a:xfrm flipH="1" flipV="1">
              <a:off x="3813704"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846315">
              <a:extLst>
                <a:ext uri="{FF2B5EF4-FFF2-40B4-BE49-F238E27FC236}">
                  <a16:creationId xmlns:a16="http://schemas.microsoft.com/office/drawing/2014/main" id="{30D8FF01-3D71-E4FD-4C2E-E148EA37A803}"/>
                </a:ext>
              </a:extLst>
            </p:cNvPr>
            <p:cNvCxnSpPr/>
            <p:nvPr>
              <p:custDataLst>
                <p:tags r:id="rId60"/>
              </p:custDataLst>
            </p:nvPr>
          </p:nvCxnSpPr>
          <p:spPr bwMode="gray">
            <a:xfrm flipH="1" flipV="1">
              <a:off x="330200" y="692658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34" name="btfpColumnIndicatorGroup1">
            <a:extLst>
              <a:ext uri="{FF2B5EF4-FFF2-40B4-BE49-F238E27FC236}">
                <a16:creationId xmlns:a16="http://schemas.microsoft.com/office/drawing/2014/main" id="{AF2CB7CC-6B8B-100C-B8A4-F40E56A6B4DF}"/>
              </a:ext>
            </a:extLst>
          </p:cNvPr>
          <p:cNvGrpSpPr/>
          <p:nvPr>
            <p:custDataLst>
              <p:tags r:id="rId3"/>
            </p:custDataLst>
          </p:nvPr>
        </p:nvGrpSpPr>
        <p:grpSpPr>
          <a:xfrm>
            <a:off x="0" y="-205740"/>
            <a:ext cx="12192000" cy="137160"/>
            <a:chOff x="0" y="-205740"/>
            <a:chExt cx="12192000" cy="137160"/>
          </a:xfrm>
        </p:grpSpPr>
        <p:sp>
          <p:nvSpPr>
            <p:cNvPr id="32" name="btfpColumnGapBlocker343401">
              <a:extLst>
                <a:ext uri="{FF2B5EF4-FFF2-40B4-BE49-F238E27FC236}">
                  <a16:creationId xmlns:a16="http://schemas.microsoft.com/office/drawing/2014/main" id="{010D6A86-922C-E356-DF9E-55610369C263}"/>
                </a:ext>
              </a:extLst>
            </p:cNvPr>
            <p:cNvSpPr/>
            <p:nvPr>
              <p:custDataLst>
                <p:tags r:id="rId41"/>
              </p:custDataLst>
            </p:nvPr>
          </p:nvSpPr>
          <p:spPr bwMode="gray">
            <a:xfrm>
              <a:off x="11861800" y="-20574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sp>
          <p:nvSpPr>
            <p:cNvPr id="29" name="btfpColumnGapBlocker878789">
              <a:extLst>
                <a:ext uri="{FF2B5EF4-FFF2-40B4-BE49-F238E27FC236}">
                  <a16:creationId xmlns:a16="http://schemas.microsoft.com/office/drawing/2014/main" id="{BB1595EB-0AA3-EE85-F4B8-80AEB28FADE1}"/>
                </a:ext>
              </a:extLst>
            </p:cNvPr>
            <p:cNvSpPr/>
            <p:nvPr>
              <p:custDataLst>
                <p:tags r:id="rId42"/>
              </p:custDataLst>
            </p:nvPr>
          </p:nvSpPr>
          <p:spPr bwMode="gray">
            <a:xfrm>
              <a:off x="7837752" y="-205740"/>
              <a:ext cx="540544"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27" name="btfpColumnIndicator224350">
              <a:extLst>
                <a:ext uri="{FF2B5EF4-FFF2-40B4-BE49-F238E27FC236}">
                  <a16:creationId xmlns:a16="http://schemas.microsoft.com/office/drawing/2014/main" id="{55C25302-EF1A-7D0F-33B1-B27F5918A634}"/>
                </a:ext>
              </a:extLst>
            </p:cNvPr>
            <p:cNvCxnSpPr/>
            <p:nvPr>
              <p:custDataLst>
                <p:tags r:id="rId43"/>
              </p:custDataLst>
            </p:nvPr>
          </p:nvCxnSpPr>
          <p:spPr bwMode="gray">
            <a:xfrm flipH="1" flipV="1">
              <a:off x="11861800"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5" name="btfpColumnIndicator453754">
              <a:extLst>
                <a:ext uri="{FF2B5EF4-FFF2-40B4-BE49-F238E27FC236}">
                  <a16:creationId xmlns:a16="http://schemas.microsoft.com/office/drawing/2014/main" id="{20E5A93E-E316-713F-7767-D7D23C409ED4}"/>
                </a:ext>
              </a:extLst>
            </p:cNvPr>
            <p:cNvCxnSpPr/>
            <p:nvPr>
              <p:custDataLst>
                <p:tags r:id="rId44"/>
              </p:custDataLst>
            </p:nvPr>
          </p:nvCxnSpPr>
          <p:spPr bwMode="gray">
            <a:xfrm flipH="1" flipV="1">
              <a:off x="8378296"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3" name="btfpColumnGapBlocker997114">
              <a:extLst>
                <a:ext uri="{FF2B5EF4-FFF2-40B4-BE49-F238E27FC236}">
                  <a16:creationId xmlns:a16="http://schemas.microsoft.com/office/drawing/2014/main" id="{6C5FAE7C-3B26-C529-C7F0-20B28B3903D6}"/>
                </a:ext>
              </a:extLst>
            </p:cNvPr>
            <p:cNvSpPr/>
            <p:nvPr>
              <p:custDataLst>
                <p:tags r:id="rId45"/>
              </p:custDataLst>
            </p:nvPr>
          </p:nvSpPr>
          <p:spPr bwMode="gray">
            <a:xfrm>
              <a:off x="3813704" y="-205740"/>
              <a:ext cx="540544"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21" name="btfpColumnIndicator171609">
              <a:extLst>
                <a:ext uri="{FF2B5EF4-FFF2-40B4-BE49-F238E27FC236}">
                  <a16:creationId xmlns:a16="http://schemas.microsoft.com/office/drawing/2014/main" id="{32E6EE76-6F19-1460-802A-F0C8F1537B02}"/>
                </a:ext>
              </a:extLst>
            </p:cNvPr>
            <p:cNvCxnSpPr/>
            <p:nvPr>
              <p:custDataLst>
                <p:tags r:id="rId46"/>
              </p:custDataLst>
            </p:nvPr>
          </p:nvCxnSpPr>
          <p:spPr bwMode="gray">
            <a:xfrm flipH="1" flipV="1">
              <a:off x="7837752"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btfpColumnIndicator753381">
              <a:extLst>
                <a:ext uri="{FF2B5EF4-FFF2-40B4-BE49-F238E27FC236}">
                  <a16:creationId xmlns:a16="http://schemas.microsoft.com/office/drawing/2014/main" id="{1C512F45-3942-371A-972B-14C2C796DF3D}"/>
                </a:ext>
              </a:extLst>
            </p:cNvPr>
            <p:cNvCxnSpPr/>
            <p:nvPr>
              <p:custDataLst>
                <p:tags r:id="rId47"/>
              </p:custDataLst>
            </p:nvPr>
          </p:nvCxnSpPr>
          <p:spPr bwMode="gray">
            <a:xfrm flipH="1" flipV="1">
              <a:off x="4354248"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ColumnGapBlocker150759">
              <a:extLst>
                <a:ext uri="{FF2B5EF4-FFF2-40B4-BE49-F238E27FC236}">
                  <a16:creationId xmlns:a16="http://schemas.microsoft.com/office/drawing/2014/main" id="{A7F6158E-0DA8-BAE0-94FD-A00F44CE9427}"/>
                </a:ext>
              </a:extLst>
            </p:cNvPr>
            <p:cNvSpPr/>
            <p:nvPr>
              <p:custDataLst>
                <p:tags r:id="rId48"/>
              </p:custDataLst>
            </p:nvPr>
          </p:nvSpPr>
          <p:spPr bwMode="gray">
            <a:xfrm>
              <a:off x="0" y="-205740"/>
              <a:ext cx="330200" cy="137160"/>
            </a:xfrm>
            <a:prstGeom prst="rect">
              <a:avLst/>
            </a:prstGeom>
            <a:pattFill prst="ltUpDiag">
              <a:fgClr>
                <a:srgbClr val="333333">
                  <a:alpha val="25000"/>
                </a:srgbClr>
              </a:fgClr>
              <a:bgClr>
                <a:srgbClr val="FFFFFF">
                  <a:alpha val="25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chemeClr val="tx1"/>
                </a:solidFill>
              </a:endParaRPr>
            </a:p>
          </p:txBody>
        </p:sp>
        <p:cxnSp>
          <p:nvCxnSpPr>
            <p:cNvPr id="15" name="btfpColumnIndicator471310">
              <a:extLst>
                <a:ext uri="{FF2B5EF4-FFF2-40B4-BE49-F238E27FC236}">
                  <a16:creationId xmlns:a16="http://schemas.microsoft.com/office/drawing/2014/main" id="{05F36D82-3807-99C2-73A0-7C0888FDED97}"/>
                </a:ext>
              </a:extLst>
            </p:cNvPr>
            <p:cNvCxnSpPr/>
            <p:nvPr>
              <p:custDataLst>
                <p:tags r:id="rId49"/>
              </p:custDataLst>
            </p:nvPr>
          </p:nvCxnSpPr>
          <p:spPr bwMode="gray">
            <a:xfrm flipH="1" flipV="1">
              <a:off x="3813704"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 name="btfpColumnIndicator485045">
              <a:extLst>
                <a:ext uri="{FF2B5EF4-FFF2-40B4-BE49-F238E27FC236}">
                  <a16:creationId xmlns:a16="http://schemas.microsoft.com/office/drawing/2014/main" id="{76F9C28F-E6E2-481F-D487-74A929AB4752}"/>
                </a:ext>
              </a:extLst>
            </p:cNvPr>
            <p:cNvCxnSpPr/>
            <p:nvPr>
              <p:custDataLst>
                <p:tags r:id="rId50"/>
              </p:custDataLst>
            </p:nvPr>
          </p:nvCxnSpPr>
          <p:spPr bwMode="gray">
            <a:xfrm flipH="1" flipV="1">
              <a:off x="330200" y="-205740"/>
              <a:ext cx="0" cy="137160"/>
            </a:xfrm>
            <a:prstGeom prst="line">
              <a:avLst/>
            </a:prstGeom>
            <a:ln w="3175" cap="flat" cmpd="sng" algn="ctr">
              <a:solidFill>
                <a:srgbClr val="B4B4B4">
                  <a:alpha val="2500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620D7CFB-1B19-1A17-C55C-6C2EFDEF6C9D}"/>
              </a:ext>
            </a:extLst>
          </p:cNvPr>
          <p:cNvSpPr>
            <a:spLocks noGrp="1"/>
          </p:cNvSpPr>
          <p:nvPr>
            <p:ph type="title"/>
            <p:custDataLst>
              <p:tags r:id="rId4"/>
            </p:custDataLst>
          </p:nvPr>
        </p:nvSpPr>
        <p:spPr/>
        <p:txBody>
          <a:bodyPr/>
          <a:lstStyle/>
          <a:p>
            <a:endParaRPr lang="en-US"/>
          </a:p>
        </p:txBody>
      </p:sp>
      <p:pic>
        <p:nvPicPr>
          <p:cNvPr id="13" name="btfpPhotoGeneric442375">
            <a:extLst>
              <a:ext uri="{FF2B5EF4-FFF2-40B4-BE49-F238E27FC236}">
                <a16:creationId xmlns:a16="http://schemas.microsoft.com/office/drawing/2014/main" id="{6ED8C950-BB6C-903B-C122-16899B1F5750}"/>
              </a:ext>
            </a:extLst>
          </p:cNvPr>
          <p:cNvPicPr>
            <a:picLocks noChangeAspect="1"/>
          </p:cNvPicPr>
          <p:nvPr>
            <p:custDataLst>
              <p:tags r:id="rId5"/>
            </p:custDataLst>
          </p:nvPr>
        </p:nvPicPr>
        <p:blipFill>
          <a:blip r:embed="rId63">
            <a:extLst>
              <a:ext uri="{28A0092B-C50C-407E-A947-70E740481C1C}">
                <a14:useLocalDpi xmlns:a14="http://schemas.microsoft.com/office/drawing/2010/main" val="0"/>
              </a:ext>
            </a:extLst>
          </a:blip>
          <a:srcRect t="72088" b="9421"/>
          <a:stretch>
            <a:fillRect/>
          </a:stretch>
        </p:blipFill>
        <p:spPr>
          <a:xfrm flipH="1" flipV="1">
            <a:off x="0" y="53"/>
            <a:ext cx="12191989" cy="1268527"/>
          </a:xfrm>
          <a:prstGeom prst="rect">
            <a:avLst/>
          </a:prstGeom>
          <a:ln>
            <a:noFill/>
          </a:ln>
        </p:spPr>
      </p:pic>
      <p:sp>
        <p:nvSpPr>
          <p:cNvPr id="14" name="Title 1">
            <a:extLst>
              <a:ext uri="{FF2B5EF4-FFF2-40B4-BE49-F238E27FC236}">
                <a16:creationId xmlns:a16="http://schemas.microsoft.com/office/drawing/2014/main" id="{52059790-64E9-03BC-3FC2-A4F966C8F58A}"/>
              </a:ext>
            </a:extLst>
          </p:cNvPr>
          <p:cNvSpPr txBox="1"/>
          <p:nvPr>
            <p:custDataLst>
              <p:tags r:id="rId6"/>
            </p:custDataLst>
          </p:nvPr>
        </p:nvSpPr>
        <p:spPr>
          <a:xfrm>
            <a:off x="347472" y="231266"/>
            <a:ext cx="11521440" cy="1097280"/>
          </a:xfrm>
          <a:prstGeom prst="rect">
            <a:avLst/>
          </a:prstGeom>
        </p:spPr>
        <p:txBody>
          <a:bodyPr/>
          <a:lst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a:lstStyle>
          <a:p>
            <a:pPr marL="0" indent="0"/>
            <a:r>
              <a:rPr lang="en-AU" sz="2800">
                <a:solidFill>
                  <a:srgbClr val="FFFFFF"/>
                </a:solidFill>
              </a:rPr>
              <a:t>Policy oriented towards </a:t>
            </a:r>
            <a:r>
              <a:rPr lang="en-AU" sz="2800" u="sng">
                <a:solidFill>
                  <a:srgbClr val="FFFFFF"/>
                </a:solidFill>
              </a:rPr>
              <a:t>use cases</a:t>
            </a:r>
            <a:r>
              <a:rPr lang="en-AU" sz="2800">
                <a:solidFill>
                  <a:srgbClr val="FFFFFF"/>
                </a:solidFill>
              </a:rPr>
              <a:t> tends to cover a consistent</a:t>
            </a:r>
            <a:br>
              <a:rPr lang="en-AU" sz="2800">
                <a:solidFill>
                  <a:srgbClr val="FFFFFF"/>
                </a:solidFill>
              </a:rPr>
            </a:br>
            <a:r>
              <a:rPr lang="en-AU" sz="2800">
                <a:solidFill>
                  <a:srgbClr val="FFFFFF"/>
                </a:solidFill>
              </a:rPr>
              <a:t>set of areas</a:t>
            </a:r>
            <a:endParaRPr lang="en-US" sz="2800">
              <a:solidFill>
                <a:srgbClr val="FFFFFF"/>
              </a:solidFill>
            </a:endParaRPr>
          </a:p>
        </p:txBody>
      </p:sp>
      <p:sp>
        <p:nvSpPr>
          <p:cNvPr id="41" name="TextBox 40">
            <a:extLst>
              <a:ext uri="{FF2B5EF4-FFF2-40B4-BE49-F238E27FC236}">
                <a16:creationId xmlns:a16="http://schemas.microsoft.com/office/drawing/2014/main" id="{0BA87653-FB3F-FCE8-DFE7-C47B7E9253CA}"/>
              </a:ext>
            </a:extLst>
          </p:cNvPr>
          <p:cNvSpPr txBox="1"/>
          <p:nvPr>
            <p:custDataLst>
              <p:tags r:id="rId7"/>
            </p:custDataLst>
          </p:nvPr>
        </p:nvSpPr>
        <p:spPr bwMode="gray">
          <a:xfrm>
            <a:off x="2500565" y="5482289"/>
            <a:ext cx="1876792" cy="626701"/>
          </a:xfrm>
          <a:prstGeom prst="rect">
            <a:avLst/>
          </a:prstGeom>
          <a:noFill/>
        </p:spPr>
        <p:txBody>
          <a:bodyPr wrap="square" lIns="36000" tIns="36000" rIns="36000" bIns="36000" rtlCol="0" anchor="t">
            <a:spAutoFit/>
          </a:bodyPr>
          <a:lstStyle>
            <a:defPPr>
              <a:defRPr lang="en-US"/>
            </a:defPPr>
            <a:lvl1pPr marL="0" indent="0" algn="ctr">
              <a:buNone/>
              <a:defRPr sz="4000" b="1">
                <a:solidFill>
                  <a:srgbClr val="000000"/>
                </a:solidFill>
              </a:defRPr>
            </a:lvl1pPr>
          </a:lstStyle>
          <a:p>
            <a:pPr marL="0" marR="0" lvl="0" indent="0" defTabSz="711200" rtl="0" eaLnBrk="1" fontAlgn="auto" latinLnBrk="0" hangingPunct="1">
              <a:lnSpc>
                <a:spcPct val="100000"/>
              </a:lnSpc>
              <a:spcBef>
                <a:spcPts val="1200"/>
              </a:spcBef>
              <a:spcAft>
                <a:spcPct val="0"/>
              </a:spcAft>
              <a:buClrTx/>
              <a:buSzTx/>
              <a:buFontTx/>
              <a:buNone/>
              <a:defRPr/>
            </a:pPr>
            <a:r>
              <a:rPr kumimoji="0" lang="en-US" sz="1800" b="1" i="0" u="none" strike="noStrike" kern="1200" cap="none" spc="0" normalizeH="0" baseline="0" noProof="0">
                <a:ln>
                  <a:noFill/>
                </a:ln>
                <a:effectLst/>
                <a:uLnTx/>
                <a:uFillTx/>
                <a:latin typeface="Arial"/>
                <a:ea typeface="Microsoft YaHei"/>
                <a:cs typeface="+mn-cs"/>
              </a:rPr>
              <a:t>Accountability and Compliance </a:t>
            </a:r>
          </a:p>
        </p:txBody>
      </p:sp>
      <p:pic>
        <p:nvPicPr>
          <p:cNvPr id="48" name="btfpIconLines196364">
            <a:extLst>
              <a:ext uri="{FF2B5EF4-FFF2-40B4-BE49-F238E27FC236}">
                <a16:creationId xmlns:a16="http://schemas.microsoft.com/office/drawing/2014/main" id="{D7C3FBFF-B0BF-CB8C-228B-170259071EB3}"/>
              </a:ext>
            </a:extLst>
          </p:cNvPr>
          <p:cNvPicPr/>
          <p:nvPr>
            <p:custDataLst>
              <p:tags r:id="rId8"/>
            </p:custDataLst>
          </p:nvPr>
        </p:nvPicPr>
        <p:blipFill>
          <a:blip r:embed="rId64">
            <a:extLst>
              <a:ext uri="{28A0092B-C50C-407E-A947-70E740481C1C}">
                <a14:useLocalDpi xmlns:a14="http://schemas.microsoft.com/office/drawing/2010/main" val="0"/>
              </a:ext>
            </a:extLst>
          </a:blip>
          <a:stretch>
            <a:fillRect/>
          </a:stretch>
        </p:blipFill>
        <p:spPr>
          <a:xfrm>
            <a:off x="540277" y="5727928"/>
            <a:ext cx="554768" cy="554768"/>
          </a:xfrm>
          <a:prstGeom prst="rect">
            <a:avLst/>
          </a:prstGeom>
        </p:spPr>
      </p:pic>
      <p:sp>
        <p:nvSpPr>
          <p:cNvPr id="58" name="Oval 57">
            <a:extLst>
              <a:ext uri="{FF2B5EF4-FFF2-40B4-BE49-F238E27FC236}">
                <a16:creationId xmlns:a16="http://schemas.microsoft.com/office/drawing/2014/main" id="{9414EA3A-A18E-EF73-578F-320CAC9EB190}"/>
              </a:ext>
            </a:extLst>
          </p:cNvPr>
          <p:cNvSpPr/>
          <p:nvPr>
            <p:custDataLst>
              <p:tags r:id="rId9"/>
            </p:custDataLst>
          </p:nvPr>
        </p:nvSpPr>
        <p:spPr bwMode="gray">
          <a:xfrm>
            <a:off x="1482795" y="5379135"/>
            <a:ext cx="863436" cy="863436"/>
          </a:xfrm>
          <a:prstGeom prst="ellipse">
            <a:avLst/>
          </a:prstGeom>
          <a:gradFill flip="none" rotWithShape="1">
            <a:gsLst>
              <a:gs pos="50000">
                <a:schemeClr val="accent6"/>
              </a:gs>
              <a:gs pos="0">
                <a:schemeClr val="accent3"/>
              </a:gs>
              <a:gs pos="100000">
                <a:schemeClr val="accent4"/>
              </a:gs>
            </a:gsLst>
            <a:lin ang="2700000" scaled="1"/>
          </a:gra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180000" rIns="36000" bIns="36000" numCol="1" spcCol="0" rtlCol="0" fromWordArt="0" anchor="ctr" anchorCtr="0" forceAA="0" compatLnSpc="1">
            <a:prstTxWarp prst="textNoShape">
              <a:avLst/>
            </a:prstTxWarp>
            <a:noAutofit/>
          </a:bodyPr>
          <a:lstStyle/>
          <a:p>
            <a:pPr marL="0" indent="0" algn="ctr">
              <a:buNone/>
            </a:pPr>
            <a:endParaRPr lang="zh-CN" altLang="en-US" sz="1800" b="1" err="1">
              <a:solidFill>
                <a:srgbClr val="FFFFFF"/>
              </a:solidFill>
              <a:latin typeface="Arial"/>
              <a:ea typeface="MS PGothic"/>
            </a:endParaRPr>
          </a:p>
        </p:txBody>
      </p:sp>
      <p:pic>
        <p:nvPicPr>
          <p:cNvPr id="59" name="btfpIconLines196364">
            <a:extLst>
              <a:ext uri="{FF2B5EF4-FFF2-40B4-BE49-F238E27FC236}">
                <a16:creationId xmlns:a16="http://schemas.microsoft.com/office/drawing/2014/main" id="{67217AF0-85D6-4C9A-62EB-132E13936992}"/>
              </a:ext>
            </a:extLst>
          </p:cNvPr>
          <p:cNvPicPr/>
          <p:nvPr>
            <p:custDataLst>
              <p:tags r:id="rId10"/>
            </p:custDataLst>
          </p:nvPr>
        </p:nvPicPr>
        <p:blipFill>
          <a:blip r:embed="rId64">
            <a:extLst>
              <a:ext uri="{28A0092B-C50C-407E-A947-70E740481C1C}">
                <a14:useLocalDpi xmlns:a14="http://schemas.microsoft.com/office/drawing/2010/main" val="0"/>
              </a:ext>
            </a:extLst>
          </a:blip>
          <a:stretch>
            <a:fillRect/>
          </a:stretch>
        </p:blipFill>
        <p:spPr>
          <a:xfrm>
            <a:off x="1637129" y="5533469"/>
            <a:ext cx="554768" cy="554768"/>
          </a:xfrm>
          <a:prstGeom prst="rect">
            <a:avLst/>
          </a:prstGeom>
        </p:spPr>
      </p:pic>
      <p:sp>
        <p:nvSpPr>
          <p:cNvPr id="65" name="TextBox 64">
            <a:extLst>
              <a:ext uri="{FF2B5EF4-FFF2-40B4-BE49-F238E27FC236}">
                <a16:creationId xmlns:a16="http://schemas.microsoft.com/office/drawing/2014/main" id="{4BA15DC5-E2B1-DE28-1B4F-BB80CF3DA2E7}"/>
              </a:ext>
            </a:extLst>
          </p:cNvPr>
          <p:cNvSpPr txBox="1"/>
          <p:nvPr>
            <p:custDataLst>
              <p:tags r:id="rId11"/>
            </p:custDataLst>
          </p:nvPr>
        </p:nvSpPr>
        <p:spPr bwMode="gray">
          <a:xfrm>
            <a:off x="4377357" y="5533469"/>
            <a:ext cx="7005018" cy="626701"/>
          </a:xfrm>
          <a:prstGeom prst="rect">
            <a:avLst/>
          </a:prstGeom>
          <a:noFill/>
        </p:spPr>
        <p:txBody>
          <a:bodyPr wrap="square" lIns="36000" tIns="36000" rIns="36000" bIns="36000" rtlCol="0" anchor="t">
            <a:spAutoFit/>
          </a:bodyPr>
          <a:lstStyle>
            <a:defPPr>
              <a:defRPr lang="en-US"/>
            </a:defPPr>
            <a:lvl1pPr marL="0" marR="0" lvl="0" indent="0" algn="ctr" fontAlgn="auto">
              <a:lnSpc>
                <a:spcPct val="100000"/>
              </a:lnSpc>
              <a:spcAft>
                <a:spcPct val="0"/>
              </a:spcAft>
              <a:buClrTx/>
              <a:buSzTx/>
              <a:buFontTx/>
              <a:buNone/>
              <a:defRPr kumimoji="0" sz="1400" b="0" i="0" u="none" strike="noStrike" cap="none" spc="0" normalizeH="0" baseline="0">
                <a:ln>
                  <a:noFill/>
                </a:ln>
                <a:solidFill>
                  <a:srgbClr val="000000"/>
                </a:solidFill>
                <a:effectLst/>
                <a:uLnTx/>
                <a:uFillTx/>
                <a:latin typeface="Arial"/>
                <a:ea typeface="Microsoft YaHei"/>
              </a:defRPr>
            </a:lvl1pPr>
          </a:lstStyle>
          <a:p>
            <a:r>
              <a:rPr lang="en-US"/>
              <a:t>AI systems should have human oversight and accountability, and adhere to relevant laws, regulations, and standards</a:t>
            </a:r>
          </a:p>
        </p:txBody>
      </p:sp>
      <p:sp>
        <p:nvSpPr>
          <p:cNvPr id="67" name="TextBox 66">
            <a:extLst>
              <a:ext uri="{FF2B5EF4-FFF2-40B4-BE49-F238E27FC236}">
                <a16:creationId xmlns:a16="http://schemas.microsoft.com/office/drawing/2014/main" id="{80012511-A962-EE17-67B4-EE46730057AC}"/>
              </a:ext>
            </a:extLst>
          </p:cNvPr>
          <p:cNvSpPr txBox="1"/>
          <p:nvPr>
            <p:custDataLst>
              <p:tags r:id="rId12"/>
            </p:custDataLst>
          </p:nvPr>
        </p:nvSpPr>
        <p:spPr bwMode="gray">
          <a:xfrm>
            <a:off x="340377" y="2791974"/>
            <a:ext cx="2144060" cy="626701"/>
          </a:xfrm>
          <a:prstGeom prst="rect">
            <a:avLst/>
          </a:prstGeom>
          <a:noFill/>
        </p:spPr>
        <p:txBody>
          <a:bodyPr wrap="square" lIns="36000" tIns="36000" rIns="36000" bIns="36000" rtlCol="0" anchor="t">
            <a:spAutoFit/>
          </a:bodyPr>
          <a:lstStyle>
            <a:defPPr>
              <a:defRPr lang="en-US"/>
            </a:defPPr>
            <a:lvl1pPr marL="0" indent="0" algn="ctr">
              <a:buNone/>
              <a:defRPr sz="4000" b="1">
                <a:solidFill>
                  <a:srgbClr val="000000"/>
                </a:solidFill>
              </a:defRPr>
            </a:lvl1pPr>
          </a:lstStyle>
          <a:p>
            <a:pPr marL="0" marR="0" lvl="0" indent="0" defTabSz="711200" rtl="0" eaLnBrk="1" fontAlgn="auto" latinLnBrk="0" hangingPunct="1">
              <a:lnSpc>
                <a:spcPct val="100000"/>
              </a:lnSpc>
              <a:spcBef>
                <a:spcPts val="1200"/>
              </a:spcBef>
              <a:spcAft>
                <a:spcPct val="0"/>
              </a:spcAft>
              <a:buClrTx/>
              <a:buSzTx/>
              <a:buFontTx/>
              <a:buNone/>
              <a:defRPr/>
            </a:pPr>
            <a:r>
              <a:rPr kumimoji="0" lang="en-US" sz="1800" b="1" i="0" u="none" strike="noStrike" kern="1200" cap="none" spc="0" normalizeH="0" baseline="0" noProof="0">
                <a:ln>
                  <a:noFill/>
                </a:ln>
                <a:effectLst/>
                <a:uLnTx/>
                <a:uFillTx/>
                <a:latin typeface="Arial"/>
                <a:ea typeface="Microsoft YaHei"/>
                <a:cs typeface="+mn-cs"/>
              </a:rPr>
              <a:t>Society and Environment</a:t>
            </a:r>
          </a:p>
        </p:txBody>
      </p:sp>
      <p:grpSp>
        <p:nvGrpSpPr>
          <p:cNvPr id="68" name="Group 67">
            <a:extLst>
              <a:ext uri="{FF2B5EF4-FFF2-40B4-BE49-F238E27FC236}">
                <a16:creationId xmlns:a16="http://schemas.microsoft.com/office/drawing/2014/main" id="{91FBB323-708D-EF94-C6C2-2857AA01CC1D}"/>
              </a:ext>
            </a:extLst>
          </p:cNvPr>
          <p:cNvGrpSpPr/>
          <p:nvPr>
            <p:custDataLst>
              <p:tags r:id="rId13"/>
            </p:custDataLst>
          </p:nvPr>
        </p:nvGrpSpPr>
        <p:grpSpPr>
          <a:xfrm>
            <a:off x="1071182" y="1775973"/>
            <a:ext cx="863436" cy="863436"/>
            <a:chOff x="10031225" y="1662497"/>
            <a:chExt cx="863436" cy="863436"/>
          </a:xfrm>
        </p:grpSpPr>
        <p:sp>
          <p:nvSpPr>
            <p:cNvPr id="69" name="Oval 68">
              <a:extLst>
                <a:ext uri="{FF2B5EF4-FFF2-40B4-BE49-F238E27FC236}">
                  <a16:creationId xmlns:a16="http://schemas.microsoft.com/office/drawing/2014/main" id="{B4A7A3BD-CFA3-E6A7-521A-8FE2FD2EAB25}"/>
                </a:ext>
              </a:extLst>
            </p:cNvPr>
            <p:cNvSpPr/>
            <p:nvPr>
              <p:custDataLst>
                <p:tags r:id="rId39"/>
              </p:custDataLst>
            </p:nvPr>
          </p:nvSpPr>
          <p:spPr bwMode="gray">
            <a:xfrm>
              <a:off x="10031225" y="1662497"/>
              <a:ext cx="863436" cy="863436"/>
            </a:xfrm>
            <a:prstGeom prst="ellipse">
              <a:avLst/>
            </a:prstGeom>
            <a:gradFill flip="none" rotWithShape="1">
              <a:gsLst>
                <a:gs pos="50000">
                  <a:schemeClr val="accent6"/>
                </a:gs>
                <a:gs pos="0">
                  <a:schemeClr val="accent3"/>
                </a:gs>
                <a:gs pos="100000">
                  <a:schemeClr val="accent4"/>
                </a:gs>
              </a:gsLst>
              <a:lin ang="2700000" scaled="1"/>
            </a:gra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180000" rIns="36000" bIns="36000" numCol="1" spcCol="0" rtlCol="0" fromWordArt="0" anchor="ctr" anchorCtr="0" forceAA="0" compatLnSpc="1">
              <a:prstTxWarp prst="textNoShape">
                <a:avLst/>
              </a:prstTxWarp>
              <a:noAutofit/>
            </a:bodyPr>
            <a:lstStyle/>
            <a:p>
              <a:pPr marL="0" indent="0" algn="ctr">
                <a:buNone/>
              </a:pPr>
              <a:endParaRPr lang="zh-CN" altLang="en-US" sz="1800" b="1" err="1">
                <a:solidFill>
                  <a:srgbClr val="FFFFFF"/>
                </a:solidFill>
                <a:latin typeface="Arial"/>
                <a:ea typeface="MS PGothic"/>
              </a:endParaRPr>
            </a:p>
          </p:txBody>
        </p:sp>
        <p:pic>
          <p:nvPicPr>
            <p:cNvPr id="70" name="btfpIconLines575991">
              <a:extLst>
                <a:ext uri="{FF2B5EF4-FFF2-40B4-BE49-F238E27FC236}">
                  <a16:creationId xmlns:a16="http://schemas.microsoft.com/office/drawing/2014/main" id="{2A836907-B56F-1758-7C13-C4D022DF7718}"/>
                </a:ext>
              </a:extLst>
            </p:cNvPr>
            <p:cNvPicPr/>
            <p:nvPr>
              <p:custDataLst>
                <p:tags r:id="rId40"/>
              </p:custDataLst>
            </p:nvPr>
          </p:nvPicPr>
          <p:blipFill>
            <a:blip r:embed="rId65">
              <a:extLst>
                <a:ext uri="{28A0092B-C50C-407E-A947-70E740481C1C}">
                  <a14:useLocalDpi xmlns:a14="http://schemas.microsoft.com/office/drawing/2010/main" val="0"/>
                </a:ext>
              </a:extLst>
            </a:blip>
            <a:stretch>
              <a:fillRect/>
            </a:stretch>
          </p:blipFill>
          <p:spPr>
            <a:xfrm>
              <a:off x="10127833" y="1759105"/>
              <a:ext cx="670219" cy="670219"/>
            </a:xfrm>
            <a:prstGeom prst="rect">
              <a:avLst/>
            </a:prstGeom>
          </p:spPr>
        </p:pic>
      </p:grpSp>
      <p:sp>
        <p:nvSpPr>
          <p:cNvPr id="71" name="TextBox 70">
            <a:extLst>
              <a:ext uri="{FF2B5EF4-FFF2-40B4-BE49-F238E27FC236}">
                <a16:creationId xmlns:a16="http://schemas.microsoft.com/office/drawing/2014/main" id="{1A70D40E-B6A8-4D98-1AD4-A40D36F5D4EE}"/>
              </a:ext>
            </a:extLst>
          </p:cNvPr>
          <p:cNvSpPr txBox="1"/>
          <p:nvPr>
            <p:custDataLst>
              <p:tags r:id="rId14"/>
            </p:custDataLst>
          </p:nvPr>
        </p:nvSpPr>
        <p:spPr bwMode="gray">
          <a:xfrm>
            <a:off x="397527" y="3650023"/>
            <a:ext cx="2063522" cy="1365365"/>
          </a:xfrm>
          <a:prstGeom prst="rect">
            <a:avLst/>
          </a:prstGeom>
          <a:noFill/>
        </p:spPr>
        <p:txBody>
          <a:bodyPr wrap="square" lIns="36000" tIns="36000" rIns="36000" bIns="36000" rtlCol="0" anchor="t">
            <a:spAutoFit/>
          </a:bodyPr>
          <a:lstStyle>
            <a:defPPr>
              <a:defRPr lang="en-US"/>
            </a:defPPr>
            <a:lvl1pPr marL="0" marR="0" lvl="0" indent="0" algn="ctr" fontAlgn="auto">
              <a:lnSpc>
                <a:spcPct val="100000"/>
              </a:lnSpc>
              <a:spcAft>
                <a:spcPct val="0"/>
              </a:spcAft>
              <a:buClrTx/>
              <a:buSzTx/>
              <a:buFontTx/>
              <a:buNone/>
              <a:defRPr kumimoji="0" sz="1400" b="0" i="0" u="none" strike="noStrike" cap="none" spc="0" normalizeH="0" baseline="0">
                <a:ln>
                  <a:noFill/>
                </a:ln>
                <a:solidFill>
                  <a:srgbClr val="000000"/>
                </a:solidFill>
                <a:effectLst/>
                <a:uLnTx/>
                <a:uFillTx/>
                <a:latin typeface="Arial"/>
                <a:ea typeface="Microsoft YaHei"/>
              </a:defRPr>
            </a:lvl1pPr>
          </a:lstStyle>
          <a:p>
            <a:r>
              <a:rPr lang="en-US"/>
              <a:t>Use of AI should respect and protect human rights, human agency, and have a positive impact on society and the environment</a:t>
            </a:r>
          </a:p>
        </p:txBody>
      </p:sp>
      <p:sp>
        <p:nvSpPr>
          <p:cNvPr id="73" name="TextBox 72">
            <a:extLst>
              <a:ext uri="{FF2B5EF4-FFF2-40B4-BE49-F238E27FC236}">
                <a16:creationId xmlns:a16="http://schemas.microsoft.com/office/drawing/2014/main" id="{A78DEEF7-239D-D0B6-A71B-17F6B8A8EF95}"/>
              </a:ext>
            </a:extLst>
          </p:cNvPr>
          <p:cNvSpPr txBox="1"/>
          <p:nvPr>
            <p:custDataLst>
              <p:tags r:id="rId15"/>
            </p:custDataLst>
          </p:nvPr>
        </p:nvSpPr>
        <p:spPr bwMode="gray">
          <a:xfrm>
            <a:off x="2938277" y="2791974"/>
            <a:ext cx="1876792" cy="626701"/>
          </a:xfrm>
          <a:prstGeom prst="rect">
            <a:avLst/>
          </a:prstGeom>
          <a:noFill/>
        </p:spPr>
        <p:txBody>
          <a:bodyPr wrap="square" lIns="36000" tIns="36000" rIns="36000" bIns="36000" rtlCol="0" anchor="t">
            <a:spAutoFit/>
          </a:bodyPr>
          <a:lstStyle>
            <a:defPPr>
              <a:defRPr lang="en-US"/>
            </a:defPPr>
            <a:lvl1pPr marL="0" indent="0" algn="ctr">
              <a:buNone/>
              <a:defRPr sz="4000" b="1">
                <a:solidFill>
                  <a:srgbClr val="000000"/>
                </a:solidFill>
              </a:defRPr>
            </a:lvl1pPr>
          </a:lstStyle>
          <a:p>
            <a:pPr marL="0" marR="0" lvl="0" indent="0" defTabSz="711200" rtl="0" eaLnBrk="1" fontAlgn="auto" latinLnBrk="0" hangingPunct="1">
              <a:lnSpc>
                <a:spcPct val="100000"/>
              </a:lnSpc>
              <a:spcBef>
                <a:spcPts val="1200"/>
              </a:spcBef>
              <a:spcAft>
                <a:spcPct val="0"/>
              </a:spcAft>
              <a:buClrTx/>
              <a:buSzTx/>
              <a:buFontTx/>
              <a:buNone/>
              <a:defRPr/>
            </a:pPr>
            <a:r>
              <a:rPr kumimoji="0" lang="en-US" sz="1800" b="1" i="0" u="none" strike="noStrike" kern="1200" cap="none" spc="0" normalizeH="0" baseline="0" noProof="0">
                <a:ln>
                  <a:noFill/>
                </a:ln>
                <a:effectLst/>
                <a:uLnTx/>
                <a:uFillTx/>
                <a:latin typeface="Arial"/>
                <a:ea typeface="Microsoft YaHei"/>
                <a:cs typeface="+mn-cs"/>
              </a:rPr>
              <a:t>Fairness and Inclusion</a:t>
            </a:r>
          </a:p>
        </p:txBody>
      </p:sp>
      <p:cxnSp>
        <p:nvCxnSpPr>
          <p:cNvPr id="74" name="Straight Connector 73">
            <a:extLst>
              <a:ext uri="{FF2B5EF4-FFF2-40B4-BE49-F238E27FC236}">
                <a16:creationId xmlns:a16="http://schemas.microsoft.com/office/drawing/2014/main" id="{53FD1B03-EDB5-DD6E-B914-E83CF19B1CE1}"/>
              </a:ext>
            </a:extLst>
          </p:cNvPr>
          <p:cNvCxnSpPr/>
          <p:nvPr>
            <p:custDataLst>
              <p:tags r:id="rId16"/>
            </p:custDataLst>
          </p:nvPr>
        </p:nvCxnSpPr>
        <p:spPr bwMode="gray">
          <a:xfrm flipH="1">
            <a:off x="2671013" y="2666980"/>
            <a:ext cx="0" cy="228600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85B3364-1370-609D-E63C-3A79A9CB6672}"/>
              </a:ext>
            </a:extLst>
          </p:cNvPr>
          <p:cNvCxnSpPr/>
          <p:nvPr>
            <p:custDataLst>
              <p:tags r:id="rId17"/>
            </p:custDataLst>
          </p:nvPr>
        </p:nvCxnSpPr>
        <p:spPr bwMode="gray">
          <a:xfrm flipH="1">
            <a:off x="5082333" y="2666980"/>
            <a:ext cx="0" cy="228600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97E6C769-B56C-C8D3-1C67-3EFD748CBB0E}"/>
              </a:ext>
            </a:extLst>
          </p:cNvPr>
          <p:cNvGrpSpPr/>
          <p:nvPr>
            <p:custDataLst>
              <p:tags r:id="rId18"/>
            </p:custDataLst>
          </p:nvPr>
        </p:nvGrpSpPr>
        <p:grpSpPr>
          <a:xfrm>
            <a:off x="3423851" y="1775973"/>
            <a:ext cx="863436" cy="863436"/>
            <a:chOff x="5157602" y="1759105"/>
            <a:chExt cx="863436" cy="863436"/>
          </a:xfrm>
        </p:grpSpPr>
        <p:sp>
          <p:nvSpPr>
            <p:cNvPr id="77" name="Oval 76">
              <a:extLst>
                <a:ext uri="{FF2B5EF4-FFF2-40B4-BE49-F238E27FC236}">
                  <a16:creationId xmlns:a16="http://schemas.microsoft.com/office/drawing/2014/main" id="{416B73F8-931D-DE0E-6246-1181100DBF72}"/>
                </a:ext>
              </a:extLst>
            </p:cNvPr>
            <p:cNvSpPr/>
            <p:nvPr>
              <p:custDataLst>
                <p:tags r:id="rId37"/>
              </p:custDataLst>
            </p:nvPr>
          </p:nvSpPr>
          <p:spPr bwMode="gray">
            <a:xfrm>
              <a:off x="5157602" y="1759105"/>
              <a:ext cx="863436" cy="863436"/>
            </a:xfrm>
            <a:prstGeom prst="ellipse">
              <a:avLst/>
            </a:prstGeom>
            <a:gradFill flip="none" rotWithShape="1">
              <a:gsLst>
                <a:gs pos="50000">
                  <a:schemeClr val="accent6"/>
                </a:gs>
                <a:gs pos="0">
                  <a:schemeClr val="accent3"/>
                </a:gs>
                <a:gs pos="100000">
                  <a:schemeClr val="accent4"/>
                </a:gs>
              </a:gsLst>
              <a:lin ang="2700000" scaled="1"/>
            </a:gra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180000" rIns="36000" bIns="36000" numCol="1" spcCol="0" rtlCol="0" fromWordArt="0" anchor="ctr" anchorCtr="0" forceAA="0" compatLnSpc="1">
              <a:prstTxWarp prst="textNoShape">
                <a:avLst/>
              </a:prstTxWarp>
              <a:noAutofit/>
            </a:bodyPr>
            <a:lstStyle/>
            <a:p>
              <a:pPr marL="0" indent="0" algn="ctr">
                <a:buNone/>
              </a:pPr>
              <a:endParaRPr lang="zh-CN" altLang="en-US" sz="1800" b="1" err="1">
                <a:solidFill>
                  <a:srgbClr val="FFFFFF"/>
                </a:solidFill>
                <a:latin typeface="Arial"/>
                <a:ea typeface="MS PGothic"/>
              </a:endParaRPr>
            </a:p>
          </p:txBody>
        </p:sp>
        <p:pic>
          <p:nvPicPr>
            <p:cNvPr id="78" name="btfpIconLines274736">
              <a:extLst>
                <a:ext uri="{FF2B5EF4-FFF2-40B4-BE49-F238E27FC236}">
                  <a16:creationId xmlns:a16="http://schemas.microsoft.com/office/drawing/2014/main" id="{1C6E6DEF-B875-14B0-7A2C-887D808D3B79}"/>
                </a:ext>
              </a:extLst>
            </p:cNvPr>
            <p:cNvPicPr/>
            <p:nvPr>
              <p:custDataLst>
                <p:tags r:id="rId38"/>
              </p:custDataLst>
            </p:nvPr>
          </p:nvPicPr>
          <p:blipFill>
            <a:blip r:embed="rId66">
              <a:extLst>
                <a:ext uri="{28A0092B-C50C-407E-A947-70E740481C1C}">
                  <a14:useLocalDpi xmlns:a14="http://schemas.microsoft.com/office/drawing/2010/main" val="0"/>
                </a:ext>
              </a:extLst>
            </a:blip>
            <a:stretch>
              <a:fillRect/>
            </a:stretch>
          </p:blipFill>
          <p:spPr>
            <a:xfrm>
              <a:off x="5254210" y="1855713"/>
              <a:ext cx="670219" cy="670219"/>
            </a:xfrm>
            <a:prstGeom prst="rect">
              <a:avLst/>
            </a:prstGeom>
          </p:spPr>
        </p:pic>
      </p:grpSp>
      <p:sp>
        <p:nvSpPr>
          <p:cNvPr id="79" name="TextBox 78">
            <a:extLst>
              <a:ext uri="{FF2B5EF4-FFF2-40B4-BE49-F238E27FC236}">
                <a16:creationId xmlns:a16="http://schemas.microsoft.com/office/drawing/2014/main" id="{C1FB4D25-DDF6-D9E4-876A-63BA5567A240}"/>
              </a:ext>
            </a:extLst>
          </p:cNvPr>
          <p:cNvSpPr txBox="1"/>
          <p:nvPr>
            <p:custDataLst>
              <p:tags r:id="rId19"/>
            </p:custDataLst>
          </p:nvPr>
        </p:nvSpPr>
        <p:spPr bwMode="gray">
          <a:xfrm>
            <a:off x="2790816" y="3866349"/>
            <a:ext cx="2166003" cy="719034"/>
          </a:xfrm>
          <a:prstGeom prst="rect">
            <a:avLst/>
          </a:prstGeom>
          <a:noFill/>
        </p:spPr>
        <p:txBody>
          <a:bodyPr wrap="square" lIns="36000" tIns="36000" rIns="36000" bIns="36000" rtlCol="0" anchor="t">
            <a:spAutoFit/>
          </a:bodyPr>
          <a:lstStyle>
            <a:defPPr>
              <a:defRPr lang="en-US"/>
            </a:defPPr>
            <a:lvl1pPr marL="0" marR="0" lvl="0" indent="0" algn="ctr" fontAlgn="auto">
              <a:lnSpc>
                <a:spcPct val="100000"/>
              </a:lnSpc>
              <a:spcAft>
                <a:spcPct val="0"/>
              </a:spcAft>
              <a:buClrTx/>
              <a:buSzTx/>
              <a:buFontTx/>
              <a:buNone/>
              <a:defRPr kumimoji="0" sz="1400" b="0" i="0" u="none" strike="noStrike" cap="none" spc="0" normalizeH="0" baseline="0">
                <a:ln>
                  <a:noFill/>
                </a:ln>
                <a:solidFill>
                  <a:srgbClr val="000000"/>
                </a:solidFill>
                <a:effectLst/>
                <a:uLnTx/>
                <a:uFillTx/>
                <a:latin typeface="Arial"/>
                <a:ea typeface="Microsoft YaHei"/>
              </a:defRPr>
            </a:lvl1pPr>
          </a:lstStyle>
          <a:p>
            <a:r>
              <a:rPr lang="en-AU"/>
              <a:t>AI should be fair, inclusive and avoid creating or reinforcing bias</a:t>
            </a:r>
            <a:endParaRPr lang="en-US"/>
          </a:p>
        </p:txBody>
      </p:sp>
      <p:sp>
        <p:nvSpPr>
          <p:cNvPr id="81" name="TextBox 80">
            <a:extLst>
              <a:ext uri="{FF2B5EF4-FFF2-40B4-BE49-F238E27FC236}">
                <a16:creationId xmlns:a16="http://schemas.microsoft.com/office/drawing/2014/main" id="{CA3B082E-C404-0264-5C27-80174D556355}"/>
              </a:ext>
            </a:extLst>
          </p:cNvPr>
          <p:cNvSpPr txBox="1"/>
          <p:nvPr>
            <p:custDataLst>
              <p:tags r:id="rId20"/>
            </p:custDataLst>
          </p:nvPr>
        </p:nvSpPr>
        <p:spPr bwMode="gray">
          <a:xfrm>
            <a:off x="5148540" y="2791974"/>
            <a:ext cx="2204759" cy="626701"/>
          </a:xfrm>
          <a:prstGeom prst="rect">
            <a:avLst/>
          </a:prstGeom>
          <a:noFill/>
        </p:spPr>
        <p:txBody>
          <a:bodyPr wrap="square" lIns="36000" tIns="36000" rIns="36000" bIns="36000" rtlCol="0" anchor="t">
            <a:spAutoFit/>
          </a:bodyPr>
          <a:lstStyle>
            <a:defPPr>
              <a:defRPr lang="en-US"/>
            </a:defPPr>
            <a:lvl1pPr marL="0" indent="0" algn="ctr">
              <a:buNone/>
              <a:defRPr sz="4000" b="1">
                <a:solidFill>
                  <a:srgbClr val="000000"/>
                </a:solidFill>
              </a:defRPr>
            </a:lvl1pPr>
          </a:lstStyle>
          <a:p>
            <a:pPr marL="0" marR="0" lvl="0" indent="0" defTabSz="711200" rtl="0" eaLnBrk="1" fontAlgn="auto" latinLnBrk="0" hangingPunct="1">
              <a:lnSpc>
                <a:spcPct val="100000"/>
              </a:lnSpc>
              <a:spcBef>
                <a:spcPts val="1200"/>
              </a:spcBef>
              <a:spcAft>
                <a:spcPct val="0"/>
              </a:spcAft>
              <a:buClrTx/>
              <a:buSzTx/>
              <a:buFontTx/>
              <a:buNone/>
              <a:defRPr/>
            </a:pPr>
            <a:r>
              <a:rPr kumimoji="0" lang="en-US" sz="1800" b="1" i="0" u="none" strike="noStrike" kern="1200" cap="none" spc="0" normalizeH="0" baseline="0" noProof="0">
                <a:ln>
                  <a:noFill/>
                </a:ln>
                <a:effectLst/>
                <a:uLnTx/>
                <a:uFillTx/>
                <a:latin typeface="Arial"/>
                <a:ea typeface="Microsoft YaHei"/>
                <a:cs typeface="+mn-cs"/>
              </a:rPr>
              <a:t>Transparency and Explainability</a:t>
            </a:r>
          </a:p>
        </p:txBody>
      </p:sp>
      <p:cxnSp>
        <p:nvCxnSpPr>
          <p:cNvPr id="82" name="Straight Connector 81">
            <a:extLst>
              <a:ext uri="{FF2B5EF4-FFF2-40B4-BE49-F238E27FC236}">
                <a16:creationId xmlns:a16="http://schemas.microsoft.com/office/drawing/2014/main" id="{50441939-E875-3522-C58D-0D3C37A6601D}"/>
              </a:ext>
            </a:extLst>
          </p:cNvPr>
          <p:cNvCxnSpPr/>
          <p:nvPr>
            <p:custDataLst>
              <p:tags r:id="rId21"/>
            </p:custDataLst>
          </p:nvPr>
        </p:nvCxnSpPr>
        <p:spPr bwMode="gray">
          <a:xfrm flipH="1">
            <a:off x="7452563" y="2666980"/>
            <a:ext cx="0" cy="228600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1758BFBC-DEC1-9FC7-DC98-2E8359A9359A}"/>
              </a:ext>
            </a:extLst>
          </p:cNvPr>
          <p:cNvGrpSpPr/>
          <p:nvPr>
            <p:custDataLst>
              <p:tags r:id="rId22"/>
            </p:custDataLst>
          </p:nvPr>
        </p:nvGrpSpPr>
        <p:grpSpPr>
          <a:xfrm>
            <a:off x="5805098" y="1775973"/>
            <a:ext cx="863436" cy="863436"/>
            <a:chOff x="2746282" y="1730447"/>
            <a:chExt cx="863436" cy="863436"/>
          </a:xfrm>
        </p:grpSpPr>
        <p:sp>
          <p:nvSpPr>
            <p:cNvPr id="84" name="Oval 83">
              <a:extLst>
                <a:ext uri="{FF2B5EF4-FFF2-40B4-BE49-F238E27FC236}">
                  <a16:creationId xmlns:a16="http://schemas.microsoft.com/office/drawing/2014/main" id="{4458A952-DACD-0510-BAE3-A637BC94D03B}"/>
                </a:ext>
              </a:extLst>
            </p:cNvPr>
            <p:cNvSpPr/>
            <p:nvPr>
              <p:custDataLst>
                <p:tags r:id="rId35"/>
              </p:custDataLst>
            </p:nvPr>
          </p:nvSpPr>
          <p:spPr bwMode="gray">
            <a:xfrm>
              <a:off x="2746282" y="1730447"/>
              <a:ext cx="863436" cy="863436"/>
            </a:xfrm>
            <a:prstGeom prst="ellipse">
              <a:avLst/>
            </a:prstGeom>
            <a:gradFill flip="none" rotWithShape="1">
              <a:gsLst>
                <a:gs pos="50000">
                  <a:schemeClr val="accent6"/>
                </a:gs>
                <a:gs pos="0">
                  <a:schemeClr val="accent3"/>
                </a:gs>
                <a:gs pos="100000">
                  <a:schemeClr val="accent4"/>
                </a:gs>
              </a:gsLst>
              <a:lin ang="2700000" scaled="1"/>
            </a:gra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180000" rIns="36000" bIns="36000" numCol="1" spcCol="0" rtlCol="0" fromWordArt="0" anchor="ctr" anchorCtr="0" forceAA="0" compatLnSpc="1">
              <a:prstTxWarp prst="textNoShape">
                <a:avLst/>
              </a:prstTxWarp>
              <a:noAutofit/>
            </a:bodyPr>
            <a:lstStyle/>
            <a:p>
              <a:pPr marL="0" indent="0" algn="ctr">
                <a:buNone/>
              </a:pPr>
              <a:endParaRPr lang="zh-CN" altLang="en-US" sz="1800" b="1" err="1">
                <a:solidFill>
                  <a:srgbClr val="FFFFFF"/>
                </a:solidFill>
                <a:latin typeface="Arial"/>
                <a:ea typeface="MS PGothic"/>
              </a:endParaRPr>
            </a:p>
          </p:txBody>
        </p:sp>
        <p:pic>
          <p:nvPicPr>
            <p:cNvPr id="85" name="btfpIconLines303144">
              <a:extLst>
                <a:ext uri="{FF2B5EF4-FFF2-40B4-BE49-F238E27FC236}">
                  <a16:creationId xmlns:a16="http://schemas.microsoft.com/office/drawing/2014/main" id="{706558AD-C3FB-4853-A537-A6D2B6B63658}"/>
                </a:ext>
              </a:extLst>
            </p:cNvPr>
            <p:cNvPicPr/>
            <p:nvPr>
              <p:custDataLst>
                <p:tags r:id="rId36"/>
              </p:custDataLst>
            </p:nvPr>
          </p:nvPicPr>
          <p:blipFill>
            <a:blip r:embed="rId67">
              <a:extLst>
                <a:ext uri="{28A0092B-C50C-407E-A947-70E740481C1C}">
                  <a14:useLocalDpi xmlns:a14="http://schemas.microsoft.com/office/drawing/2010/main" val="0"/>
                </a:ext>
              </a:extLst>
            </a:blip>
            <a:stretch>
              <a:fillRect/>
            </a:stretch>
          </p:blipFill>
          <p:spPr>
            <a:xfrm>
              <a:off x="2842891" y="1827055"/>
              <a:ext cx="670219" cy="670219"/>
            </a:xfrm>
            <a:prstGeom prst="rect">
              <a:avLst/>
            </a:prstGeom>
          </p:spPr>
        </p:pic>
      </p:grpSp>
      <p:sp>
        <p:nvSpPr>
          <p:cNvPr id="86" name="TextBox 85">
            <a:extLst>
              <a:ext uri="{FF2B5EF4-FFF2-40B4-BE49-F238E27FC236}">
                <a16:creationId xmlns:a16="http://schemas.microsoft.com/office/drawing/2014/main" id="{8246F802-FE4E-64FA-EBEC-C614A337997A}"/>
              </a:ext>
            </a:extLst>
          </p:cNvPr>
          <p:cNvSpPr txBox="1"/>
          <p:nvPr>
            <p:custDataLst>
              <p:tags r:id="rId23"/>
            </p:custDataLst>
          </p:nvPr>
        </p:nvSpPr>
        <p:spPr bwMode="gray">
          <a:xfrm>
            <a:off x="5234778" y="3650023"/>
            <a:ext cx="2024250" cy="1149921"/>
          </a:xfrm>
          <a:prstGeom prst="rect">
            <a:avLst/>
          </a:prstGeom>
          <a:noFill/>
        </p:spPr>
        <p:txBody>
          <a:bodyPr wrap="square" lIns="36000" tIns="36000" rIns="36000" bIns="36000" rtlCol="0" anchor="t">
            <a:spAutoFit/>
          </a:bodyPr>
          <a:lstStyle>
            <a:defPPr>
              <a:defRPr lang="en-US"/>
            </a:defPPr>
            <a:lvl1pPr marL="0" marR="0" lvl="0" indent="0" algn="ctr" fontAlgn="auto">
              <a:lnSpc>
                <a:spcPct val="100000"/>
              </a:lnSpc>
              <a:spcAft>
                <a:spcPct val="0"/>
              </a:spcAft>
              <a:buClrTx/>
              <a:buSzTx/>
              <a:buFontTx/>
              <a:buNone/>
              <a:defRPr kumimoji="0" sz="1400" b="0" i="0" u="none" strike="noStrike" cap="none" spc="0" normalizeH="0" baseline="0">
                <a:ln>
                  <a:noFill/>
                </a:ln>
                <a:solidFill>
                  <a:srgbClr val="000000"/>
                </a:solidFill>
                <a:effectLst/>
                <a:uLnTx/>
                <a:uFillTx/>
                <a:latin typeface="Arial"/>
                <a:ea typeface="Microsoft YaHei"/>
              </a:defRPr>
            </a:lvl1pPr>
          </a:lstStyle>
          <a:p>
            <a:r>
              <a:rPr lang="en-AU"/>
              <a:t>Use of AI should be transparent, and outputs and processes should be explainable and contestable</a:t>
            </a:r>
            <a:endParaRPr lang="en-US"/>
          </a:p>
        </p:txBody>
      </p:sp>
      <p:sp>
        <p:nvSpPr>
          <p:cNvPr id="87" name="TextBox 86">
            <a:extLst>
              <a:ext uri="{FF2B5EF4-FFF2-40B4-BE49-F238E27FC236}">
                <a16:creationId xmlns:a16="http://schemas.microsoft.com/office/drawing/2014/main" id="{E9610BD5-9CF4-A0C9-9A87-833CB9CEC88D}"/>
              </a:ext>
            </a:extLst>
          </p:cNvPr>
          <p:cNvSpPr txBox="1"/>
          <p:nvPr>
            <p:custDataLst>
              <p:tags r:id="rId24"/>
            </p:custDataLst>
          </p:nvPr>
        </p:nvSpPr>
        <p:spPr bwMode="gray">
          <a:xfrm>
            <a:off x="7607022" y="2791974"/>
            <a:ext cx="1876792" cy="626701"/>
          </a:xfrm>
          <a:prstGeom prst="rect">
            <a:avLst/>
          </a:prstGeom>
          <a:noFill/>
        </p:spPr>
        <p:txBody>
          <a:bodyPr wrap="square" lIns="36000" tIns="36000" rIns="36000" bIns="36000" rtlCol="0" anchor="t">
            <a:spAutoFit/>
          </a:bodyPr>
          <a:lstStyle>
            <a:defPPr>
              <a:defRPr lang="en-US"/>
            </a:defPPr>
            <a:lvl1pPr marL="0" marR="0" lvl="0" indent="0" fontAlgn="auto">
              <a:lnSpc>
                <a:spcPct val="100000"/>
              </a:lnSpc>
              <a:spcAft>
                <a:spcPct val="0"/>
              </a:spcAft>
              <a:buClrTx/>
              <a:buSzTx/>
              <a:buFontTx/>
              <a:buNone/>
              <a:defRPr kumimoji="0" sz="2000" b="1" i="0" u="none" strike="noStrike" cap="none" spc="0" normalizeH="0" baseline="0">
                <a:ln>
                  <a:noFill/>
                </a:ln>
                <a:solidFill>
                  <a:srgbClr val="FFFFFF"/>
                </a:solidFill>
                <a:effectLst/>
                <a:uLnTx/>
                <a:uFillTx/>
                <a:latin typeface="Arial"/>
                <a:ea typeface="Microsoft YaHei"/>
              </a:defRPr>
            </a:lvl1pPr>
          </a:lstStyle>
          <a:p>
            <a:pPr marL="0" marR="0" lvl="0" indent="0" algn="ctr" defTabSz="711200" rtl="0" eaLnBrk="1" fontAlgn="auto" latinLnBrk="0" hangingPunct="1">
              <a:lnSpc>
                <a:spcPct val="100000"/>
              </a:lnSpc>
              <a:spcBef>
                <a:spcPts val="1200"/>
              </a:spcBef>
              <a:spcAft>
                <a:spcPct val="0"/>
              </a:spcAft>
              <a:buClrTx/>
              <a:buSzTx/>
              <a:buFontTx/>
              <a:buNone/>
              <a:defRPr/>
            </a:pPr>
            <a:r>
              <a:rPr kumimoji="0" lang="en-US" sz="1800" b="1" i="0" u="none" strike="noStrike" kern="1200" cap="none" spc="0" normalizeH="0" baseline="0" noProof="0">
                <a:ln>
                  <a:noFill/>
                </a:ln>
                <a:solidFill>
                  <a:srgbClr val="000000"/>
                </a:solidFill>
                <a:effectLst/>
                <a:uLnTx/>
                <a:uFillTx/>
                <a:latin typeface="Arial"/>
                <a:ea typeface="Microsoft YaHei"/>
                <a:cs typeface="+mn-cs"/>
              </a:rPr>
              <a:t>Privacy and Ownership </a:t>
            </a:r>
          </a:p>
        </p:txBody>
      </p:sp>
      <p:cxnSp>
        <p:nvCxnSpPr>
          <p:cNvPr id="88" name="Straight Connector 87">
            <a:extLst>
              <a:ext uri="{FF2B5EF4-FFF2-40B4-BE49-F238E27FC236}">
                <a16:creationId xmlns:a16="http://schemas.microsoft.com/office/drawing/2014/main" id="{DD57B502-66A1-A235-BBF4-C2D1AF8A2368}"/>
              </a:ext>
            </a:extLst>
          </p:cNvPr>
          <p:cNvCxnSpPr/>
          <p:nvPr>
            <p:custDataLst>
              <p:tags r:id="rId25"/>
            </p:custDataLst>
          </p:nvPr>
        </p:nvCxnSpPr>
        <p:spPr bwMode="gray">
          <a:xfrm flipH="1">
            <a:off x="9751078" y="2666980"/>
            <a:ext cx="0" cy="2286000"/>
          </a:xfrm>
          <a:prstGeom prst="line">
            <a:avLst/>
          </a:prstGeom>
          <a:ln w="9525" cap="flat" cmpd="sng" algn="ctr">
            <a:solidFill>
              <a:srgbClr val="D6D6D6"/>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D7AA38E0-1FCD-0588-EB0F-18C5FC25A672}"/>
              </a:ext>
            </a:extLst>
          </p:cNvPr>
          <p:cNvGrpSpPr/>
          <p:nvPr>
            <p:custDataLst>
              <p:tags r:id="rId26"/>
            </p:custDataLst>
          </p:nvPr>
        </p:nvGrpSpPr>
        <p:grpSpPr>
          <a:xfrm>
            <a:off x="8081579" y="1775973"/>
            <a:ext cx="863436" cy="863436"/>
            <a:chOff x="7631938" y="1804675"/>
            <a:chExt cx="863436" cy="863436"/>
          </a:xfrm>
        </p:grpSpPr>
        <p:sp>
          <p:nvSpPr>
            <p:cNvPr id="90" name="Oval 89">
              <a:extLst>
                <a:ext uri="{FF2B5EF4-FFF2-40B4-BE49-F238E27FC236}">
                  <a16:creationId xmlns:a16="http://schemas.microsoft.com/office/drawing/2014/main" id="{AFA1BBB4-F3D9-C8D6-D71A-4C51A21A8BC4}"/>
                </a:ext>
              </a:extLst>
            </p:cNvPr>
            <p:cNvSpPr/>
            <p:nvPr>
              <p:custDataLst>
                <p:tags r:id="rId33"/>
              </p:custDataLst>
            </p:nvPr>
          </p:nvSpPr>
          <p:spPr bwMode="gray">
            <a:xfrm>
              <a:off x="7631938" y="1804675"/>
              <a:ext cx="863436" cy="863436"/>
            </a:xfrm>
            <a:prstGeom prst="ellipse">
              <a:avLst/>
            </a:prstGeom>
            <a:gradFill flip="none" rotWithShape="1">
              <a:gsLst>
                <a:gs pos="50000">
                  <a:schemeClr val="accent6"/>
                </a:gs>
                <a:gs pos="0">
                  <a:schemeClr val="accent3"/>
                </a:gs>
                <a:gs pos="100000">
                  <a:schemeClr val="accent4"/>
                </a:gs>
              </a:gsLst>
              <a:lin ang="2700000" scaled="1"/>
            </a:gra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180000" rIns="36000" bIns="36000" numCol="1" spcCol="0" rtlCol="0" fromWordArt="0" anchor="ctr" anchorCtr="0" forceAA="0" compatLnSpc="1">
              <a:prstTxWarp prst="textNoShape">
                <a:avLst/>
              </a:prstTxWarp>
              <a:noAutofit/>
            </a:bodyPr>
            <a:lstStyle/>
            <a:p>
              <a:pPr marL="0" indent="0" algn="ctr">
                <a:buNone/>
              </a:pPr>
              <a:endParaRPr lang="zh-CN" altLang="en-US" sz="1800" b="1" err="1">
                <a:solidFill>
                  <a:srgbClr val="FFFFFF"/>
                </a:solidFill>
                <a:latin typeface="Arial"/>
                <a:ea typeface="MS PGothic"/>
              </a:endParaRPr>
            </a:p>
          </p:txBody>
        </p:sp>
        <p:pic>
          <p:nvPicPr>
            <p:cNvPr id="91" name="btfpIconLines948992">
              <a:extLst>
                <a:ext uri="{FF2B5EF4-FFF2-40B4-BE49-F238E27FC236}">
                  <a16:creationId xmlns:a16="http://schemas.microsoft.com/office/drawing/2014/main" id="{92E5EDF6-B7AB-30CB-5DD8-A403D5D3C8E8}"/>
                </a:ext>
              </a:extLst>
            </p:cNvPr>
            <p:cNvPicPr/>
            <p:nvPr>
              <p:custDataLst>
                <p:tags r:id="rId34"/>
              </p:custDataLst>
            </p:nvPr>
          </p:nvPicPr>
          <p:blipFill>
            <a:blip r:embed="rId68">
              <a:extLst>
                <a:ext uri="{28A0092B-C50C-407E-A947-70E740481C1C}">
                  <a14:useLocalDpi xmlns:a14="http://schemas.microsoft.com/office/drawing/2010/main" val="0"/>
                </a:ext>
              </a:extLst>
            </a:blip>
            <a:stretch>
              <a:fillRect/>
            </a:stretch>
          </p:blipFill>
          <p:spPr>
            <a:xfrm>
              <a:off x="7728546" y="1901283"/>
              <a:ext cx="670219" cy="670219"/>
            </a:xfrm>
            <a:prstGeom prst="rect">
              <a:avLst/>
            </a:prstGeom>
          </p:spPr>
        </p:pic>
      </p:grpSp>
      <p:sp>
        <p:nvSpPr>
          <p:cNvPr id="92" name="TextBox 91">
            <a:extLst>
              <a:ext uri="{FF2B5EF4-FFF2-40B4-BE49-F238E27FC236}">
                <a16:creationId xmlns:a16="http://schemas.microsoft.com/office/drawing/2014/main" id="{6627CF7F-218A-7E24-492E-43BBCB3D52C1}"/>
              </a:ext>
            </a:extLst>
          </p:cNvPr>
          <p:cNvSpPr txBox="1"/>
          <p:nvPr>
            <p:custDataLst>
              <p:tags r:id="rId27"/>
            </p:custDataLst>
          </p:nvPr>
        </p:nvSpPr>
        <p:spPr bwMode="gray">
          <a:xfrm>
            <a:off x="7465268" y="3650906"/>
            <a:ext cx="2166004" cy="934478"/>
          </a:xfrm>
          <a:prstGeom prst="rect">
            <a:avLst/>
          </a:prstGeom>
          <a:noFill/>
        </p:spPr>
        <p:txBody>
          <a:bodyPr wrap="square" lIns="36000" tIns="36000" rIns="36000" bIns="36000" rtlCol="0" anchor="t">
            <a:spAutoFit/>
          </a:bodyPr>
          <a:lstStyle>
            <a:defPPr>
              <a:defRPr lang="en-US"/>
            </a:defPPr>
            <a:lvl1pPr marL="0" marR="0" lvl="0" indent="0" algn="ctr" fontAlgn="auto">
              <a:lnSpc>
                <a:spcPct val="100000"/>
              </a:lnSpc>
              <a:spcAft>
                <a:spcPct val="0"/>
              </a:spcAft>
              <a:buClrTx/>
              <a:buSzTx/>
              <a:buFontTx/>
              <a:buNone/>
              <a:defRPr kumimoji="0" sz="1400" b="0" i="0" u="none" strike="noStrike" cap="none" spc="0" normalizeH="0" baseline="0">
                <a:ln>
                  <a:noFill/>
                </a:ln>
                <a:solidFill>
                  <a:srgbClr val="000000"/>
                </a:solidFill>
                <a:effectLst/>
                <a:uLnTx/>
                <a:uFillTx/>
                <a:latin typeface="Arial"/>
                <a:ea typeface="Microsoft YaHei"/>
              </a:defRPr>
            </a:lvl1pPr>
          </a:lstStyle>
          <a:p>
            <a:r>
              <a:rPr lang="en-AU"/>
              <a:t>AI systems should be secure, protect privacy, and respect ownership of intellectual property</a:t>
            </a:r>
            <a:endParaRPr lang="en-US"/>
          </a:p>
        </p:txBody>
      </p:sp>
      <p:sp>
        <p:nvSpPr>
          <p:cNvPr id="94" name="TextBox 93">
            <a:extLst>
              <a:ext uri="{FF2B5EF4-FFF2-40B4-BE49-F238E27FC236}">
                <a16:creationId xmlns:a16="http://schemas.microsoft.com/office/drawing/2014/main" id="{58BD3869-FC20-3396-B5D8-939051BD4EF6}"/>
              </a:ext>
            </a:extLst>
          </p:cNvPr>
          <p:cNvSpPr txBox="1"/>
          <p:nvPr>
            <p:custDataLst>
              <p:tags r:id="rId28"/>
            </p:custDataLst>
          </p:nvPr>
        </p:nvSpPr>
        <p:spPr bwMode="gray">
          <a:xfrm>
            <a:off x="9736136" y="2791974"/>
            <a:ext cx="2131549" cy="626701"/>
          </a:xfrm>
          <a:prstGeom prst="rect">
            <a:avLst/>
          </a:prstGeom>
          <a:noFill/>
        </p:spPr>
        <p:txBody>
          <a:bodyPr wrap="square" lIns="36000" tIns="36000" rIns="36000" bIns="36000" rtlCol="0" anchor="t">
            <a:spAutoFit/>
          </a:bodyPr>
          <a:lstStyle>
            <a:defPPr>
              <a:defRPr lang="en-US"/>
            </a:defPPr>
            <a:lvl1pPr marL="0" indent="0" algn="ctr">
              <a:buNone/>
              <a:defRPr sz="4000" b="1">
                <a:solidFill>
                  <a:srgbClr val="000000"/>
                </a:solidFill>
              </a:defRPr>
            </a:lvl1pPr>
          </a:lstStyle>
          <a:p>
            <a:pPr marL="0" marR="0" lvl="0" indent="0" defTabSz="711200" rtl="0" eaLnBrk="1" fontAlgn="auto" latinLnBrk="0" hangingPunct="1">
              <a:lnSpc>
                <a:spcPct val="100000"/>
              </a:lnSpc>
              <a:spcBef>
                <a:spcPts val="1200"/>
              </a:spcBef>
              <a:spcAft>
                <a:spcPct val="0"/>
              </a:spcAft>
              <a:buClrTx/>
              <a:buSzTx/>
              <a:buFontTx/>
              <a:buNone/>
              <a:defRPr/>
            </a:pPr>
            <a:r>
              <a:rPr kumimoji="0" lang="en-US" sz="1800" b="1" i="0" u="none" strike="noStrike" kern="1200" cap="none" spc="0" normalizeH="0" baseline="0" noProof="0">
                <a:ln>
                  <a:noFill/>
                </a:ln>
                <a:solidFill>
                  <a:srgbClr val="000000"/>
                </a:solidFill>
                <a:effectLst/>
                <a:uLnTx/>
                <a:uFillTx/>
                <a:latin typeface="Arial"/>
                <a:ea typeface="Microsoft YaHei"/>
                <a:cs typeface="+mn-cs"/>
              </a:rPr>
              <a:t>Reliability and   Safety</a:t>
            </a:r>
          </a:p>
        </p:txBody>
      </p:sp>
      <p:grpSp>
        <p:nvGrpSpPr>
          <p:cNvPr id="95" name="Group 94">
            <a:extLst>
              <a:ext uri="{FF2B5EF4-FFF2-40B4-BE49-F238E27FC236}">
                <a16:creationId xmlns:a16="http://schemas.microsoft.com/office/drawing/2014/main" id="{EF8635A9-EFBA-BFD7-F5E2-DF8FE5069EE7}"/>
              </a:ext>
            </a:extLst>
          </p:cNvPr>
          <p:cNvGrpSpPr/>
          <p:nvPr>
            <p:custDataLst>
              <p:tags r:id="rId29"/>
            </p:custDataLst>
          </p:nvPr>
        </p:nvGrpSpPr>
        <p:grpSpPr>
          <a:xfrm>
            <a:off x="10371682" y="1775973"/>
            <a:ext cx="863436" cy="863436"/>
            <a:chOff x="385943" y="1728348"/>
            <a:chExt cx="863436" cy="863436"/>
          </a:xfrm>
        </p:grpSpPr>
        <p:sp>
          <p:nvSpPr>
            <p:cNvPr id="96" name="Oval 95">
              <a:extLst>
                <a:ext uri="{FF2B5EF4-FFF2-40B4-BE49-F238E27FC236}">
                  <a16:creationId xmlns:a16="http://schemas.microsoft.com/office/drawing/2014/main" id="{4213B742-3288-DD2B-0FF2-7DAC96113E08}"/>
                </a:ext>
              </a:extLst>
            </p:cNvPr>
            <p:cNvSpPr/>
            <p:nvPr>
              <p:custDataLst>
                <p:tags r:id="rId31"/>
              </p:custDataLst>
            </p:nvPr>
          </p:nvSpPr>
          <p:spPr bwMode="gray">
            <a:xfrm>
              <a:off x="385943" y="1728348"/>
              <a:ext cx="863436" cy="863436"/>
            </a:xfrm>
            <a:prstGeom prst="ellipse">
              <a:avLst/>
            </a:prstGeom>
            <a:gradFill flip="none" rotWithShape="1">
              <a:gsLst>
                <a:gs pos="50000">
                  <a:schemeClr val="accent6"/>
                </a:gs>
                <a:gs pos="0">
                  <a:schemeClr val="accent3"/>
                </a:gs>
                <a:gs pos="100000">
                  <a:schemeClr val="accent4"/>
                </a:gs>
              </a:gsLst>
              <a:lin ang="2700000" scaled="1"/>
            </a:gra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180000" rIns="36000" bIns="36000" numCol="1" spcCol="0" rtlCol="0" fromWordArt="0" anchor="ctr" anchorCtr="0" forceAA="0" compatLnSpc="1">
              <a:prstTxWarp prst="textNoShape">
                <a:avLst/>
              </a:prstTxWarp>
              <a:noAutofit/>
            </a:bodyPr>
            <a:lstStyle/>
            <a:p>
              <a:pPr marL="0" indent="0" algn="ctr">
                <a:buNone/>
              </a:pPr>
              <a:endParaRPr lang="zh-CN" altLang="en-US" sz="1800" b="1" err="1">
                <a:solidFill>
                  <a:srgbClr val="FFFFFF"/>
                </a:solidFill>
                <a:latin typeface="Arial"/>
                <a:ea typeface="MS PGothic"/>
              </a:endParaRPr>
            </a:p>
          </p:txBody>
        </p:sp>
        <p:pic>
          <p:nvPicPr>
            <p:cNvPr id="97" name="btfpIconLines547584">
              <a:extLst>
                <a:ext uri="{FF2B5EF4-FFF2-40B4-BE49-F238E27FC236}">
                  <a16:creationId xmlns:a16="http://schemas.microsoft.com/office/drawing/2014/main" id="{08297E38-C29B-8784-8FF7-60AB561E1463}"/>
                </a:ext>
              </a:extLst>
            </p:cNvPr>
            <p:cNvPicPr/>
            <p:nvPr>
              <p:custDataLst>
                <p:tags r:id="rId32"/>
              </p:custDataLst>
            </p:nvPr>
          </p:nvPicPr>
          <p:blipFill>
            <a:blip r:embed="rId69">
              <a:extLst>
                <a:ext uri="{28A0092B-C50C-407E-A947-70E740481C1C}">
                  <a14:useLocalDpi xmlns:a14="http://schemas.microsoft.com/office/drawing/2010/main" val="0"/>
                </a:ext>
              </a:extLst>
            </a:blip>
            <a:stretch>
              <a:fillRect/>
            </a:stretch>
          </p:blipFill>
          <p:spPr>
            <a:xfrm>
              <a:off x="482551" y="1824956"/>
              <a:ext cx="670219" cy="670219"/>
            </a:xfrm>
            <a:prstGeom prst="rect">
              <a:avLst/>
            </a:prstGeom>
          </p:spPr>
        </p:pic>
      </p:grpSp>
      <p:sp>
        <p:nvSpPr>
          <p:cNvPr id="98" name="TextBox 97">
            <a:extLst>
              <a:ext uri="{FF2B5EF4-FFF2-40B4-BE49-F238E27FC236}">
                <a16:creationId xmlns:a16="http://schemas.microsoft.com/office/drawing/2014/main" id="{A10C862C-7FFB-2445-B0CA-6EDE421946FF}"/>
              </a:ext>
            </a:extLst>
          </p:cNvPr>
          <p:cNvSpPr txBox="1"/>
          <p:nvPr>
            <p:custDataLst>
              <p:tags r:id="rId30"/>
            </p:custDataLst>
          </p:nvPr>
        </p:nvSpPr>
        <p:spPr bwMode="gray">
          <a:xfrm>
            <a:off x="9829181" y="3650906"/>
            <a:ext cx="1943715" cy="1149921"/>
          </a:xfrm>
          <a:prstGeom prst="rect">
            <a:avLst/>
          </a:prstGeom>
          <a:noFill/>
        </p:spPr>
        <p:txBody>
          <a:bodyPr wrap="square" lIns="36000" tIns="36000" rIns="36000" bIns="36000" rtlCol="0" anchor="t">
            <a:spAutoFit/>
          </a:bodyPr>
          <a:lstStyle>
            <a:defPPr>
              <a:defRPr lang="en-US"/>
            </a:defPPr>
            <a:lvl1pPr marL="0" marR="0" lvl="0" indent="0" algn="ctr" fontAlgn="auto">
              <a:lnSpc>
                <a:spcPct val="100000"/>
              </a:lnSpc>
              <a:spcAft>
                <a:spcPct val="0"/>
              </a:spcAft>
              <a:buClrTx/>
              <a:buSzTx/>
              <a:buFontTx/>
              <a:buNone/>
              <a:defRPr kumimoji="0" sz="1400" b="0" i="0" u="none" strike="noStrike" cap="none" spc="0" normalizeH="0" baseline="0">
                <a:ln>
                  <a:noFill/>
                </a:ln>
                <a:solidFill>
                  <a:srgbClr val="000000"/>
                </a:solidFill>
                <a:effectLst/>
                <a:uLnTx/>
                <a:uFillTx/>
                <a:latin typeface="Arial"/>
                <a:ea typeface="Microsoft YaHei"/>
              </a:defRPr>
            </a:lvl1pPr>
          </a:lstStyle>
          <a:p>
            <a:r>
              <a:rPr lang="en-US"/>
              <a:t>AI systems should produce outputs that reliably match intended purposes </a:t>
            </a:r>
            <a:r>
              <a:rPr lang="en-AU"/>
              <a:t>and </a:t>
            </a:r>
            <a:r>
              <a:rPr lang="en-US"/>
              <a:t>prevent harm</a:t>
            </a:r>
          </a:p>
        </p:txBody>
      </p:sp>
    </p:spTree>
    <p:custDataLst>
      <p:tags r:id="rId1"/>
    </p:custDataLst>
    <p:extLst>
      <p:ext uri="{BB962C8B-B14F-4D97-AF65-F5344CB8AC3E}">
        <p14:creationId xmlns:p14="http://schemas.microsoft.com/office/powerpoint/2010/main" val="333309357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10.0.19044.0"/>
  <p:tag name="AS_RELEASE_DATE" val="2023.02.14"/>
  <p:tag name="AS_TITLE" val="Aspose.Slides for .NET 4.0 Client Profile"/>
  <p:tag name="AS_VERSION" val="23.2"/>
  <p:tag name="BTFPCOLUMNGUIDE" val="Client"/>
  <p:tag name="MEKKOFORMATS" val="&lt;MekkoFormats&gt;&lt;NumberFormat DecimalSeparator=&quot;.&quot; ThousandSeparator=&quot;,&quot; NegativeNumberFormat=&quot;1&quot; /&gt;&lt;DateFormat CultureID=&quot;1033&quot; FormatString=&quot;M/d/yyyy&quot; /&gt;&lt;Font&gt;&lt;Output_Font_Name Default=&quot;Arial&quot; UsePPTTheme=&quot;True&quot; /&gt;&lt;FarEast_Output_Font_Name Default=&quot;Arial&quot; UsePPTTheme=&quot;True&quot; RotateAndFlipEnabled=&quot;False&quot; /&gt;&lt;/Font&gt;&lt;/MekkoFormats&gt;"/>
  <p:tag name="MEKKOMRUCOLORS" val="&lt;?xml version=&quot;1.0&quot; encoding=&quot;utf-8&quot;?&gt;&#10;&lt;MRU&gt;&#10;  &lt;CustomColorsMRU&gt;&#10;    &lt;Color aRGB=&quot;FFFF9999&quot; Intensity=&quot;1&quot; /&gt;&#10;  &lt;/CustomColorsMRU&gt;&#10;  &lt;ColorsPatternsMRU&gt;&#10;    &lt;Button ID=&quot;menuSeriesColor&quot; Color=&quot;28&quot; /&gt;&#10;    &lt;Button ID=&quot;menuSeriesPattern&quot; Pattern=&quot;24&quot; /&gt;&#10;  &lt;/ColorsPatternsMRU&gt;&#10;&lt;/MRU&gt;"/>
  <p:tag name="OFFICE" val="Sydney"/>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S_UNIQUEID" val="40420"/>
</p:tagLst>
</file>

<file path=ppt/tags/tag100.xml><?xml version="1.0" encoding="utf-8"?>
<p:tagLst xmlns:a="http://schemas.openxmlformats.org/drawingml/2006/main" xmlns:r="http://schemas.openxmlformats.org/officeDocument/2006/relationships" xmlns:p="http://schemas.openxmlformats.org/presentationml/2006/main">
  <p:tag name="AS_UNIQUEID" val="40500"/>
</p:tagLst>
</file>

<file path=ppt/tags/tag101.xml><?xml version="1.0" encoding="utf-8"?>
<p:tagLst xmlns:a="http://schemas.openxmlformats.org/drawingml/2006/main" xmlns:r="http://schemas.openxmlformats.org/officeDocument/2006/relationships" xmlns:p="http://schemas.openxmlformats.org/presentationml/2006/main">
  <p:tag name="AS_UNIQUEID" val="40501"/>
</p:tagLst>
</file>

<file path=ppt/tags/tag102.xml><?xml version="1.0" encoding="utf-8"?>
<p:tagLst xmlns:a="http://schemas.openxmlformats.org/drawingml/2006/main" xmlns:r="http://schemas.openxmlformats.org/officeDocument/2006/relationships" xmlns:p="http://schemas.openxmlformats.org/presentationml/2006/main">
  <p:tag name="AS_UNIQUEID" val="40502"/>
</p:tagLst>
</file>

<file path=ppt/tags/tag103.xml><?xml version="1.0" encoding="utf-8"?>
<p:tagLst xmlns:a="http://schemas.openxmlformats.org/drawingml/2006/main" xmlns:r="http://schemas.openxmlformats.org/officeDocument/2006/relationships" xmlns:p="http://schemas.openxmlformats.org/presentationml/2006/main">
  <p:tag name="AS_UNIQUEID" val="40503"/>
</p:tagLst>
</file>

<file path=ppt/tags/tag104.xml><?xml version="1.0" encoding="utf-8"?>
<p:tagLst xmlns:a="http://schemas.openxmlformats.org/drawingml/2006/main" xmlns:r="http://schemas.openxmlformats.org/officeDocument/2006/relationships" xmlns:p="http://schemas.openxmlformats.org/presentationml/2006/main">
  <p:tag name="AS_UNIQUEID" val="40504"/>
</p:tagLst>
</file>

<file path=ppt/tags/tag105.xml><?xml version="1.0" encoding="utf-8"?>
<p:tagLst xmlns:a="http://schemas.openxmlformats.org/drawingml/2006/main" xmlns:r="http://schemas.openxmlformats.org/officeDocument/2006/relationships" xmlns:p="http://schemas.openxmlformats.org/presentationml/2006/main">
  <p:tag name="AS_UNIQUEID" val="40505"/>
</p:tagLst>
</file>

<file path=ppt/tags/tag106.xml><?xml version="1.0" encoding="utf-8"?>
<p:tagLst xmlns:a="http://schemas.openxmlformats.org/drawingml/2006/main" xmlns:r="http://schemas.openxmlformats.org/officeDocument/2006/relationships" xmlns:p="http://schemas.openxmlformats.org/presentationml/2006/main">
  <p:tag name="AS_UNIQUEID" val="40506"/>
</p:tagLst>
</file>

<file path=ppt/tags/tag107.xml><?xml version="1.0" encoding="utf-8"?>
<p:tagLst xmlns:a="http://schemas.openxmlformats.org/drawingml/2006/main" xmlns:r="http://schemas.openxmlformats.org/officeDocument/2006/relationships" xmlns:p="http://schemas.openxmlformats.org/presentationml/2006/main">
  <p:tag name="AS_UNIQUEID" val="40507"/>
</p:tagLst>
</file>

<file path=ppt/tags/tag108.xml><?xml version="1.0" encoding="utf-8"?>
<p:tagLst xmlns:a="http://schemas.openxmlformats.org/drawingml/2006/main" xmlns:r="http://schemas.openxmlformats.org/officeDocument/2006/relationships" xmlns:p="http://schemas.openxmlformats.org/presentationml/2006/main">
  <p:tag name="AS_UNIQUEID" val="40508"/>
</p:tagLst>
</file>

<file path=ppt/tags/tag109.xml><?xml version="1.0" encoding="utf-8"?>
<p:tagLst xmlns:a="http://schemas.openxmlformats.org/drawingml/2006/main" xmlns:r="http://schemas.openxmlformats.org/officeDocument/2006/relationships" xmlns:p="http://schemas.openxmlformats.org/presentationml/2006/main">
  <p:tag name="AS_UNIQUEID" val="40509"/>
</p:tagLst>
</file>

<file path=ppt/tags/tag11.xml><?xml version="1.0" encoding="utf-8"?>
<p:tagLst xmlns:a="http://schemas.openxmlformats.org/drawingml/2006/main" xmlns:r="http://schemas.openxmlformats.org/officeDocument/2006/relationships" xmlns:p="http://schemas.openxmlformats.org/presentationml/2006/main">
  <p:tag name="AS_UNIQUEID" val="40421"/>
</p:tagLst>
</file>

<file path=ppt/tags/tag110.xml><?xml version="1.0" encoding="utf-8"?>
<p:tagLst xmlns:a="http://schemas.openxmlformats.org/drawingml/2006/main" xmlns:r="http://schemas.openxmlformats.org/officeDocument/2006/relationships" xmlns:p="http://schemas.openxmlformats.org/presentationml/2006/main">
  <p:tag name="AS_UNIQUEID" val="40510"/>
</p:tagLst>
</file>

<file path=ppt/tags/tag111.xml><?xml version="1.0" encoding="utf-8"?>
<p:tagLst xmlns:a="http://schemas.openxmlformats.org/drawingml/2006/main" xmlns:r="http://schemas.openxmlformats.org/officeDocument/2006/relationships" xmlns:p="http://schemas.openxmlformats.org/presentationml/2006/main">
  <p:tag name="AS_UNIQUEID" val="40511"/>
</p:tagLst>
</file>

<file path=ppt/tags/tag112.xml><?xml version="1.0" encoding="utf-8"?>
<p:tagLst xmlns:a="http://schemas.openxmlformats.org/drawingml/2006/main" xmlns:r="http://schemas.openxmlformats.org/officeDocument/2006/relationships" xmlns:p="http://schemas.openxmlformats.org/presentationml/2006/main">
  <p:tag name="AS_UNIQUEID" val="40512"/>
</p:tagLst>
</file>

<file path=ppt/tags/tag113.xml><?xml version="1.0" encoding="utf-8"?>
<p:tagLst xmlns:a="http://schemas.openxmlformats.org/drawingml/2006/main" xmlns:r="http://schemas.openxmlformats.org/officeDocument/2006/relationships" xmlns:p="http://schemas.openxmlformats.org/presentationml/2006/main">
  <p:tag name="AS_UNIQUEID" val="40513"/>
</p:tagLst>
</file>

<file path=ppt/tags/tag114.xml><?xml version="1.0" encoding="utf-8"?>
<p:tagLst xmlns:a="http://schemas.openxmlformats.org/drawingml/2006/main" xmlns:r="http://schemas.openxmlformats.org/officeDocument/2006/relationships" xmlns:p="http://schemas.openxmlformats.org/presentationml/2006/main">
  <p:tag name="AS_UNIQUEID" val="40514"/>
</p:tagLst>
</file>

<file path=ppt/tags/tag115.xml><?xml version="1.0" encoding="utf-8"?>
<p:tagLst xmlns:a="http://schemas.openxmlformats.org/drawingml/2006/main" xmlns:r="http://schemas.openxmlformats.org/officeDocument/2006/relationships" xmlns:p="http://schemas.openxmlformats.org/presentationml/2006/main">
  <p:tag name="AS_UNIQUEID" val="40515"/>
</p:tagLst>
</file>

<file path=ppt/tags/tag116.xml><?xml version="1.0" encoding="utf-8"?>
<p:tagLst xmlns:a="http://schemas.openxmlformats.org/drawingml/2006/main" xmlns:r="http://schemas.openxmlformats.org/officeDocument/2006/relationships" xmlns:p="http://schemas.openxmlformats.org/presentationml/2006/main">
  <p:tag name="AS_UNIQUEID" val="40516"/>
</p:tagLst>
</file>

<file path=ppt/tags/tag117.xml><?xml version="1.0" encoding="utf-8"?>
<p:tagLst xmlns:a="http://schemas.openxmlformats.org/drawingml/2006/main" xmlns:r="http://schemas.openxmlformats.org/officeDocument/2006/relationships" xmlns:p="http://schemas.openxmlformats.org/presentationml/2006/main">
  <p:tag name="AS_UNIQUEID" val="40478"/>
</p:tagLst>
</file>

<file path=ppt/tags/tag118.xml><?xml version="1.0" encoding="utf-8"?>
<p:tagLst xmlns:a="http://schemas.openxmlformats.org/drawingml/2006/main" xmlns:r="http://schemas.openxmlformats.org/officeDocument/2006/relationships" xmlns:p="http://schemas.openxmlformats.org/presentationml/2006/main">
  <p:tag name="AS_UNIQUEID" val="40479"/>
</p:tagLst>
</file>

<file path=ppt/tags/tag119.xml><?xml version="1.0" encoding="utf-8"?>
<p:tagLst xmlns:a="http://schemas.openxmlformats.org/drawingml/2006/main" xmlns:r="http://schemas.openxmlformats.org/officeDocument/2006/relationships" xmlns:p="http://schemas.openxmlformats.org/presentationml/2006/main">
  <p:tag name="AS_UNIQUEID" val="40480"/>
</p:tagLst>
</file>

<file path=ppt/tags/tag12.xml><?xml version="1.0" encoding="utf-8"?>
<p:tagLst xmlns:a="http://schemas.openxmlformats.org/drawingml/2006/main" xmlns:r="http://schemas.openxmlformats.org/officeDocument/2006/relationships" xmlns:p="http://schemas.openxmlformats.org/presentationml/2006/main">
  <p:tag name="AS_UNIQUEID" val="40422"/>
</p:tagLst>
</file>

<file path=ppt/tags/tag120.xml><?xml version="1.0" encoding="utf-8"?>
<p:tagLst xmlns:a="http://schemas.openxmlformats.org/drawingml/2006/main" xmlns:r="http://schemas.openxmlformats.org/officeDocument/2006/relationships" xmlns:p="http://schemas.openxmlformats.org/presentationml/2006/main">
  <p:tag name="AS_UNIQUEID" val="40481"/>
</p:tagLst>
</file>

<file path=ppt/tags/tag121.xml><?xml version="1.0" encoding="utf-8"?>
<p:tagLst xmlns:a="http://schemas.openxmlformats.org/drawingml/2006/main" xmlns:r="http://schemas.openxmlformats.org/officeDocument/2006/relationships" xmlns:p="http://schemas.openxmlformats.org/presentationml/2006/main">
  <p:tag name="AS_UNIQUEID" val="40482"/>
</p:tagLst>
</file>

<file path=ppt/tags/tag122.xml><?xml version="1.0" encoding="utf-8"?>
<p:tagLst xmlns:a="http://schemas.openxmlformats.org/drawingml/2006/main" xmlns:r="http://schemas.openxmlformats.org/officeDocument/2006/relationships" xmlns:p="http://schemas.openxmlformats.org/presentationml/2006/main">
  <p:tag name="AS_UNIQUEID" val="40483"/>
</p:tagLst>
</file>

<file path=ppt/tags/tag123.xml><?xml version="1.0" encoding="utf-8"?>
<p:tagLst xmlns:a="http://schemas.openxmlformats.org/drawingml/2006/main" xmlns:r="http://schemas.openxmlformats.org/officeDocument/2006/relationships" xmlns:p="http://schemas.openxmlformats.org/presentationml/2006/main">
  <p:tag name="AS_UNIQUEID" val="40484"/>
</p:tagLst>
</file>

<file path=ppt/tags/tag124.xml><?xml version="1.0" encoding="utf-8"?>
<p:tagLst xmlns:a="http://schemas.openxmlformats.org/drawingml/2006/main" xmlns:r="http://schemas.openxmlformats.org/officeDocument/2006/relationships" xmlns:p="http://schemas.openxmlformats.org/presentationml/2006/main">
  <p:tag name="AS_UNIQUEID" val="40485"/>
</p:tagLst>
</file>

<file path=ppt/tags/tag125.xml><?xml version="1.0" encoding="utf-8"?>
<p:tagLst xmlns:a="http://schemas.openxmlformats.org/drawingml/2006/main" xmlns:r="http://schemas.openxmlformats.org/officeDocument/2006/relationships" xmlns:p="http://schemas.openxmlformats.org/presentationml/2006/main">
  <p:tag name="AS_UNIQUEID" val="40486"/>
</p:tagLst>
</file>

<file path=ppt/tags/tag126.xml><?xml version="1.0" encoding="utf-8"?>
<p:tagLst xmlns:a="http://schemas.openxmlformats.org/drawingml/2006/main" xmlns:r="http://schemas.openxmlformats.org/officeDocument/2006/relationships" xmlns:p="http://schemas.openxmlformats.org/presentationml/2006/main">
  <p:tag name="AS_UNIQUEID" val="40487"/>
</p:tagLst>
</file>

<file path=ppt/tags/tag127.xml><?xml version="1.0" encoding="utf-8"?>
<p:tagLst xmlns:a="http://schemas.openxmlformats.org/drawingml/2006/main" xmlns:r="http://schemas.openxmlformats.org/officeDocument/2006/relationships" xmlns:p="http://schemas.openxmlformats.org/presentationml/2006/main">
  <p:tag name="AS_UNIQUEID" val="40488"/>
</p:tagLst>
</file>

<file path=ppt/tags/tag128.xml><?xml version="1.0" encoding="utf-8"?>
<p:tagLst xmlns:a="http://schemas.openxmlformats.org/drawingml/2006/main" xmlns:r="http://schemas.openxmlformats.org/officeDocument/2006/relationships" xmlns:p="http://schemas.openxmlformats.org/presentationml/2006/main">
  <p:tag name="AS_UNIQUEID" val="40489"/>
</p:tagLst>
</file>

<file path=ppt/tags/tag129.xml><?xml version="1.0" encoding="utf-8"?>
<p:tagLst xmlns:a="http://schemas.openxmlformats.org/drawingml/2006/main" xmlns:r="http://schemas.openxmlformats.org/officeDocument/2006/relationships" xmlns:p="http://schemas.openxmlformats.org/presentationml/2006/main">
  <p:tag name="AS_UNIQUEID" val="40490"/>
</p:tagLst>
</file>

<file path=ppt/tags/tag13.xml><?xml version="1.0" encoding="utf-8"?>
<p:tagLst xmlns:a="http://schemas.openxmlformats.org/drawingml/2006/main" xmlns:r="http://schemas.openxmlformats.org/officeDocument/2006/relationships" xmlns:p="http://schemas.openxmlformats.org/presentationml/2006/main">
  <p:tag name="AS_UNIQUEID" val="40390"/>
</p:tagLst>
</file>

<file path=ppt/tags/tag130.xml><?xml version="1.0" encoding="utf-8"?>
<p:tagLst xmlns:a="http://schemas.openxmlformats.org/drawingml/2006/main" xmlns:r="http://schemas.openxmlformats.org/officeDocument/2006/relationships" xmlns:p="http://schemas.openxmlformats.org/presentationml/2006/main">
  <p:tag name="AS_UNIQUEID" val="40491"/>
</p:tagLst>
</file>

<file path=ppt/tags/tag131.xml><?xml version="1.0" encoding="utf-8"?>
<p:tagLst xmlns:a="http://schemas.openxmlformats.org/drawingml/2006/main" xmlns:r="http://schemas.openxmlformats.org/officeDocument/2006/relationships" xmlns:p="http://schemas.openxmlformats.org/presentationml/2006/main">
  <p:tag name="AS_UNIQUEID" val="40492"/>
</p:tagLst>
</file>

<file path=ppt/tags/tag132.xml><?xml version="1.0" encoding="utf-8"?>
<p:tagLst xmlns:a="http://schemas.openxmlformats.org/drawingml/2006/main" xmlns:r="http://schemas.openxmlformats.org/officeDocument/2006/relationships" xmlns:p="http://schemas.openxmlformats.org/presentationml/2006/main">
  <p:tag name="AS_UNIQUEID" val="40493"/>
</p:tagLst>
</file>

<file path=ppt/tags/tag133.xml><?xml version="1.0" encoding="utf-8"?>
<p:tagLst xmlns:a="http://schemas.openxmlformats.org/drawingml/2006/main" xmlns:r="http://schemas.openxmlformats.org/officeDocument/2006/relationships" xmlns:p="http://schemas.openxmlformats.org/presentationml/2006/main">
  <p:tag name="AS_UNIQUEID" val="40494"/>
</p:tagLst>
</file>

<file path=ppt/tags/tag134.xml><?xml version="1.0" encoding="utf-8"?>
<p:tagLst xmlns:a="http://schemas.openxmlformats.org/drawingml/2006/main" xmlns:r="http://schemas.openxmlformats.org/officeDocument/2006/relationships" xmlns:p="http://schemas.openxmlformats.org/presentationml/2006/main">
  <p:tag name="AS_UNIQUEID" val="40495"/>
</p:tagLst>
</file>

<file path=ppt/tags/tag135.xml><?xml version="1.0" encoding="utf-8"?>
<p:tagLst xmlns:a="http://schemas.openxmlformats.org/drawingml/2006/main" xmlns:r="http://schemas.openxmlformats.org/officeDocument/2006/relationships" xmlns:p="http://schemas.openxmlformats.org/presentationml/2006/main">
  <p:tag name="AS_UNIQUEID" val="40496"/>
</p:tagLst>
</file>

<file path=ppt/tags/tag136.xml><?xml version="1.0" encoding="utf-8"?>
<p:tagLst xmlns:a="http://schemas.openxmlformats.org/drawingml/2006/main" xmlns:r="http://schemas.openxmlformats.org/officeDocument/2006/relationships" xmlns:p="http://schemas.openxmlformats.org/presentationml/2006/main">
  <p:tag name="AS_UNIQUEID" val="40471"/>
</p:tagLst>
</file>

<file path=ppt/tags/tag137.xml><?xml version="1.0" encoding="utf-8"?>
<p:tagLst xmlns:a="http://schemas.openxmlformats.org/drawingml/2006/main" xmlns:r="http://schemas.openxmlformats.org/officeDocument/2006/relationships" xmlns:p="http://schemas.openxmlformats.org/presentationml/2006/main">
  <p:tag name="AS_UNIQUEID" val="40472"/>
</p:tagLst>
</file>

<file path=ppt/tags/tag138.xml><?xml version="1.0" encoding="utf-8"?>
<p:tagLst xmlns:a="http://schemas.openxmlformats.org/drawingml/2006/main" xmlns:r="http://schemas.openxmlformats.org/officeDocument/2006/relationships" xmlns:p="http://schemas.openxmlformats.org/presentationml/2006/main">
  <p:tag name="AS_UNIQUEID" val="40465"/>
</p:tagLst>
</file>

<file path=ppt/tags/tag139.xml><?xml version="1.0" encoding="utf-8"?>
<p:tagLst xmlns:a="http://schemas.openxmlformats.org/drawingml/2006/main" xmlns:r="http://schemas.openxmlformats.org/officeDocument/2006/relationships" xmlns:p="http://schemas.openxmlformats.org/presentationml/2006/main">
  <p:tag name="AS_UNIQUEID" val="40466"/>
</p:tagLst>
</file>

<file path=ppt/tags/tag14.xml><?xml version="1.0" encoding="utf-8"?>
<p:tagLst xmlns:a="http://schemas.openxmlformats.org/drawingml/2006/main" xmlns:r="http://schemas.openxmlformats.org/officeDocument/2006/relationships" xmlns:p="http://schemas.openxmlformats.org/presentationml/2006/main">
  <p:tag name="AS_UNIQUEID" val="40391"/>
</p:tagLst>
</file>

<file path=ppt/tags/tag140.xml><?xml version="1.0" encoding="utf-8"?>
<p:tagLst xmlns:a="http://schemas.openxmlformats.org/drawingml/2006/main" xmlns:r="http://schemas.openxmlformats.org/officeDocument/2006/relationships" xmlns:p="http://schemas.openxmlformats.org/presentationml/2006/main">
  <p:tag name="AS_UNIQUEID" val="40467"/>
</p:tagLst>
</file>

<file path=ppt/tags/tag141.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2.xml><?xml version="1.0" encoding="utf-8"?>
<p:tagLst xmlns:a="http://schemas.openxmlformats.org/drawingml/2006/main" xmlns:r="http://schemas.openxmlformats.org/officeDocument/2006/relationships" xmlns:p="http://schemas.openxmlformats.org/presentationml/2006/main">
  <p:tag name="AS_UNIQUEID" val="40541"/>
</p:tagLst>
</file>

<file path=ppt/tags/tag143.xml><?xml version="1.0" encoding="utf-8"?>
<p:tagLst xmlns:a="http://schemas.openxmlformats.org/drawingml/2006/main" xmlns:r="http://schemas.openxmlformats.org/officeDocument/2006/relationships" xmlns:p="http://schemas.openxmlformats.org/presentationml/2006/main">
  <p:tag name="AS_UNIQUEID" val="40552"/>
</p:tagLst>
</file>

<file path=ppt/tags/tag144.xml><?xml version="1.0" encoding="utf-8"?>
<p:tagLst xmlns:a="http://schemas.openxmlformats.org/drawingml/2006/main" xmlns:r="http://schemas.openxmlformats.org/officeDocument/2006/relationships" xmlns:p="http://schemas.openxmlformats.org/presentationml/2006/main">
  <p:tag name="AS_UNIQUEID" val="40563"/>
</p:tagLst>
</file>

<file path=ppt/tags/tag145.xml><?xml version="1.0" encoding="utf-8"?>
<p:tagLst xmlns:a="http://schemas.openxmlformats.org/drawingml/2006/main" xmlns:r="http://schemas.openxmlformats.org/officeDocument/2006/relationships" xmlns:p="http://schemas.openxmlformats.org/presentationml/2006/main">
  <p:tag name="AS_UNIQUEID" val="40388"/>
  <p:tag name="BTFPCENTERX" val="51.12782"/>
  <p:tag name="BTFPCENTERY" val="81.33334"/>
  <p:tag name="BTFPHEIGHT" val="540.0004"/>
  <p:tag name="BTFPLAYOUTANCHOREBOTTOM" val="False"/>
  <p:tag name="BTFPLAYOUTANCHORELEFT" val="True"/>
  <p:tag name="BTFPLAYOUTANCHORERIGHT" val="True"/>
  <p:tag name="BTFPLAYOUTANCHORETOP" val="True"/>
  <p:tag name="BTFPWIDTH" val="959.9991"/>
</p:tagLst>
</file>

<file path=ppt/tags/tag146.xml><?xml version="1.0" encoding="utf-8"?>
<p:tagLst xmlns:a="http://schemas.openxmlformats.org/drawingml/2006/main" xmlns:r="http://schemas.openxmlformats.org/officeDocument/2006/relationships" xmlns:p="http://schemas.openxmlformats.org/presentationml/2006/main">
  <p:tag name="AS_UNIQUEID" val="40564"/>
</p:tagLst>
</file>

<file path=ppt/tags/tag147.xml><?xml version="1.0" encoding="utf-8"?>
<p:tagLst xmlns:a="http://schemas.openxmlformats.org/drawingml/2006/main" xmlns:r="http://schemas.openxmlformats.org/officeDocument/2006/relationships" xmlns:p="http://schemas.openxmlformats.org/presentationml/2006/main">
  <p:tag name="AS_UNIQUEID" val="40565"/>
</p:tagLst>
</file>

<file path=ppt/tags/tag148.xml><?xml version="1.0" encoding="utf-8"?>
<p:tagLst xmlns:a="http://schemas.openxmlformats.org/drawingml/2006/main" xmlns:r="http://schemas.openxmlformats.org/officeDocument/2006/relationships" xmlns:p="http://schemas.openxmlformats.org/presentationml/2006/main">
  <p:tag name="AS_UNIQUEID" val="40566"/>
</p:tagLst>
</file>

<file path=ppt/tags/tag149.xml><?xml version="1.0" encoding="utf-8"?>
<p:tagLst xmlns:a="http://schemas.openxmlformats.org/drawingml/2006/main" xmlns:r="http://schemas.openxmlformats.org/officeDocument/2006/relationships" xmlns:p="http://schemas.openxmlformats.org/presentationml/2006/main">
  <p:tag name="AS_UNIQUEID" val="40567"/>
</p:tagLst>
</file>

<file path=ppt/tags/tag15.xml><?xml version="1.0" encoding="utf-8"?>
<p:tagLst xmlns:a="http://schemas.openxmlformats.org/drawingml/2006/main" xmlns:r="http://schemas.openxmlformats.org/officeDocument/2006/relationships" xmlns:p="http://schemas.openxmlformats.org/presentationml/2006/main">
  <p:tag name="AS_UNIQUEID" val="40392"/>
</p:tagLst>
</file>

<file path=ppt/tags/tag150.xml><?xml version="1.0" encoding="utf-8"?>
<p:tagLst xmlns:a="http://schemas.openxmlformats.org/drawingml/2006/main" xmlns:r="http://schemas.openxmlformats.org/officeDocument/2006/relationships" xmlns:p="http://schemas.openxmlformats.org/presentationml/2006/main">
  <p:tag name="AS_UNIQUEID" val="40568"/>
</p:tagLst>
</file>

<file path=ppt/tags/tag151.xml><?xml version="1.0" encoding="utf-8"?>
<p:tagLst xmlns:a="http://schemas.openxmlformats.org/drawingml/2006/main" xmlns:r="http://schemas.openxmlformats.org/officeDocument/2006/relationships" xmlns:p="http://schemas.openxmlformats.org/presentationml/2006/main">
  <p:tag name="AS_UNIQUEID" val="40569"/>
</p:tagLst>
</file>

<file path=ppt/tags/tag152.xml><?xml version="1.0" encoding="utf-8"?>
<p:tagLst xmlns:a="http://schemas.openxmlformats.org/drawingml/2006/main" xmlns:r="http://schemas.openxmlformats.org/officeDocument/2006/relationships" xmlns:p="http://schemas.openxmlformats.org/presentationml/2006/main">
  <p:tag name="AS_UNIQUEID" val="40570"/>
</p:tagLst>
</file>

<file path=ppt/tags/tag153.xml><?xml version="1.0" encoding="utf-8"?>
<p:tagLst xmlns:a="http://schemas.openxmlformats.org/drawingml/2006/main" xmlns:r="http://schemas.openxmlformats.org/officeDocument/2006/relationships" xmlns:p="http://schemas.openxmlformats.org/presentationml/2006/main">
  <p:tag name="AS_UNIQUEID" val="40571"/>
</p:tagLst>
</file>

<file path=ppt/tags/tag154.xml><?xml version="1.0" encoding="utf-8"?>
<p:tagLst xmlns:a="http://schemas.openxmlformats.org/drawingml/2006/main" xmlns:r="http://schemas.openxmlformats.org/officeDocument/2006/relationships" xmlns:p="http://schemas.openxmlformats.org/presentationml/2006/main">
  <p:tag name="AS_UNIQUEID" val="40572"/>
</p:tagLst>
</file>

<file path=ppt/tags/tag155.xml><?xml version="1.0" encoding="utf-8"?>
<p:tagLst xmlns:a="http://schemas.openxmlformats.org/drawingml/2006/main" xmlns:r="http://schemas.openxmlformats.org/officeDocument/2006/relationships" xmlns:p="http://schemas.openxmlformats.org/presentationml/2006/main">
  <p:tag name="AS_UNIQUEID" val="40573"/>
</p:tagLst>
</file>

<file path=ppt/tags/tag156.xml><?xml version="1.0" encoding="utf-8"?>
<p:tagLst xmlns:a="http://schemas.openxmlformats.org/drawingml/2006/main" xmlns:r="http://schemas.openxmlformats.org/officeDocument/2006/relationships" xmlns:p="http://schemas.openxmlformats.org/presentationml/2006/main">
  <p:tag name="AS_UNIQUEID" val="40574"/>
</p:tagLst>
</file>

<file path=ppt/tags/tag157.xml><?xml version="1.0" encoding="utf-8"?>
<p:tagLst xmlns:a="http://schemas.openxmlformats.org/drawingml/2006/main" xmlns:r="http://schemas.openxmlformats.org/officeDocument/2006/relationships" xmlns:p="http://schemas.openxmlformats.org/presentationml/2006/main">
  <p:tag name="AS_UNIQUEID" val="40575"/>
</p:tagLst>
</file>

<file path=ppt/tags/tag158.xml><?xml version="1.0" encoding="utf-8"?>
<p:tagLst xmlns:a="http://schemas.openxmlformats.org/drawingml/2006/main" xmlns:r="http://schemas.openxmlformats.org/officeDocument/2006/relationships" xmlns:p="http://schemas.openxmlformats.org/presentationml/2006/main">
  <p:tag name="AS_UNIQUEID" val="40576"/>
</p:tagLst>
</file>

<file path=ppt/tags/tag159.xml><?xml version="1.0" encoding="utf-8"?>
<p:tagLst xmlns:a="http://schemas.openxmlformats.org/drawingml/2006/main" xmlns:r="http://schemas.openxmlformats.org/officeDocument/2006/relationships" xmlns:p="http://schemas.openxmlformats.org/presentationml/2006/main">
  <p:tag name="AS_UNIQUEID" val="40579"/>
</p:tagLst>
</file>

<file path=ppt/tags/tag16.xml><?xml version="1.0" encoding="utf-8"?>
<p:tagLst xmlns:a="http://schemas.openxmlformats.org/drawingml/2006/main" xmlns:r="http://schemas.openxmlformats.org/officeDocument/2006/relationships" xmlns:p="http://schemas.openxmlformats.org/presentationml/2006/main">
  <p:tag name="AS_UNIQUEID" val="40393"/>
</p:tagLst>
</file>

<file path=ppt/tags/tag160.xml><?xml version="1.0" encoding="utf-8"?>
<p:tagLst xmlns:a="http://schemas.openxmlformats.org/drawingml/2006/main" xmlns:r="http://schemas.openxmlformats.org/officeDocument/2006/relationships" xmlns:p="http://schemas.openxmlformats.org/presentationml/2006/main">
  <p:tag name="AS_UNIQUEID" val="40580"/>
</p:tagLst>
</file>

<file path=ppt/tags/tag161.xml><?xml version="1.0" encoding="utf-8"?>
<p:tagLst xmlns:a="http://schemas.openxmlformats.org/drawingml/2006/main" xmlns:r="http://schemas.openxmlformats.org/officeDocument/2006/relationships" xmlns:p="http://schemas.openxmlformats.org/presentationml/2006/main">
  <p:tag name="AS_UNIQUEID" val="40581"/>
</p:tagLst>
</file>

<file path=ppt/tags/tag162.xml><?xml version="1.0" encoding="utf-8"?>
<p:tagLst xmlns:a="http://schemas.openxmlformats.org/drawingml/2006/main" xmlns:r="http://schemas.openxmlformats.org/officeDocument/2006/relationships" xmlns:p="http://schemas.openxmlformats.org/presentationml/2006/main">
  <p:tag name="AS_UNIQUEID" val="40582"/>
</p:tagLst>
</file>

<file path=ppt/tags/tag163.xml><?xml version="1.0" encoding="utf-8"?>
<p:tagLst xmlns:a="http://schemas.openxmlformats.org/drawingml/2006/main" xmlns:r="http://schemas.openxmlformats.org/officeDocument/2006/relationships" xmlns:p="http://schemas.openxmlformats.org/presentationml/2006/main">
  <p:tag name="AS_UNIQUEID" val="40583"/>
</p:tagLst>
</file>

<file path=ppt/tags/tag164.xml><?xml version="1.0" encoding="utf-8"?>
<p:tagLst xmlns:a="http://schemas.openxmlformats.org/drawingml/2006/main" xmlns:r="http://schemas.openxmlformats.org/officeDocument/2006/relationships" xmlns:p="http://schemas.openxmlformats.org/presentationml/2006/main">
  <p:tag name="AS_UNIQUEID" val="40584"/>
</p:tagLst>
</file>

<file path=ppt/tags/tag165.xml><?xml version="1.0" encoding="utf-8"?>
<p:tagLst xmlns:a="http://schemas.openxmlformats.org/drawingml/2006/main" xmlns:r="http://schemas.openxmlformats.org/officeDocument/2006/relationships" xmlns:p="http://schemas.openxmlformats.org/presentationml/2006/main">
  <p:tag name="AS_UNIQUEID" val="40585"/>
</p:tagLst>
</file>

<file path=ppt/tags/tag166.xml><?xml version="1.0" encoding="utf-8"?>
<p:tagLst xmlns:a="http://schemas.openxmlformats.org/drawingml/2006/main" xmlns:r="http://schemas.openxmlformats.org/officeDocument/2006/relationships" xmlns:p="http://schemas.openxmlformats.org/presentationml/2006/main">
  <p:tag name="AS_UNIQUEID" val="40586"/>
</p:tagLst>
</file>

<file path=ppt/tags/tag167.xml><?xml version="1.0" encoding="utf-8"?>
<p:tagLst xmlns:a="http://schemas.openxmlformats.org/drawingml/2006/main" xmlns:r="http://schemas.openxmlformats.org/officeDocument/2006/relationships" xmlns:p="http://schemas.openxmlformats.org/presentationml/2006/main">
  <p:tag name="AS_UNIQUEID" val="40577"/>
</p:tagLst>
</file>

<file path=ppt/tags/tag168.xml><?xml version="1.0" encoding="utf-8"?>
<p:tagLst xmlns:a="http://schemas.openxmlformats.org/drawingml/2006/main" xmlns:r="http://schemas.openxmlformats.org/officeDocument/2006/relationships" xmlns:p="http://schemas.openxmlformats.org/presentationml/2006/main">
  <p:tag name="AS_UNIQUEID" val="40578"/>
</p:tagLst>
</file>

<file path=ppt/tags/tag169.xml><?xml version="1.0" encoding="utf-8"?>
<p:tagLst xmlns:a="http://schemas.openxmlformats.org/drawingml/2006/main" xmlns:r="http://schemas.openxmlformats.org/officeDocument/2006/relationships" xmlns:p="http://schemas.openxmlformats.org/presentationml/2006/main">
  <p:tag name="AS_UNIQUEID" val="40553"/>
</p:tagLst>
</file>

<file path=ppt/tags/tag17.xml><?xml version="1.0" encoding="utf-8"?>
<p:tagLst xmlns:a="http://schemas.openxmlformats.org/drawingml/2006/main" xmlns:r="http://schemas.openxmlformats.org/officeDocument/2006/relationships" xmlns:p="http://schemas.openxmlformats.org/presentationml/2006/main">
  <p:tag name="AS_UNIQUEID" val="40394"/>
</p:tagLst>
</file>

<file path=ppt/tags/tag170.xml><?xml version="1.0" encoding="utf-8"?>
<p:tagLst xmlns:a="http://schemas.openxmlformats.org/drawingml/2006/main" xmlns:r="http://schemas.openxmlformats.org/officeDocument/2006/relationships" xmlns:p="http://schemas.openxmlformats.org/presentationml/2006/main">
  <p:tag name="AS_UNIQUEID" val="40554"/>
</p:tagLst>
</file>

<file path=ppt/tags/tag171.xml><?xml version="1.0" encoding="utf-8"?>
<p:tagLst xmlns:a="http://schemas.openxmlformats.org/drawingml/2006/main" xmlns:r="http://schemas.openxmlformats.org/officeDocument/2006/relationships" xmlns:p="http://schemas.openxmlformats.org/presentationml/2006/main">
  <p:tag name="AS_UNIQUEID" val="40555"/>
</p:tagLst>
</file>

<file path=ppt/tags/tag172.xml><?xml version="1.0" encoding="utf-8"?>
<p:tagLst xmlns:a="http://schemas.openxmlformats.org/drawingml/2006/main" xmlns:r="http://schemas.openxmlformats.org/officeDocument/2006/relationships" xmlns:p="http://schemas.openxmlformats.org/presentationml/2006/main">
  <p:tag name="AS_UNIQUEID" val="40556"/>
</p:tagLst>
</file>

<file path=ppt/tags/tag173.xml><?xml version="1.0" encoding="utf-8"?>
<p:tagLst xmlns:a="http://schemas.openxmlformats.org/drawingml/2006/main" xmlns:r="http://schemas.openxmlformats.org/officeDocument/2006/relationships" xmlns:p="http://schemas.openxmlformats.org/presentationml/2006/main">
  <p:tag name="AS_UNIQUEID" val="40557"/>
</p:tagLst>
</file>

<file path=ppt/tags/tag174.xml><?xml version="1.0" encoding="utf-8"?>
<p:tagLst xmlns:a="http://schemas.openxmlformats.org/drawingml/2006/main" xmlns:r="http://schemas.openxmlformats.org/officeDocument/2006/relationships" xmlns:p="http://schemas.openxmlformats.org/presentationml/2006/main">
  <p:tag name="AS_UNIQUEID" val="40558"/>
</p:tagLst>
</file>

<file path=ppt/tags/tag175.xml><?xml version="1.0" encoding="utf-8"?>
<p:tagLst xmlns:a="http://schemas.openxmlformats.org/drawingml/2006/main" xmlns:r="http://schemas.openxmlformats.org/officeDocument/2006/relationships" xmlns:p="http://schemas.openxmlformats.org/presentationml/2006/main">
  <p:tag name="AS_UNIQUEID" val="40559"/>
</p:tagLst>
</file>

<file path=ppt/tags/tag176.xml><?xml version="1.0" encoding="utf-8"?>
<p:tagLst xmlns:a="http://schemas.openxmlformats.org/drawingml/2006/main" xmlns:r="http://schemas.openxmlformats.org/officeDocument/2006/relationships" xmlns:p="http://schemas.openxmlformats.org/presentationml/2006/main">
  <p:tag name="AS_UNIQUEID" val="40560"/>
</p:tagLst>
</file>

<file path=ppt/tags/tag177.xml><?xml version="1.0" encoding="utf-8"?>
<p:tagLst xmlns:a="http://schemas.openxmlformats.org/drawingml/2006/main" xmlns:r="http://schemas.openxmlformats.org/officeDocument/2006/relationships" xmlns:p="http://schemas.openxmlformats.org/presentationml/2006/main">
  <p:tag name="AS_UNIQUEID" val="40561"/>
</p:tagLst>
</file>

<file path=ppt/tags/tag178.xml><?xml version="1.0" encoding="utf-8"?>
<p:tagLst xmlns:a="http://schemas.openxmlformats.org/drawingml/2006/main" xmlns:r="http://schemas.openxmlformats.org/officeDocument/2006/relationships" xmlns:p="http://schemas.openxmlformats.org/presentationml/2006/main">
  <p:tag name="AS_UNIQUEID" val="40562"/>
</p:tagLst>
</file>

<file path=ppt/tags/tag179.xml><?xml version="1.0" encoding="utf-8"?>
<p:tagLst xmlns:a="http://schemas.openxmlformats.org/drawingml/2006/main" xmlns:r="http://schemas.openxmlformats.org/officeDocument/2006/relationships" xmlns:p="http://schemas.openxmlformats.org/presentationml/2006/main">
  <p:tag name="AS_UNIQUEID" val="40542"/>
</p:tagLst>
</file>

<file path=ppt/tags/tag18.xml><?xml version="1.0" encoding="utf-8"?>
<p:tagLst xmlns:a="http://schemas.openxmlformats.org/drawingml/2006/main" xmlns:r="http://schemas.openxmlformats.org/officeDocument/2006/relationships" xmlns:p="http://schemas.openxmlformats.org/presentationml/2006/main">
  <p:tag name="AS_UNIQUEID" val="40395"/>
</p:tagLst>
</file>

<file path=ppt/tags/tag180.xml><?xml version="1.0" encoding="utf-8"?>
<p:tagLst xmlns:a="http://schemas.openxmlformats.org/drawingml/2006/main" xmlns:r="http://schemas.openxmlformats.org/officeDocument/2006/relationships" xmlns:p="http://schemas.openxmlformats.org/presentationml/2006/main">
  <p:tag name="AS_UNIQUEID" val="40543"/>
</p:tagLst>
</file>

<file path=ppt/tags/tag181.xml><?xml version="1.0" encoding="utf-8"?>
<p:tagLst xmlns:a="http://schemas.openxmlformats.org/drawingml/2006/main" xmlns:r="http://schemas.openxmlformats.org/officeDocument/2006/relationships" xmlns:p="http://schemas.openxmlformats.org/presentationml/2006/main">
  <p:tag name="AS_UNIQUEID" val="40544"/>
</p:tagLst>
</file>

<file path=ppt/tags/tag182.xml><?xml version="1.0" encoding="utf-8"?>
<p:tagLst xmlns:a="http://schemas.openxmlformats.org/drawingml/2006/main" xmlns:r="http://schemas.openxmlformats.org/officeDocument/2006/relationships" xmlns:p="http://schemas.openxmlformats.org/presentationml/2006/main">
  <p:tag name="AS_UNIQUEID" val="40545"/>
</p:tagLst>
</file>

<file path=ppt/tags/tag183.xml><?xml version="1.0" encoding="utf-8"?>
<p:tagLst xmlns:a="http://schemas.openxmlformats.org/drawingml/2006/main" xmlns:r="http://schemas.openxmlformats.org/officeDocument/2006/relationships" xmlns:p="http://schemas.openxmlformats.org/presentationml/2006/main">
  <p:tag name="AS_UNIQUEID" val="40546"/>
</p:tagLst>
</file>

<file path=ppt/tags/tag184.xml><?xml version="1.0" encoding="utf-8"?>
<p:tagLst xmlns:a="http://schemas.openxmlformats.org/drawingml/2006/main" xmlns:r="http://schemas.openxmlformats.org/officeDocument/2006/relationships" xmlns:p="http://schemas.openxmlformats.org/presentationml/2006/main">
  <p:tag name="AS_UNIQUEID" val="40547"/>
</p:tagLst>
</file>

<file path=ppt/tags/tag185.xml><?xml version="1.0" encoding="utf-8"?>
<p:tagLst xmlns:a="http://schemas.openxmlformats.org/drawingml/2006/main" xmlns:r="http://schemas.openxmlformats.org/officeDocument/2006/relationships" xmlns:p="http://schemas.openxmlformats.org/presentationml/2006/main">
  <p:tag name="AS_UNIQUEID" val="40548"/>
</p:tagLst>
</file>

<file path=ppt/tags/tag186.xml><?xml version="1.0" encoding="utf-8"?>
<p:tagLst xmlns:a="http://schemas.openxmlformats.org/drawingml/2006/main" xmlns:r="http://schemas.openxmlformats.org/officeDocument/2006/relationships" xmlns:p="http://schemas.openxmlformats.org/presentationml/2006/main">
  <p:tag name="AS_UNIQUEID" val="40549"/>
</p:tagLst>
</file>

<file path=ppt/tags/tag187.xml><?xml version="1.0" encoding="utf-8"?>
<p:tagLst xmlns:a="http://schemas.openxmlformats.org/drawingml/2006/main" xmlns:r="http://schemas.openxmlformats.org/officeDocument/2006/relationships" xmlns:p="http://schemas.openxmlformats.org/presentationml/2006/main">
  <p:tag name="AS_UNIQUEID" val="40550"/>
</p:tagLst>
</file>

<file path=ppt/tags/tag188.xml><?xml version="1.0" encoding="utf-8"?>
<p:tagLst xmlns:a="http://schemas.openxmlformats.org/drawingml/2006/main" xmlns:r="http://schemas.openxmlformats.org/officeDocument/2006/relationships" xmlns:p="http://schemas.openxmlformats.org/presentationml/2006/main">
  <p:tag name="AS_UNIQUEID" val="40551"/>
</p:tagLst>
</file>

<file path=ppt/tags/tag189.xml><?xml version="1.0" encoding="utf-8"?>
<p:tagLst xmlns:a="http://schemas.openxmlformats.org/drawingml/2006/main" xmlns:r="http://schemas.openxmlformats.org/officeDocument/2006/relationships" xmlns:p="http://schemas.openxmlformats.org/presentationml/2006/main">
  <p:tag name="AS_UNIQUEID" val="40537"/>
</p:tagLst>
</file>

<file path=ppt/tags/tag19.xml><?xml version="1.0" encoding="utf-8"?>
<p:tagLst xmlns:a="http://schemas.openxmlformats.org/drawingml/2006/main" xmlns:r="http://schemas.openxmlformats.org/officeDocument/2006/relationships" xmlns:p="http://schemas.openxmlformats.org/presentationml/2006/main">
  <p:tag name="AS_UNIQUEID" val="40396"/>
</p:tagLst>
</file>

<file path=ppt/tags/tag190.xml><?xml version="1.0" encoding="utf-8"?>
<p:tagLst xmlns:a="http://schemas.openxmlformats.org/drawingml/2006/main" xmlns:r="http://schemas.openxmlformats.org/officeDocument/2006/relationships" xmlns:p="http://schemas.openxmlformats.org/presentationml/2006/main">
  <p:tag name="AS_UNIQUEID" val="40538"/>
</p:tagLst>
</file>

<file path=ppt/tags/tag191.xml><?xml version="1.0" encoding="utf-8"?>
<p:tagLst xmlns:a="http://schemas.openxmlformats.org/drawingml/2006/main" xmlns:r="http://schemas.openxmlformats.org/officeDocument/2006/relationships" xmlns:p="http://schemas.openxmlformats.org/presentationml/2006/main">
  <p:tag name="AS_UNIQUEID" val="40539"/>
</p:tagLst>
</file>

<file path=ppt/tags/tag19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93.xml><?xml version="1.0" encoding="utf-8"?>
<p:tagLst xmlns:a="http://schemas.openxmlformats.org/drawingml/2006/main" xmlns:r="http://schemas.openxmlformats.org/officeDocument/2006/relationships" xmlns:p="http://schemas.openxmlformats.org/presentationml/2006/main">
  <p:tag name="AS_UNIQUEID" val="40592"/>
</p:tagLst>
</file>

<file path=ppt/tags/tag194.xml><?xml version="1.0" encoding="utf-8"?>
<p:tagLst xmlns:a="http://schemas.openxmlformats.org/drawingml/2006/main" xmlns:r="http://schemas.openxmlformats.org/officeDocument/2006/relationships" xmlns:p="http://schemas.openxmlformats.org/presentationml/2006/main">
  <p:tag name="AS_UNIQUEID" val="40593"/>
</p:tagLst>
</file>

<file path=ppt/tags/tag195.xml><?xml version="1.0" encoding="utf-8"?>
<p:tagLst xmlns:a="http://schemas.openxmlformats.org/drawingml/2006/main" xmlns:r="http://schemas.openxmlformats.org/officeDocument/2006/relationships" xmlns:p="http://schemas.openxmlformats.org/presentationml/2006/main">
  <p:tag name="AS_UNIQUEID" val="40594"/>
</p:tagLst>
</file>

<file path=ppt/tags/tag196.xml><?xml version="1.0" encoding="utf-8"?>
<p:tagLst xmlns:a="http://schemas.openxmlformats.org/drawingml/2006/main" xmlns:r="http://schemas.openxmlformats.org/officeDocument/2006/relationships" xmlns:p="http://schemas.openxmlformats.org/presentationml/2006/main">
  <p:tag name="AS_UNIQUEID" val="40599"/>
</p:tagLst>
</file>

<file path=ppt/tags/tag197.xml><?xml version="1.0" encoding="utf-8"?>
<p:tagLst xmlns:a="http://schemas.openxmlformats.org/drawingml/2006/main" xmlns:r="http://schemas.openxmlformats.org/officeDocument/2006/relationships" xmlns:p="http://schemas.openxmlformats.org/presentationml/2006/main">
  <p:tag name="AS_UNIQUEID" val="40604"/>
  <p:tag name="BTFPLAYOUTENABLED" val="1"/>
</p:tagLst>
</file>

<file path=ppt/tags/tag198.xml><?xml version="1.0" encoding="utf-8"?>
<p:tagLst xmlns:a="http://schemas.openxmlformats.org/drawingml/2006/main" xmlns:r="http://schemas.openxmlformats.org/officeDocument/2006/relationships" xmlns:p="http://schemas.openxmlformats.org/presentationml/2006/main">
  <p:tag name="AS_UNIQUEID" val="40605"/>
  <p:tag name="BTFPLAYOUTENABLED" val="1"/>
</p:tagLst>
</file>

<file path=ppt/tags/tag199.xml><?xml version="1.0" encoding="utf-8"?>
<p:tagLst xmlns:a="http://schemas.openxmlformats.org/drawingml/2006/main" xmlns:r="http://schemas.openxmlformats.org/officeDocument/2006/relationships" xmlns:p="http://schemas.openxmlformats.org/presentationml/2006/main">
  <p:tag name="AS_UNIQUEID" val="40606"/>
  <p:tag name="BTFPLAYOUTENABLED" val="1"/>
</p:tagLst>
</file>

<file path=ppt/tags/tag2.xml><?xml version="1.0" encoding="utf-8"?>
<p:tagLst xmlns:a="http://schemas.openxmlformats.org/drawingml/2006/main" xmlns:r="http://schemas.openxmlformats.org/officeDocument/2006/relationships" xmlns:p="http://schemas.openxmlformats.org/presentationml/2006/main">
  <p:tag name="AS_UNIQUEID" val="40412"/>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S_UNIQUEID" val="40398"/>
</p:tagLst>
</file>

<file path=ppt/tags/tag200.xml><?xml version="1.0" encoding="utf-8"?>
<p:tagLst xmlns:a="http://schemas.openxmlformats.org/drawingml/2006/main" xmlns:r="http://schemas.openxmlformats.org/officeDocument/2006/relationships" xmlns:p="http://schemas.openxmlformats.org/presentationml/2006/main">
  <p:tag name="AS_UNIQUEID" val="40607"/>
  <p:tag name="BTFPLAYOUTENABLED" val="1"/>
</p:tagLst>
</file>

<file path=ppt/tags/tag201.xml><?xml version="1.0" encoding="utf-8"?>
<p:tagLst xmlns:a="http://schemas.openxmlformats.org/drawingml/2006/main" xmlns:r="http://schemas.openxmlformats.org/officeDocument/2006/relationships" xmlns:p="http://schemas.openxmlformats.org/presentationml/2006/main">
  <p:tag name="AS_UNIQUEID" val="40608"/>
</p:tagLst>
</file>

<file path=ppt/tags/tag202.xml><?xml version="1.0" encoding="utf-8"?>
<p:tagLst xmlns:a="http://schemas.openxmlformats.org/drawingml/2006/main" xmlns:r="http://schemas.openxmlformats.org/officeDocument/2006/relationships" xmlns:p="http://schemas.openxmlformats.org/presentationml/2006/main">
  <p:tag name="AS_UNIQUEID" val="40609"/>
</p:tagLst>
</file>

<file path=ppt/tags/tag203.xml><?xml version="1.0" encoding="utf-8"?>
<p:tagLst xmlns:a="http://schemas.openxmlformats.org/drawingml/2006/main" xmlns:r="http://schemas.openxmlformats.org/officeDocument/2006/relationships" xmlns:p="http://schemas.openxmlformats.org/presentationml/2006/main">
  <p:tag name="AS_UNIQUEID" val="40610"/>
</p:tagLst>
</file>

<file path=ppt/tags/tag204.xml><?xml version="1.0" encoding="utf-8"?>
<p:tagLst xmlns:a="http://schemas.openxmlformats.org/drawingml/2006/main" xmlns:r="http://schemas.openxmlformats.org/officeDocument/2006/relationships" xmlns:p="http://schemas.openxmlformats.org/presentationml/2006/main">
  <p:tag name="AS_UNIQUEID" val="40623"/>
  <p:tag name="BTFPLAYOUTENABLED" val="1"/>
</p:tagLst>
</file>

<file path=ppt/tags/tag205.xml><?xml version="1.0" encoding="utf-8"?>
<p:tagLst xmlns:a="http://schemas.openxmlformats.org/drawingml/2006/main" xmlns:r="http://schemas.openxmlformats.org/officeDocument/2006/relationships" xmlns:p="http://schemas.openxmlformats.org/presentationml/2006/main">
  <p:tag name="AS_UNIQUEID" val="40624"/>
  <p:tag name="BTFPLAYOUTENABLED" val="1"/>
  <p:tag name="BTFPROTATION" val="0"/>
</p:tagLst>
</file>

<file path=ppt/tags/tag206.xml><?xml version="1.0" encoding="utf-8"?>
<p:tagLst xmlns:a="http://schemas.openxmlformats.org/drawingml/2006/main" xmlns:r="http://schemas.openxmlformats.org/officeDocument/2006/relationships" xmlns:p="http://schemas.openxmlformats.org/presentationml/2006/main">
  <p:tag name="AS_UNIQUEID" val="40625"/>
</p:tagLst>
</file>

<file path=ppt/tags/tag207.xml><?xml version="1.0" encoding="utf-8"?>
<p:tagLst xmlns:a="http://schemas.openxmlformats.org/drawingml/2006/main" xmlns:r="http://schemas.openxmlformats.org/officeDocument/2006/relationships" xmlns:p="http://schemas.openxmlformats.org/presentationml/2006/main">
  <p:tag name="AS_UNIQUEID" val="40626"/>
</p:tagLst>
</file>

<file path=ppt/tags/tag208.xml><?xml version="1.0" encoding="utf-8"?>
<p:tagLst xmlns:a="http://schemas.openxmlformats.org/drawingml/2006/main" xmlns:r="http://schemas.openxmlformats.org/officeDocument/2006/relationships" xmlns:p="http://schemas.openxmlformats.org/presentationml/2006/main">
  <p:tag name="AS_UNIQUEID" val="40627"/>
</p:tagLst>
</file>

<file path=ppt/tags/tag209.xml><?xml version="1.0" encoding="utf-8"?>
<p:tagLst xmlns:a="http://schemas.openxmlformats.org/drawingml/2006/main" xmlns:r="http://schemas.openxmlformats.org/officeDocument/2006/relationships" xmlns:p="http://schemas.openxmlformats.org/presentationml/2006/main">
  <p:tag name="AS_UNIQUEID" val="40628"/>
</p:tagLst>
</file>

<file path=ppt/tags/tag21.xml><?xml version="1.0" encoding="utf-8"?>
<p:tagLst xmlns:a="http://schemas.openxmlformats.org/drawingml/2006/main" xmlns:r="http://schemas.openxmlformats.org/officeDocument/2006/relationships" xmlns:p="http://schemas.openxmlformats.org/presentationml/2006/main">
  <p:tag name="AS_UNIQUEID" val="40400"/>
</p:tagLst>
</file>

<file path=ppt/tags/tag210.xml><?xml version="1.0" encoding="utf-8"?>
<p:tagLst xmlns:a="http://schemas.openxmlformats.org/drawingml/2006/main" xmlns:r="http://schemas.openxmlformats.org/officeDocument/2006/relationships" xmlns:p="http://schemas.openxmlformats.org/presentationml/2006/main">
  <p:tag name="AS_UNIQUEID" val="40611"/>
  <p:tag name="BTFPLAYOUTENABLED" val="1"/>
</p:tagLst>
</file>

<file path=ppt/tags/tag211.xml><?xml version="1.0" encoding="utf-8"?>
<p:tagLst xmlns:a="http://schemas.openxmlformats.org/drawingml/2006/main" xmlns:r="http://schemas.openxmlformats.org/officeDocument/2006/relationships" xmlns:p="http://schemas.openxmlformats.org/presentationml/2006/main">
  <p:tag name="AS_UNIQUEID" val="40612"/>
  <p:tag name="BTFPLAYOUTENABLED" val="1"/>
</p:tagLst>
</file>

<file path=ppt/tags/tag212.xml><?xml version="1.0" encoding="utf-8"?>
<p:tagLst xmlns:a="http://schemas.openxmlformats.org/drawingml/2006/main" xmlns:r="http://schemas.openxmlformats.org/officeDocument/2006/relationships" xmlns:p="http://schemas.openxmlformats.org/presentationml/2006/main">
  <p:tag name="AS_UNIQUEID" val="40613"/>
  <p:tag name="BTFPLAYOUTENABLED" val="1"/>
</p:tagLst>
</file>

<file path=ppt/tags/tag213.xml><?xml version="1.0" encoding="utf-8"?>
<p:tagLst xmlns:a="http://schemas.openxmlformats.org/drawingml/2006/main" xmlns:r="http://schemas.openxmlformats.org/officeDocument/2006/relationships" xmlns:p="http://schemas.openxmlformats.org/presentationml/2006/main">
  <p:tag name="AS_UNIQUEID" val="40614"/>
  <p:tag name="BTFPLAYOUTENABLED" val="1"/>
</p:tagLst>
</file>

<file path=ppt/tags/tag214.xml><?xml version="1.0" encoding="utf-8"?>
<p:tagLst xmlns:a="http://schemas.openxmlformats.org/drawingml/2006/main" xmlns:r="http://schemas.openxmlformats.org/officeDocument/2006/relationships" xmlns:p="http://schemas.openxmlformats.org/presentationml/2006/main">
  <p:tag name="AS_UNIQUEID" val="40615"/>
  <p:tag name="BTFPLAYOUTENABLED" val="1"/>
</p:tagLst>
</file>

<file path=ppt/tags/tag215.xml><?xml version="1.0" encoding="utf-8"?>
<p:tagLst xmlns:a="http://schemas.openxmlformats.org/drawingml/2006/main" xmlns:r="http://schemas.openxmlformats.org/officeDocument/2006/relationships" xmlns:p="http://schemas.openxmlformats.org/presentationml/2006/main">
  <p:tag name="AS_UNIQUEID" val="40616"/>
  <p:tag name="BTFPLAYOUTENABLED" val="1"/>
</p:tagLst>
</file>

<file path=ppt/tags/tag216.xml><?xml version="1.0" encoding="utf-8"?>
<p:tagLst xmlns:a="http://schemas.openxmlformats.org/drawingml/2006/main" xmlns:r="http://schemas.openxmlformats.org/officeDocument/2006/relationships" xmlns:p="http://schemas.openxmlformats.org/presentationml/2006/main">
  <p:tag name="AS_UNIQUEID" val="40617"/>
</p:tagLst>
</file>

<file path=ppt/tags/tag217.xml><?xml version="1.0" encoding="utf-8"?>
<p:tagLst xmlns:a="http://schemas.openxmlformats.org/drawingml/2006/main" xmlns:r="http://schemas.openxmlformats.org/officeDocument/2006/relationships" xmlns:p="http://schemas.openxmlformats.org/presentationml/2006/main">
  <p:tag name="AS_UNIQUEID" val="40618"/>
  <p:tag name="BTFPLAYOUTENABLED" val="1"/>
  <p:tag name="BTFPROTATION" val="0"/>
</p:tagLst>
</file>

<file path=ppt/tags/tag218.xml><?xml version="1.0" encoding="utf-8"?>
<p:tagLst xmlns:a="http://schemas.openxmlformats.org/drawingml/2006/main" xmlns:r="http://schemas.openxmlformats.org/officeDocument/2006/relationships" xmlns:p="http://schemas.openxmlformats.org/presentationml/2006/main">
  <p:tag name="AS_UNIQUEID" val="40619"/>
</p:tagLst>
</file>

<file path=ppt/tags/tag219.xml><?xml version="1.0" encoding="utf-8"?>
<p:tagLst xmlns:a="http://schemas.openxmlformats.org/drawingml/2006/main" xmlns:r="http://schemas.openxmlformats.org/officeDocument/2006/relationships" xmlns:p="http://schemas.openxmlformats.org/presentationml/2006/main">
  <p:tag name="AS_UNIQUEID" val="40620"/>
</p:tagLst>
</file>

<file path=ppt/tags/tag22.xml><?xml version="1.0" encoding="utf-8"?>
<p:tagLst xmlns:a="http://schemas.openxmlformats.org/drawingml/2006/main" xmlns:r="http://schemas.openxmlformats.org/officeDocument/2006/relationships" xmlns:p="http://schemas.openxmlformats.org/presentationml/2006/main">
  <p:tag name="AS_UNIQUEID" val="40401"/>
</p:tagLst>
</file>

<file path=ppt/tags/tag220.xml><?xml version="1.0" encoding="utf-8"?>
<p:tagLst xmlns:a="http://schemas.openxmlformats.org/drawingml/2006/main" xmlns:r="http://schemas.openxmlformats.org/officeDocument/2006/relationships" xmlns:p="http://schemas.openxmlformats.org/presentationml/2006/main">
  <p:tag name="AS_UNIQUEID" val="40621"/>
</p:tagLst>
</file>

<file path=ppt/tags/tag221.xml><?xml version="1.0" encoding="utf-8"?>
<p:tagLst xmlns:a="http://schemas.openxmlformats.org/drawingml/2006/main" xmlns:r="http://schemas.openxmlformats.org/officeDocument/2006/relationships" xmlns:p="http://schemas.openxmlformats.org/presentationml/2006/main">
  <p:tag name="AS_UNIQUEID" val="40622"/>
</p:tagLst>
</file>

<file path=ppt/tags/tag222.xml><?xml version="1.0" encoding="utf-8"?>
<p:tagLst xmlns:a="http://schemas.openxmlformats.org/drawingml/2006/main" xmlns:r="http://schemas.openxmlformats.org/officeDocument/2006/relationships" xmlns:p="http://schemas.openxmlformats.org/presentationml/2006/main">
  <p:tag name="AS_UNIQUEID" val="40600"/>
</p:tagLst>
</file>

<file path=ppt/tags/tag223.xml><?xml version="1.0" encoding="utf-8"?>
<p:tagLst xmlns:a="http://schemas.openxmlformats.org/drawingml/2006/main" xmlns:r="http://schemas.openxmlformats.org/officeDocument/2006/relationships" xmlns:p="http://schemas.openxmlformats.org/presentationml/2006/main">
  <p:tag name="AS_UNIQUEID" val="40601"/>
</p:tagLst>
</file>

<file path=ppt/tags/tag224.xml><?xml version="1.0" encoding="utf-8"?>
<p:tagLst xmlns:a="http://schemas.openxmlformats.org/drawingml/2006/main" xmlns:r="http://schemas.openxmlformats.org/officeDocument/2006/relationships" xmlns:p="http://schemas.openxmlformats.org/presentationml/2006/main">
  <p:tag name="AS_UNIQUEID" val="40602"/>
</p:tagLst>
</file>

<file path=ppt/tags/tag225.xml><?xml version="1.0" encoding="utf-8"?>
<p:tagLst xmlns:a="http://schemas.openxmlformats.org/drawingml/2006/main" xmlns:r="http://schemas.openxmlformats.org/officeDocument/2006/relationships" xmlns:p="http://schemas.openxmlformats.org/presentationml/2006/main">
  <p:tag name="AS_UNIQUEID" val="40603"/>
</p:tagLst>
</file>

<file path=ppt/tags/tag226.xml><?xml version="1.0" encoding="utf-8"?>
<p:tagLst xmlns:a="http://schemas.openxmlformats.org/drawingml/2006/main" xmlns:r="http://schemas.openxmlformats.org/officeDocument/2006/relationships" xmlns:p="http://schemas.openxmlformats.org/presentationml/2006/main">
  <p:tag name="AS_UNIQUEID" val="40595"/>
</p:tagLst>
</file>

<file path=ppt/tags/tag227.xml><?xml version="1.0" encoding="utf-8"?>
<p:tagLst xmlns:a="http://schemas.openxmlformats.org/drawingml/2006/main" xmlns:r="http://schemas.openxmlformats.org/officeDocument/2006/relationships" xmlns:p="http://schemas.openxmlformats.org/presentationml/2006/main">
  <p:tag name="AS_UNIQUEID" val="40596"/>
</p:tagLst>
</file>

<file path=ppt/tags/tag228.xml><?xml version="1.0" encoding="utf-8"?>
<p:tagLst xmlns:a="http://schemas.openxmlformats.org/drawingml/2006/main" xmlns:r="http://schemas.openxmlformats.org/officeDocument/2006/relationships" xmlns:p="http://schemas.openxmlformats.org/presentationml/2006/main">
  <p:tag name="AS_UNIQUEID" val="40597"/>
</p:tagLst>
</file>

<file path=ppt/tags/tag229.xml><?xml version="1.0" encoding="utf-8"?>
<p:tagLst xmlns:a="http://schemas.openxmlformats.org/drawingml/2006/main" xmlns:r="http://schemas.openxmlformats.org/officeDocument/2006/relationships" xmlns:p="http://schemas.openxmlformats.org/presentationml/2006/main">
  <p:tag name="AS_UNIQUEID" val="40598"/>
</p:tagLst>
</file>

<file path=ppt/tags/tag23.xml><?xml version="1.0" encoding="utf-8"?>
<p:tagLst xmlns:a="http://schemas.openxmlformats.org/drawingml/2006/main" xmlns:r="http://schemas.openxmlformats.org/officeDocument/2006/relationships" xmlns:p="http://schemas.openxmlformats.org/presentationml/2006/main">
  <p:tag name="AS_UNIQUEID" val="40403"/>
</p:tagLst>
</file>

<file path=ppt/tags/tag230.xml><?xml version="1.0" encoding="utf-8"?>
<p:tagLst xmlns:a="http://schemas.openxmlformats.org/drawingml/2006/main" xmlns:r="http://schemas.openxmlformats.org/officeDocument/2006/relationships" xmlns:p="http://schemas.openxmlformats.org/presentationml/2006/main">
  <p:tag name="AS_UNIQUEID" val="40588"/>
</p:tagLst>
</file>

<file path=ppt/tags/tag231.xml><?xml version="1.0" encoding="utf-8"?>
<p:tagLst xmlns:a="http://schemas.openxmlformats.org/drawingml/2006/main" xmlns:r="http://schemas.openxmlformats.org/officeDocument/2006/relationships" xmlns:p="http://schemas.openxmlformats.org/presentationml/2006/main">
  <p:tag name="AS_UNIQUEID" val="40589"/>
</p:tagLst>
</file>

<file path=ppt/tags/tag232.xml><?xml version="1.0" encoding="utf-8"?>
<p:tagLst xmlns:a="http://schemas.openxmlformats.org/drawingml/2006/main" xmlns:r="http://schemas.openxmlformats.org/officeDocument/2006/relationships" xmlns:p="http://schemas.openxmlformats.org/presentationml/2006/main">
  <p:tag name="AS_UNIQUEID" val="40590"/>
</p:tagLst>
</file>

<file path=ppt/tags/tag233.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34.xml><?xml version="1.0" encoding="utf-8"?>
<p:tagLst xmlns:a="http://schemas.openxmlformats.org/drawingml/2006/main" xmlns:r="http://schemas.openxmlformats.org/officeDocument/2006/relationships" xmlns:p="http://schemas.openxmlformats.org/presentationml/2006/main">
  <p:tag name="AS_UNIQUEID" val="40634"/>
</p:tagLst>
</file>

<file path=ppt/tags/tag235.xml><?xml version="1.0" encoding="utf-8"?>
<p:tagLst xmlns:a="http://schemas.openxmlformats.org/drawingml/2006/main" xmlns:r="http://schemas.openxmlformats.org/officeDocument/2006/relationships" xmlns:p="http://schemas.openxmlformats.org/presentationml/2006/main">
  <p:tag name="AS_UNIQUEID" val="40635"/>
</p:tagLst>
</file>

<file path=ppt/tags/tag236.xml><?xml version="1.0" encoding="utf-8"?>
<p:tagLst xmlns:a="http://schemas.openxmlformats.org/drawingml/2006/main" xmlns:r="http://schemas.openxmlformats.org/officeDocument/2006/relationships" xmlns:p="http://schemas.openxmlformats.org/presentationml/2006/main">
  <p:tag name="AS_UNIQUEID" val="40636"/>
</p:tagLst>
</file>

<file path=ppt/tags/tag237.xml><?xml version="1.0" encoding="utf-8"?>
<p:tagLst xmlns:a="http://schemas.openxmlformats.org/drawingml/2006/main" xmlns:r="http://schemas.openxmlformats.org/officeDocument/2006/relationships" xmlns:p="http://schemas.openxmlformats.org/presentationml/2006/main">
  <p:tag name="AS_UNIQUEID" val="40641"/>
</p:tagLst>
</file>

<file path=ppt/tags/tag238.xml><?xml version="1.0" encoding="utf-8"?>
<p:tagLst xmlns:a="http://schemas.openxmlformats.org/drawingml/2006/main" xmlns:r="http://schemas.openxmlformats.org/officeDocument/2006/relationships" xmlns:p="http://schemas.openxmlformats.org/presentationml/2006/main">
  <p:tag name="AS_UNIQUEID" val="40646"/>
</p:tagLst>
</file>

<file path=ppt/tags/tag239.xml><?xml version="1.0" encoding="utf-8"?>
<p:tagLst xmlns:a="http://schemas.openxmlformats.org/drawingml/2006/main" xmlns:r="http://schemas.openxmlformats.org/officeDocument/2006/relationships" xmlns:p="http://schemas.openxmlformats.org/presentationml/2006/main">
  <p:tag name="AS_UNIQUEID" val="40647"/>
</p:tagLst>
</file>

<file path=ppt/tags/tag2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40.xml><?xml version="1.0" encoding="utf-8"?>
<p:tagLst xmlns:a="http://schemas.openxmlformats.org/drawingml/2006/main" xmlns:r="http://schemas.openxmlformats.org/officeDocument/2006/relationships" xmlns:p="http://schemas.openxmlformats.org/presentationml/2006/main">
  <p:tag name="AS_UNIQUEID" val="40648"/>
</p:tagLst>
</file>

<file path=ppt/tags/tag241.xml><?xml version="1.0" encoding="utf-8"?>
<p:tagLst xmlns:a="http://schemas.openxmlformats.org/drawingml/2006/main" xmlns:r="http://schemas.openxmlformats.org/officeDocument/2006/relationships" xmlns:p="http://schemas.openxmlformats.org/presentationml/2006/main">
  <p:tag name="AS_UNIQUEID" val="40649"/>
  <p:tag name="BTFPLAYOUTENABLED" val="1"/>
</p:tagLst>
</file>

<file path=ppt/tags/tag242.xml><?xml version="1.0" encoding="utf-8"?>
<p:tagLst xmlns:a="http://schemas.openxmlformats.org/drawingml/2006/main" xmlns:r="http://schemas.openxmlformats.org/officeDocument/2006/relationships" xmlns:p="http://schemas.openxmlformats.org/presentationml/2006/main">
  <p:tag name="AS_UNIQUEID" val="40650"/>
</p:tagLst>
</file>

<file path=ppt/tags/tag243.xml><?xml version="1.0" encoding="utf-8"?>
<p:tagLst xmlns:a="http://schemas.openxmlformats.org/drawingml/2006/main" xmlns:r="http://schemas.openxmlformats.org/officeDocument/2006/relationships" xmlns:p="http://schemas.openxmlformats.org/presentationml/2006/main">
  <p:tag name="AS_UNIQUEID" val="40651"/>
</p:tagLst>
</file>

<file path=ppt/tags/tag244.xml><?xml version="1.0" encoding="utf-8"?>
<p:tagLst xmlns:a="http://schemas.openxmlformats.org/drawingml/2006/main" xmlns:r="http://schemas.openxmlformats.org/officeDocument/2006/relationships" xmlns:p="http://schemas.openxmlformats.org/presentationml/2006/main">
  <p:tag name="AS_UNIQUEID" val="40652"/>
</p:tagLst>
</file>

<file path=ppt/tags/tag245.xml><?xml version="1.0" encoding="utf-8"?>
<p:tagLst xmlns:a="http://schemas.openxmlformats.org/drawingml/2006/main" xmlns:r="http://schemas.openxmlformats.org/officeDocument/2006/relationships" xmlns:p="http://schemas.openxmlformats.org/presentationml/2006/main">
  <p:tag name="AS_UNIQUEID" val="40653"/>
</p:tagLst>
</file>

<file path=ppt/tags/tag246.xml><?xml version="1.0" encoding="utf-8"?>
<p:tagLst xmlns:a="http://schemas.openxmlformats.org/drawingml/2006/main" xmlns:r="http://schemas.openxmlformats.org/officeDocument/2006/relationships" xmlns:p="http://schemas.openxmlformats.org/presentationml/2006/main">
  <p:tag name="AS_UNIQUEID" val="40654"/>
  <p:tag name="BTFPLAYOUTENABLED" val="1"/>
</p:tagLst>
</file>

<file path=ppt/tags/tag247.xml><?xml version="1.0" encoding="utf-8"?>
<p:tagLst xmlns:a="http://schemas.openxmlformats.org/drawingml/2006/main" xmlns:r="http://schemas.openxmlformats.org/officeDocument/2006/relationships" xmlns:p="http://schemas.openxmlformats.org/presentationml/2006/main">
  <p:tag name="AS_UNIQUEID" val="40655"/>
  <p:tag name="BTFPLAYOUTENABLED" val="1"/>
</p:tagLst>
</file>

<file path=ppt/tags/tag248.xml><?xml version="1.0" encoding="utf-8"?>
<p:tagLst xmlns:a="http://schemas.openxmlformats.org/drawingml/2006/main" xmlns:r="http://schemas.openxmlformats.org/officeDocument/2006/relationships" xmlns:p="http://schemas.openxmlformats.org/presentationml/2006/main">
  <p:tag name="AS_UNIQUEID" val="40656"/>
</p:tagLst>
</file>

<file path=ppt/tags/tag249.xml><?xml version="1.0" encoding="utf-8"?>
<p:tagLst xmlns:a="http://schemas.openxmlformats.org/drawingml/2006/main" xmlns:r="http://schemas.openxmlformats.org/officeDocument/2006/relationships" xmlns:p="http://schemas.openxmlformats.org/presentationml/2006/main">
  <p:tag name="AS_UNIQUEID" val="40657"/>
  <p:tag name="BTFPLAYOUTENABLED" val="1"/>
</p:tagLst>
</file>

<file path=ppt/tags/tag25.xml><?xml version="1.0" encoding="utf-8"?>
<p:tagLst xmlns:a="http://schemas.openxmlformats.org/drawingml/2006/main" xmlns:r="http://schemas.openxmlformats.org/officeDocument/2006/relationships" xmlns:p="http://schemas.openxmlformats.org/presentationml/2006/main">
  <p:tag name="AS_UNIQUEID" val="40405"/>
</p:tagLst>
</file>

<file path=ppt/tags/tag250.xml><?xml version="1.0" encoding="utf-8"?>
<p:tagLst xmlns:a="http://schemas.openxmlformats.org/drawingml/2006/main" xmlns:r="http://schemas.openxmlformats.org/officeDocument/2006/relationships" xmlns:p="http://schemas.openxmlformats.org/presentationml/2006/main">
  <p:tag name="AS_UNIQUEID" val="40642"/>
</p:tagLst>
</file>

<file path=ppt/tags/tag251.xml><?xml version="1.0" encoding="utf-8"?>
<p:tagLst xmlns:a="http://schemas.openxmlformats.org/drawingml/2006/main" xmlns:r="http://schemas.openxmlformats.org/officeDocument/2006/relationships" xmlns:p="http://schemas.openxmlformats.org/presentationml/2006/main">
  <p:tag name="AS_UNIQUEID" val="40643"/>
</p:tagLst>
</file>

<file path=ppt/tags/tag252.xml><?xml version="1.0" encoding="utf-8"?>
<p:tagLst xmlns:a="http://schemas.openxmlformats.org/drawingml/2006/main" xmlns:r="http://schemas.openxmlformats.org/officeDocument/2006/relationships" xmlns:p="http://schemas.openxmlformats.org/presentationml/2006/main">
  <p:tag name="AS_UNIQUEID" val="40644"/>
</p:tagLst>
</file>

<file path=ppt/tags/tag253.xml><?xml version="1.0" encoding="utf-8"?>
<p:tagLst xmlns:a="http://schemas.openxmlformats.org/drawingml/2006/main" xmlns:r="http://schemas.openxmlformats.org/officeDocument/2006/relationships" xmlns:p="http://schemas.openxmlformats.org/presentationml/2006/main">
  <p:tag name="AS_UNIQUEID" val="40645"/>
</p:tagLst>
</file>

<file path=ppt/tags/tag254.xml><?xml version="1.0" encoding="utf-8"?>
<p:tagLst xmlns:a="http://schemas.openxmlformats.org/drawingml/2006/main" xmlns:r="http://schemas.openxmlformats.org/officeDocument/2006/relationships" xmlns:p="http://schemas.openxmlformats.org/presentationml/2006/main">
  <p:tag name="AS_UNIQUEID" val="40637"/>
</p:tagLst>
</file>

<file path=ppt/tags/tag255.xml><?xml version="1.0" encoding="utf-8"?>
<p:tagLst xmlns:a="http://schemas.openxmlformats.org/drawingml/2006/main" xmlns:r="http://schemas.openxmlformats.org/officeDocument/2006/relationships" xmlns:p="http://schemas.openxmlformats.org/presentationml/2006/main">
  <p:tag name="AS_UNIQUEID" val="40638"/>
</p:tagLst>
</file>

<file path=ppt/tags/tag256.xml><?xml version="1.0" encoding="utf-8"?>
<p:tagLst xmlns:a="http://schemas.openxmlformats.org/drawingml/2006/main" xmlns:r="http://schemas.openxmlformats.org/officeDocument/2006/relationships" xmlns:p="http://schemas.openxmlformats.org/presentationml/2006/main">
  <p:tag name="AS_UNIQUEID" val="40639"/>
</p:tagLst>
</file>

<file path=ppt/tags/tag257.xml><?xml version="1.0" encoding="utf-8"?>
<p:tagLst xmlns:a="http://schemas.openxmlformats.org/drawingml/2006/main" xmlns:r="http://schemas.openxmlformats.org/officeDocument/2006/relationships" xmlns:p="http://schemas.openxmlformats.org/presentationml/2006/main">
  <p:tag name="AS_UNIQUEID" val="40640"/>
</p:tagLst>
</file>

<file path=ppt/tags/tag258.xml><?xml version="1.0" encoding="utf-8"?>
<p:tagLst xmlns:a="http://schemas.openxmlformats.org/drawingml/2006/main" xmlns:r="http://schemas.openxmlformats.org/officeDocument/2006/relationships" xmlns:p="http://schemas.openxmlformats.org/presentationml/2006/main">
  <p:tag name="AS_UNIQUEID" val="40630"/>
</p:tagLst>
</file>

<file path=ppt/tags/tag259.xml><?xml version="1.0" encoding="utf-8"?>
<p:tagLst xmlns:a="http://schemas.openxmlformats.org/drawingml/2006/main" xmlns:r="http://schemas.openxmlformats.org/officeDocument/2006/relationships" xmlns:p="http://schemas.openxmlformats.org/presentationml/2006/main">
  <p:tag name="AS_UNIQUEID" val="40631"/>
</p:tagLst>
</file>

<file path=ppt/tags/tag26.xml><?xml version="1.0" encoding="utf-8"?>
<p:tagLst xmlns:a="http://schemas.openxmlformats.org/drawingml/2006/main" xmlns:r="http://schemas.openxmlformats.org/officeDocument/2006/relationships" xmlns:p="http://schemas.openxmlformats.org/presentationml/2006/main">
  <p:tag name="AS_UNIQUEID" val="40406"/>
</p:tagLst>
</file>

<file path=ppt/tags/tag260.xml><?xml version="1.0" encoding="utf-8"?>
<p:tagLst xmlns:a="http://schemas.openxmlformats.org/drawingml/2006/main" xmlns:r="http://schemas.openxmlformats.org/officeDocument/2006/relationships" xmlns:p="http://schemas.openxmlformats.org/presentationml/2006/main">
  <p:tag name="AS_UNIQUEID" val="40632"/>
</p:tagLst>
</file>

<file path=ppt/tags/tag261.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62.xml><?xml version="1.0" encoding="utf-8"?>
<p:tagLst xmlns:a="http://schemas.openxmlformats.org/drawingml/2006/main" xmlns:r="http://schemas.openxmlformats.org/officeDocument/2006/relationships" xmlns:p="http://schemas.openxmlformats.org/presentationml/2006/main">
  <p:tag name="AS_UNIQUEID" val="40663"/>
</p:tagLst>
</file>

<file path=ppt/tags/tag263.xml><?xml version="1.0" encoding="utf-8"?>
<p:tagLst xmlns:a="http://schemas.openxmlformats.org/drawingml/2006/main" xmlns:r="http://schemas.openxmlformats.org/officeDocument/2006/relationships" xmlns:p="http://schemas.openxmlformats.org/presentationml/2006/main">
  <p:tag name="AS_UNIQUEID" val="40668"/>
</p:tagLst>
</file>

<file path=ppt/tags/tag264.xml><?xml version="1.0" encoding="utf-8"?>
<p:tagLst xmlns:a="http://schemas.openxmlformats.org/drawingml/2006/main" xmlns:r="http://schemas.openxmlformats.org/officeDocument/2006/relationships" xmlns:p="http://schemas.openxmlformats.org/presentationml/2006/main">
  <p:tag name="AS_UNIQUEID" val="40673"/>
</p:tagLst>
</file>

<file path=ppt/tags/tag265.xml><?xml version="1.0" encoding="utf-8"?>
<p:tagLst xmlns:a="http://schemas.openxmlformats.org/drawingml/2006/main" xmlns:r="http://schemas.openxmlformats.org/officeDocument/2006/relationships" xmlns:p="http://schemas.openxmlformats.org/presentationml/2006/main">
  <p:tag name="AS_UNIQUEID" val="40674"/>
</p:tagLst>
</file>

<file path=ppt/tags/tag266.xml><?xml version="1.0" encoding="utf-8"?>
<p:tagLst xmlns:a="http://schemas.openxmlformats.org/drawingml/2006/main" xmlns:r="http://schemas.openxmlformats.org/officeDocument/2006/relationships" xmlns:p="http://schemas.openxmlformats.org/presentationml/2006/main">
  <p:tag name="AS_UNIQUEID" val="40675"/>
</p:tagLst>
</file>

<file path=ppt/tags/tag267.xml><?xml version="1.0" encoding="utf-8"?>
<p:tagLst xmlns:a="http://schemas.openxmlformats.org/drawingml/2006/main" xmlns:r="http://schemas.openxmlformats.org/officeDocument/2006/relationships" xmlns:p="http://schemas.openxmlformats.org/presentationml/2006/main">
  <p:tag name="AS_UNIQUEID" val="40676"/>
</p:tagLst>
</file>

<file path=ppt/tags/tag268.xml><?xml version="1.0" encoding="utf-8"?>
<p:tagLst xmlns:a="http://schemas.openxmlformats.org/drawingml/2006/main" xmlns:r="http://schemas.openxmlformats.org/officeDocument/2006/relationships" xmlns:p="http://schemas.openxmlformats.org/presentationml/2006/main">
  <p:tag name="AS_UNIQUEID" val="40677"/>
  <p:tag name="BTFPLAYOUTENABLED" val="1"/>
</p:tagLst>
</file>

<file path=ppt/tags/tag269.xml><?xml version="1.0" encoding="utf-8"?>
<p:tagLst xmlns:a="http://schemas.openxmlformats.org/drawingml/2006/main" xmlns:r="http://schemas.openxmlformats.org/officeDocument/2006/relationships" xmlns:p="http://schemas.openxmlformats.org/presentationml/2006/main">
  <p:tag name="AS_UNIQUEID" val="40680"/>
  <p:tag name="BTFPLAYOUTENABLED" val="1"/>
</p:tagLst>
</file>

<file path=ppt/tags/tag2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70.xml><?xml version="1.0" encoding="utf-8"?>
<p:tagLst xmlns:a="http://schemas.openxmlformats.org/drawingml/2006/main" xmlns:r="http://schemas.openxmlformats.org/officeDocument/2006/relationships" xmlns:p="http://schemas.openxmlformats.org/presentationml/2006/main">
  <p:tag name="AS_UNIQUEID" val="40683"/>
</p:tagLst>
</file>

<file path=ppt/tags/tag271.xml><?xml version="1.0" encoding="utf-8"?>
<p:tagLst xmlns:a="http://schemas.openxmlformats.org/drawingml/2006/main" xmlns:r="http://schemas.openxmlformats.org/officeDocument/2006/relationships" xmlns:p="http://schemas.openxmlformats.org/presentationml/2006/main">
  <p:tag name="AS_UNIQUEID" val="40684"/>
  <p:tag name="BTFPLAYOUTENABLED" val="1"/>
</p:tagLst>
</file>

<file path=ppt/tags/tag272.xml><?xml version="1.0" encoding="utf-8"?>
<p:tagLst xmlns:a="http://schemas.openxmlformats.org/drawingml/2006/main" xmlns:r="http://schemas.openxmlformats.org/officeDocument/2006/relationships" xmlns:p="http://schemas.openxmlformats.org/presentationml/2006/main">
  <p:tag name="AS_UNIQUEID" val="40685"/>
  <p:tag name="BTFPLAYOUTENABLED" val="1"/>
</p:tagLst>
</file>

<file path=ppt/tags/tag273.xml><?xml version="1.0" encoding="utf-8"?>
<p:tagLst xmlns:a="http://schemas.openxmlformats.org/drawingml/2006/main" xmlns:r="http://schemas.openxmlformats.org/officeDocument/2006/relationships" xmlns:p="http://schemas.openxmlformats.org/presentationml/2006/main">
  <p:tag name="AS_UNIQUEID" val="40686"/>
  <p:tag name="BTFPLAYOUTENABLED" val="1"/>
</p:tagLst>
</file>

<file path=ppt/tags/tag274.xml><?xml version="1.0" encoding="utf-8"?>
<p:tagLst xmlns:a="http://schemas.openxmlformats.org/drawingml/2006/main" xmlns:r="http://schemas.openxmlformats.org/officeDocument/2006/relationships" xmlns:p="http://schemas.openxmlformats.org/presentationml/2006/main">
  <p:tag name="AS_UNIQUEID" val="40687"/>
  <p:tag name="BTFPLAYOUTENABLED" val="1"/>
</p:tagLst>
</file>

<file path=ppt/tags/tag275.xml><?xml version="1.0" encoding="utf-8"?>
<p:tagLst xmlns:a="http://schemas.openxmlformats.org/drawingml/2006/main" xmlns:r="http://schemas.openxmlformats.org/officeDocument/2006/relationships" xmlns:p="http://schemas.openxmlformats.org/presentationml/2006/main">
  <p:tag name="AS_UNIQUEID" val="40688"/>
  <p:tag name="BTFPLAYOUTENABLED" val="1"/>
</p:tagLst>
</file>

<file path=ppt/tags/tag276.xml><?xml version="1.0" encoding="utf-8"?>
<p:tagLst xmlns:a="http://schemas.openxmlformats.org/drawingml/2006/main" xmlns:r="http://schemas.openxmlformats.org/officeDocument/2006/relationships" xmlns:p="http://schemas.openxmlformats.org/presentationml/2006/main">
  <p:tag name="AS_UNIQUEID" val="40689"/>
  <p:tag name="BTFPLAYOUTENABLED" val="1"/>
</p:tagLst>
</file>

<file path=ppt/tags/tag277.xml><?xml version="1.0" encoding="utf-8"?>
<p:tagLst xmlns:a="http://schemas.openxmlformats.org/drawingml/2006/main" xmlns:r="http://schemas.openxmlformats.org/officeDocument/2006/relationships" xmlns:p="http://schemas.openxmlformats.org/presentationml/2006/main">
  <p:tag name="AS_UNIQUEID" val="40690"/>
</p:tagLst>
</file>

<file path=ppt/tags/tag278.xml><?xml version="1.0" encoding="utf-8"?>
<p:tagLst xmlns:a="http://schemas.openxmlformats.org/drawingml/2006/main" xmlns:r="http://schemas.openxmlformats.org/officeDocument/2006/relationships" xmlns:p="http://schemas.openxmlformats.org/presentationml/2006/main">
  <p:tag name="AS_UNIQUEID" val="40694"/>
</p:tagLst>
</file>

<file path=ppt/tags/tag279.xml><?xml version="1.0" encoding="utf-8"?>
<p:tagLst xmlns:a="http://schemas.openxmlformats.org/drawingml/2006/main" xmlns:r="http://schemas.openxmlformats.org/officeDocument/2006/relationships" xmlns:p="http://schemas.openxmlformats.org/presentationml/2006/main">
  <p:tag name="AS_UNIQUEID" val="40698"/>
</p:tagLst>
</file>

<file path=ppt/tags/tag28.xml><?xml version="1.0" encoding="utf-8"?>
<p:tagLst xmlns:a="http://schemas.openxmlformats.org/drawingml/2006/main" xmlns:r="http://schemas.openxmlformats.org/officeDocument/2006/relationships" xmlns:p="http://schemas.openxmlformats.org/presentationml/2006/main">
  <p:tag name="AS_UNIQUEID" val="40408"/>
</p:tagLst>
</file>

<file path=ppt/tags/tag280.xml><?xml version="1.0" encoding="utf-8"?>
<p:tagLst xmlns:a="http://schemas.openxmlformats.org/drawingml/2006/main" xmlns:r="http://schemas.openxmlformats.org/officeDocument/2006/relationships" xmlns:p="http://schemas.openxmlformats.org/presentationml/2006/main">
  <p:tag name="AS_UNIQUEID" val="40702"/>
</p:tagLst>
</file>

<file path=ppt/tags/tag281.xml><?xml version="1.0" encoding="utf-8"?>
<p:tagLst xmlns:a="http://schemas.openxmlformats.org/drawingml/2006/main" xmlns:r="http://schemas.openxmlformats.org/officeDocument/2006/relationships" xmlns:p="http://schemas.openxmlformats.org/presentationml/2006/main">
  <p:tag name="AS_UNIQUEID" val="40708"/>
</p:tagLst>
</file>

<file path=ppt/tags/tag282.xml><?xml version="1.0" encoding="utf-8"?>
<p:tagLst xmlns:a="http://schemas.openxmlformats.org/drawingml/2006/main" xmlns:r="http://schemas.openxmlformats.org/officeDocument/2006/relationships" xmlns:p="http://schemas.openxmlformats.org/presentationml/2006/main">
  <p:tag name="AS_UNIQUEID" val="40709"/>
</p:tagLst>
</file>

<file path=ppt/tags/tag283.xml><?xml version="1.0" encoding="utf-8"?>
<p:tagLst xmlns:a="http://schemas.openxmlformats.org/drawingml/2006/main" xmlns:r="http://schemas.openxmlformats.org/officeDocument/2006/relationships" xmlns:p="http://schemas.openxmlformats.org/presentationml/2006/main">
  <p:tag name="AS_UNIQUEID" val="40710"/>
</p:tagLst>
</file>

<file path=ppt/tags/tag284.xml><?xml version="1.0" encoding="utf-8"?>
<p:tagLst xmlns:a="http://schemas.openxmlformats.org/drawingml/2006/main" xmlns:r="http://schemas.openxmlformats.org/officeDocument/2006/relationships" xmlns:p="http://schemas.openxmlformats.org/presentationml/2006/main">
  <p:tag name="AS_UNIQUEID" val="40711"/>
</p:tagLst>
</file>

<file path=ppt/tags/tag285.xml><?xml version="1.0" encoding="utf-8"?>
<p:tagLst xmlns:a="http://schemas.openxmlformats.org/drawingml/2006/main" xmlns:r="http://schemas.openxmlformats.org/officeDocument/2006/relationships" xmlns:p="http://schemas.openxmlformats.org/presentationml/2006/main">
  <p:tag name="AS_UNIQUEID" val="40712"/>
</p:tagLst>
</file>

<file path=ppt/tags/tag286.xml><?xml version="1.0" encoding="utf-8"?>
<p:tagLst xmlns:a="http://schemas.openxmlformats.org/drawingml/2006/main" xmlns:r="http://schemas.openxmlformats.org/officeDocument/2006/relationships" xmlns:p="http://schemas.openxmlformats.org/presentationml/2006/main">
  <p:tag name="AS_UNIQUEID" val="40703"/>
</p:tagLst>
</file>

<file path=ppt/tags/tag287.xml><?xml version="1.0" encoding="utf-8"?>
<p:tagLst xmlns:a="http://schemas.openxmlformats.org/drawingml/2006/main" xmlns:r="http://schemas.openxmlformats.org/officeDocument/2006/relationships" xmlns:p="http://schemas.openxmlformats.org/presentationml/2006/main">
  <p:tag name="AS_UNIQUEID" val="40704"/>
</p:tagLst>
</file>

<file path=ppt/tags/tag288.xml><?xml version="1.0" encoding="utf-8"?>
<p:tagLst xmlns:a="http://schemas.openxmlformats.org/drawingml/2006/main" xmlns:r="http://schemas.openxmlformats.org/officeDocument/2006/relationships" xmlns:p="http://schemas.openxmlformats.org/presentationml/2006/main">
  <p:tag name="AS_UNIQUEID" val="40705"/>
</p:tagLst>
</file>

<file path=ppt/tags/tag289.xml><?xml version="1.0" encoding="utf-8"?>
<p:tagLst xmlns:a="http://schemas.openxmlformats.org/drawingml/2006/main" xmlns:r="http://schemas.openxmlformats.org/officeDocument/2006/relationships" xmlns:p="http://schemas.openxmlformats.org/presentationml/2006/main">
  <p:tag name="AS_UNIQUEID" val="40706"/>
</p:tagLst>
</file>

<file path=ppt/tags/tag29.xml><?xml version="1.0" encoding="utf-8"?>
<p:tagLst xmlns:a="http://schemas.openxmlformats.org/drawingml/2006/main" xmlns:r="http://schemas.openxmlformats.org/officeDocument/2006/relationships" xmlns:p="http://schemas.openxmlformats.org/presentationml/2006/main">
  <p:tag name="AS_UNIQUEID" val="40409"/>
</p:tagLst>
</file>

<file path=ppt/tags/tag290.xml><?xml version="1.0" encoding="utf-8"?>
<p:tagLst xmlns:a="http://schemas.openxmlformats.org/drawingml/2006/main" xmlns:r="http://schemas.openxmlformats.org/officeDocument/2006/relationships" xmlns:p="http://schemas.openxmlformats.org/presentationml/2006/main">
  <p:tag name="AS_UNIQUEID" val="40707"/>
</p:tagLst>
</file>

<file path=ppt/tags/tag291.xml><?xml version="1.0" encoding="utf-8"?>
<p:tagLst xmlns:a="http://schemas.openxmlformats.org/drawingml/2006/main" xmlns:r="http://schemas.openxmlformats.org/officeDocument/2006/relationships" xmlns:p="http://schemas.openxmlformats.org/presentationml/2006/main">
  <p:tag name="AS_UNIQUEID" val="40699"/>
</p:tagLst>
</file>

<file path=ppt/tags/tag292.xml><?xml version="1.0" encoding="utf-8"?>
<p:tagLst xmlns:a="http://schemas.openxmlformats.org/drawingml/2006/main" xmlns:r="http://schemas.openxmlformats.org/officeDocument/2006/relationships" xmlns:p="http://schemas.openxmlformats.org/presentationml/2006/main">
  <p:tag name="AS_UNIQUEID" val="40700"/>
</p:tagLst>
</file>

<file path=ppt/tags/tag293.xml><?xml version="1.0" encoding="utf-8"?>
<p:tagLst xmlns:a="http://schemas.openxmlformats.org/drawingml/2006/main" xmlns:r="http://schemas.openxmlformats.org/officeDocument/2006/relationships" xmlns:p="http://schemas.openxmlformats.org/presentationml/2006/main">
  <p:tag name="AS_UNIQUEID" val="40701"/>
</p:tagLst>
</file>

<file path=ppt/tags/tag294.xml><?xml version="1.0" encoding="utf-8"?>
<p:tagLst xmlns:a="http://schemas.openxmlformats.org/drawingml/2006/main" xmlns:r="http://schemas.openxmlformats.org/officeDocument/2006/relationships" xmlns:p="http://schemas.openxmlformats.org/presentationml/2006/main">
  <p:tag name="AS_UNIQUEID" val="40695"/>
</p:tagLst>
</file>

<file path=ppt/tags/tag295.xml><?xml version="1.0" encoding="utf-8"?>
<p:tagLst xmlns:a="http://schemas.openxmlformats.org/drawingml/2006/main" xmlns:r="http://schemas.openxmlformats.org/officeDocument/2006/relationships" xmlns:p="http://schemas.openxmlformats.org/presentationml/2006/main">
  <p:tag name="AS_UNIQUEID" val="40696"/>
</p:tagLst>
</file>

<file path=ppt/tags/tag296.xml><?xml version="1.0" encoding="utf-8"?>
<p:tagLst xmlns:a="http://schemas.openxmlformats.org/drawingml/2006/main" xmlns:r="http://schemas.openxmlformats.org/officeDocument/2006/relationships" xmlns:p="http://schemas.openxmlformats.org/presentationml/2006/main">
  <p:tag name="AS_UNIQUEID" val="40697"/>
</p:tagLst>
</file>

<file path=ppt/tags/tag297.xml><?xml version="1.0" encoding="utf-8"?>
<p:tagLst xmlns:a="http://schemas.openxmlformats.org/drawingml/2006/main" xmlns:r="http://schemas.openxmlformats.org/officeDocument/2006/relationships" xmlns:p="http://schemas.openxmlformats.org/presentationml/2006/main">
  <p:tag name="AS_UNIQUEID" val="40691"/>
</p:tagLst>
</file>

<file path=ppt/tags/tag298.xml><?xml version="1.0" encoding="utf-8"?>
<p:tagLst xmlns:a="http://schemas.openxmlformats.org/drawingml/2006/main" xmlns:r="http://schemas.openxmlformats.org/officeDocument/2006/relationships" xmlns:p="http://schemas.openxmlformats.org/presentationml/2006/main">
  <p:tag name="AS_UNIQUEID" val="40692"/>
</p:tagLst>
</file>

<file path=ppt/tags/tag299.xml><?xml version="1.0" encoding="utf-8"?>
<p:tagLst xmlns:a="http://schemas.openxmlformats.org/drawingml/2006/main" xmlns:r="http://schemas.openxmlformats.org/officeDocument/2006/relationships" xmlns:p="http://schemas.openxmlformats.org/presentationml/2006/main">
  <p:tag name="AS_UNIQUEID" val="40693"/>
</p:tagLst>
</file>

<file path=ppt/tags/tag3.xml><?xml version="1.0" encoding="utf-8"?>
<p:tagLst xmlns:a="http://schemas.openxmlformats.org/drawingml/2006/main" xmlns:r="http://schemas.openxmlformats.org/officeDocument/2006/relationships" xmlns:p="http://schemas.openxmlformats.org/presentationml/2006/main">
  <p:tag name="AS_UNIQUEID" val="40413"/>
</p:tagLst>
</file>

<file path=ppt/tags/tag30.xml><?xml version="1.0" encoding="utf-8"?>
<p:tagLst xmlns:a="http://schemas.openxmlformats.org/drawingml/2006/main" xmlns:r="http://schemas.openxmlformats.org/officeDocument/2006/relationships" xmlns:p="http://schemas.openxmlformats.org/presentationml/2006/main">
  <p:tag name="AS_UNIQUEID" val="40410"/>
</p:tagLst>
</file>

<file path=ppt/tags/tag300.xml><?xml version="1.0" encoding="utf-8"?>
<p:tagLst xmlns:a="http://schemas.openxmlformats.org/drawingml/2006/main" xmlns:r="http://schemas.openxmlformats.org/officeDocument/2006/relationships" xmlns:p="http://schemas.openxmlformats.org/presentationml/2006/main">
  <p:tag name="AS_UNIQUEID" val="40681"/>
</p:tagLst>
</file>

<file path=ppt/tags/tag301.xml><?xml version="1.0" encoding="utf-8"?>
<p:tagLst xmlns:a="http://schemas.openxmlformats.org/drawingml/2006/main" xmlns:r="http://schemas.openxmlformats.org/officeDocument/2006/relationships" xmlns:p="http://schemas.openxmlformats.org/presentationml/2006/main">
  <p:tag name="AS_UNIQUEID" val="40682"/>
</p:tagLst>
</file>

<file path=ppt/tags/tag302.xml><?xml version="1.0" encoding="utf-8"?>
<p:tagLst xmlns:a="http://schemas.openxmlformats.org/drawingml/2006/main" xmlns:r="http://schemas.openxmlformats.org/officeDocument/2006/relationships" xmlns:p="http://schemas.openxmlformats.org/presentationml/2006/main">
  <p:tag name="AS_UNIQUEID" val="40678"/>
</p:tagLst>
</file>

<file path=ppt/tags/tag303.xml><?xml version="1.0" encoding="utf-8"?>
<p:tagLst xmlns:a="http://schemas.openxmlformats.org/drawingml/2006/main" xmlns:r="http://schemas.openxmlformats.org/officeDocument/2006/relationships" xmlns:p="http://schemas.openxmlformats.org/presentationml/2006/main">
  <p:tag name="AS_UNIQUEID" val="40679"/>
</p:tagLst>
</file>

<file path=ppt/tags/tag304.xml><?xml version="1.0" encoding="utf-8"?>
<p:tagLst xmlns:a="http://schemas.openxmlformats.org/drawingml/2006/main" xmlns:r="http://schemas.openxmlformats.org/officeDocument/2006/relationships" xmlns:p="http://schemas.openxmlformats.org/presentationml/2006/main">
  <p:tag name="AS_UNIQUEID" val="40669"/>
</p:tagLst>
</file>

<file path=ppt/tags/tag305.xml><?xml version="1.0" encoding="utf-8"?>
<p:tagLst xmlns:a="http://schemas.openxmlformats.org/drawingml/2006/main" xmlns:r="http://schemas.openxmlformats.org/officeDocument/2006/relationships" xmlns:p="http://schemas.openxmlformats.org/presentationml/2006/main">
  <p:tag name="AS_UNIQUEID" val="40670"/>
</p:tagLst>
</file>

<file path=ppt/tags/tag306.xml><?xml version="1.0" encoding="utf-8"?>
<p:tagLst xmlns:a="http://schemas.openxmlformats.org/drawingml/2006/main" xmlns:r="http://schemas.openxmlformats.org/officeDocument/2006/relationships" xmlns:p="http://schemas.openxmlformats.org/presentationml/2006/main">
  <p:tag name="AS_UNIQUEID" val="40671"/>
</p:tagLst>
</file>

<file path=ppt/tags/tag307.xml><?xml version="1.0" encoding="utf-8"?>
<p:tagLst xmlns:a="http://schemas.openxmlformats.org/drawingml/2006/main" xmlns:r="http://schemas.openxmlformats.org/officeDocument/2006/relationships" xmlns:p="http://schemas.openxmlformats.org/presentationml/2006/main">
  <p:tag name="AS_UNIQUEID" val="40672"/>
</p:tagLst>
</file>

<file path=ppt/tags/tag308.xml><?xml version="1.0" encoding="utf-8"?>
<p:tagLst xmlns:a="http://schemas.openxmlformats.org/drawingml/2006/main" xmlns:r="http://schemas.openxmlformats.org/officeDocument/2006/relationships" xmlns:p="http://schemas.openxmlformats.org/presentationml/2006/main">
  <p:tag name="AS_UNIQUEID" val="40664"/>
</p:tagLst>
</file>

<file path=ppt/tags/tag309.xml><?xml version="1.0" encoding="utf-8"?>
<p:tagLst xmlns:a="http://schemas.openxmlformats.org/drawingml/2006/main" xmlns:r="http://schemas.openxmlformats.org/officeDocument/2006/relationships" xmlns:p="http://schemas.openxmlformats.org/presentationml/2006/main">
  <p:tag name="AS_UNIQUEID" val="40665"/>
</p:tagLst>
</file>

<file path=ppt/tags/tag31.xml><?xml version="1.0" encoding="utf-8"?>
<p:tagLst xmlns:a="http://schemas.openxmlformats.org/drawingml/2006/main" xmlns:r="http://schemas.openxmlformats.org/officeDocument/2006/relationships" xmlns:p="http://schemas.openxmlformats.org/presentationml/2006/main">
  <p:tag name="AS_UNIQUEID" val="40424"/>
</p:tagLst>
</file>

<file path=ppt/tags/tag310.xml><?xml version="1.0" encoding="utf-8"?>
<p:tagLst xmlns:a="http://schemas.openxmlformats.org/drawingml/2006/main" xmlns:r="http://schemas.openxmlformats.org/officeDocument/2006/relationships" xmlns:p="http://schemas.openxmlformats.org/presentationml/2006/main">
  <p:tag name="AS_UNIQUEID" val="40666"/>
</p:tagLst>
</file>

<file path=ppt/tags/tag311.xml><?xml version="1.0" encoding="utf-8"?>
<p:tagLst xmlns:a="http://schemas.openxmlformats.org/drawingml/2006/main" xmlns:r="http://schemas.openxmlformats.org/officeDocument/2006/relationships" xmlns:p="http://schemas.openxmlformats.org/presentationml/2006/main">
  <p:tag name="AS_UNIQUEID" val="40667"/>
</p:tagLst>
</file>

<file path=ppt/tags/tag312.xml><?xml version="1.0" encoding="utf-8"?>
<p:tagLst xmlns:a="http://schemas.openxmlformats.org/drawingml/2006/main" xmlns:r="http://schemas.openxmlformats.org/officeDocument/2006/relationships" xmlns:p="http://schemas.openxmlformats.org/presentationml/2006/main">
  <p:tag name="AS_UNIQUEID" val="40659"/>
</p:tagLst>
</file>

<file path=ppt/tags/tag313.xml><?xml version="1.0" encoding="utf-8"?>
<p:tagLst xmlns:a="http://schemas.openxmlformats.org/drawingml/2006/main" xmlns:r="http://schemas.openxmlformats.org/officeDocument/2006/relationships" xmlns:p="http://schemas.openxmlformats.org/presentationml/2006/main">
  <p:tag name="AS_UNIQUEID" val="40660"/>
</p:tagLst>
</file>

<file path=ppt/tags/tag314.xml><?xml version="1.0" encoding="utf-8"?>
<p:tagLst xmlns:a="http://schemas.openxmlformats.org/drawingml/2006/main" xmlns:r="http://schemas.openxmlformats.org/officeDocument/2006/relationships" xmlns:p="http://schemas.openxmlformats.org/presentationml/2006/main">
  <p:tag name="AS_UNIQUEID" val="40661"/>
</p:tagLst>
</file>

<file path=ppt/tags/tag315.xml><?xml version="1.0" encoding="utf-8"?>
<p:tagLst xmlns:a="http://schemas.openxmlformats.org/drawingml/2006/main" xmlns:r="http://schemas.openxmlformats.org/officeDocument/2006/relationships" xmlns:p="http://schemas.openxmlformats.org/presentationml/2006/main">
  <p:tag name="ARTICULATE_SLIDE_THUMBNAIL_REFRESH" val="1"/>
  <p:tag name="BTFPLAYOUTCOLUMNS" val="6"/>
  <p:tag name="BTFPLAYOUTENABLED" val="0"/>
</p:tagLst>
</file>

<file path=ppt/tags/tag316.xml><?xml version="1.0" encoding="utf-8"?>
<p:tagLst xmlns:a="http://schemas.openxmlformats.org/drawingml/2006/main" xmlns:r="http://schemas.openxmlformats.org/officeDocument/2006/relationships" xmlns:p="http://schemas.openxmlformats.org/presentationml/2006/main">
  <p:tag name="AS_UNIQUEID" val="40718"/>
</p:tagLst>
</file>

<file path=ppt/tags/tag317.xml><?xml version="1.0" encoding="utf-8"?>
<p:tagLst xmlns:a="http://schemas.openxmlformats.org/drawingml/2006/main" xmlns:r="http://schemas.openxmlformats.org/officeDocument/2006/relationships" xmlns:p="http://schemas.openxmlformats.org/presentationml/2006/main">
  <p:tag name="AS_UNIQUEID" val="40738"/>
</p:tagLst>
</file>

<file path=ppt/tags/tag318.xml><?xml version="1.0" encoding="utf-8"?>
<p:tagLst xmlns:a="http://schemas.openxmlformats.org/drawingml/2006/main" xmlns:r="http://schemas.openxmlformats.org/officeDocument/2006/relationships" xmlns:p="http://schemas.openxmlformats.org/presentationml/2006/main">
  <p:tag name="AS_UNIQUEID" val="40758"/>
  <p:tag name="BTFPCENTERX" val="50"/>
  <p:tag name="BTFPCENTERY" val="50"/>
  <p:tag name="BTFPHEIGHT" val="539.52"/>
  <p:tag name="BTFPLAYOUTANCHOREBOTTOM" val="False"/>
  <p:tag name="BTFPLAYOUTANCHORELEFT" val="True"/>
  <p:tag name="BTFPLAYOUTANCHORERIGHT" val="True"/>
  <p:tag name="BTFPLAYOUTANCHORETOP" val="True"/>
  <p:tag name="BTFPWIDTH" val="960"/>
</p:tagLst>
</file>

<file path=ppt/tags/tag319.xml><?xml version="1.0" encoding="utf-8"?>
<p:tagLst xmlns:a="http://schemas.openxmlformats.org/drawingml/2006/main" xmlns:r="http://schemas.openxmlformats.org/officeDocument/2006/relationships" xmlns:p="http://schemas.openxmlformats.org/presentationml/2006/main">
  <p:tag name="AS_UNIQUEID" val="40759"/>
</p:tagLst>
</file>

<file path=ppt/tags/tag32.xml><?xml version="1.0" encoding="utf-8"?>
<p:tagLst xmlns:a="http://schemas.openxmlformats.org/drawingml/2006/main" xmlns:r="http://schemas.openxmlformats.org/officeDocument/2006/relationships" xmlns:p="http://schemas.openxmlformats.org/presentationml/2006/main">
  <p:tag name="AS_UNIQUEID" val="40425"/>
</p:tagLst>
</file>

<file path=ppt/tags/tag320.xml><?xml version="1.0" encoding="utf-8"?>
<p:tagLst xmlns:a="http://schemas.openxmlformats.org/drawingml/2006/main" xmlns:r="http://schemas.openxmlformats.org/officeDocument/2006/relationships" xmlns:p="http://schemas.openxmlformats.org/presentationml/2006/main">
  <p:tag name="AS_UNIQUEID" val="40760"/>
</p:tagLst>
</file>

<file path=ppt/tags/tag321.xml><?xml version="1.0" encoding="utf-8"?>
<p:tagLst xmlns:a="http://schemas.openxmlformats.org/drawingml/2006/main" xmlns:r="http://schemas.openxmlformats.org/officeDocument/2006/relationships" xmlns:p="http://schemas.openxmlformats.org/presentationml/2006/main">
  <p:tag name="AS_UNIQUEID" val="40761"/>
</p:tagLst>
</file>

<file path=ppt/tags/tag322.xml><?xml version="1.0" encoding="utf-8"?>
<p:tagLst xmlns:a="http://schemas.openxmlformats.org/drawingml/2006/main" xmlns:r="http://schemas.openxmlformats.org/officeDocument/2006/relationships" xmlns:p="http://schemas.openxmlformats.org/presentationml/2006/main">
  <p:tag name="AS_UNIQUEID" val="40762"/>
</p:tagLst>
</file>

<file path=ppt/tags/tag323.xml><?xml version="1.0" encoding="utf-8"?>
<p:tagLst xmlns:a="http://schemas.openxmlformats.org/drawingml/2006/main" xmlns:r="http://schemas.openxmlformats.org/officeDocument/2006/relationships" xmlns:p="http://schemas.openxmlformats.org/presentationml/2006/main">
  <p:tag name="AS_UNIQUEID" val="40763"/>
</p:tagLst>
</file>

<file path=ppt/tags/tag324.xml><?xml version="1.0" encoding="utf-8"?>
<p:tagLst xmlns:a="http://schemas.openxmlformats.org/drawingml/2006/main" xmlns:r="http://schemas.openxmlformats.org/officeDocument/2006/relationships" xmlns:p="http://schemas.openxmlformats.org/presentationml/2006/main">
  <p:tag name="AS_UNIQUEID" val="40764"/>
</p:tagLst>
</file>

<file path=ppt/tags/tag325.xml><?xml version="1.0" encoding="utf-8"?>
<p:tagLst xmlns:a="http://schemas.openxmlformats.org/drawingml/2006/main" xmlns:r="http://schemas.openxmlformats.org/officeDocument/2006/relationships" xmlns:p="http://schemas.openxmlformats.org/presentationml/2006/main">
  <p:tag name="AS_UNIQUEID" val="40765"/>
</p:tagLst>
</file>

<file path=ppt/tags/tag326.xml><?xml version="1.0" encoding="utf-8"?>
<p:tagLst xmlns:a="http://schemas.openxmlformats.org/drawingml/2006/main" xmlns:r="http://schemas.openxmlformats.org/officeDocument/2006/relationships" xmlns:p="http://schemas.openxmlformats.org/presentationml/2006/main">
  <p:tag name="AS_UNIQUEID" val="40739"/>
</p:tagLst>
</file>

<file path=ppt/tags/tag327.xml><?xml version="1.0" encoding="utf-8"?>
<p:tagLst xmlns:a="http://schemas.openxmlformats.org/drawingml/2006/main" xmlns:r="http://schemas.openxmlformats.org/officeDocument/2006/relationships" xmlns:p="http://schemas.openxmlformats.org/presentationml/2006/main">
  <p:tag name="AS_UNIQUEID" val="40740"/>
</p:tagLst>
</file>

<file path=ppt/tags/tag328.xml><?xml version="1.0" encoding="utf-8"?>
<p:tagLst xmlns:a="http://schemas.openxmlformats.org/drawingml/2006/main" xmlns:r="http://schemas.openxmlformats.org/officeDocument/2006/relationships" xmlns:p="http://schemas.openxmlformats.org/presentationml/2006/main">
  <p:tag name="AS_UNIQUEID" val="40741"/>
</p:tagLst>
</file>

<file path=ppt/tags/tag329.xml><?xml version="1.0" encoding="utf-8"?>
<p:tagLst xmlns:a="http://schemas.openxmlformats.org/drawingml/2006/main" xmlns:r="http://schemas.openxmlformats.org/officeDocument/2006/relationships" xmlns:p="http://schemas.openxmlformats.org/presentationml/2006/main">
  <p:tag name="AS_UNIQUEID" val="40742"/>
</p:tagLst>
</file>

<file path=ppt/tags/tag33.xml><?xml version="1.0" encoding="utf-8"?>
<p:tagLst xmlns:a="http://schemas.openxmlformats.org/drawingml/2006/main" xmlns:r="http://schemas.openxmlformats.org/officeDocument/2006/relationships" xmlns:p="http://schemas.openxmlformats.org/presentationml/2006/main">
  <p:tag name="AS_UNIQUEID" val="40426"/>
</p:tagLst>
</file>

<file path=ppt/tags/tag330.xml><?xml version="1.0" encoding="utf-8"?>
<p:tagLst xmlns:a="http://schemas.openxmlformats.org/drawingml/2006/main" xmlns:r="http://schemas.openxmlformats.org/officeDocument/2006/relationships" xmlns:p="http://schemas.openxmlformats.org/presentationml/2006/main">
  <p:tag name="AS_UNIQUEID" val="40743"/>
</p:tagLst>
</file>

<file path=ppt/tags/tag331.xml><?xml version="1.0" encoding="utf-8"?>
<p:tagLst xmlns:a="http://schemas.openxmlformats.org/drawingml/2006/main" xmlns:r="http://schemas.openxmlformats.org/officeDocument/2006/relationships" xmlns:p="http://schemas.openxmlformats.org/presentationml/2006/main">
  <p:tag name="AS_UNIQUEID" val="40744"/>
</p:tagLst>
</file>

<file path=ppt/tags/tag332.xml><?xml version="1.0" encoding="utf-8"?>
<p:tagLst xmlns:a="http://schemas.openxmlformats.org/drawingml/2006/main" xmlns:r="http://schemas.openxmlformats.org/officeDocument/2006/relationships" xmlns:p="http://schemas.openxmlformats.org/presentationml/2006/main">
  <p:tag name="AS_UNIQUEID" val="40745"/>
</p:tagLst>
</file>

<file path=ppt/tags/tag333.xml><?xml version="1.0" encoding="utf-8"?>
<p:tagLst xmlns:a="http://schemas.openxmlformats.org/drawingml/2006/main" xmlns:r="http://schemas.openxmlformats.org/officeDocument/2006/relationships" xmlns:p="http://schemas.openxmlformats.org/presentationml/2006/main">
  <p:tag name="AS_UNIQUEID" val="40746"/>
</p:tagLst>
</file>

<file path=ppt/tags/tag334.xml><?xml version="1.0" encoding="utf-8"?>
<p:tagLst xmlns:a="http://schemas.openxmlformats.org/drawingml/2006/main" xmlns:r="http://schemas.openxmlformats.org/officeDocument/2006/relationships" xmlns:p="http://schemas.openxmlformats.org/presentationml/2006/main">
  <p:tag name="AS_UNIQUEID" val="40747"/>
</p:tagLst>
</file>

<file path=ppt/tags/tag335.xml><?xml version="1.0" encoding="utf-8"?>
<p:tagLst xmlns:a="http://schemas.openxmlformats.org/drawingml/2006/main" xmlns:r="http://schemas.openxmlformats.org/officeDocument/2006/relationships" xmlns:p="http://schemas.openxmlformats.org/presentationml/2006/main">
  <p:tag name="AS_UNIQUEID" val="40748"/>
</p:tagLst>
</file>

<file path=ppt/tags/tag336.xml><?xml version="1.0" encoding="utf-8"?>
<p:tagLst xmlns:a="http://schemas.openxmlformats.org/drawingml/2006/main" xmlns:r="http://schemas.openxmlformats.org/officeDocument/2006/relationships" xmlns:p="http://schemas.openxmlformats.org/presentationml/2006/main">
  <p:tag name="AS_UNIQUEID" val="40749"/>
</p:tagLst>
</file>

<file path=ppt/tags/tag337.xml><?xml version="1.0" encoding="utf-8"?>
<p:tagLst xmlns:a="http://schemas.openxmlformats.org/drawingml/2006/main" xmlns:r="http://schemas.openxmlformats.org/officeDocument/2006/relationships" xmlns:p="http://schemas.openxmlformats.org/presentationml/2006/main">
  <p:tag name="AS_UNIQUEID" val="40750"/>
</p:tagLst>
</file>

<file path=ppt/tags/tag338.xml><?xml version="1.0" encoding="utf-8"?>
<p:tagLst xmlns:a="http://schemas.openxmlformats.org/drawingml/2006/main" xmlns:r="http://schemas.openxmlformats.org/officeDocument/2006/relationships" xmlns:p="http://schemas.openxmlformats.org/presentationml/2006/main">
  <p:tag name="AS_UNIQUEID" val="40751"/>
</p:tagLst>
</file>

<file path=ppt/tags/tag339.xml><?xml version="1.0" encoding="utf-8"?>
<p:tagLst xmlns:a="http://schemas.openxmlformats.org/drawingml/2006/main" xmlns:r="http://schemas.openxmlformats.org/officeDocument/2006/relationships" xmlns:p="http://schemas.openxmlformats.org/presentationml/2006/main">
  <p:tag name="AS_UNIQUEID" val="40752"/>
</p:tagLst>
</file>

<file path=ppt/tags/tag34.xml><?xml version="1.0" encoding="utf-8"?>
<p:tagLst xmlns:a="http://schemas.openxmlformats.org/drawingml/2006/main" xmlns:r="http://schemas.openxmlformats.org/officeDocument/2006/relationships" xmlns:p="http://schemas.openxmlformats.org/presentationml/2006/main">
  <p:tag name="AS_UNIQUEID" val="40427"/>
</p:tagLst>
</file>

<file path=ppt/tags/tag340.xml><?xml version="1.0" encoding="utf-8"?>
<p:tagLst xmlns:a="http://schemas.openxmlformats.org/drawingml/2006/main" xmlns:r="http://schemas.openxmlformats.org/officeDocument/2006/relationships" xmlns:p="http://schemas.openxmlformats.org/presentationml/2006/main">
  <p:tag name="AS_UNIQUEID" val="40753"/>
</p:tagLst>
</file>

<file path=ppt/tags/tag341.xml><?xml version="1.0" encoding="utf-8"?>
<p:tagLst xmlns:a="http://schemas.openxmlformats.org/drawingml/2006/main" xmlns:r="http://schemas.openxmlformats.org/officeDocument/2006/relationships" xmlns:p="http://schemas.openxmlformats.org/presentationml/2006/main">
  <p:tag name="AS_UNIQUEID" val="40754"/>
</p:tagLst>
</file>

<file path=ppt/tags/tag342.xml><?xml version="1.0" encoding="utf-8"?>
<p:tagLst xmlns:a="http://schemas.openxmlformats.org/drawingml/2006/main" xmlns:r="http://schemas.openxmlformats.org/officeDocument/2006/relationships" xmlns:p="http://schemas.openxmlformats.org/presentationml/2006/main">
  <p:tag name="AS_UNIQUEID" val="40755"/>
</p:tagLst>
</file>

<file path=ppt/tags/tag343.xml><?xml version="1.0" encoding="utf-8"?>
<p:tagLst xmlns:a="http://schemas.openxmlformats.org/drawingml/2006/main" xmlns:r="http://schemas.openxmlformats.org/officeDocument/2006/relationships" xmlns:p="http://schemas.openxmlformats.org/presentationml/2006/main">
  <p:tag name="AS_UNIQUEID" val="40756"/>
</p:tagLst>
</file>

<file path=ppt/tags/tag344.xml><?xml version="1.0" encoding="utf-8"?>
<p:tagLst xmlns:a="http://schemas.openxmlformats.org/drawingml/2006/main" xmlns:r="http://schemas.openxmlformats.org/officeDocument/2006/relationships" xmlns:p="http://schemas.openxmlformats.org/presentationml/2006/main">
  <p:tag name="AS_UNIQUEID" val="40757"/>
</p:tagLst>
</file>

<file path=ppt/tags/tag345.xml><?xml version="1.0" encoding="utf-8"?>
<p:tagLst xmlns:a="http://schemas.openxmlformats.org/drawingml/2006/main" xmlns:r="http://schemas.openxmlformats.org/officeDocument/2006/relationships" xmlns:p="http://schemas.openxmlformats.org/presentationml/2006/main">
  <p:tag name="AS_UNIQUEID" val="40719"/>
</p:tagLst>
</file>

<file path=ppt/tags/tag346.xml><?xml version="1.0" encoding="utf-8"?>
<p:tagLst xmlns:a="http://schemas.openxmlformats.org/drawingml/2006/main" xmlns:r="http://schemas.openxmlformats.org/officeDocument/2006/relationships" xmlns:p="http://schemas.openxmlformats.org/presentationml/2006/main">
  <p:tag name="AS_UNIQUEID" val="40720"/>
</p:tagLst>
</file>

<file path=ppt/tags/tag347.xml><?xml version="1.0" encoding="utf-8"?>
<p:tagLst xmlns:a="http://schemas.openxmlformats.org/drawingml/2006/main" xmlns:r="http://schemas.openxmlformats.org/officeDocument/2006/relationships" xmlns:p="http://schemas.openxmlformats.org/presentationml/2006/main">
  <p:tag name="AS_UNIQUEID" val="40721"/>
</p:tagLst>
</file>

<file path=ppt/tags/tag348.xml><?xml version="1.0" encoding="utf-8"?>
<p:tagLst xmlns:a="http://schemas.openxmlformats.org/drawingml/2006/main" xmlns:r="http://schemas.openxmlformats.org/officeDocument/2006/relationships" xmlns:p="http://schemas.openxmlformats.org/presentationml/2006/main">
  <p:tag name="AS_UNIQUEID" val="40722"/>
</p:tagLst>
</file>

<file path=ppt/tags/tag349.xml><?xml version="1.0" encoding="utf-8"?>
<p:tagLst xmlns:a="http://schemas.openxmlformats.org/drawingml/2006/main" xmlns:r="http://schemas.openxmlformats.org/officeDocument/2006/relationships" xmlns:p="http://schemas.openxmlformats.org/presentationml/2006/main">
  <p:tag name="AS_UNIQUEID" val="40723"/>
</p:tagLst>
</file>

<file path=ppt/tags/tag35.xml><?xml version="1.0" encoding="utf-8"?>
<p:tagLst xmlns:a="http://schemas.openxmlformats.org/drawingml/2006/main" xmlns:r="http://schemas.openxmlformats.org/officeDocument/2006/relationships" xmlns:p="http://schemas.openxmlformats.org/presentationml/2006/main">
  <p:tag name="AS_UNIQUEID" val="40428"/>
</p:tagLst>
</file>

<file path=ppt/tags/tag350.xml><?xml version="1.0" encoding="utf-8"?>
<p:tagLst xmlns:a="http://schemas.openxmlformats.org/drawingml/2006/main" xmlns:r="http://schemas.openxmlformats.org/officeDocument/2006/relationships" xmlns:p="http://schemas.openxmlformats.org/presentationml/2006/main">
  <p:tag name="AS_UNIQUEID" val="40724"/>
</p:tagLst>
</file>

<file path=ppt/tags/tag351.xml><?xml version="1.0" encoding="utf-8"?>
<p:tagLst xmlns:a="http://schemas.openxmlformats.org/drawingml/2006/main" xmlns:r="http://schemas.openxmlformats.org/officeDocument/2006/relationships" xmlns:p="http://schemas.openxmlformats.org/presentationml/2006/main">
  <p:tag name="AS_UNIQUEID" val="40725"/>
</p:tagLst>
</file>

<file path=ppt/tags/tag352.xml><?xml version="1.0" encoding="utf-8"?>
<p:tagLst xmlns:a="http://schemas.openxmlformats.org/drawingml/2006/main" xmlns:r="http://schemas.openxmlformats.org/officeDocument/2006/relationships" xmlns:p="http://schemas.openxmlformats.org/presentationml/2006/main">
  <p:tag name="AS_UNIQUEID" val="40726"/>
</p:tagLst>
</file>

<file path=ppt/tags/tag353.xml><?xml version="1.0" encoding="utf-8"?>
<p:tagLst xmlns:a="http://schemas.openxmlformats.org/drawingml/2006/main" xmlns:r="http://schemas.openxmlformats.org/officeDocument/2006/relationships" xmlns:p="http://schemas.openxmlformats.org/presentationml/2006/main">
  <p:tag name="AS_UNIQUEID" val="40727"/>
</p:tagLst>
</file>

<file path=ppt/tags/tag354.xml><?xml version="1.0" encoding="utf-8"?>
<p:tagLst xmlns:a="http://schemas.openxmlformats.org/drawingml/2006/main" xmlns:r="http://schemas.openxmlformats.org/officeDocument/2006/relationships" xmlns:p="http://schemas.openxmlformats.org/presentationml/2006/main">
  <p:tag name="AS_UNIQUEID" val="40728"/>
</p:tagLst>
</file>

<file path=ppt/tags/tag355.xml><?xml version="1.0" encoding="utf-8"?>
<p:tagLst xmlns:a="http://schemas.openxmlformats.org/drawingml/2006/main" xmlns:r="http://schemas.openxmlformats.org/officeDocument/2006/relationships" xmlns:p="http://schemas.openxmlformats.org/presentationml/2006/main">
  <p:tag name="AS_UNIQUEID" val="40729"/>
</p:tagLst>
</file>

<file path=ppt/tags/tag356.xml><?xml version="1.0" encoding="utf-8"?>
<p:tagLst xmlns:a="http://schemas.openxmlformats.org/drawingml/2006/main" xmlns:r="http://schemas.openxmlformats.org/officeDocument/2006/relationships" xmlns:p="http://schemas.openxmlformats.org/presentationml/2006/main">
  <p:tag name="AS_UNIQUEID" val="40730"/>
</p:tagLst>
</file>

<file path=ppt/tags/tag357.xml><?xml version="1.0" encoding="utf-8"?>
<p:tagLst xmlns:a="http://schemas.openxmlformats.org/drawingml/2006/main" xmlns:r="http://schemas.openxmlformats.org/officeDocument/2006/relationships" xmlns:p="http://schemas.openxmlformats.org/presentationml/2006/main">
  <p:tag name="AS_UNIQUEID" val="40731"/>
</p:tagLst>
</file>

<file path=ppt/tags/tag358.xml><?xml version="1.0" encoding="utf-8"?>
<p:tagLst xmlns:a="http://schemas.openxmlformats.org/drawingml/2006/main" xmlns:r="http://schemas.openxmlformats.org/officeDocument/2006/relationships" xmlns:p="http://schemas.openxmlformats.org/presentationml/2006/main">
  <p:tag name="AS_UNIQUEID" val="40732"/>
</p:tagLst>
</file>

<file path=ppt/tags/tag359.xml><?xml version="1.0" encoding="utf-8"?>
<p:tagLst xmlns:a="http://schemas.openxmlformats.org/drawingml/2006/main" xmlns:r="http://schemas.openxmlformats.org/officeDocument/2006/relationships" xmlns:p="http://schemas.openxmlformats.org/presentationml/2006/main">
  <p:tag name="AS_UNIQUEID" val="40733"/>
</p:tagLst>
</file>

<file path=ppt/tags/tag36.xml><?xml version="1.0" encoding="utf-8"?>
<p:tagLst xmlns:a="http://schemas.openxmlformats.org/drawingml/2006/main" xmlns:r="http://schemas.openxmlformats.org/officeDocument/2006/relationships" xmlns:p="http://schemas.openxmlformats.org/presentationml/2006/main">
  <p:tag name="AS_UNIQUEID" val="40429"/>
</p:tagLst>
</file>

<file path=ppt/tags/tag360.xml><?xml version="1.0" encoding="utf-8"?>
<p:tagLst xmlns:a="http://schemas.openxmlformats.org/drawingml/2006/main" xmlns:r="http://schemas.openxmlformats.org/officeDocument/2006/relationships" xmlns:p="http://schemas.openxmlformats.org/presentationml/2006/main">
  <p:tag name="AS_UNIQUEID" val="40734"/>
</p:tagLst>
</file>

<file path=ppt/tags/tag361.xml><?xml version="1.0" encoding="utf-8"?>
<p:tagLst xmlns:a="http://schemas.openxmlformats.org/drawingml/2006/main" xmlns:r="http://schemas.openxmlformats.org/officeDocument/2006/relationships" xmlns:p="http://schemas.openxmlformats.org/presentationml/2006/main">
  <p:tag name="AS_UNIQUEID" val="40735"/>
</p:tagLst>
</file>

<file path=ppt/tags/tag362.xml><?xml version="1.0" encoding="utf-8"?>
<p:tagLst xmlns:a="http://schemas.openxmlformats.org/drawingml/2006/main" xmlns:r="http://schemas.openxmlformats.org/officeDocument/2006/relationships" xmlns:p="http://schemas.openxmlformats.org/presentationml/2006/main">
  <p:tag name="AS_UNIQUEID" val="40736"/>
</p:tagLst>
</file>

<file path=ppt/tags/tag363.xml><?xml version="1.0" encoding="utf-8"?>
<p:tagLst xmlns:a="http://schemas.openxmlformats.org/drawingml/2006/main" xmlns:r="http://schemas.openxmlformats.org/officeDocument/2006/relationships" xmlns:p="http://schemas.openxmlformats.org/presentationml/2006/main">
  <p:tag name="AS_UNIQUEID" val="40737"/>
</p:tagLst>
</file>

<file path=ppt/tags/tag364.xml><?xml version="1.0" encoding="utf-8"?>
<p:tagLst xmlns:a="http://schemas.openxmlformats.org/drawingml/2006/main" xmlns:r="http://schemas.openxmlformats.org/officeDocument/2006/relationships" xmlns:p="http://schemas.openxmlformats.org/presentationml/2006/main">
  <p:tag name="AS_UNIQUEID" val="40714"/>
</p:tagLst>
</file>

<file path=ppt/tags/tag365.xml><?xml version="1.0" encoding="utf-8"?>
<p:tagLst xmlns:a="http://schemas.openxmlformats.org/drawingml/2006/main" xmlns:r="http://schemas.openxmlformats.org/officeDocument/2006/relationships" xmlns:p="http://schemas.openxmlformats.org/presentationml/2006/main">
  <p:tag name="AS_UNIQUEID" val="40715"/>
</p:tagLst>
</file>

<file path=ppt/tags/tag366.xml><?xml version="1.0" encoding="utf-8"?>
<p:tagLst xmlns:a="http://schemas.openxmlformats.org/drawingml/2006/main" xmlns:r="http://schemas.openxmlformats.org/officeDocument/2006/relationships" xmlns:p="http://schemas.openxmlformats.org/presentationml/2006/main">
  <p:tag name="AS_UNIQUEID" val="40716"/>
</p:tagLst>
</file>

<file path=ppt/tags/tag36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68.xml><?xml version="1.0" encoding="utf-8"?>
<p:tagLst xmlns:a="http://schemas.openxmlformats.org/drawingml/2006/main" xmlns:r="http://schemas.openxmlformats.org/officeDocument/2006/relationships" xmlns:p="http://schemas.openxmlformats.org/presentationml/2006/main">
  <p:tag name="AS_UNIQUEID" val="40771"/>
</p:tagLst>
</file>

<file path=ppt/tags/tag369.xml><?xml version="1.0" encoding="utf-8"?>
<p:tagLst xmlns:a="http://schemas.openxmlformats.org/drawingml/2006/main" xmlns:r="http://schemas.openxmlformats.org/officeDocument/2006/relationships" xmlns:p="http://schemas.openxmlformats.org/presentationml/2006/main">
  <p:tag name="AS_UNIQUEID" val="40776"/>
</p:tagLst>
</file>

<file path=ppt/tags/tag3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70.xml><?xml version="1.0" encoding="utf-8"?>
<p:tagLst xmlns:a="http://schemas.openxmlformats.org/drawingml/2006/main" xmlns:r="http://schemas.openxmlformats.org/officeDocument/2006/relationships" xmlns:p="http://schemas.openxmlformats.org/presentationml/2006/main">
  <p:tag name="AS_UNIQUEID" val="40781"/>
</p:tagLst>
</file>

<file path=ppt/tags/tag371.xml><?xml version="1.0" encoding="utf-8"?>
<p:tagLst xmlns:a="http://schemas.openxmlformats.org/drawingml/2006/main" xmlns:r="http://schemas.openxmlformats.org/officeDocument/2006/relationships" xmlns:p="http://schemas.openxmlformats.org/presentationml/2006/main">
  <p:tag name="AS_UNIQUEID" val="40388"/>
  <p:tag name="BTFPCENTERX" val="51.12782"/>
  <p:tag name="BTFPCENTERY" val="81.33334"/>
  <p:tag name="BTFPHEIGHT" val="540.0004"/>
  <p:tag name="BTFPLAYOUTANCHOREBOTTOM" val="False"/>
  <p:tag name="BTFPLAYOUTANCHORELEFT" val="True"/>
  <p:tag name="BTFPLAYOUTANCHORERIGHT" val="True"/>
  <p:tag name="BTFPLAYOUTANCHORETOP" val="True"/>
  <p:tag name="BTFPWIDTH" val="959.9991"/>
</p:tagLst>
</file>

<file path=ppt/tags/tag372.xml><?xml version="1.0" encoding="utf-8"?>
<p:tagLst xmlns:a="http://schemas.openxmlformats.org/drawingml/2006/main" xmlns:r="http://schemas.openxmlformats.org/officeDocument/2006/relationships" xmlns:p="http://schemas.openxmlformats.org/presentationml/2006/main">
  <p:tag name="AS_UNIQUEID" val="40782"/>
</p:tagLst>
</file>

<file path=ppt/tags/tag373.xml><?xml version="1.0" encoding="utf-8"?>
<p:tagLst xmlns:a="http://schemas.openxmlformats.org/drawingml/2006/main" xmlns:r="http://schemas.openxmlformats.org/officeDocument/2006/relationships" xmlns:p="http://schemas.openxmlformats.org/presentationml/2006/main">
  <p:tag name="AS_UNIQUEID" val="40783"/>
  <p:tag name="BTFPLAYOUTENABLED" val="1"/>
</p:tagLst>
</file>

<file path=ppt/tags/tag374.xml><?xml version="1.0" encoding="utf-8"?>
<p:tagLst xmlns:a="http://schemas.openxmlformats.org/drawingml/2006/main" xmlns:r="http://schemas.openxmlformats.org/officeDocument/2006/relationships" xmlns:p="http://schemas.openxmlformats.org/presentationml/2006/main">
  <p:tag name="AS_UNIQUEID" val="40786"/>
</p:tagLst>
</file>

<file path=ppt/tags/tag375.xml><?xml version="1.0" encoding="utf-8"?>
<p:tagLst xmlns:a="http://schemas.openxmlformats.org/drawingml/2006/main" xmlns:r="http://schemas.openxmlformats.org/officeDocument/2006/relationships" xmlns:p="http://schemas.openxmlformats.org/presentationml/2006/main">
  <p:tag name="AS_UNIQUEID" val="40794"/>
</p:tagLst>
</file>

<file path=ppt/tags/tag376.xml><?xml version="1.0" encoding="utf-8"?>
<p:tagLst xmlns:a="http://schemas.openxmlformats.org/drawingml/2006/main" xmlns:r="http://schemas.openxmlformats.org/officeDocument/2006/relationships" xmlns:p="http://schemas.openxmlformats.org/presentationml/2006/main">
  <p:tag name="AS_UNIQUEID" val="40795"/>
</p:tagLst>
</file>

<file path=ppt/tags/tag377.xml><?xml version="1.0" encoding="utf-8"?>
<p:tagLst xmlns:a="http://schemas.openxmlformats.org/drawingml/2006/main" xmlns:r="http://schemas.openxmlformats.org/officeDocument/2006/relationships" xmlns:p="http://schemas.openxmlformats.org/presentationml/2006/main">
  <p:tag name="AS_UNIQUEID" val="40796"/>
</p:tagLst>
</file>

<file path=ppt/tags/tag378.xml><?xml version="1.0" encoding="utf-8"?>
<p:tagLst xmlns:a="http://schemas.openxmlformats.org/drawingml/2006/main" xmlns:r="http://schemas.openxmlformats.org/officeDocument/2006/relationships" xmlns:p="http://schemas.openxmlformats.org/presentationml/2006/main">
  <p:tag name="AS_UNIQUEID" val="40797"/>
</p:tagLst>
</file>

<file path=ppt/tags/tag379.xml><?xml version="1.0" encoding="utf-8"?>
<p:tagLst xmlns:a="http://schemas.openxmlformats.org/drawingml/2006/main" xmlns:r="http://schemas.openxmlformats.org/officeDocument/2006/relationships" xmlns:p="http://schemas.openxmlformats.org/presentationml/2006/main">
  <p:tag name="AS_UNIQUEID" val="40798"/>
</p:tagLst>
</file>

<file path=ppt/tags/tag38.xml><?xml version="1.0" encoding="utf-8"?>
<p:tagLst xmlns:a="http://schemas.openxmlformats.org/drawingml/2006/main" xmlns:r="http://schemas.openxmlformats.org/officeDocument/2006/relationships" xmlns:p="http://schemas.openxmlformats.org/presentationml/2006/main">
  <p:tag name="AS_UNIQUEID" val="40435"/>
</p:tagLst>
</file>

<file path=ppt/tags/tag380.xml><?xml version="1.0" encoding="utf-8"?>
<p:tagLst xmlns:a="http://schemas.openxmlformats.org/drawingml/2006/main" xmlns:r="http://schemas.openxmlformats.org/officeDocument/2006/relationships" xmlns:p="http://schemas.openxmlformats.org/presentationml/2006/main">
  <p:tag name="AS_UNIQUEID" val="40799"/>
</p:tagLst>
</file>

<file path=ppt/tags/tag381.xml><?xml version="1.0" encoding="utf-8"?>
<p:tagLst xmlns:a="http://schemas.openxmlformats.org/drawingml/2006/main" xmlns:r="http://schemas.openxmlformats.org/officeDocument/2006/relationships" xmlns:p="http://schemas.openxmlformats.org/presentationml/2006/main">
  <p:tag name="AS_UNIQUEID" val="40800"/>
</p:tagLst>
</file>

<file path=ppt/tags/tag382.xml><?xml version="1.0" encoding="utf-8"?>
<p:tagLst xmlns:a="http://schemas.openxmlformats.org/drawingml/2006/main" xmlns:r="http://schemas.openxmlformats.org/officeDocument/2006/relationships" xmlns:p="http://schemas.openxmlformats.org/presentationml/2006/main">
  <p:tag name="AS_UNIQUEID" val="40801"/>
</p:tagLst>
</file>

<file path=ppt/tags/tag383.xml><?xml version="1.0" encoding="utf-8"?>
<p:tagLst xmlns:a="http://schemas.openxmlformats.org/drawingml/2006/main" xmlns:r="http://schemas.openxmlformats.org/officeDocument/2006/relationships" xmlns:p="http://schemas.openxmlformats.org/presentationml/2006/main">
  <p:tag name="AS_UNIQUEID" val="40802"/>
</p:tagLst>
</file>

<file path=ppt/tags/tag384.xml><?xml version="1.0" encoding="utf-8"?>
<p:tagLst xmlns:a="http://schemas.openxmlformats.org/drawingml/2006/main" xmlns:r="http://schemas.openxmlformats.org/officeDocument/2006/relationships" xmlns:p="http://schemas.openxmlformats.org/presentationml/2006/main">
  <p:tag name="AS_UNIQUEID" val="40803"/>
</p:tagLst>
</file>

<file path=ppt/tags/tag385.xml><?xml version="1.0" encoding="utf-8"?>
<p:tagLst xmlns:a="http://schemas.openxmlformats.org/drawingml/2006/main" xmlns:r="http://schemas.openxmlformats.org/officeDocument/2006/relationships" xmlns:p="http://schemas.openxmlformats.org/presentationml/2006/main">
  <p:tag name="AS_UNIQUEID" val="40804"/>
</p:tagLst>
</file>

<file path=ppt/tags/tag386.xml><?xml version="1.0" encoding="utf-8"?>
<p:tagLst xmlns:a="http://schemas.openxmlformats.org/drawingml/2006/main" xmlns:r="http://schemas.openxmlformats.org/officeDocument/2006/relationships" xmlns:p="http://schemas.openxmlformats.org/presentationml/2006/main">
  <p:tag name="AS_UNIQUEID" val="40805"/>
</p:tagLst>
</file>

<file path=ppt/tags/tag387.xml><?xml version="1.0" encoding="utf-8"?>
<p:tagLst xmlns:a="http://schemas.openxmlformats.org/drawingml/2006/main" xmlns:r="http://schemas.openxmlformats.org/officeDocument/2006/relationships" xmlns:p="http://schemas.openxmlformats.org/presentationml/2006/main">
  <p:tag name="AS_UNIQUEID" val="40806"/>
</p:tagLst>
</file>

<file path=ppt/tags/tag388.xml><?xml version="1.0" encoding="utf-8"?>
<p:tagLst xmlns:a="http://schemas.openxmlformats.org/drawingml/2006/main" xmlns:r="http://schemas.openxmlformats.org/officeDocument/2006/relationships" xmlns:p="http://schemas.openxmlformats.org/presentationml/2006/main">
  <p:tag name="AS_UNIQUEID" val="40807"/>
</p:tagLst>
</file>

<file path=ppt/tags/tag389.xml><?xml version="1.0" encoding="utf-8"?>
<p:tagLst xmlns:a="http://schemas.openxmlformats.org/drawingml/2006/main" xmlns:r="http://schemas.openxmlformats.org/officeDocument/2006/relationships" xmlns:p="http://schemas.openxmlformats.org/presentationml/2006/main">
  <p:tag name="AS_UNIQUEID" val="40808"/>
</p:tagLst>
</file>

<file path=ppt/tags/tag39.xml><?xml version="1.0" encoding="utf-8"?>
<p:tagLst xmlns:a="http://schemas.openxmlformats.org/drawingml/2006/main" xmlns:r="http://schemas.openxmlformats.org/officeDocument/2006/relationships" xmlns:p="http://schemas.openxmlformats.org/presentationml/2006/main">
  <p:tag name="AS_UNIQUEID" val="40440"/>
</p:tagLst>
</file>

<file path=ppt/tags/tag390.xml><?xml version="1.0" encoding="utf-8"?>
<p:tagLst xmlns:a="http://schemas.openxmlformats.org/drawingml/2006/main" xmlns:r="http://schemas.openxmlformats.org/officeDocument/2006/relationships" xmlns:p="http://schemas.openxmlformats.org/presentationml/2006/main">
  <p:tag name="AS_UNIQUEID" val="40809"/>
</p:tagLst>
</file>

<file path=ppt/tags/tag391.xml><?xml version="1.0" encoding="utf-8"?>
<p:tagLst xmlns:a="http://schemas.openxmlformats.org/drawingml/2006/main" xmlns:r="http://schemas.openxmlformats.org/officeDocument/2006/relationships" xmlns:p="http://schemas.openxmlformats.org/presentationml/2006/main">
  <p:tag name="AS_UNIQUEID" val="40810"/>
</p:tagLst>
</file>

<file path=ppt/tags/tag392.xml><?xml version="1.0" encoding="utf-8"?>
<p:tagLst xmlns:a="http://schemas.openxmlformats.org/drawingml/2006/main" xmlns:r="http://schemas.openxmlformats.org/officeDocument/2006/relationships" xmlns:p="http://schemas.openxmlformats.org/presentationml/2006/main">
  <p:tag name="AS_UNIQUEID" val="40811"/>
</p:tagLst>
</file>

<file path=ppt/tags/tag393.xml><?xml version="1.0" encoding="utf-8"?>
<p:tagLst xmlns:a="http://schemas.openxmlformats.org/drawingml/2006/main" xmlns:r="http://schemas.openxmlformats.org/officeDocument/2006/relationships" xmlns:p="http://schemas.openxmlformats.org/presentationml/2006/main">
  <p:tag name="AS_UNIQUEID" val="40812"/>
</p:tagLst>
</file>

<file path=ppt/tags/tag394.xml><?xml version="1.0" encoding="utf-8"?>
<p:tagLst xmlns:a="http://schemas.openxmlformats.org/drawingml/2006/main" xmlns:r="http://schemas.openxmlformats.org/officeDocument/2006/relationships" xmlns:p="http://schemas.openxmlformats.org/presentationml/2006/main">
  <p:tag name="AS_UNIQUEID" val="40813"/>
</p:tagLst>
</file>

<file path=ppt/tags/tag395.xml><?xml version="1.0" encoding="utf-8"?>
<p:tagLst xmlns:a="http://schemas.openxmlformats.org/drawingml/2006/main" xmlns:r="http://schemas.openxmlformats.org/officeDocument/2006/relationships" xmlns:p="http://schemas.openxmlformats.org/presentationml/2006/main">
  <p:tag name="AS_UNIQUEID" val="40814"/>
</p:tagLst>
</file>

<file path=ppt/tags/tag396.xml><?xml version="1.0" encoding="utf-8"?>
<p:tagLst xmlns:a="http://schemas.openxmlformats.org/drawingml/2006/main" xmlns:r="http://schemas.openxmlformats.org/officeDocument/2006/relationships" xmlns:p="http://schemas.openxmlformats.org/presentationml/2006/main">
  <p:tag name="AS_UNIQUEID" val="40815"/>
</p:tagLst>
</file>

<file path=ppt/tags/tag397.xml><?xml version="1.0" encoding="utf-8"?>
<p:tagLst xmlns:a="http://schemas.openxmlformats.org/drawingml/2006/main" xmlns:r="http://schemas.openxmlformats.org/officeDocument/2006/relationships" xmlns:p="http://schemas.openxmlformats.org/presentationml/2006/main">
  <p:tag name="AS_UNIQUEID" val="40816"/>
</p:tagLst>
</file>

<file path=ppt/tags/tag398.xml><?xml version="1.0" encoding="utf-8"?>
<p:tagLst xmlns:a="http://schemas.openxmlformats.org/drawingml/2006/main" xmlns:r="http://schemas.openxmlformats.org/officeDocument/2006/relationships" xmlns:p="http://schemas.openxmlformats.org/presentationml/2006/main">
  <p:tag name="AS_UNIQUEID" val="40817"/>
</p:tagLst>
</file>

<file path=ppt/tags/tag399.xml><?xml version="1.0" encoding="utf-8"?>
<p:tagLst xmlns:a="http://schemas.openxmlformats.org/drawingml/2006/main" xmlns:r="http://schemas.openxmlformats.org/officeDocument/2006/relationships" xmlns:p="http://schemas.openxmlformats.org/presentationml/2006/main">
  <p:tag name="AS_UNIQUEID" val="40818"/>
</p:tagLst>
</file>

<file path=ppt/tags/tag4.xml><?xml version="1.0" encoding="utf-8"?>
<p:tagLst xmlns:a="http://schemas.openxmlformats.org/drawingml/2006/main" xmlns:r="http://schemas.openxmlformats.org/officeDocument/2006/relationships" xmlns:p="http://schemas.openxmlformats.org/presentationml/2006/main">
  <p:tag name="AS_UNIQUEID" val="40414"/>
</p:tagLst>
</file>

<file path=ppt/tags/tag40.xml><?xml version="1.0" encoding="utf-8"?>
<p:tagLst xmlns:a="http://schemas.openxmlformats.org/drawingml/2006/main" xmlns:r="http://schemas.openxmlformats.org/officeDocument/2006/relationships" xmlns:p="http://schemas.openxmlformats.org/presentationml/2006/main">
  <p:tag name="AS_UNIQUEID" val="40445"/>
</p:tagLst>
</file>

<file path=ppt/tags/tag400.xml><?xml version="1.0" encoding="utf-8"?>
<p:tagLst xmlns:a="http://schemas.openxmlformats.org/drawingml/2006/main" xmlns:r="http://schemas.openxmlformats.org/officeDocument/2006/relationships" xmlns:p="http://schemas.openxmlformats.org/presentationml/2006/main">
  <p:tag name="AS_UNIQUEID" val="40819"/>
</p:tagLst>
</file>

<file path=ppt/tags/tag401.xml><?xml version="1.0" encoding="utf-8"?>
<p:tagLst xmlns:a="http://schemas.openxmlformats.org/drawingml/2006/main" xmlns:r="http://schemas.openxmlformats.org/officeDocument/2006/relationships" xmlns:p="http://schemas.openxmlformats.org/presentationml/2006/main">
  <p:tag name="AS_UNIQUEID" val="40820"/>
</p:tagLst>
</file>

<file path=ppt/tags/tag402.xml><?xml version="1.0" encoding="utf-8"?>
<p:tagLst xmlns:a="http://schemas.openxmlformats.org/drawingml/2006/main" xmlns:r="http://schemas.openxmlformats.org/officeDocument/2006/relationships" xmlns:p="http://schemas.openxmlformats.org/presentationml/2006/main">
  <p:tag name="AS_UNIQUEID" val="40821"/>
</p:tagLst>
</file>

<file path=ppt/tags/tag403.xml><?xml version="1.0" encoding="utf-8"?>
<p:tagLst xmlns:a="http://schemas.openxmlformats.org/drawingml/2006/main" xmlns:r="http://schemas.openxmlformats.org/officeDocument/2006/relationships" xmlns:p="http://schemas.openxmlformats.org/presentationml/2006/main">
  <p:tag name="AS_UNIQUEID" val="40822"/>
</p:tagLst>
</file>

<file path=ppt/tags/tag404.xml><?xml version="1.0" encoding="utf-8"?>
<p:tagLst xmlns:a="http://schemas.openxmlformats.org/drawingml/2006/main" xmlns:r="http://schemas.openxmlformats.org/officeDocument/2006/relationships" xmlns:p="http://schemas.openxmlformats.org/presentationml/2006/main">
  <p:tag name="AS_UNIQUEID" val="40823"/>
</p:tagLst>
</file>

<file path=ppt/tags/tag405.xml><?xml version="1.0" encoding="utf-8"?>
<p:tagLst xmlns:a="http://schemas.openxmlformats.org/drawingml/2006/main" xmlns:r="http://schemas.openxmlformats.org/officeDocument/2006/relationships" xmlns:p="http://schemas.openxmlformats.org/presentationml/2006/main">
  <p:tag name="AS_UNIQUEID" val="40824"/>
</p:tagLst>
</file>

<file path=ppt/tags/tag406.xml><?xml version="1.0" encoding="utf-8"?>
<p:tagLst xmlns:a="http://schemas.openxmlformats.org/drawingml/2006/main" xmlns:r="http://schemas.openxmlformats.org/officeDocument/2006/relationships" xmlns:p="http://schemas.openxmlformats.org/presentationml/2006/main">
  <p:tag name="AS_UNIQUEID" val="40825"/>
</p:tagLst>
</file>

<file path=ppt/tags/tag407.xml><?xml version="1.0" encoding="utf-8"?>
<p:tagLst xmlns:a="http://schemas.openxmlformats.org/drawingml/2006/main" xmlns:r="http://schemas.openxmlformats.org/officeDocument/2006/relationships" xmlns:p="http://schemas.openxmlformats.org/presentationml/2006/main">
  <p:tag name="AS_UNIQUEID" val="40826"/>
</p:tagLst>
</file>

<file path=ppt/tags/tag408.xml><?xml version="1.0" encoding="utf-8"?>
<p:tagLst xmlns:a="http://schemas.openxmlformats.org/drawingml/2006/main" xmlns:r="http://schemas.openxmlformats.org/officeDocument/2006/relationships" xmlns:p="http://schemas.openxmlformats.org/presentationml/2006/main">
  <p:tag name="AS_UNIQUEID" val="40827"/>
</p:tagLst>
</file>

<file path=ppt/tags/tag409.xml><?xml version="1.0" encoding="utf-8"?>
<p:tagLst xmlns:a="http://schemas.openxmlformats.org/drawingml/2006/main" xmlns:r="http://schemas.openxmlformats.org/officeDocument/2006/relationships" xmlns:p="http://schemas.openxmlformats.org/presentationml/2006/main">
  <p:tag name="AS_UNIQUEID" val="40828"/>
</p:tagLst>
</file>

<file path=ppt/tags/tag41.xml><?xml version="1.0" encoding="utf-8"?>
<p:tagLst xmlns:a="http://schemas.openxmlformats.org/drawingml/2006/main" xmlns:r="http://schemas.openxmlformats.org/officeDocument/2006/relationships" xmlns:p="http://schemas.openxmlformats.org/presentationml/2006/main">
  <p:tag name="AS_UNIQUEID" val="40446"/>
</p:tagLst>
</file>

<file path=ppt/tags/tag410.xml><?xml version="1.0" encoding="utf-8"?>
<p:tagLst xmlns:a="http://schemas.openxmlformats.org/drawingml/2006/main" xmlns:r="http://schemas.openxmlformats.org/officeDocument/2006/relationships" xmlns:p="http://schemas.openxmlformats.org/presentationml/2006/main">
  <p:tag name="AS_UNIQUEID" val="40829"/>
</p:tagLst>
</file>

<file path=ppt/tags/tag411.xml><?xml version="1.0" encoding="utf-8"?>
<p:tagLst xmlns:a="http://schemas.openxmlformats.org/drawingml/2006/main" xmlns:r="http://schemas.openxmlformats.org/officeDocument/2006/relationships" xmlns:p="http://schemas.openxmlformats.org/presentationml/2006/main">
  <p:tag name="AS_UNIQUEID" val="40830"/>
</p:tagLst>
</file>

<file path=ppt/tags/tag412.xml><?xml version="1.0" encoding="utf-8"?>
<p:tagLst xmlns:a="http://schemas.openxmlformats.org/drawingml/2006/main" xmlns:r="http://schemas.openxmlformats.org/officeDocument/2006/relationships" xmlns:p="http://schemas.openxmlformats.org/presentationml/2006/main">
  <p:tag name="AS_UNIQUEID" val="40831"/>
</p:tagLst>
</file>

<file path=ppt/tags/tag413.xml><?xml version="1.0" encoding="utf-8"?>
<p:tagLst xmlns:a="http://schemas.openxmlformats.org/drawingml/2006/main" xmlns:r="http://schemas.openxmlformats.org/officeDocument/2006/relationships" xmlns:p="http://schemas.openxmlformats.org/presentationml/2006/main">
  <p:tag name="AS_UNIQUEID" val="40832"/>
</p:tagLst>
</file>

<file path=ppt/tags/tag414.xml><?xml version="1.0" encoding="utf-8"?>
<p:tagLst xmlns:a="http://schemas.openxmlformats.org/drawingml/2006/main" xmlns:r="http://schemas.openxmlformats.org/officeDocument/2006/relationships" xmlns:p="http://schemas.openxmlformats.org/presentationml/2006/main">
  <p:tag name="AS_UNIQUEID" val="40833"/>
</p:tagLst>
</file>

<file path=ppt/tags/tag415.xml><?xml version="1.0" encoding="utf-8"?>
<p:tagLst xmlns:a="http://schemas.openxmlformats.org/drawingml/2006/main" xmlns:r="http://schemas.openxmlformats.org/officeDocument/2006/relationships" xmlns:p="http://schemas.openxmlformats.org/presentationml/2006/main">
  <p:tag name="AS_UNIQUEID" val="40834"/>
</p:tagLst>
</file>

<file path=ppt/tags/tag416.xml><?xml version="1.0" encoding="utf-8"?>
<p:tagLst xmlns:a="http://schemas.openxmlformats.org/drawingml/2006/main" xmlns:r="http://schemas.openxmlformats.org/officeDocument/2006/relationships" xmlns:p="http://schemas.openxmlformats.org/presentationml/2006/main">
  <p:tag name="AS_UNIQUEID" val="40835"/>
</p:tagLst>
</file>

<file path=ppt/tags/tag417.xml><?xml version="1.0" encoding="utf-8"?>
<p:tagLst xmlns:a="http://schemas.openxmlformats.org/drawingml/2006/main" xmlns:r="http://schemas.openxmlformats.org/officeDocument/2006/relationships" xmlns:p="http://schemas.openxmlformats.org/presentationml/2006/main">
  <p:tag name="AS_UNIQUEID" val="40836"/>
</p:tagLst>
</file>

<file path=ppt/tags/tag418.xml><?xml version="1.0" encoding="utf-8"?>
<p:tagLst xmlns:a="http://schemas.openxmlformats.org/drawingml/2006/main" xmlns:r="http://schemas.openxmlformats.org/officeDocument/2006/relationships" xmlns:p="http://schemas.openxmlformats.org/presentationml/2006/main">
  <p:tag name="AS_UNIQUEID" val="40837"/>
</p:tagLst>
</file>

<file path=ppt/tags/tag419.xml><?xml version="1.0" encoding="utf-8"?>
<p:tagLst xmlns:a="http://schemas.openxmlformats.org/drawingml/2006/main" xmlns:r="http://schemas.openxmlformats.org/officeDocument/2006/relationships" xmlns:p="http://schemas.openxmlformats.org/presentationml/2006/main">
  <p:tag name="AS_UNIQUEID" val="40838"/>
</p:tagLst>
</file>

<file path=ppt/tags/tag42.xml><?xml version="1.0" encoding="utf-8"?>
<p:tagLst xmlns:a="http://schemas.openxmlformats.org/drawingml/2006/main" xmlns:r="http://schemas.openxmlformats.org/officeDocument/2006/relationships" xmlns:p="http://schemas.openxmlformats.org/presentationml/2006/main">
  <p:tag name="AS_UNIQUEID" val="40447"/>
</p:tagLst>
</file>

<file path=ppt/tags/tag420.xml><?xml version="1.0" encoding="utf-8"?>
<p:tagLst xmlns:a="http://schemas.openxmlformats.org/drawingml/2006/main" xmlns:r="http://schemas.openxmlformats.org/officeDocument/2006/relationships" xmlns:p="http://schemas.openxmlformats.org/presentationml/2006/main">
  <p:tag name="AS_UNIQUEID" val="40839"/>
</p:tagLst>
</file>

<file path=ppt/tags/tag421.xml><?xml version="1.0" encoding="utf-8"?>
<p:tagLst xmlns:a="http://schemas.openxmlformats.org/drawingml/2006/main" xmlns:r="http://schemas.openxmlformats.org/officeDocument/2006/relationships" xmlns:p="http://schemas.openxmlformats.org/presentationml/2006/main">
  <p:tag name="AS_UNIQUEID" val="40840"/>
</p:tagLst>
</file>

<file path=ppt/tags/tag422.xml><?xml version="1.0" encoding="utf-8"?>
<p:tagLst xmlns:a="http://schemas.openxmlformats.org/drawingml/2006/main" xmlns:r="http://schemas.openxmlformats.org/officeDocument/2006/relationships" xmlns:p="http://schemas.openxmlformats.org/presentationml/2006/main">
  <p:tag name="AS_UNIQUEID" val="40841"/>
</p:tagLst>
</file>

<file path=ppt/tags/tag423.xml><?xml version="1.0" encoding="utf-8"?>
<p:tagLst xmlns:a="http://schemas.openxmlformats.org/drawingml/2006/main" xmlns:r="http://schemas.openxmlformats.org/officeDocument/2006/relationships" xmlns:p="http://schemas.openxmlformats.org/presentationml/2006/main">
  <p:tag name="AS_UNIQUEID" val="40842"/>
</p:tagLst>
</file>

<file path=ppt/tags/tag424.xml><?xml version="1.0" encoding="utf-8"?>
<p:tagLst xmlns:a="http://schemas.openxmlformats.org/drawingml/2006/main" xmlns:r="http://schemas.openxmlformats.org/officeDocument/2006/relationships" xmlns:p="http://schemas.openxmlformats.org/presentationml/2006/main">
  <p:tag name="AS_UNIQUEID" val="40843"/>
</p:tagLst>
</file>

<file path=ppt/tags/tag425.xml><?xml version="1.0" encoding="utf-8"?>
<p:tagLst xmlns:a="http://schemas.openxmlformats.org/drawingml/2006/main" xmlns:r="http://schemas.openxmlformats.org/officeDocument/2006/relationships" xmlns:p="http://schemas.openxmlformats.org/presentationml/2006/main">
  <p:tag name="AS_UNIQUEID" val="40844"/>
</p:tagLst>
</file>

<file path=ppt/tags/tag426.xml><?xml version="1.0" encoding="utf-8"?>
<p:tagLst xmlns:a="http://schemas.openxmlformats.org/drawingml/2006/main" xmlns:r="http://schemas.openxmlformats.org/officeDocument/2006/relationships" xmlns:p="http://schemas.openxmlformats.org/presentationml/2006/main">
  <p:tag name="AS_UNIQUEID" val="40845"/>
</p:tagLst>
</file>

<file path=ppt/tags/tag427.xml><?xml version="1.0" encoding="utf-8"?>
<p:tagLst xmlns:a="http://schemas.openxmlformats.org/drawingml/2006/main" xmlns:r="http://schemas.openxmlformats.org/officeDocument/2006/relationships" xmlns:p="http://schemas.openxmlformats.org/presentationml/2006/main">
  <p:tag name="AS_UNIQUEID" val="40871"/>
</p:tagLst>
</file>

<file path=ppt/tags/tag428.xml><?xml version="1.0" encoding="utf-8"?>
<p:tagLst xmlns:a="http://schemas.openxmlformats.org/drawingml/2006/main" xmlns:r="http://schemas.openxmlformats.org/officeDocument/2006/relationships" xmlns:p="http://schemas.openxmlformats.org/presentationml/2006/main">
  <p:tag name="AS_UNIQUEID" val="40872"/>
</p:tagLst>
</file>

<file path=ppt/tags/tag429.xml><?xml version="1.0" encoding="utf-8"?>
<p:tagLst xmlns:a="http://schemas.openxmlformats.org/drawingml/2006/main" xmlns:r="http://schemas.openxmlformats.org/officeDocument/2006/relationships" xmlns:p="http://schemas.openxmlformats.org/presentationml/2006/main">
  <p:tag name="AS_UNIQUEID" val="40873"/>
</p:tagLst>
</file>

<file path=ppt/tags/tag43.xml><?xml version="1.0" encoding="utf-8"?>
<p:tagLst xmlns:a="http://schemas.openxmlformats.org/drawingml/2006/main" xmlns:r="http://schemas.openxmlformats.org/officeDocument/2006/relationships" xmlns:p="http://schemas.openxmlformats.org/presentationml/2006/main">
  <p:tag name="AS_UNIQUEID" val="40448"/>
</p:tagLst>
</file>

<file path=ppt/tags/tag430.xml><?xml version="1.0" encoding="utf-8"?>
<p:tagLst xmlns:a="http://schemas.openxmlformats.org/drawingml/2006/main" xmlns:r="http://schemas.openxmlformats.org/officeDocument/2006/relationships" xmlns:p="http://schemas.openxmlformats.org/presentationml/2006/main">
  <p:tag name="AS_UNIQUEID" val="40874"/>
</p:tagLst>
</file>

<file path=ppt/tags/tag431.xml><?xml version="1.0" encoding="utf-8"?>
<p:tagLst xmlns:a="http://schemas.openxmlformats.org/drawingml/2006/main" xmlns:r="http://schemas.openxmlformats.org/officeDocument/2006/relationships" xmlns:p="http://schemas.openxmlformats.org/presentationml/2006/main">
  <p:tag name="AS_UNIQUEID" val="40875"/>
</p:tagLst>
</file>

<file path=ppt/tags/tag432.xml><?xml version="1.0" encoding="utf-8"?>
<p:tagLst xmlns:a="http://schemas.openxmlformats.org/drawingml/2006/main" xmlns:r="http://schemas.openxmlformats.org/officeDocument/2006/relationships" xmlns:p="http://schemas.openxmlformats.org/presentationml/2006/main">
  <p:tag name="AS_UNIQUEID" val="40876"/>
</p:tagLst>
</file>

<file path=ppt/tags/tag433.xml><?xml version="1.0" encoding="utf-8"?>
<p:tagLst xmlns:a="http://schemas.openxmlformats.org/drawingml/2006/main" xmlns:r="http://schemas.openxmlformats.org/officeDocument/2006/relationships" xmlns:p="http://schemas.openxmlformats.org/presentationml/2006/main">
  <p:tag name="AS_UNIQUEID" val="40877"/>
</p:tagLst>
</file>

<file path=ppt/tags/tag434.xml><?xml version="1.0" encoding="utf-8"?>
<p:tagLst xmlns:a="http://schemas.openxmlformats.org/drawingml/2006/main" xmlns:r="http://schemas.openxmlformats.org/officeDocument/2006/relationships" xmlns:p="http://schemas.openxmlformats.org/presentationml/2006/main">
  <p:tag name="AS_UNIQUEID" val="40878"/>
</p:tagLst>
</file>

<file path=ppt/tags/tag435.xml><?xml version="1.0" encoding="utf-8"?>
<p:tagLst xmlns:a="http://schemas.openxmlformats.org/drawingml/2006/main" xmlns:r="http://schemas.openxmlformats.org/officeDocument/2006/relationships" xmlns:p="http://schemas.openxmlformats.org/presentationml/2006/main">
  <p:tag name="AS_UNIQUEID" val="40879"/>
</p:tagLst>
</file>

<file path=ppt/tags/tag436.xml><?xml version="1.0" encoding="utf-8"?>
<p:tagLst xmlns:a="http://schemas.openxmlformats.org/drawingml/2006/main" xmlns:r="http://schemas.openxmlformats.org/officeDocument/2006/relationships" xmlns:p="http://schemas.openxmlformats.org/presentationml/2006/main">
  <p:tag name="AS_UNIQUEID" val="40880"/>
</p:tagLst>
</file>

<file path=ppt/tags/tag437.xml><?xml version="1.0" encoding="utf-8"?>
<p:tagLst xmlns:a="http://schemas.openxmlformats.org/drawingml/2006/main" xmlns:r="http://schemas.openxmlformats.org/officeDocument/2006/relationships" xmlns:p="http://schemas.openxmlformats.org/presentationml/2006/main">
  <p:tag name="AS_UNIQUEID" val="40881"/>
</p:tagLst>
</file>

<file path=ppt/tags/tag438.xml><?xml version="1.0" encoding="utf-8"?>
<p:tagLst xmlns:a="http://schemas.openxmlformats.org/drawingml/2006/main" xmlns:r="http://schemas.openxmlformats.org/officeDocument/2006/relationships" xmlns:p="http://schemas.openxmlformats.org/presentationml/2006/main">
  <p:tag name="AS_UNIQUEID" val="40882"/>
</p:tagLst>
</file>

<file path=ppt/tags/tag439.xml><?xml version="1.0" encoding="utf-8"?>
<p:tagLst xmlns:a="http://schemas.openxmlformats.org/drawingml/2006/main" xmlns:r="http://schemas.openxmlformats.org/officeDocument/2006/relationships" xmlns:p="http://schemas.openxmlformats.org/presentationml/2006/main">
  <p:tag name="AS_UNIQUEID" val="40883"/>
</p:tagLst>
</file>

<file path=ppt/tags/tag44.xml><?xml version="1.0" encoding="utf-8"?>
<p:tagLst xmlns:a="http://schemas.openxmlformats.org/drawingml/2006/main" xmlns:r="http://schemas.openxmlformats.org/officeDocument/2006/relationships" xmlns:p="http://schemas.openxmlformats.org/presentationml/2006/main">
  <p:tag name="AS_UNIQUEID" val="40462"/>
</p:tagLst>
</file>

<file path=ppt/tags/tag440.xml><?xml version="1.0" encoding="utf-8"?>
<p:tagLst xmlns:a="http://schemas.openxmlformats.org/drawingml/2006/main" xmlns:r="http://schemas.openxmlformats.org/officeDocument/2006/relationships" xmlns:p="http://schemas.openxmlformats.org/presentationml/2006/main">
  <p:tag name="AS_UNIQUEID" val="40884"/>
</p:tagLst>
</file>

<file path=ppt/tags/tag441.xml><?xml version="1.0" encoding="utf-8"?>
<p:tagLst xmlns:a="http://schemas.openxmlformats.org/drawingml/2006/main" xmlns:r="http://schemas.openxmlformats.org/officeDocument/2006/relationships" xmlns:p="http://schemas.openxmlformats.org/presentationml/2006/main">
  <p:tag name="AS_UNIQUEID" val="40885"/>
</p:tagLst>
</file>

<file path=ppt/tags/tag442.xml><?xml version="1.0" encoding="utf-8"?>
<p:tagLst xmlns:a="http://schemas.openxmlformats.org/drawingml/2006/main" xmlns:r="http://schemas.openxmlformats.org/officeDocument/2006/relationships" xmlns:p="http://schemas.openxmlformats.org/presentationml/2006/main">
  <p:tag name="AS_UNIQUEID" val="40899"/>
</p:tagLst>
</file>

<file path=ppt/tags/tag443.xml><?xml version="1.0" encoding="utf-8"?>
<p:tagLst xmlns:a="http://schemas.openxmlformats.org/drawingml/2006/main" xmlns:r="http://schemas.openxmlformats.org/officeDocument/2006/relationships" xmlns:p="http://schemas.openxmlformats.org/presentationml/2006/main">
  <p:tag name="AS_UNIQUEID" val="40900"/>
</p:tagLst>
</file>

<file path=ppt/tags/tag444.xml><?xml version="1.0" encoding="utf-8"?>
<p:tagLst xmlns:a="http://schemas.openxmlformats.org/drawingml/2006/main" xmlns:r="http://schemas.openxmlformats.org/officeDocument/2006/relationships" xmlns:p="http://schemas.openxmlformats.org/presentationml/2006/main">
  <p:tag name="AS_UNIQUEID" val="40901"/>
</p:tagLst>
</file>

<file path=ppt/tags/tag445.xml><?xml version="1.0" encoding="utf-8"?>
<p:tagLst xmlns:a="http://schemas.openxmlformats.org/drawingml/2006/main" xmlns:r="http://schemas.openxmlformats.org/officeDocument/2006/relationships" xmlns:p="http://schemas.openxmlformats.org/presentationml/2006/main">
  <p:tag name="AS_UNIQUEID" val="40902"/>
</p:tagLst>
</file>

<file path=ppt/tags/tag446.xml><?xml version="1.0" encoding="utf-8"?>
<p:tagLst xmlns:a="http://schemas.openxmlformats.org/drawingml/2006/main" xmlns:r="http://schemas.openxmlformats.org/officeDocument/2006/relationships" xmlns:p="http://schemas.openxmlformats.org/presentationml/2006/main">
  <p:tag name="AS_UNIQUEID" val="40903"/>
</p:tagLst>
</file>

<file path=ppt/tags/tag447.xml><?xml version="1.0" encoding="utf-8"?>
<p:tagLst xmlns:a="http://schemas.openxmlformats.org/drawingml/2006/main" xmlns:r="http://schemas.openxmlformats.org/officeDocument/2006/relationships" xmlns:p="http://schemas.openxmlformats.org/presentationml/2006/main">
  <p:tag name="AS_UNIQUEID" val="40904"/>
</p:tagLst>
</file>

<file path=ppt/tags/tag448.xml><?xml version="1.0" encoding="utf-8"?>
<p:tagLst xmlns:a="http://schemas.openxmlformats.org/drawingml/2006/main" xmlns:r="http://schemas.openxmlformats.org/officeDocument/2006/relationships" xmlns:p="http://schemas.openxmlformats.org/presentationml/2006/main">
  <p:tag name="AS_UNIQUEID" val="40905"/>
</p:tagLst>
</file>

<file path=ppt/tags/tag449.xml><?xml version="1.0" encoding="utf-8"?>
<p:tagLst xmlns:a="http://schemas.openxmlformats.org/drawingml/2006/main" xmlns:r="http://schemas.openxmlformats.org/officeDocument/2006/relationships" xmlns:p="http://schemas.openxmlformats.org/presentationml/2006/main">
  <p:tag name="AS_UNIQUEID" val="40906"/>
</p:tagLst>
</file>

<file path=ppt/tags/tag45.xml><?xml version="1.0" encoding="utf-8"?>
<p:tagLst xmlns:a="http://schemas.openxmlformats.org/drawingml/2006/main" xmlns:r="http://schemas.openxmlformats.org/officeDocument/2006/relationships" xmlns:p="http://schemas.openxmlformats.org/presentationml/2006/main">
  <p:tag name="AS_UNIQUEID" val="40463"/>
</p:tagLst>
</file>

<file path=ppt/tags/tag450.xml><?xml version="1.0" encoding="utf-8"?>
<p:tagLst xmlns:a="http://schemas.openxmlformats.org/drawingml/2006/main" xmlns:r="http://schemas.openxmlformats.org/officeDocument/2006/relationships" xmlns:p="http://schemas.openxmlformats.org/presentationml/2006/main">
  <p:tag name="AS_UNIQUEID" val="40907"/>
</p:tagLst>
</file>

<file path=ppt/tags/tag451.xml><?xml version="1.0" encoding="utf-8"?>
<p:tagLst xmlns:a="http://schemas.openxmlformats.org/drawingml/2006/main" xmlns:r="http://schemas.openxmlformats.org/officeDocument/2006/relationships" xmlns:p="http://schemas.openxmlformats.org/presentationml/2006/main">
  <p:tag name="AS_UNIQUEID" val="40908"/>
</p:tagLst>
</file>

<file path=ppt/tags/tag452.xml><?xml version="1.0" encoding="utf-8"?>
<p:tagLst xmlns:a="http://schemas.openxmlformats.org/drawingml/2006/main" xmlns:r="http://schemas.openxmlformats.org/officeDocument/2006/relationships" xmlns:p="http://schemas.openxmlformats.org/presentationml/2006/main">
  <p:tag name="AS_UNIQUEID" val="40909"/>
</p:tagLst>
</file>

<file path=ppt/tags/tag453.xml><?xml version="1.0" encoding="utf-8"?>
<p:tagLst xmlns:a="http://schemas.openxmlformats.org/drawingml/2006/main" xmlns:r="http://schemas.openxmlformats.org/officeDocument/2006/relationships" xmlns:p="http://schemas.openxmlformats.org/presentationml/2006/main">
  <p:tag name="AS_UNIQUEID" val="40910"/>
</p:tagLst>
</file>

<file path=ppt/tags/tag454.xml><?xml version="1.0" encoding="utf-8"?>
<p:tagLst xmlns:a="http://schemas.openxmlformats.org/drawingml/2006/main" xmlns:r="http://schemas.openxmlformats.org/officeDocument/2006/relationships" xmlns:p="http://schemas.openxmlformats.org/presentationml/2006/main">
  <p:tag name="AS_UNIQUEID" val="40911"/>
</p:tagLst>
</file>

<file path=ppt/tags/tag455.xml><?xml version="1.0" encoding="utf-8"?>
<p:tagLst xmlns:a="http://schemas.openxmlformats.org/drawingml/2006/main" xmlns:r="http://schemas.openxmlformats.org/officeDocument/2006/relationships" xmlns:p="http://schemas.openxmlformats.org/presentationml/2006/main">
  <p:tag name="AS_UNIQUEID" val="40912"/>
</p:tagLst>
</file>

<file path=ppt/tags/tag456.xml><?xml version="1.0" encoding="utf-8"?>
<p:tagLst xmlns:a="http://schemas.openxmlformats.org/drawingml/2006/main" xmlns:r="http://schemas.openxmlformats.org/officeDocument/2006/relationships" xmlns:p="http://schemas.openxmlformats.org/presentationml/2006/main">
  <p:tag name="AS_UNIQUEID" val="40913"/>
</p:tagLst>
</file>

<file path=ppt/tags/tag457.xml><?xml version="1.0" encoding="utf-8"?>
<p:tagLst xmlns:a="http://schemas.openxmlformats.org/drawingml/2006/main" xmlns:r="http://schemas.openxmlformats.org/officeDocument/2006/relationships" xmlns:p="http://schemas.openxmlformats.org/presentationml/2006/main">
  <p:tag name="AS_UNIQUEID" val="40914"/>
</p:tagLst>
</file>

<file path=ppt/tags/tag458.xml><?xml version="1.0" encoding="utf-8"?>
<p:tagLst xmlns:a="http://schemas.openxmlformats.org/drawingml/2006/main" xmlns:r="http://schemas.openxmlformats.org/officeDocument/2006/relationships" xmlns:p="http://schemas.openxmlformats.org/presentationml/2006/main">
  <p:tag name="AS_UNIQUEID" val="40915"/>
</p:tagLst>
</file>

<file path=ppt/tags/tag459.xml><?xml version="1.0" encoding="utf-8"?>
<p:tagLst xmlns:a="http://schemas.openxmlformats.org/drawingml/2006/main" xmlns:r="http://schemas.openxmlformats.org/officeDocument/2006/relationships" xmlns:p="http://schemas.openxmlformats.org/presentationml/2006/main">
  <p:tag name="AS_UNIQUEID" val="40918"/>
</p:tagLst>
</file>

<file path=ppt/tags/tag46.xml><?xml version="1.0" encoding="utf-8"?>
<p:tagLst xmlns:a="http://schemas.openxmlformats.org/drawingml/2006/main" xmlns:r="http://schemas.openxmlformats.org/officeDocument/2006/relationships" xmlns:p="http://schemas.openxmlformats.org/presentationml/2006/main">
  <p:tag name="AS_UNIQUEID" val="40449"/>
</p:tagLst>
</file>

<file path=ppt/tags/tag460.xml><?xml version="1.0" encoding="utf-8"?>
<p:tagLst xmlns:a="http://schemas.openxmlformats.org/drawingml/2006/main" xmlns:r="http://schemas.openxmlformats.org/officeDocument/2006/relationships" xmlns:p="http://schemas.openxmlformats.org/presentationml/2006/main">
  <p:tag name="AS_UNIQUEID" val="40925"/>
</p:tagLst>
</file>

<file path=ppt/tags/tag461.xml><?xml version="1.0" encoding="utf-8"?>
<p:tagLst xmlns:a="http://schemas.openxmlformats.org/drawingml/2006/main" xmlns:r="http://schemas.openxmlformats.org/officeDocument/2006/relationships" xmlns:p="http://schemas.openxmlformats.org/presentationml/2006/main">
  <p:tag name="AS_UNIQUEID" val="40926"/>
</p:tagLst>
</file>

<file path=ppt/tags/tag462.xml><?xml version="1.0" encoding="utf-8"?>
<p:tagLst xmlns:a="http://schemas.openxmlformats.org/drawingml/2006/main" xmlns:r="http://schemas.openxmlformats.org/officeDocument/2006/relationships" xmlns:p="http://schemas.openxmlformats.org/presentationml/2006/main">
  <p:tag name="AS_UNIQUEID" val="40927"/>
</p:tagLst>
</file>

<file path=ppt/tags/tag463.xml><?xml version="1.0" encoding="utf-8"?>
<p:tagLst xmlns:a="http://schemas.openxmlformats.org/drawingml/2006/main" xmlns:r="http://schemas.openxmlformats.org/officeDocument/2006/relationships" xmlns:p="http://schemas.openxmlformats.org/presentationml/2006/main">
  <p:tag name="AS_UNIQUEID" val="40928"/>
</p:tagLst>
</file>

<file path=ppt/tags/tag464.xml><?xml version="1.0" encoding="utf-8"?>
<p:tagLst xmlns:a="http://schemas.openxmlformats.org/drawingml/2006/main" xmlns:r="http://schemas.openxmlformats.org/officeDocument/2006/relationships" xmlns:p="http://schemas.openxmlformats.org/presentationml/2006/main">
  <p:tag name="AS_UNIQUEID" val="40932"/>
</p:tagLst>
</file>

<file path=ppt/tags/tag465.xml><?xml version="1.0" encoding="utf-8"?>
<p:tagLst xmlns:a="http://schemas.openxmlformats.org/drawingml/2006/main" xmlns:r="http://schemas.openxmlformats.org/officeDocument/2006/relationships" xmlns:p="http://schemas.openxmlformats.org/presentationml/2006/main">
  <p:tag name="AS_UNIQUEID" val="40933"/>
</p:tagLst>
</file>

<file path=ppt/tags/tag466.xml><?xml version="1.0" encoding="utf-8"?>
<p:tagLst xmlns:a="http://schemas.openxmlformats.org/drawingml/2006/main" xmlns:r="http://schemas.openxmlformats.org/officeDocument/2006/relationships" xmlns:p="http://schemas.openxmlformats.org/presentationml/2006/main">
  <p:tag name="AS_UNIQUEID" val="40934"/>
</p:tagLst>
</file>

<file path=ppt/tags/tag467.xml><?xml version="1.0" encoding="utf-8"?>
<p:tagLst xmlns:a="http://schemas.openxmlformats.org/drawingml/2006/main" xmlns:r="http://schemas.openxmlformats.org/officeDocument/2006/relationships" xmlns:p="http://schemas.openxmlformats.org/presentationml/2006/main">
  <p:tag name="AS_UNIQUEID" val="40935"/>
</p:tagLst>
</file>

<file path=ppt/tags/tag468.xml><?xml version="1.0" encoding="utf-8"?>
<p:tagLst xmlns:a="http://schemas.openxmlformats.org/drawingml/2006/main" xmlns:r="http://schemas.openxmlformats.org/officeDocument/2006/relationships" xmlns:p="http://schemas.openxmlformats.org/presentationml/2006/main">
  <p:tag name="AS_UNIQUEID" val="40936"/>
</p:tagLst>
</file>

<file path=ppt/tags/tag469.xml><?xml version="1.0" encoding="utf-8"?>
<p:tagLst xmlns:a="http://schemas.openxmlformats.org/drawingml/2006/main" xmlns:r="http://schemas.openxmlformats.org/officeDocument/2006/relationships" xmlns:p="http://schemas.openxmlformats.org/presentationml/2006/main">
  <p:tag name="AS_UNIQUEID" val="40937"/>
</p:tagLst>
</file>

<file path=ppt/tags/tag47.xml><?xml version="1.0" encoding="utf-8"?>
<p:tagLst xmlns:a="http://schemas.openxmlformats.org/drawingml/2006/main" xmlns:r="http://schemas.openxmlformats.org/officeDocument/2006/relationships" xmlns:p="http://schemas.openxmlformats.org/presentationml/2006/main">
  <p:tag name="AS_UNIQUEID" val="40450"/>
</p:tagLst>
</file>

<file path=ppt/tags/tag470.xml><?xml version="1.0" encoding="utf-8"?>
<p:tagLst xmlns:a="http://schemas.openxmlformats.org/drawingml/2006/main" xmlns:r="http://schemas.openxmlformats.org/officeDocument/2006/relationships" xmlns:p="http://schemas.openxmlformats.org/presentationml/2006/main">
  <p:tag name="AS_UNIQUEID" val="40938"/>
</p:tagLst>
</file>

<file path=ppt/tags/tag471.xml><?xml version="1.0" encoding="utf-8"?>
<p:tagLst xmlns:a="http://schemas.openxmlformats.org/drawingml/2006/main" xmlns:r="http://schemas.openxmlformats.org/officeDocument/2006/relationships" xmlns:p="http://schemas.openxmlformats.org/presentationml/2006/main">
  <p:tag name="AS_UNIQUEID" val="40939"/>
</p:tagLst>
</file>

<file path=ppt/tags/tag472.xml><?xml version="1.0" encoding="utf-8"?>
<p:tagLst xmlns:a="http://schemas.openxmlformats.org/drawingml/2006/main" xmlns:r="http://schemas.openxmlformats.org/officeDocument/2006/relationships" xmlns:p="http://schemas.openxmlformats.org/presentationml/2006/main">
  <p:tag name="AS_UNIQUEID" val="40940"/>
</p:tagLst>
</file>

<file path=ppt/tags/tag473.xml><?xml version="1.0" encoding="utf-8"?>
<p:tagLst xmlns:a="http://schemas.openxmlformats.org/drawingml/2006/main" xmlns:r="http://schemas.openxmlformats.org/officeDocument/2006/relationships" xmlns:p="http://schemas.openxmlformats.org/presentationml/2006/main">
  <p:tag name="AS_UNIQUEID" val="40941"/>
</p:tagLst>
</file>

<file path=ppt/tags/tag474.xml><?xml version="1.0" encoding="utf-8"?>
<p:tagLst xmlns:a="http://schemas.openxmlformats.org/drawingml/2006/main" xmlns:r="http://schemas.openxmlformats.org/officeDocument/2006/relationships" xmlns:p="http://schemas.openxmlformats.org/presentationml/2006/main">
  <p:tag name="AS_UNIQUEID" val="40942"/>
</p:tagLst>
</file>

<file path=ppt/tags/tag475.xml><?xml version="1.0" encoding="utf-8"?>
<p:tagLst xmlns:a="http://schemas.openxmlformats.org/drawingml/2006/main" xmlns:r="http://schemas.openxmlformats.org/officeDocument/2006/relationships" xmlns:p="http://schemas.openxmlformats.org/presentationml/2006/main">
  <p:tag name="AS_UNIQUEID" val="40943"/>
</p:tagLst>
</file>

<file path=ppt/tags/tag476.xml><?xml version="1.0" encoding="utf-8"?>
<p:tagLst xmlns:a="http://schemas.openxmlformats.org/drawingml/2006/main" xmlns:r="http://schemas.openxmlformats.org/officeDocument/2006/relationships" xmlns:p="http://schemas.openxmlformats.org/presentationml/2006/main">
  <p:tag name="AS_UNIQUEID" val="40946"/>
</p:tagLst>
</file>

<file path=ppt/tags/tag477.xml><?xml version="1.0" encoding="utf-8"?>
<p:tagLst xmlns:a="http://schemas.openxmlformats.org/drawingml/2006/main" xmlns:r="http://schemas.openxmlformats.org/officeDocument/2006/relationships" xmlns:p="http://schemas.openxmlformats.org/presentationml/2006/main">
  <p:tag name="AS_UNIQUEID" val="40947"/>
</p:tagLst>
</file>

<file path=ppt/tags/tag478.xml><?xml version="1.0" encoding="utf-8"?>
<p:tagLst xmlns:a="http://schemas.openxmlformats.org/drawingml/2006/main" xmlns:r="http://schemas.openxmlformats.org/officeDocument/2006/relationships" xmlns:p="http://schemas.openxmlformats.org/presentationml/2006/main">
  <p:tag name="AS_UNIQUEID" val="40948"/>
</p:tagLst>
</file>

<file path=ppt/tags/tag479.xml><?xml version="1.0" encoding="utf-8"?>
<p:tagLst xmlns:a="http://schemas.openxmlformats.org/drawingml/2006/main" xmlns:r="http://schemas.openxmlformats.org/officeDocument/2006/relationships" xmlns:p="http://schemas.openxmlformats.org/presentationml/2006/main">
  <p:tag name="AS_UNIQUEID" val="40952"/>
</p:tagLst>
</file>

<file path=ppt/tags/tag48.xml><?xml version="1.0" encoding="utf-8"?>
<p:tagLst xmlns:a="http://schemas.openxmlformats.org/drawingml/2006/main" xmlns:r="http://schemas.openxmlformats.org/officeDocument/2006/relationships" xmlns:p="http://schemas.openxmlformats.org/presentationml/2006/main">
  <p:tag name="AS_UNIQUEID" val="40451"/>
</p:tagLst>
</file>

<file path=ppt/tags/tag480.xml><?xml version="1.0" encoding="utf-8"?>
<p:tagLst xmlns:a="http://schemas.openxmlformats.org/drawingml/2006/main" xmlns:r="http://schemas.openxmlformats.org/officeDocument/2006/relationships" xmlns:p="http://schemas.openxmlformats.org/presentationml/2006/main">
  <p:tag name="AS_UNIQUEID" val="40953"/>
</p:tagLst>
</file>

<file path=ppt/tags/tag481.xml><?xml version="1.0" encoding="utf-8"?>
<p:tagLst xmlns:a="http://schemas.openxmlformats.org/drawingml/2006/main" xmlns:r="http://schemas.openxmlformats.org/officeDocument/2006/relationships" xmlns:p="http://schemas.openxmlformats.org/presentationml/2006/main">
  <p:tag name="AS_UNIQUEID" val="40959"/>
</p:tagLst>
</file>

<file path=ppt/tags/tag482.xml><?xml version="1.0" encoding="utf-8"?>
<p:tagLst xmlns:a="http://schemas.openxmlformats.org/drawingml/2006/main" xmlns:r="http://schemas.openxmlformats.org/officeDocument/2006/relationships" xmlns:p="http://schemas.openxmlformats.org/presentationml/2006/main">
  <p:tag name="AS_UNIQUEID" val="40960"/>
</p:tagLst>
</file>

<file path=ppt/tags/tag483.xml><?xml version="1.0" encoding="utf-8"?>
<p:tagLst xmlns:a="http://schemas.openxmlformats.org/drawingml/2006/main" xmlns:r="http://schemas.openxmlformats.org/officeDocument/2006/relationships" xmlns:p="http://schemas.openxmlformats.org/presentationml/2006/main">
  <p:tag name="AS_UNIQUEID" val="40961"/>
</p:tagLst>
</file>

<file path=ppt/tags/tag484.xml><?xml version="1.0" encoding="utf-8"?>
<p:tagLst xmlns:a="http://schemas.openxmlformats.org/drawingml/2006/main" xmlns:r="http://schemas.openxmlformats.org/officeDocument/2006/relationships" xmlns:p="http://schemas.openxmlformats.org/presentationml/2006/main">
  <p:tag name="AS_UNIQUEID" val="40962"/>
</p:tagLst>
</file>

<file path=ppt/tags/tag485.xml><?xml version="1.0" encoding="utf-8"?>
<p:tagLst xmlns:a="http://schemas.openxmlformats.org/drawingml/2006/main" xmlns:r="http://schemas.openxmlformats.org/officeDocument/2006/relationships" xmlns:p="http://schemas.openxmlformats.org/presentationml/2006/main">
  <p:tag name="AS_UNIQUEID" val="40963"/>
</p:tagLst>
</file>

<file path=ppt/tags/tag486.xml><?xml version="1.0" encoding="utf-8"?>
<p:tagLst xmlns:a="http://schemas.openxmlformats.org/drawingml/2006/main" xmlns:r="http://schemas.openxmlformats.org/officeDocument/2006/relationships" xmlns:p="http://schemas.openxmlformats.org/presentationml/2006/main">
  <p:tag name="AS_UNIQUEID" val="40964"/>
</p:tagLst>
</file>

<file path=ppt/tags/tag487.xml><?xml version="1.0" encoding="utf-8"?>
<p:tagLst xmlns:a="http://schemas.openxmlformats.org/drawingml/2006/main" xmlns:r="http://schemas.openxmlformats.org/officeDocument/2006/relationships" xmlns:p="http://schemas.openxmlformats.org/presentationml/2006/main">
  <p:tag name="AS_UNIQUEID" val="40965"/>
</p:tagLst>
</file>

<file path=ppt/tags/tag488.xml><?xml version="1.0" encoding="utf-8"?>
<p:tagLst xmlns:a="http://schemas.openxmlformats.org/drawingml/2006/main" xmlns:r="http://schemas.openxmlformats.org/officeDocument/2006/relationships" xmlns:p="http://schemas.openxmlformats.org/presentationml/2006/main">
  <p:tag name="AS_UNIQUEID" val="40966"/>
</p:tagLst>
</file>

<file path=ppt/tags/tag489.xml><?xml version="1.0" encoding="utf-8"?>
<p:tagLst xmlns:a="http://schemas.openxmlformats.org/drawingml/2006/main" xmlns:r="http://schemas.openxmlformats.org/officeDocument/2006/relationships" xmlns:p="http://schemas.openxmlformats.org/presentationml/2006/main">
  <p:tag name="AS_UNIQUEID" val="40967"/>
</p:tagLst>
</file>

<file path=ppt/tags/tag49.xml><?xml version="1.0" encoding="utf-8"?>
<p:tagLst xmlns:a="http://schemas.openxmlformats.org/drawingml/2006/main" xmlns:r="http://schemas.openxmlformats.org/officeDocument/2006/relationships" xmlns:p="http://schemas.openxmlformats.org/presentationml/2006/main">
  <p:tag name="AS_UNIQUEID" val="40452"/>
</p:tagLst>
</file>

<file path=ppt/tags/tag490.xml><?xml version="1.0" encoding="utf-8"?>
<p:tagLst xmlns:a="http://schemas.openxmlformats.org/drawingml/2006/main" xmlns:r="http://schemas.openxmlformats.org/officeDocument/2006/relationships" xmlns:p="http://schemas.openxmlformats.org/presentationml/2006/main">
  <p:tag name="AS_UNIQUEID" val="40968"/>
</p:tagLst>
</file>

<file path=ppt/tags/tag491.xml><?xml version="1.0" encoding="utf-8"?>
<p:tagLst xmlns:a="http://schemas.openxmlformats.org/drawingml/2006/main" xmlns:r="http://schemas.openxmlformats.org/officeDocument/2006/relationships" xmlns:p="http://schemas.openxmlformats.org/presentationml/2006/main">
  <p:tag name="AS_UNIQUEID" val="40969"/>
</p:tagLst>
</file>

<file path=ppt/tags/tag492.xml><?xml version="1.0" encoding="utf-8"?>
<p:tagLst xmlns:a="http://schemas.openxmlformats.org/drawingml/2006/main" xmlns:r="http://schemas.openxmlformats.org/officeDocument/2006/relationships" xmlns:p="http://schemas.openxmlformats.org/presentationml/2006/main">
  <p:tag name="AS_UNIQUEID" val="40970"/>
</p:tagLst>
</file>

<file path=ppt/tags/tag493.xml><?xml version="1.0" encoding="utf-8"?>
<p:tagLst xmlns:a="http://schemas.openxmlformats.org/drawingml/2006/main" xmlns:r="http://schemas.openxmlformats.org/officeDocument/2006/relationships" xmlns:p="http://schemas.openxmlformats.org/presentationml/2006/main">
  <p:tag name="AS_UNIQUEID" val="41090"/>
</p:tagLst>
</file>

<file path=ppt/tags/tag494.xml><?xml version="1.0" encoding="utf-8"?>
<p:tagLst xmlns:a="http://schemas.openxmlformats.org/drawingml/2006/main" xmlns:r="http://schemas.openxmlformats.org/officeDocument/2006/relationships" xmlns:p="http://schemas.openxmlformats.org/presentationml/2006/main">
  <p:tag name="AS_UNIQUEID" val="41091"/>
</p:tagLst>
</file>

<file path=ppt/tags/tag495.xml><?xml version="1.0" encoding="utf-8"?>
<p:tagLst xmlns:a="http://schemas.openxmlformats.org/drawingml/2006/main" xmlns:r="http://schemas.openxmlformats.org/officeDocument/2006/relationships" xmlns:p="http://schemas.openxmlformats.org/presentationml/2006/main">
  <p:tag name="AS_UNIQUEID" val="41092"/>
</p:tagLst>
</file>

<file path=ppt/tags/tag496.xml><?xml version="1.0" encoding="utf-8"?>
<p:tagLst xmlns:a="http://schemas.openxmlformats.org/drawingml/2006/main" xmlns:r="http://schemas.openxmlformats.org/officeDocument/2006/relationships" xmlns:p="http://schemas.openxmlformats.org/presentationml/2006/main">
  <p:tag name="AS_UNIQUEID" val="41093"/>
  <p:tag name="BTFPLAYOUTENABLED" val="0"/>
</p:tagLst>
</file>

<file path=ppt/tags/tag497.xml><?xml version="1.0" encoding="utf-8"?>
<p:tagLst xmlns:a="http://schemas.openxmlformats.org/drawingml/2006/main" xmlns:r="http://schemas.openxmlformats.org/officeDocument/2006/relationships" xmlns:p="http://schemas.openxmlformats.org/presentationml/2006/main">
  <p:tag name="AS_UNIQUEID" val="41094"/>
</p:tagLst>
</file>

<file path=ppt/tags/tag498.xml><?xml version="1.0" encoding="utf-8"?>
<p:tagLst xmlns:a="http://schemas.openxmlformats.org/drawingml/2006/main" xmlns:r="http://schemas.openxmlformats.org/officeDocument/2006/relationships" xmlns:p="http://schemas.openxmlformats.org/presentationml/2006/main">
  <p:tag name="AS_UNIQUEID" val="41095"/>
  <p:tag name="BTFPLAYOUTENABLED" val="0"/>
</p:tagLst>
</file>

<file path=ppt/tags/tag499.xml><?xml version="1.0" encoding="utf-8"?>
<p:tagLst xmlns:a="http://schemas.openxmlformats.org/drawingml/2006/main" xmlns:r="http://schemas.openxmlformats.org/officeDocument/2006/relationships" xmlns:p="http://schemas.openxmlformats.org/presentationml/2006/main">
  <p:tag name="AS_UNIQUEID" val="41096"/>
  <p:tag name="BTFPLAYOUTENABLED" val="0"/>
</p:tagLst>
</file>

<file path=ppt/tags/tag5.xml><?xml version="1.0" encoding="utf-8"?>
<p:tagLst xmlns:a="http://schemas.openxmlformats.org/drawingml/2006/main" xmlns:r="http://schemas.openxmlformats.org/officeDocument/2006/relationships" xmlns:p="http://schemas.openxmlformats.org/presentationml/2006/main">
  <p:tag name="AS_UNIQUEID" val="40415"/>
</p:tagLst>
</file>

<file path=ppt/tags/tag50.xml><?xml version="1.0" encoding="utf-8"?>
<p:tagLst xmlns:a="http://schemas.openxmlformats.org/drawingml/2006/main" xmlns:r="http://schemas.openxmlformats.org/officeDocument/2006/relationships" xmlns:p="http://schemas.openxmlformats.org/presentationml/2006/main">
  <p:tag name="AS_UNIQUEID" val="40453"/>
</p:tagLst>
</file>

<file path=ppt/tags/tag500.xml><?xml version="1.0" encoding="utf-8"?>
<p:tagLst xmlns:a="http://schemas.openxmlformats.org/drawingml/2006/main" xmlns:r="http://schemas.openxmlformats.org/officeDocument/2006/relationships" xmlns:p="http://schemas.openxmlformats.org/presentationml/2006/main">
  <p:tag name="AS_UNIQUEID" val="41097"/>
</p:tagLst>
</file>

<file path=ppt/tags/tag501.xml><?xml version="1.0" encoding="utf-8"?>
<p:tagLst xmlns:a="http://schemas.openxmlformats.org/drawingml/2006/main" xmlns:r="http://schemas.openxmlformats.org/officeDocument/2006/relationships" xmlns:p="http://schemas.openxmlformats.org/presentationml/2006/main">
  <p:tag name="AS_UNIQUEID" val="41098"/>
</p:tagLst>
</file>

<file path=ppt/tags/tag502.xml><?xml version="1.0" encoding="utf-8"?>
<p:tagLst xmlns:a="http://schemas.openxmlformats.org/drawingml/2006/main" xmlns:r="http://schemas.openxmlformats.org/officeDocument/2006/relationships" xmlns:p="http://schemas.openxmlformats.org/presentationml/2006/main">
  <p:tag name="AS_UNIQUEID" val="41099"/>
  <p:tag name="BTFPLAYOUTENABLED" val="0"/>
</p:tagLst>
</file>

<file path=ppt/tags/tag503.xml><?xml version="1.0" encoding="utf-8"?>
<p:tagLst xmlns:a="http://schemas.openxmlformats.org/drawingml/2006/main" xmlns:r="http://schemas.openxmlformats.org/officeDocument/2006/relationships" xmlns:p="http://schemas.openxmlformats.org/presentationml/2006/main">
  <p:tag name="AS_UNIQUEID" val="41100"/>
</p:tagLst>
</file>

<file path=ppt/tags/tag504.xml><?xml version="1.0" encoding="utf-8"?>
<p:tagLst xmlns:a="http://schemas.openxmlformats.org/drawingml/2006/main" xmlns:r="http://schemas.openxmlformats.org/officeDocument/2006/relationships" xmlns:p="http://schemas.openxmlformats.org/presentationml/2006/main">
  <p:tag name="AS_UNIQUEID" val="41101"/>
  <p:tag name="BTFPLAYOUTENABLED" val="0"/>
</p:tagLst>
</file>

<file path=ppt/tags/tag505.xml><?xml version="1.0" encoding="utf-8"?>
<p:tagLst xmlns:a="http://schemas.openxmlformats.org/drawingml/2006/main" xmlns:r="http://schemas.openxmlformats.org/officeDocument/2006/relationships" xmlns:p="http://schemas.openxmlformats.org/presentationml/2006/main">
  <p:tag name="AS_UNIQUEID" val="41102"/>
</p:tagLst>
</file>

<file path=ppt/tags/tag506.xml><?xml version="1.0" encoding="utf-8"?>
<p:tagLst xmlns:a="http://schemas.openxmlformats.org/drawingml/2006/main" xmlns:r="http://schemas.openxmlformats.org/officeDocument/2006/relationships" xmlns:p="http://schemas.openxmlformats.org/presentationml/2006/main">
  <p:tag name="AS_UNIQUEID" val="41103"/>
</p:tagLst>
</file>

<file path=ppt/tags/tag507.xml><?xml version="1.0" encoding="utf-8"?>
<p:tagLst xmlns:a="http://schemas.openxmlformats.org/drawingml/2006/main" xmlns:r="http://schemas.openxmlformats.org/officeDocument/2006/relationships" xmlns:p="http://schemas.openxmlformats.org/presentationml/2006/main">
  <p:tag name="AS_UNIQUEID" val="41104"/>
</p:tagLst>
</file>

<file path=ppt/tags/tag508.xml><?xml version="1.0" encoding="utf-8"?>
<p:tagLst xmlns:a="http://schemas.openxmlformats.org/drawingml/2006/main" xmlns:r="http://schemas.openxmlformats.org/officeDocument/2006/relationships" xmlns:p="http://schemas.openxmlformats.org/presentationml/2006/main">
  <p:tag name="AS_UNIQUEID" val="41105"/>
  <p:tag name="BTFPLAYOUTENABLED" val="0"/>
</p:tagLst>
</file>

<file path=ppt/tags/tag509.xml><?xml version="1.0" encoding="utf-8"?>
<p:tagLst xmlns:a="http://schemas.openxmlformats.org/drawingml/2006/main" xmlns:r="http://schemas.openxmlformats.org/officeDocument/2006/relationships" xmlns:p="http://schemas.openxmlformats.org/presentationml/2006/main">
  <p:tag name="AS_UNIQUEID" val="41106"/>
  <p:tag name="BTFPLAYOUTENABLED" val="1"/>
</p:tagLst>
</file>

<file path=ppt/tags/tag51.xml><?xml version="1.0" encoding="utf-8"?>
<p:tagLst xmlns:a="http://schemas.openxmlformats.org/drawingml/2006/main" xmlns:r="http://schemas.openxmlformats.org/officeDocument/2006/relationships" xmlns:p="http://schemas.openxmlformats.org/presentationml/2006/main">
  <p:tag name="AS_UNIQUEID" val="40454"/>
</p:tagLst>
</file>

<file path=ppt/tags/tag510.xml><?xml version="1.0" encoding="utf-8"?>
<p:tagLst xmlns:a="http://schemas.openxmlformats.org/drawingml/2006/main" xmlns:r="http://schemas.openxmlformats.org/officeDocument/2006/relationships" xmlns:p="http://schemas.openxmlformats.org/presentationml/2006/main">
  <p:tag name="AS_UNIQUEID" val="40971"/>
</p:tagLst>
</file>

<file path=ppt/tags/tag511.xml><?xml version="1.0" encoding="utf-8"?>
<p:tagLst xmlns:a="http://schemas.openxmlformats.org/drawingml/2006/main" xmlns:r="http://schemas.openxmlformats.org/officeDocument/2006/relationships" xmlns:p="http://schemas.openxmlformats.org/presentationml/2006/main">
  <p:tag name="AS_UNIQUEID" val="40972"/>
</p:tagLst>
</file>

<file path=ppt/tags/tag512.xml><?xml version="1.0" encoding="utf-8"?>
<p:tagLst xmlns:a="http://schemas.openxmlformats.org/drawingml/2006/main" xmlns:r="http://schemas.openxmlformats.org/officeDocument/2006/relationships" xmlns:p="http://schemas.openxmlformats.org/presentationml/2006/main">
  <p:tag name="AS_UNIQUEID" val="40973"/>
</p:tagLst>
</file>

<file path=ppt/tags/tag513.xml><?xml version="1.0" encoding="utf-8"?>
<p:tagLst xmlns:a="http://schemas.openxmlformats.org/drawingml/2006/main" xmlns:r="http://schemas.openxmlformats.org/officeDocument/2006/relationships" xmlns:p="http://schemas.openxmlformats.org/presentationml/2006/main">
  <p:tag name="AS_UNIQUEID" val="40974"/>
</p:tagLst>
</file>

<file path=ppt/tags/tag514.xml><?xml version="1.0" encoding="utf-8"?>
<p:tagLst xmlns:a="http://schemas.openxmlformats.org/drawingml/2006/main" xmlns:r="http://schemas.openxmlformats.org/officeDocument/2006/relationships" xmlns:p="http://schemas.openxmlformats.org/presentationml/2006/main">
  <p:tag name="AS_UNIQUEID" val="40975"/>
</p:tagLst>
</file>

<file path=ppt/tags/tag515.xml><?xml version="1.0" encoding="utf-8"?>
<p:tagLst xmlns:a="http://schemas.openxmlformats.org/drawingml/2006/main" xmlns:r="http://schemas.openxmlformats.org/officeDocument/2006/relationships" xmlns:p="http://schemas.openxmlformats.org/presentationml/2006/main">
  <p:tag name="AS_UNIQUEID" val="40976"/>
</p:tagLst>
</file>

<file path=ppt/tags/tag516.xml><?xml version="1.0" encoding="utf-8"?>
<p:tagLst xmlns:a="http://schemas.openxmlformats.org/drawingml/2006/main" xmlns:r="http://schemas.openxmlformats.org/officeDocument/2006/relationships" xmlns:p="http://schemas.openxmlformats.org/presentationml/2006/main">
  <p:tag name="AS_UNIQUEID" val="40977"/>
</p:tagLst>
</file>

<file path=ppt/tags/tag517.xml><?xml version="1.0" encoding="utf-8"?>
<p:tagLst xmlns:a="http://schemas.openxmlformats.org/drawingml/2006/main" xmlns:r="http://schemas.openxmlformats.org/officeDocument/2006/relationships" xmlns:p="http://schemas.openxmlformats.org/presentationml/2006/main">
  <p:tag name="AS_UNIQUEID" val="40978"/>
</p:tagLst>
</file>

<file path=ppt/tags/tag518.xml><?xml version="1.0" encoding="utf-8"?>
<p:tagLst xmlns:a="http://schemas.openxmlformats.org/drawingml/2006/main" xmlns:r="http://schemas.openxmlformats.org/officeDocument/2006/relationships" xmlns:p="http://schemas.openxmlformats.org/presentationml/2006/main">
  <p:tag name="AS_UNIQUEID" val="40979"/>
</p:tagLst>
</file>

<file path=ppt/tags/tag519.xml><?xml version="1.0" encoding="utf-8"?>
<p:tagLst xmlns:a="http://schemas.openxmlformats.org/drawingml/2006/main" xmlns:r="http://schemas.openxmlformats.org/officeDocument/2006/relationships" xmlns:p="http://schemas.openxmlformats.org/presentationml/2006/main">
  <p:tag name="AS_UNIQUEID" val="40980"/>
</p:tagLst>
</file>

<file path=ppt/tags/tag52.xml><?xml version="1.0" encoding="utf-8"?>
<p:tagLst xmlns:a="http://schemas.openxmlformats.org/drawingml/2006/main" xmlns:r="http://schemas.openxmlformats.org/officeDocument/2006/relationships" xmlns:p="http://schemas.openxmlformats.org/presentationml/2006/main">
  <p:tag name="AS_UNIQUEID" val="40455"/>
</p:tagLst>
</file>

<file path=ppt/tags/tag520.xml><?xml version="1.0" encoding="utf-8"?>
<p:tagLst xmlns:a="http://schemas.openxmlformats.org/drawingml/2006/main" xmlns:r="http://schemas.openxmlformats.org/officeDocument/2006/relationships" xmlns:p="http://schemas.openxmlformats.org/presentationml/2006/main">
  <p:tag name="AS_UNIQUEID" val="40981"/>
</p:tagLst>
</file>

<file path=ppt/tags/tag521.xml><?xml version="1.0" encoding="utf-8"?>
<p:tagLst xmlns:a="http://schemas.openxmlformats.org/drawingml/2006/main" xmlns:r="http://schemas.openxmlformats.org/officeDocument/2006/relationships" xmlns:p="http://schemas.openxmlformats.org/presentationml/2006/main">
  <p:tag name="AS_UNIQUEID" val="40982"/>
</p:tagLst>
</file>

<file path=ppt/tags/tag522.xml><?xml version="1.0" encoding="utf-8"?>
<p:tagLst xmlns:a="http://schemas.openxmlformats.org/drawingml/2006/main" xmlns:r="http://schemas.openxmlformats.org/officeDocument/2006/relationships" xmlns:p="http://schemas.openxmlformats.org/presentationml/2006/main">
  <p:tag name="AS_UNIQUEID" val="40983"/>
</p:tagLst>
</file>

<file path=ppt/tags/tag523.xml><?xml version="1.0" encoding="utf-8"?>
<p:tagLst xmlns:a="http://schemas.openxmlformats.org/drawingml/2006/main" xmlns:r="http://schemas.openxmlformats.org/officeDocument/2006/relationships" xmlns:p="http://schemas.openxmlformats.org/presentationml/2006/main">
  <p:tag name="AS_UNIQUEID" val="40984"/>
</p:tagLst>
</file>

<file path=ppt/tags/tag524.xml><?xml version="1.0" encoding="utf-8"?>
<p:tagLst xmlns:a="http://schemas.openxmlformats.org/drawingml/2006/main" xmlns:r="http://schemas.openxmlformats.org/officeDocument/2006/relationships" xmlns:p="http://schemas.openxmlformats.org/presentationml/2006/main">
  <p:tag name="AS_UNIQUEID" val="40985"/>
</p:tagLst>
</file>

<file path=ppt/tags/tag525.xml><?xml version="1.0" encoding="utf-8"?>
<p:tagLst xmlns:a="http://schemas.openxmlformats.org/drawingml/2006/main" xmlns:r="http://schemas.openxmlformats.org/officeDocument/2006/relationships" xmlns:p="http://schemas.openxmlformats.org/presentationml/2006/main">
  <p:tag name="AS_UNIQUEID" val="40986"/>
</p:tagLst>
</file>

<file path=ppt/tags/tag526.xml><?xml version="1.0" encoding="utf-8"?>
<p:tagLst xmlns:a="http://schemas.openxmlformats.org/drawingml/2006/main" xmlns:r="http://schemas.openxmlformats.org/officeDocument/2006/relationships" xmlns:p="http://schemas.openxmlformats.org/presentationml/2006/main">
  <p:tag name="AS_UNIQUEID" val="40987"/>
</p:tagLst>
</file>

<file path=ppt/tags/tag527.xml><?xml version="1.0" encoding="utf-8"?>
<p:tagLst xmlns:a="http://schemas.openxmlformats.org/drawingml/2006/main" xmlns:r="http://schemas.openxmlformats.org/officeDocument/2006/relationships" xmlns:p="http://schemas.openxmlformats.org/presentationml/2006/main">
  <p:tag name="AS_UNIQUEID" val="40988"/>
</p:tagLst>
</file>

<file path=ppt/tags/tag528.xml><?xml version="1.0" encoding="utf-8"?>
<p:tagLst xmlns:a="http://schemas.openxmlformats.org/drawingml/2006/main" xmlns:r="http://schemas.openxmlformats.org/officeDocument/2006/relationships" xmlns:p="http://schemas.openxmlformats.org/presentationml/2006/main">
  <p:tag name="AS_UNIQUEID" val="40989"/>
</p:tagLst>
</file>

<file path=ppt/tags/tag529.xml><?xml version="1.0" encoding="utf-8"?>
<p:tagLst xmlns:a="http://schemas.openxmlformats.org/drawingml/2006/main" xmlns:r="http://schemas.openxmlformats.org/officeDocument/2006/relationships" xmlns:p="http://schemas.openxmlformats.org/presentationml/2006/main">
  <p:tag name="AS_UNIQUEID" val="40990"/>
</p:tagLst>
</file>

<file path=ppt/tags/tag53.xml><?xml version="1.0" encoding="utf-8"?>
<p:tagLst xmlns:a="http://schemas.openxmlformats.org/drawingml/2006/main" xmlns:r="http://schemas.openxmlformats.org/officeDocument/2006/relationships" xmlns:p="http://schemas.openxmlformats.org/presentationml/2006/main">
  <p:tag name="AS_UNIQUEID" val="40456"/>
</p:tagLst>
</file>

<file path=ppt/tags/tag530.xml><?xml version="1.0" encoding="utf-8"?>
<p:tagLst xmlns:a="http://schemas.openxmlformats.org/drawingml/2006/main" xmlns:r="http://schemas.openxmlformats.org/officeDocument/2006/relationships" xmlns:p="http://schemas.openxmlformats.org/presentationml/2006/main">
  <p:tag name="AS_UNIQUEID" val="40991"/>
</p:tagLst>
</file>

<file path=ppt/tags/tag531.xml><?xml version="1.0" encoding="utf-8"?>
<p:tagLst xmlns:a="http://schemas.openxmlformats.org/drawingml/2006/main" xmlns:r="http://schemas.openxmlformats.org/officeDocument/2006/relationships" xmlns:p="http://schemas.openxmlformats.org/presentationml/2006/main">
  <p:tag name="AS_UNIQUEID" val="40992"/>
</p:tagLst>
</file>

<file path=ppt/tags/tag532.xml><?xml version="1.0" encoding="utf-8"?>
<p:tagLst xmlns:a="http://schemas.openxmlformats.org/drawingml/2006/main" xmlns:r="http://schemas.openxmlformats.org/officeDocument/2006/relationships" xmlns:p="http://schemas.openxmlformats.org/presentationml/2006/main">
  <p:tag name="AS_UNIQUEID" val="40995"/>
</p:tagLst>
</file>

<file path=ppt/tags/tag533.xml><?xml version="1.0" encoding="utf-8"?>
<p:tagLst xmlns:a="http://schemas.openxmlformats.org/drawingml/2006/main" xmlns:r="http://schemas.openxmlformats.org/officeDocument/2006/relationships" xmlns:p="http://schemas.openxmlformats.org/presentationml/2006/main">
  <p:tag name="AS_UNIQUEID" val="41000"/>
</p:tagLst>
</file>

<file path=ppt/tags/tag534.xml><?xml version="1.0" encoding="utf-8"?>
<p:tagLst xmlns:a="http://schemas.openxmlformats.org/drawingml/2006/main" xmlns:r="http://schemas.openxmlformats.org/officeDocument/2006/relationships" xmlns:p="http://schemas.openxmlformats.org/presentationml/2006/main">
  <p:tag name="AS_UNIQUEID" val="41001"/>
</p:tagLst>
</file>

<file path=ppt/tags/tag535.xml><?xml version="1.0" encoding="utf-8"?>
<p:tagLst xmlns:a="http://schemas.openxmlformats.org/drawingml/2006/main" xmlns:r="http://schemas.openxmlformats.org/officeDocument/2006/relationships" xmlns:p="http://schemas.openxmlformats.org/presentationml/2006/main">
  <p:tag name="AS_UNIQUEID" val="41002"/>
</p:tagLst>
</file>

<file path=ppt/tags/tag536.xml><?xml version="1.0" encoding="utf-8"?>
<p:tagLst xmlns:a="http://schemas.openxmlformats.org/drawingml/2006/main" xmlns:r="http://schemas.openxmlformats.org/officeDocument/2006/relationships" xmlns:p="http://schemas.openxmlformats.org/presentationml/2006/main">
  <p:tag name="AS_UNIQUEID" val="41003"/>
</p:tagLst>
</file>

<file path=ppt/tags/tag537.xml><?xml version="1.0" encoding="utf-8"?>
<p:tagLst xmlns:a="http://schemas.openxmlformats.org/drawingml/2006/main" xmlns:r="http://schemas.openxmlformats.org/officeDocument/2006/relationships" xmlns:p="http://schemas.openxmlformats.org/presentationml/2006/main">
  <p:tag name="AS_UNIQUEID" val="41004"/>
</p:tagLst>
</file>

<file path=ppt/tags/tag538.xml><?xml version="1.0" encoding="utf-8"?>
<p:tagLst xmlns:a="http://schemas.openxmlformats.org/drawingml/2006/main" xmlns:r="http://schemas.openxmlformats.org/officeDocument/2006/relationships" xmlns:p="http://schemas.openxmlformats.org/presentationml/2006/main">
  <p:tag name="AS_UNIQUEID" val="41005"/>
</p:tagLst>
</file>

<file path=ppt/tags/tag539.xml><?xml version="1.0" encoding="utf-8"?>
<p:tagLst xmlns:a="http://schemas.openxmlformats.org/drawingml/2006/main" xmlns:r="http://schemas.openxmlformats.org/officeDocument/2006/relationships" xmlns:p="http://schemas.openxmlformats.org/presentationml/2006/main">
  <p:tag name="AS_UNIQUEID" val="41006"/>
</p:tagLst>
</file>

<file path=ppt/tags/tag54.xml><?xml version="1.0" encoding="utf-8"?>
<p:tagLst xmlns:a="http://schemas.openxmlformats.org/drawingml/2006/main" xmlns:r="http://schemas.openxmlformats.org/officeDocument/2006/relationships" xmlns:p="http://schemas.openxmlformats.org/presentationml/2006/main">
  <p:tag name="AS_UNIQUEID" val="40457"/>
</p:tagLst>
</file>

<file path=ppt/tags/tag540.xml><?xml version="1.0" encoding="utf-8"?>
<p:tagLst xmlns:a="http://schemas.openxmlformats.org/drawingml/2006/main" xmlns:r="http://schemas.openxmlformats.org/officeDocument/2006/relationships" xmlns:p="http://schemas.openxmlformats.org/presentationml/2006/main">
  <p:tag name="AS_UNIQUEID" val="41007"/>
</p:tagLst>
</file>

<file path=ppt/tags/tag541.xml><?xml version="1.0" encoding="utf-8"?>
<p:tagLst xmlns:a="http://schemas.openxmlformats.org/drawingml/2006/main" xmlns:r="http://schemas.openxmlformats.org/officeDocument/2006/relationships" xmlns:p="http://schemas.openxmlformats.org/presentationml/2006/main">
  <p:tag name="AS_UNIQUEID" val="41008"/>
</p:tagLst>
</file>

<file path=ppt/tags/tag542.xml><?xml version="1.0" encoding="utf-8"?>
<p:tagLst xmlns:a="http://schemas.openxmlformats.org/drawingml/2006/main" xmlns:r="http://schemas.openxmlformats.org/officeDocument/2006/relationships" xmlns:p="http://schemas.openxmlformats.org/presentationml/2006/main">
  <p:tag name="AS_UNIQUEID" val="41009"/>
</p:tagLst>
</file>

<file path=ppt/tags/tag543.xml><?xml version="1.0" encoding="utf-8"?>
<p:tagLst xmlns:a="http://schemas.openxmlformats.org/drawingml/2006/main" xmlns:r="http://schemas.openxmlformats.org/officeDocument/2006/relationships" xmlns:p="http://schemas.openxmlformats.org/presentationml/2006/main">
  <p:tag name="AS_UNIQUEID" val="41010"/>
</p:tagLst>
</file>

<file path=ppt/tags/tag544.xml><?xml version="1.0" encoding="utf-8"?>
<p:tagLst xmlns:a="http://schemas.openxmlformats.org/drawingml/2006/main" xmlns:r="http://schemas.openxmlformats.org/officeDocument/2006/relationships" xmlns:p="http://schemas.openxmlformats.org/presentationml/2006/main">
  <p:tag name="AS_UNIQUEID" val="41011"/>
</p:tagLst>
</file>

<file path=ppt/tags/tag545.xml><?xml version="1.0" encoding="utf-8"?>
<p:tagLst xmlns:a="http://schemas.openxmlformats.org/drawingml/2006/main" xmlns:r="http://schemas.openxmlformats.org/officeDocument/2006/relationships" xmlns:p="http://schemas.openxmlformats.org/presentationml/2006/main">
  <p:tag name="AS_UNIQUEID" val="41012"/>
</p:tagLst>
</file>

<file path=ppt/tags/tag546.xml><?xml version="1.0" encoding="utf-8"?>
<p:tagLst xmlns:a="http://schemas.openxmlformats.org/drawingml/2006/main" xmlns:r="http://schemas.openxmlformats.org/officeDocument/2006/relationships" xmlns:p="http://schemas.openxmlformats.org/presentationml/2006/main">
  <p:tag name="AS_UNIQUEID" val="41013"/>
</p:tagLst>
</file>

<file path=ppt/tags/tag547.xml><?xml version="1.0" encoding="utf-8"?>
<p:tagLst xmlns:a="http://schemas.openxmlformats.org/drawingml/2006/main" xmlns:r="http://schemas.openxmlformats.org/officeDocument/2006/relationships" xmlns:p="http://schemas.openxmlformats.org/presentationml/2006/main">
  <p:tag name="AS_UNIQUEID" val="41014"/>
</p:tagLst>
</file>

<file path=ppt/tags/tag548.xml><?xml version="1.0" encoding="utf-8"?>
<p:tagLst xmlns:a="http://schemas.openxmlformats.org/drawingml/2006/main" xmlns:r="http://schemas.openxmlformats.org/officeDocument/2006/relationships" xmlns:p="http://schemas.openxmlformats.org/presentationml/2006/main">
  <p:tag name="AS_UNIQUEID" val="41015"/>
</p:tagLst>
</file>

<file path=ppt/tags/tag549.xml><?xml version="1.0" encoding="utf-8"?>
<p:tagLst xmlns:a="http://schemas.openxmlformats.org/drawingml/2006/main" xmlns:r="http://schemas.openxmlformats.org/officeDocument/2006/relationships" xmlns:p="http://schemas.openxmlformats.org/presentationml/2006/main">
  <p:tag name="AS_UNIQUEID" val="41016"/>
</p:tagLst>
</file>

<file path=ppt/tags/tag55.xml><?xml version="1.0" encoding="utf-8"?>
<p:tagLst xmlns:a="http://schemas.openxmlformats.org/drawingml/2006/main" xmlns:r="http://schemas.openxmlformats.org/officeDocument/2006/relationships" xmlns:p="http://schemas.openxmlformats.org/presentationml/2006/main">
  <p:tag name="AS_UNIQUEID" val="40458"/>
</p:tagLst>
</file>

<file path=ppt/tags/tag550.xml><?xml version="1.0" encoding="utf-8"?>
<p:tagLst xmlns:a="http://schemas.openxmlformats.org/drawingml/2006/main" xmlns:r="http://schemas.openxmlformats.org/officeDocument/2006/relationships" xmlns:p="http://schemas.openxmlformats.org/presentationml/2006/main">
  <p:tag name="AS_UNIQUEID" val="41017"/>
</p:tagLst>
</file>

<file path=ppt/tags/tag551.xml><?xml version="1.0" encoding="utf-8"?>
<p:tagLst xmlns:a="http://schemas.openxmlformats.org/drawingml/2006/main" xmlns:r="http://schemas.openxmlformats.org/officeDocument/2006/relationships" xmlns:p="http://schemas.openxmlformats.org/presentationml/2006/main">
  <p:tag name="AS_UNIQUEID" val="41018"/>
</p:tagLst>
</file>

<file path=ppt/tags/tag552.xml><?xml version="1.0" encoding="utf-8"?>
<p:tagLst xmlns:a="http://schemas.openxmlformats.org/drawingml/2006/main" xmlns:r="http://schemas.openxmlformats.org/officeDocument/2006/relationships" xmlns:p="http://schemas.openxmlformats.org/presentationml/2006/main">
  <p:tag name="AS_UNIQUEID" val="41019"/>
</p:tagLst>
</file>

<file path=ppt/tags/tag553.xml><?xml version="1.0" encoding="utf-8"?>
<p:tagLst xmlns:a="http://schemas.openxmlformats.org/drawingml/2006/main" xmlns:r="http://schemas.openxmlformats.org/officeDocument/2006/relationships" xmlns:p="http://schemas.openxmlformats.org/presentationml/2006/main">
  <p:tag name="AS_UNIQUEID" val="41020"/>
</p:tagLst>
</file>

<file path=ppt/tags/tag554.xml><?xml version="1.0" encoding="utf-8"?>
<p:tagLst xmlns:a="http://schemas.openxmlformats.org/drawingml/2006/main" xmlns:r="http://schemas.openxmlformats.org/officeDocument/2006/relationships" xmlns:p="http://schemas.openxmlformats.org/presentationml/2006/main">
  <p:tag name="AS_UNIQUEID" val="41023"/>
</p:tagLst>
</file>

<file path=ppt/tags/tag555.xml><?xml version="1.0" encoding="utf-8"?>
<p:tagLst xmlns:a="http://schemas.openxmlformats.org/drawingml/2006/main" xmlns:r="http://schemas.openxmlformats.org/officeDocument/2006/relationships" xmlns:p="http://schemas.openxmlformats.org/presentationml/2006/main">
  <p:tag name="AS_UNIQUEID" val="41024"/>
</p:tagLst>
</file>

<file path=ppt/tags/tag556.xml><?xml version="1.0" encoding="utf-8"?>
<p:tagLst xmlns:a="http://schemas.openxmlformats.org/drawingml/2006/main" xmlns:r="http://schemas.openxmlformats.org/officeDocument/2006/relationships" xmlns:p="http://schemas.openxmlformats.org/presentationml/2006/main">
  <p:tag name="AS_UNIQUEID" val="41025"/>
</p:tagLst>
</file>

<file path=ppt/tags/tag557.xml><?xml version="1.0" encoding="utf-8"?>
<p:tagLst xmlns:a="http://schemas.openxmlformats.org/drawingml/2006/main" xmlns:r="http://schemas.openxmlformats.org/officeDocument/2006/relationships" xmlns:p="http://schemas.openxmlformats.org/presentationml/2006/main">
  <p:tag name="AS_UNIQUEID" val="41026"/>
</p:tagLst>
</file>

<file path=ppt/tags/tag558.xml><?xml version="1.0" encoding="utf-8"?>
<p:tagLst xmlns:a="http://schemas.openxmlformats.org/drawingml/2006/main" xmlns:r="http://schemas.openxmlformats.org/officeDocument/2006/relationships" xmlns:p="http://schemas.openxmlformats.org/presentationml/2006/main">
  <p:tag name="AS_UNIQUEID" val="41027"/>
</p:tagLst>
</file>

<file path=ppt/tags/tag559.xml><?xml version="1.0" encoding="utf-8"?>
<p:tagLst xmlns:a="http://schemas.openxmlformats.org/drawingml/2006/main" xmlns:r="http://schemas.openxmlformats.org/officeDocument/2006/relationships" xmlns:p="http://schemas.openxmlformats.org/presentationml/2006/main">
  <p:tag name="AS_UNIQUEID" val="41028"/>
</p:tagLst>
</file>

<file path=ppt/tags/tag56.xml><?xml version="1.0" encoding="utf-8"?>
<p:tagLst xmlns:a="http://schemas.openxmlformats.org/drawingml/2006/main" xmlns:r="http://schemas.openxmlformats.org/officeDocument/2006/relationships" xmlns:p="http://schemas.openxmlformats.org/presentationml/2006/main">
  <p:tag name="AS_UNIQUEID" val="40459"/>
</p:tagLst>
</file>

<file path=ppt/tags/tag560.xml><?xml version="1.0" encoding="utf-8"?>
<p:tagLst xmlns:a="http://schemas.openxmlformats.org/drawingml/2006/main" xmlns:r="http://schemas.openxmlformats.org/officeDocument/2006/relationships" xmlns:p="http://schemas.openxmlformats.org/presentationml/2006/main">
  <p:tag name="AS_UNIQUEID" val="41029"/>
</p:tagLst>
</file>

<file path=ppt/tags/tag561.xml><?xml version="1.0" encoding="utf-8"?>
<p:tagLst xmlns:a="http://schemas.openxmlformats.org/drawingml/2006/main" xmlns:r="http://schemas.openxmlformats.org/officeDocument/2006/relationships" xmlns:p="http://schemas.openxmlformats.org/presentationml/2006/main">
  <p:tag name="AS_UNIQUEID" val="41030"/>
</p:tagLst>
</file>

<file path=ppt/tags/tag562.xml><?xml version="1.0" encoding="utf-8"?>
<p:tagLst xmlns:a="http://schemas.openxmlformats.org/drawingml/2006/main" xmlns:r="http://schemas.openxmlformats.org/officeDocument/2006/relationships" xmlns:p="http://schemas.openxmlformats.org/presentationml/2006/main">
  <p:tag name="AS_UNIQUEID" val="41031"/>
</p:tagLst>
</file>

<file path=ppt/tags/tag563.xml><?xml version="1.0" encoding="utf-8"?>
<p:tagLst xmlns:a="http://schemas.openxmlformats.org/drawingml/2006/main" xmlns:r="http://schemas.openxmlformats.org/officeDocument/2006/relationships" xmlns:p="http://schemas.openxmlformats.org/presentationml/2006/main">
  <p:tag name="AS_UNIQUEID" val="41032"/>
</p:tagLst>
</file>

<file path=ppt/tags/tag564.xml><?xml version="1.0" encoding="utf-8"?>
<p:tagLst xmlns:a="http://schemas.openxmlformats.org/drawingml/2006/main" xmlns:r="http://schemas.openxmlformats.org/officeDocument/2006/relationships" xmlns:p="http://schemas.openxmlformats.org/presentationml/2006/main">
  <p:tag name="AS_UNIQUEID" val="41033"/>
</p:tagLst>
</file>

<file path=ppt/tags/tag565.xml><?xml version="1.0" encoding="utf-8"?>
<p:tagLst xmlns:a="http://schemas.openxmlformats.org/drawingml/2006/main" xmlns:r="http://schemas.openxmlformats.org/officeDocument/2006/relationships" xmlns:p="http://schemas.openxmlformats.org/presentationml/2006/main">
  <p:tag name="AS_UNIQUEID" val="41034"/>
</p:tagLst>
</file>

<file path=ppt/tags/tag566.xml><?xml version="1.0" encoding="utf-8"?>
<p:tagLst xmlns:a="http://schemas.openxmlformats.org/drawingml/2006/main" xmlns:r="http://schemas.openxmlformats.org/officeDocument/2006/relationships" xmlns:p="http://schemas.openxmlformats.org/presentationml/2006/main">
  <p:tag name="AS_UNIQUEID" val="41035"/>
</p:tagLst>
</file>

<file path=ppt/tags/tag567.xml><?xml version="1.0" encoding="utf-8"?>
<p:tagLst xmlns:a="http://schemas.openxmlformats.org/drawingml/2006/main" xmlns:r="http://schemas.openxmlformats.org/officeDocument/2006/relationships" xmlns:p="http://schemas.openxmlformats.org/presentationml/2006/main">
  <p:tag name="AS_UNIQUEID" val="41036"/>
</p:tagLst>
</file>

<file path=ppt/tags/tag568.xml><?xml version="1.0" encoding="utf-8"?>
<p:tagLst xmlns:a="http://schemas.openxmlformats.org/drawingml/2006/main" xmlns:r="http://schemas.openxmlformats.org/officeDocument/2006/relationships" xmlns:p="http://schemas.openxmlformats.org/presentationml/2006/main">
  <p:tag name="AS_UNIQUEID" val="41037"/>
</p:tagLst>
</file>

<file path=ppt/tags/tag569.xml><?xml version="1.0" encoding="utf-8"?>
<p:tagLst xmlns:a="http://schemas.openxmlformats.org/drawingml/2006/main" xmlns:r="http://schemas.openxmlformats.org/officeDocument/2006/relationships" xmlns:p="http://schemas.openxmlformats.org/presentationml/2006/main">
  <p:tag name="AS_UNIQUEID" val="41038"/>
</p:tagLst>
</file>

<file path=ppt/tags/tag57.xml><?xml version="1.0" encoding="utf-8"?>
<p:tagLst xmlns:a="http://schemas.openxmlformats.org/drawingml/2006/main" xmlns:r="http://schemas.openxmlformats.org/officeDocument/2006/relationships" xmlns:p="http://schemas.openxmlformats.org/presentationml/2006/main">
  <p:tag name="AS_UNIQUEID" val="40460"/>
</p:tagLst>
</file>

<file path=ppt/tags/tag570.xml><?xml version="1.0" encoding="utf-8"?>
<p:tagLst xmlns:a="http://schemas.openxmlformats.org/drawingml/2006/main" xmlns:r="http://schemas.openxmlformats.org/officeDocument/2006/relationships" xmlns:p="http://schemas.openxmlformats.org/presentationml/2006/main">
  <p:tag name="AS_UNIQUEID" val="41039"/>
</p:tagLst>
</file>

<file path=ppt/tags/tag571.xml><?xml version="1.0" encoding="utf-8"?>
<p:tagLst xmlns:a="http://schemas.openxmlformats.org/drawingml/2006/main" xmlns:r="http://schemas.openxmlformats.org/officeDocument/2006/relationships" xmlns:p="http://schemas.openxmlformats.org/presentationml/2006/main">
  <p:tag name="AS_UNIQUEID" val="41040"/>
</p:tagLst>
</file>

<file path=ppt/tags/tag572.xml><?xml version="1.0" encoding="utf-8"?>
<p:tagLst xmlns:a="http://schemas.openxmlformats.org/drawingml/2006/main" xmlns:r="http://schemas.openxmlformats.org/officeDocument/2006/relationships" xmlns:p="http://schemas.openxmlformats.org/presentationml/2006/main">
  <p:tag name="AS_UNIQUEID" val="41041"/>
</p:tagLst>
</file>

<file path=ppt/tags/tag573.xml><?xml version="1.0" encoding="utf-8"?>
<p:tagLst xmlns:a="http://schemas.openxmlformats.org/drawingml/2006/main" xmlns:r="http://schemas.openxmlformats.org/officeDocument/2006/relationships" xmlns:p="http://schemas.openxmlformats.org/presentationml/2006/main">
  <p:tag name="AS_UNIQUEID" val="41042"/>
</p:tagLst>
</file>

<file path=ppt/tags/tag574.xml><?xml version="1.0" encoding="utf-8"?>
<p:tagLst xmlns:a="http://schemas.openxmlformats.org/drawingml/2006/main" xmlns:r="http://schemas.openxmlformats.org/officeDocument/2006/relationships" xmlns:p="http://schemas.openxmlformats.org/presentationml/2006/main">
  <p:tag name="AS_UNIQUEID" val="41043"/>
</p:tagLst>
</file>

<file path=ppt/tags/tag575.xml><?xml version="1.0" encoding="utf-8"?>
<p:tagLst xmlns:a="http://schemas.openxmlformats.org/drawingml/2006/main" xmlns:r="http://schemas.openxmlformats.org/officeDocument/2006/relationships" xmlns:p="http://schemas.openxmlformats.org/presentationml/2006/main">
  <p:tag name="AS_UNIQUEID" val="41044"/>
</p:tagLst>
</file>

<file path=ppt/tags/tag576.xml><?xml version="1.0" encoding="utf-8"?>
<p:tagLst xmlns:a="http://schemas.openxmlformats.org/drawingml/2006/main" xmlns:r="http://schemas.openxmlformats.org/officeDocument/2006/relationships" xmlns:p="http://schemas.openxmlformats.org/presentationml/2006/main">
  <p:tag name="AS_UNIQUEID" val="41045"/>
</p:tagLst>
</file>

<file path=ppt/tags/tag577.xml><?xml version="1.0" encoding="utf-8"?>
<p:tagLst xmlns:a="http://schemas.openxmlformats.org/drawingml/2006/main" xmlns:r="http://schemas.openxmlformats.org/officeDocument/2006/relationships" xmlns:p="http://schemas.openxmlformats.org/presentationml/2006/main">
  <p:tag name="AS_UNIQUEID" val="41046"/>
</p:tagLst>
</file>

<file path=ppt/tags/tag578.xml><?xml version="1.0" encoding="utf-8"?>
<p:tagLst xmlns:a="http://schemas.openxmlformats.org/drawingml/2006/main" xmlns:r="http://schemas.openxmlformats.org/officeDocument/2006/relationships" xmlns:p="http://schemas.openxmlformats.org/presentationml/2006/main">
  <p:tag name="AS_UNIQUEID" val="41047"/>
</p:tagLst>
</file>

<file path=ppt/tags/tag579.xml><?xml version="1.0" encoding="utf-8"?>
<p:tagLst xmlns:a="http://schemas.openxmlformats.org/drawingml/2006/main" xmlns:r="http://schemas.openxmlformats.org/officeDocument/2006/relationships" xmlns:p="http://schemas.openxmlformats.org/presentationml/2006/main">
  <p:tag name="AS_UNIQUEID" val="41048"/>
</p:tagLst>
</file>

<file path=ppt/tags/tag58.xml><?xml version="1.0" encoding="utf-8"?>
<p:tagLst xmlns:a="http://schemas.openxmlformats.org/drawingml/2006/main" xmlns:r="http://schemas.openxmlformats.org/officeDocument/2006/relationships" xmlns:p="http://schemas.openxmlformats.org/presentationml/2006/main">
  <p:tag name="AS_UNIQUEID" val="40461"/>
</p:tagLst>
</file>

<file path=ppt/tags/tag580.xml><?xml version="1.0" encoding="utf-8"?>
<p:tagLst xmlns:a="http://schemas.openxmlformats.org/drawingml/2006/main" xmlns:r="http://schemas.openxmlformats.org/officeDocument/2006/relationships" xmlns:p="http://schemas.openxmlformats.org/presentationml/2006/main">
  <p:tag name="AS_UNIQUEID" val="41049"/>
</p:tagLst>
</file>

<file path=ppt/tags/tag581.xml><?xml version="1.0" encoding="utf-8"?>
<p:tagLst xmlns:a="http://schemas.openxmlformats.org/drawingml/2006/main" xmlns:r="http://schemas.openxmlformats.org/officeDocument/2006/relationships" xmlns:p="http://schemas.openxmlformats.org/presentationml/2006/main">
  <p:tag name="AS_UNIQUEID" val="41050"/>
</p:tagLst>
</file>

<file path=ppt/tags/tag582.xml><?xml version="1.0" encoding="utf-8"?>
<p:tagLst xmlns:a="http://schemas.openxmlformats.org/drawingml/2006/main" xmlns:r="http://schemas.openxmlformats.org/officeDocument/2006/relationships" xmlns:p="http://schemas.openxmlformats.org/presentationml/2006/main">
  <p:tag name="AS_UNIQUEID" val="41051"/>
</p:tagLst>
</file>

<file path=ppt/tags/tag583.xml><?xml version="1.0" encoding="utf-8"?>
<p:tagLst xmlns:a="http://schemas.openxmlformats.org/drawingml/2006/main" xmlns:r="http://schemas.openxmlformats.org/officeDocument/2006/relationships" xmlns:p="http://schemas.openxmlformats.org/presentationml/2006/main">
  <p:tag name="AS_UNIQUEID" val="41052"/>
</p:tagLst>
</file>

<file path=ppt/tags/tag584.xml><?xml version="1.0" encoding="utf-8"?>
<p:tagLst xmlns:a="http://schemas.openxmlformats.org/drawingml/2006/main" xmlns:r="http://schemas.openxmlformats.org/officeDocument/2006/relationships" xmlns:p="http://schemas.openxmlformats.org/presentationml/2006/main">
  <p:tag name="AS_UNIQUEID" val="41053"/>
</p:tagLst>
</file>

<file path=ppt/tags/tag585.xml><?xml version="1.0" encoding="utf-8"?>
<p:tagLst xmlns:a="http://schemas.openxmlformats.org/drawingml/2006/main" xmlns:r="http://schemas.openxmlformats.org/officeDocument/2006/relationships" xmlns:p="http://schemas.openxmlformats.org/presentationml/2006/main">
  <p:tag name="AS_UNIQUEID" val="41054"/>
</p:tagLst>
</file>

<file path=ppt/tags/tag586.xml><?xml version="1.0" encoding="utf-8"?>
<p:tagLst xmlns:a="http://schemas.openxmlformats.org/drawingml/2006/main" xmlns:r="http://schemas.openxmlformats.org/officeDocument/2006/relationships" xmlns:p="http://schemas.openxmlformats.org/presentationml/2006/main">
  <p:tag name="AS_UNIQUEID" val="41055"/>
</p:tagLst>
</file>

<file path=ppt/tags/tag587.xml><?xml version="1.0" encoding="utf-8"?>
<p:tagLst xmlns:a="http://schemas.openxmlformats.org/drawingml/2006/main" xmlns:r="http://schemas.openxmlformats.org/officeDocument/2006/relationships" xmlns:p="http://schemas.openxmlformats.org/presentationml/2006/main">
  <p:tag name="AS_UNIQUEID" val="41056"/>
</p:tagLst>
</file>

<file path=ppt/tags/tag588.xml><?xml version="1.0" encoding="utf-8"?>
<p:tagLst xmlns:a="http://schemas.openxmlformats.org/drawingml/2006/main" xmlns:r="http://schemas.openxmlformats.org/officeDocument/2006/relationships" xmlns:p="http://schemas.openxmlformats.org/presentationml/2006/main">
  <p:tag name="AS_UNIQUEID" val="41057"/>
</p:tagLst>
</file>

<file path=ppt/tags/tag589.xml><?xml version="1.0" encoding="utf-8"?>
<p:tagLst xmlns:a="http://schemas.openxmlformats.org/drawingml/2006/main" xmlns:r="http://schemas.openxmlformats.org/officeDocument/2006/relationships" xmlns:p="http://schemas.openxmlformats.org/presentationml/2006/main">
  <p:tag name="AS_UNIQUEID" val="41058"/>
</p:tagLst>
</file>

<file path=ppt/tags/tag59.xml><?xml version="1.0" encoding="utf-8"?>
<p:tagLst xmlns:a="http://schemas.openxmlformats.org/drawingml/2006/main" xmlns:r="http://schemas.openxmlformats.org/officeDocument/2006/relationships" xmlns:p="http://schemas.openxmlformats.org/presentationml/2006/main">
  <p:tag name="AS_UNIQUEID" val="40441"/>
</p:tagLst>
</file>

<file path=ppt/tags/tag590.xml><?xml version="1.0" encoding="utf-8"?>
<p:tagLst xmlns:a="http://schemas.openxmlformats.org/drawingml/2006/main" xmlns:r="http://schemas.openxmlformats.org/officeDocument/2006/relationships" xmlns:p="http://schemas.openxmlformats.org/presentationml/2006/main">
  <p:tag name="AS_UNIQUEID" val="41059"/>
</p:tagLst>
</file>

<file path=ppt/tags/tag591.xml><?xml version="1.0" encoding="utf-8"?>
<p:tagLst xmlns:a="http://schemas.openxmlformats.org/drawingml/2006/main" xmlns:r="http://schemas.openxmlformats.org/officeDocument/2006/relationships" xmlns:p="http://schemas.openxmlformats.org/presentationml/2006/main">
  <p:tag name="AS_UNIQUEID" val="41060"/>
</p:tagLst>
</file>

<file path=ppt/tags/tag592.xml><?xml version="1.0" encoding="utf-8"?>
<p:tagLst xmlns:a="http://schemas.openxmlformats.org/drawingml/2006/main" xmlns:r="http://schemas.openxmlformats.org/officeDocument/2006/relationships" xmlns:p="http://schemas.openxmlformats.org/presentationml/2006/main">
  <p:tag name="AS_UNIQUEID" val="41061"/>
</p:tagLst>
</file>

<file path=ppt/tags/tag593.xml><?xml version="1.0" encoding="utf-8"?>
<p:tagLst xmlns:a="http://schemas.openxmlformats.org/drawingml/2006/main" xmlns:r="http://schemas.openxmlformats.org/officeDocument/2006/relationships" xmlns:p="http://schemas.openxmlformats.org/presentationml/2006/main">
  <p:tag name="AS_UNIQUEID" val="41062"/>
</p:tagLst>
</file>

<file path=ppt/tags/tag594.xml><?xml version="1.0" encoding="utf-8"?>
<p:tagLst xmlns:a="http://schemas.openxmlformats.org/drawingml/2006/main" xmlns:r="http://schemas.openxmlformats.org/officeDocument/2006/relationships" xmlns:p="http://schemas.openxmlformats.org/presentationml/2006/main">
  <p:tag name="AS_UNIQUEID" val="41063"/>
</p:tagLst>
</file>

<file path=ppt/tags/tag595.xml><?xml version="1.0" encoding="utf-8"?>
<p:tagLst xmlns:a="http://schemas.openxmlformats.org/drawingml/2006/main" xmlns:r="http://schemas.openxmlformats.org/officeDocument/2006/relationships" xmlns:p="http://schemas.openxmlformats.org/presentationml/2006/main">
  <p:tag name="AS_UNIQUEID" val="41064"/>
</p:tagLst>
</file>

<file path=ppt/tags/tag596.xml><?xml version="1.0" encoding="utf-8"?>
<p:tagLst xmlns:a="http://schemas.openxmlformats.org/drawingml/2006/main" xmlns:r="http://schemas.openxmlformats.org/officeDocument/2006/relationships" xmlns:p="http://schemas.openxmlformats.org/presentationml/2006/main">
  <p:tag name="AS_UNIQUEID" val="41065"/>
</p:tagLst>
</file>

<file path=ppt/tags/tag597.xml><?xml version="1.0" encoding="utf-8"?>
<p:tagLst xmlns:a="http://schemas.openxmlformats.org/drawingml/2006/main" xmlns:r="http://schemas.openxmlformats.org/officeDocument/2006/relationships" xmlns:p="http://schemas.openxmlformats.org/presentationml/2006/main">
  <p:tag name="AS_UNIQUEID" val="41066"/>
</p:tagLst>
</file>

<file path=ppt/tags/tag598.xml><?xml version="1.0" encoding="utf-8"?>
<p:tagLst xmlns:a="http://schemas.openxmlformats.org/drawingml/2006/main" xmlns:r="http://schemas.openxmlformats.org/officeDocument/2006/relationships" xmlns:p="http://schemas.openxmlformats.org/presentationml/2006/main">
  <p:tag name="AS_UNIQUEID" val="41067"/>
</p:tagLst>
</file>

<file path=ppt/tags/tag599.xml><?xml version="1.0" encoding="utf-8"?>
<p:tagLst xmlns:a="http://schemas.openxmlformats.org/drawingml/2006/main" xmlns:r="http://schemas.openxmlformats.org/officeDocument/2006/relationships" xmlns:p="http://schemas.openxmlformats.org/presentationml/2006/main">
  <p:tag name="AS_UNIQUEID" val="41068"/>
</p:tagLst>
</file>

<file path=ppt/tags/tag6.xml><?xml version="1.0" encoding="utf-8"?>
<p:tagLst xmlns:a="http://schemas.openxmlformats.org/drawingml/2006/main" xmlns:r="http://schemas.openxmlformats.org/officeDocument/2006/relationships" xmlns:p="http://schemas.openxmlformats.org/presentationml/2006/main">
  <p:tag name="AS_UNIQUEID" val="40416"/>
</p:tagLst>
</file>

<file path=ppt/tags/tag60.xml><?xml version="1.0" encoding="utf-8"?>
<p:tagLst xmlns:a="http://schemas.openxmlformats.org/drawingml/2006/main" xmlns:r="http://schemas.openxmlformats.org/officeDocument/2006/relationships" xmlns:p="http://schemas.openxmlformats.org/presentationml/2006/main">
  <p:tag name="AS_UNIQUEID" val="40442"/>
</p:tagLst>
</file>

<file path=ppt/tags/tag600.xml><?xml version="1.0" encoding="utf-8"?>
<p:tagLst xmlns:a="http://schemas.openxmlformats.org/drawingml/2006/main" xmlns:r="http://schemas.openxmlformats.org/officeDocument/2006/relationships" xmlns:p="http://schemas.openxmlformats.org/presentationml/2006/main">
  <p:tag name="AS_UNIQUEID" val="41069"/>
</p:tagLst>
</file>

<file path=ppt/tags/tag601.xml><?xml version="1.0" encoding="utf-8"?>
<p:tagLst xmlns:a="http://schemas.openxmlformats.org/drawingml/2006/main" xmlns:r="http://schemas.openxmlformats.org/officeDocument/2006/relationships" xmlns:p="http://schemas.openxmlformats.org/presentationml/2006/main">
  <p:tag name="AS_UNIQUEID" val="41070"/>
</p:tagLst>
</file>

<file path=ppt/tags/tag602.xml><?xml version="1.0" encoding="utf-8"?>
<p:tagLst xmlns:a="http://schemas.openxmlformats.org/drawingml/2006/main" xmlns:r="http://schemas.openxmlformats.org/officeDocument/2006/relationships" xmlns:p="http://schemas.openxmlformats.org/presentationml/2006/main">
  <p:tag name="AS_UNIQUEID" val="41071"/>
</p:tagLst>
</file>

<file path=ppt/tags/tag603.xml><?xml version="1.0" encoding="utf-8"?>
<p:tagLst xmlns:a="http://schemas.openxmlformats.org/drawingml/2006/main" xmlns:r="http://schemas.openxmlformats.org/officeDocument/2006/relationships" xmlns:p="http://schemas.openxmlformats.org/presentationml/2006/main">
  <p:tag name="AS_UNIQUEID" val="41072"/>
</p:tagLst>
</file>

<file path=ppt/tags/tag604.xml><?xml version="1.0" encoding="utf-8"?>
<p:tagLst xmlns:a="http://schemas.openxmlformats.org/drawingml/2006/main" xmlns:r="http://schemas.openxmlformats.org/officeDocument/2006/relationships" xmlns:p="http://schemas.openxmlformats.org/presentationml/2006/main">
  <p:tag name="AS_UNIQUEID" val="41073"/>
</p:tagLst>
</file>

<file path=ppt/tags/tag605.xml><?xml version="1.0" encoding="utf-8"?>
<p:tagLst xmlns:a="http://schemas.openxmlformats.org/drawingml/2006/main" xmlns:r="http://schemas.openxmlformats.org/officeDocument/2006/relationships" xmlns:p="http://schemas.openxmlformats.org/presentationml/2006/main">
  <p:tag name="AS_UNIQUEID" val="41074"/>
</p:tagLst>
</file>

<file path=ppt/tags/tag606.xml><?xml version="1.0" encoding="utf-8"?>
<p:tagLst xmlns:a="http://schemas.openxmlformats.org/drawingml/2006/main" xmlns:r="http://schemas.openxmlformats.org/officeDocument/2006/relationships" xmlns:p="http://schemas.openxmlformats.org/presentationml/2006/main">
  <p:tag name="AS_UNIQUEID" val="41075"/>
</p:tagLst>
</file>

<file path=ppt/tags/tag607.xml><?xml version="1.0" encoding="utf-8"?>
<p:tagLst xmlns:a="http://schemas.openxmlformats.org/drawingml/2006/main" xmlns:r="http://schemas.openxmlformats.org/officeDocument/2006/relationships" xmlns:p="http://schemas.openxmlformats.org/presentationml/2006/main">
  <p:tag name="AS_UNIQUEID" val="41076"/>
</p:tagLst>
</file>

<file path=ppt/tags/tag608.xml><?xml version="1.0" encoding="utf-8"?>
<p:tagLst xmlns:a="http://schemas.openxmlformats.org/drawingml/2006/main" xmlns:r="http://schemas.openxmlformats.org/officeDocument/2006/relationships" xmlns:p="http://schemas.openxmlformats.org/presentationml/2006/main">
  <p:tag name="AS_UNIQUEID" val="41077"/>
</p:tagLst>
</file>

<file path=ppt/tags/tag609.xml><?xml version="1.0" encoding="utf-8"?>
<p:tagLst xmlns:a="http://schemas.openxmlformats.org/drawingml/2006/main" xmlns:r="http://schemas.openxmlformats.org/officeDocument/2006/relationships" xmlns:p="http://schemas.openxmlformats.org/presentationml/2006/main">
  <p:tag name="AS_UNIQUEID" val="41078"/>
</p:tagLst>
</file>

<file path=ppt/tags/tag61.xml><?xml version="1.0" encoding="utf-8"?>
<p:tagLst xmlns:a="http://schemas.openxmlformats.org/drawingml/2006/main" xmlns:r="http://schemas.openxmlformats.org/officeDocument/2006/relationships" xmlns:p="http://schemas.openxmlformats.org/presentationml/2006/main">
  <p:tag name="AS_UNIQUEID" val="40443"/>
</p:tagLst>
</file>

<file path=ppt/tags/tag610.xml><?xml version="1.0" encoding="utf-8"?>
<p:tagLst xmlns:a="http://schemas.openxmlformats.org/drawingml/2006/main" xmlns:r="http://schemas.openxmlformats.org/officeDocument/2006/relationships" xmlns:p="http://schemas.openxmlformats.org/presentationml/2006/main">
  <p:tag name="AS_UNIQUEID" val="41079"/>
</p:tagLst>
</file>

<file path=ppt/tags/tag611.xml><?xml version="1.0" encoding="utf-8"?>
<p:tagLst xmlns:a="http://schemas.openxmlformats.org/drawingml/2006/main" xmlns:r="http://schemas.openxmlformats.org/officeDocument/2006/relationships" xmlns:p="http://schemas.openxmlformats.org/presentationml/2006/main">
  <p:tag name="AS_UNIQUEID" val="41080"/>
</p:tagLst>
</file>

<file path=ppt/tags/tag612.xml><?xml version="1.0" encoding="utf-8"?>
<p:tagLst xmlns:a="http://schemas.openxmlformats.org/drawingml/2006/main" xmlns:r="http://schemas.openxmlformats.org/officeDocument/2006/relationships" xmlns:p="http://schemas.openxmlformats.org/presentationml/2006/main">
  <p:tag name="AS_UNIQUEID" val="41081"/>
</p:tagLst>
</file>

<file path=ppt/tags/tag613.xml><?xml version="1.0" encoding="utf-8"?>
<p:tagLst xmlns:a="http://schemas.openxmlformats.org/drawingml/2006/main" xmlns:r="http://schemas.openxmlformats.org/officeDocument/2006/relationships" xmlns:p="http://schemas.openxmlformats.org/presentationml/2006/main">
  <p:tag name="AS_UNIQUEID" val="41082"/>
</p:tagLst>
</file>

<file path=ppt/tags/tag614.xml><?xml version="1.0" encoding="utf-8"?>
<p:tagLst xmlns:a="http://schemas.openxmlformats.org/drawingml/2006/main" xmlns:r="http://schemas.openxmlformats.org/officeDocument/2006/relationships" xmlns:p="http://schemas.openxmlformats.org/presentationml/2006/main">
  <p:tag name="AS_UNIQUEID" val="41083"/>
</p:tagLst>
</file>

<file path=ppt/tags/tag615.xml><?xml version="1.0" encoding="utf-8"?>
<p:tagLst xmlns:a="http://schemas.openxmlformats.org/drawingml/2006/main" xmlns:r="http://schemas.openxmlformats.org/officeDocument/2006/relationships" xmlns:p="http://schemas.openxmlformats.org/presentationml/2006/main">
  <p:tag name="AS_UNIQUEID" val="41084"/>
</p:tagLst>
</file>

<file path=ppt/tags/tag616.xml><?xml version="1.0" encoding="utf-8"?>
<p:tagLst xmlns:a="http://schemas.openxmlformats.org/drawingml/2006/main" xmlns:r="http://schemas.openxmlformats.org/officeDocument/2006/relationships" xmlns:p="http://schemas.openxmlformats.org/presentationml/2006/main">
  <p:tag name="AS_UNIQUEID" val="41085"/>
</p:tagLst>
</file>

<file path=ppt/tags/tag617.xml><?xml version="1.0" encoding="utf-8"?>
<p:tagLst xmlns:a="http://schemas.openxmlformats.org/drawingml/2006/main" xmlns:r="http://schemas.openxmlformats.org/officeDocument/2006/relationships" xmlns:p="http://schemas.openxmlformats.org/presentationml/2006/main">
  <p:tag name="AS_UNIQUEID" val="41086"/>
</p:tagLst>
</file>

<file path=ppt/tags/tag618.xml><?xml version="1.0" encoding="utf-8"?>
<p:tagLst xmlns:a="http://schemas.openxmlformats.org/drawingml/2006/main" xmlns:r="http://schemas.openxmlformats.org/officeDocument/2006/relationships" xmlns:p="http://schemas.openxmlformats.org/presentationml/2006/main">
  <p:tag name="AS_UNIQUEID" val="41087"/>
</p:tagLst>
</file>

<file path=ppt/tags/tag619.xml><?xml version="1.0" encoding="utf-8"?>
<p:tagLst xmlns:a="http://schemas.openxmlformats.org/drawingml/2006/main" xmlns:r="http://schemas.openxmlformats.org/officeDocument/2006/relationships" xmlns:p="http://schemas.openxmlformats.org/presentationml/2006/main">
  <p:tag name="AS_UNIQUEID" val="41088"/>
</p:tagLst>
</file>

<file path=ppt/tags/tag62.xml><?xml version="1.0" encoding="utf-8"?>
<p:tagLst xmlns:a="http://schemas.openxmlformats.org/drawingml/2006/main" xmlns:r="http://schemas.openxmlformats.org/officeDocument/2006/relationships" xmlns:p="http://schemas.openxmlformats.org/presentationml/2006/main">
  <p:tag name="AS_UNIQUEID" val="40444"/>
</p:tagLst>
</file>

<file path=ppt/tags/tag620.xml><?xml version="1.0" encoding="utf-8"?>
<p:tagLst xmlns:a="http://schemas.openxmlformats.org/drawingml/2006/main" xmlns:r="http://schemas.openxmlformats.org/officeDocument/2006/relationships" xmlns:p="http://schemas.openxmlformats.org/presentationml/2006/main">
  <p:tag name="AS_UNIQUEID" val="41089"/>
</p:tagLst>
</file>

<file path=ppt/tags/tag621.xml><?xml version="1.0" encoding="utf-8"?>
<p:tagLst xmlns:a="http://schemas.openxmlformats.org/drawingml/2006/main" xmlns:r="http://schemas.openxmlformats.org/officeDocument/2006/relationships" xmlns:p="http://schemas.openxmlformats.org/presentationml/2006/main">
  <p:tag name="AS_UNIQUEID" val="41021"/>
</p:tagLst>
</file>

<file path=ppt/tags/tag622.xml><?xml version="1.0" encoding="utf-8"?>
<p:tagLst xmlns:a="http://schemas.openxmlformats.org/drawingml/2006/main" xmlns:r="http://schemas.openxmlformats.org/officeDocument/2006/relationships" xmlns:p="http://schemas.openxmlformats.org/presentationml/2006/main">
  <p:tag name="AS_UNIQUEID" val="41022"/>
</p:tagLst>
</file>

<file path=ppt/tags/tag623.xml><?xml version="1.0" encoding="utf-8"?>
<p:tagLst xmlns:a="http://schemas.openxmlformats.org/drawingml/2006/main" xmlns:r="http://schemas.openxmlformats.org/officeDocument/2006/relationships" xmlns:p="http://schemas.openxmlformats.org/presentationml/2006/main">
  <p:tag name="AS_UNIQUEID" val="40996"/>
</p:tagLst>
</file>

<file path=ppt/tags/tag624.xml><?xml version="1.0" encoding="utf-8"?>
<p:tagLst xmlns:a="http://schemas.openxmlformats.org/drawingml/2006/main" xmlns:r="http://schemas.openxmlformats.org/officeDocument/2006/relationships" xmlns:p="http://schemas.openxmlformats.org/presentationml/2006/main">
  <p:tag name="AS_UNIQUEID" val="40997"/>
</p:tagLst>
</file>

<file path=ppt/tags/tag625.xml><?xml version="1.0" encoding="utf-8"?>
<p:tagLst xmlns:a="http://schemas.openxmlformats.org/drawingml/2006/main" xmlns:r="http://schemas.openxmlformats.org/officeDocument/2006/relationships" xmlns:p="http://schemas.openxmlformats.org/presentationml/2006/main">
  <p:tag name="AS_UNIQUEID" val="40998"/>
</p:tagLst>
</file>

<file path=ppt/tags/tag626.xml><?xml version="1.0" encoding="utf-8"?>
<p:tagLst xmlns:a="http://schemas.openxmlformats.org/drawingml/2006/main" xmlns:r="http://schemas.openxmlformats.org/officeDocument/2006/relationships" xmlns:p="http://schemas.openxmlformats.org/presentationml/2006/main">
  <p:tag name="AS_UNIQUEID" val="40999"/>
</p:tagLst>
</file>

<file path=ppt/tags/tag627.xml><?xml version="1.0" encoding="utf-8"?>
<p:tagLst xmlns:a="http://schemas.openxmlformats.org/drawingml/2006/main" xmlns:r="http://schemas.openxmlformats.org/officeDocument/2006/relationships" xmlns:p="http://schemas.openxmlformats.org/presentationml/2006/main">
  <p:tag name="AS_UNIQUEID" val="40993"/>
</p:tagLst>
</file>

<file path=ppt/tags/tag628.xml><?xml version="1.0" encoding="utf-8"?>
<p:tagLst xmlns:a="http://schemas.openxmlformats.org/drawingml/2006/main" xmlns:r="http://schemas.openxmlformats.org/officeDocument/2006/relationships" xmlns:p="http://schemas.openxmlformats.org/presentationml/2006/main">
  <p:tag name="AS_UNIQUEID" val="40994"/>
</p:tagLst>
</file>

<file path=ppt/tags/tag629.xml><?xml version="1.0" encoding="utf-8"?>
<p:tagLst xmlns:a="http://schemas.openxmlformats.org/drawingml/2006/main" xmlns:r="http://schemas.openxmlformats.org/officeDocument/2006/relationships" xmlns:p="http://schemas.openxmlformats.org/presentationml/2006/main">
  <p:tag name="AS_UNIQUEID" val="40954"/>
</p:tagLst>
</file>

<file path=ppt/tags/tag63.xml><?xml version="1.0" encoding="utf-8"?>
<p:tagLst xmlns:a="http://schemas.openxmlformats.org/drawingml/2006/main" xmlns:r="http://schemas.openxmlformats.org/officeDocument/2006/relationships" xmlns:p="http://schemas.openxmlformats.org/presentationml/2006/main">
  <p:tag name="AS_UNIQUEID" val="40436"/>
</p:tagLst>
</file>

<file path=ppt/tags/tag630.xml><?xml version="1.0" encoding="utf-8"?>
<p:tagLst xmlns:a="http://schemas.openxmlformats.org/drawingml/2006/main" xmlns:r="http://schemas.openxmlformats.org/officeDocument/2006/relationships" xmlns:p="http://schemas.openxmlformats.org/presentationml/2006/main">
  <p:tag name="AS_UNIQUEID" val="40955"/>
</p:tagLst>
</file>

<file path=ppt/tags/tag631.xml><?xml version="1.0" encoding="utf-8"?>
<p:tagLst xmlns:a="http://schemas.openxmlformats.org/drawingml/2006/main" xmlns:r="http://schemas.openxmlformats.org/officeDocument/2006/relationships" xmlns:p="http://schemas.openxmlformats.org/presentationml/2006/main">
  <p:tag name="AS_UNIQUEID" val="40956"/>
</p:tagLst>
</file>

<file path=ppt/tags/tag632.xml><?xml version="1.0" encoding="utf-8"?>
<p:tagLst xmlns:a="http://schemas.openxmlformats.org/drawingml/2006/main" xmlns:r="http://schemas.openxmlformats.org/officeDocument/2006/relationships" xmlns:p="http://schemas.openxmlformats.org/presentationml/2006/main">
  <p:tag name="AS_UNIQUEID" val="40957"/>
</p:tagLst>
</file>

<file path=ppt/tags/tag633.xml><?xml version="1.0" encoding="utf-8"?>
<p:tagLst xmlns:a="http://schemas.openxmlformats.org/drawingml/2006/main" xmlns:r="http://schemas.openxmlformats.org/officeDocument/2006/relationships" xmlns:p="http://schemas.openxmlformats.org/presentationml/2006/main">
  <p:tag name="AS_UNIQUEID" val="40958"/>
</p:tagLst>
</file>

<file path=ppt/tags/tag634.xml><?xml version="1.0" encoding="utf-8"?>
<p:tagLst xmlns:a="http://schemas.openxmlformats.org/drawingml/2006/main" xmlns:r="http://schemas.openxmlformats.org/officeDocument/2006/relationships" xmlns:p="http://schemas.openxmlformats.org/presentationml/2006/main">
  <p:tag name="AS_UNIQUEID" val="40949"/>
</p:tagLst>
</file>

<file path=ppt/tags/tag635.xml><?xml version="1.0" encoding="utf-8"?>
<p:tagLst xmlns:a="http://schemas.openxmlformats.org/drawingml/2006/main" xmlns:r="http://schemas.openxmlformats.org/officeDocument/2006/relationships" xmlns:p="http://schemas.openxmlformats.org/presentationml/2006/main">
  <p:tag name="AS_UNIQUEID" val="40950"/>
</p:tagLst>
</file>

<file path=ppt/tags/tag636.xml><?xml version="1.0" encoding="utf-8"?>
<p:tagLst xmlns:a="http://schemas.openxmlformats.org/drawingml/2006/main" xmlns:r="http://schemas.openxmlformats.org/officeDocument/2006/relationships" xmlns:p="http://schemas.openxmlformats.org/presentationml/2006/main">
  <p:tag name="AS_UNIQUEID" val="40951"/>
</p:tagLst>
</file>

<file path=ppt/tags/tag637.xml><?xml version="1.0" encoding="utf-8"?>
<p:tagLst xmlns:a="http://schemas.openxmlformats.org/drawingml/2006/main" xmlns:r="http://schemas.openxmlformats.org/officeDocument/2006/relationships" xmlns:p="http://schemas.openxmlformats.org/presentationml/2006/main">
  <p:tag name="AS_UNIQUEID" val="40944"/>
</p:tagLst>
</file>

<file path=ppt/tags/tag638.xml><?xml version="1.0" encoding="utf-8"?>
<p:tagLst xmlns:a="http://schemas.openxmlformats.org/drawingml/2006/main" xmlns:r="http://schemas.openxmlformats.org/officeDocument/2006/relationships" xmlns:p="http://schemas.openxmlformats.org/presentationml/2006/main">
  <p:tag name="AS_UNIQUEID" val="40945"/>
</p:tagLst>
</file>

<file path=ppt/tags/tag639.xml><?xml version="1.0" encoding="utf-8"?>
<p:tagLst xmlns:a="http://schemas.openxmlformats.org/drawingml/2006/main" xmlns:r="http://schemas.openxmlformats.org/officeDocument/2006/relationships" xmlns:p="http://schemas.openxmlformats.org/presentationml/2006/main">
  <p:tag name="AS_UNIQUEID" val="40929"/>
</p:tagLst>
</file>

<file path=ppt/tags/tag64.xml><?xml version="1.0" encoding="utf-8"?>
<p:tagLst xmlns:a="http://schemas.openxmlformats.org/drawingml/2006/main" xmlns:r="http://schemas.openxmlformats.org/officeDocument/2006/relationships" xmlns:p="http://schemas.openxmlformats.org/presentationml/2006/main">
  <p:tag name="AS_UNIQUEID" val="40437"/>
</p:tagLst>
</file>

<file path=ppt/tags/tag640.xml><?xml version="1.0" encoding="utf-8"?>
<p:tagLst xmlns:a="http://schemas.openxmlformats.org/drawingml/2006/main" xmlns:r="http://schemas.openxmlformats.org/officeDocument/2006/relationships" xmlns:p="http://schemas.openxmlformats.org/presentationml/2006/main">
  <p:tag name="AS_UNIQUEID" val="40930"/>
</p:tagLst>
</file>

<file path=ppt/tags/tag641.xml><?xml version="1.0" encoding="utf-8"?>
<p:tagLst xmlns:a="http://schemas.openxmlformats.org/drawingml/2006/main" xmlns:r="http://schemas.openxmlformats.org/officeDocument/2006/relationships" xmlns:p="http://schemas.openxmlformats.org/presentationml/2006/main">
  <p:tag name="AS_UNIQUEID" val="40931"/>
</p:tagLst>
</file>

<file path=ppt/tags/tag642.xml><?xml version="1.0" encoding="utf-8"?>
<p:tagLst xmlns:a="http://schemas.openxmlformats.org/drawingml/2006/main" xmlns:r="http://schemas.openxmlformats.org/officeDocument/2006/relationships" xmlns:p="http://schemas.openxmlformats.org/presentationml/2006/main">
  <p:tag name="AS_UNIQUEID" val="40919"/>
</p:tagLst>
</file>

<file path=ppt/tags/tag643.xml><?xml version="1.0" encoding="utf-8"?>
<p:tagLst xmlns:a="http://schemas.openxmlformats.org/drawingml/2006/main" xmlns:r="http://schemas.openxmlformats.org/officeDocument/2006/relationships" xmlns:p="http://schemas.openxmlformats.org/presentationml/2006/main">
  <p:tag name="AS_UNIQUEID" val="40920"/>
</p:tagLst>
</file>

<file path=ppt/tags/tag644.xml><?xml version="1.0" encoding="utf-8"?>
<p:tagLst xmlns:a="http://schemas.openxmlformats.org/drawingml/2006/main" xmlns:r="http://schemas.openxmlformats.org/officeDocument/2006/relationships" xmlns:p="http://schemas.openxmlformats.org/presentationml/2006/main">
  <p:tag name="AS_UNIQUEID" val="40921"/>
</p:tagLst>
</file>

<file path=ppt/tags/tag645.xml><?xml version="1.0" encoding="utf-8"?>
<p:tagLst xmlns:a="http://schemas.openxmlformats.org/drawingml/2006/main" xmlns:r="http://schemas.openxmlformats.org/officeDocument/2006/relationships" xmlns:p="http://schemas.openxmlformats.org/presentationml/2006/main">
  <p:tag name="AS_UNIQUEID" val="40922"/>
</p:tagLst>
</file>

<file path=ppt/tags/tag646.xml><?xml version="1.0" encoding="utf-8"?>
<p:tagLst xmlns:a="http://schemas.openxmlformats.org/drawingml/2006/main" xmlns:r="http://schemas.openxmlformats.org/officeDocument/2006/relationships" xmlns:p="http://schemas.openxmlformats.org/presentationml/2006/main">
  <p:tag name="AS_UNIQUEID" val="40923"/>
</p:tagLst>
</file>

<file path=ppt/tags/tag647.xml><?xml version="1.0" encoding="utf-8"?>
<p:tagLst xmlns:a="http://schemas.openxmlformats.org/drawingml/2006/main" xmlns:r="http://schemas.openxmlformats.org/officeDocument/2006/relationships" xmlns:p="http://schemas.openxmlformats.org/presentationml/2006/main">
  <p:tag name="AS_UNIQUEID" val="40924"/>
</p:tagLst>
</file>

<file path=ppt/tags/tag648.xml><?xml version="1.0" encoding="utf-8"?>
<p:tagLst xmlns:a="http://schemas.openxmlformats.org/drawingml/2006/main" xmlns:r="http://schemas.openxmlformats.org/officeDocument/2006/relationships" xmlns:p="http://schemas.openxmlformats.org/presentationml/2006/main">
  <p:tag name="AS_UNIQUEID" val="40916"/>
</p:tagLst>
</file>

<file path=ppt/tags/tag649.xml><?xml version="1.0" encoding="utf-8"?>
<p:tagLst xmlns:a="http://schemas.openxmlformats.org/drawingml/2006/main" xmlns:r="http://schemas.openxmlformats.org/officeDocument/2006/relationships" xmlns:p="http://schemas.openxmlformats.org/presentationml/2006/main">
  <p:tag name="AS_UNIQUEID" val="40917"/>
</p:tagLst>
</file>

<file path=ppt/tags/tag65.xml><?xml version="1.0" encoding="utf-8"?>
<p:tagLst xmlns:a="http://schemas.openxmlformats.org/drawingml/2006/main" xmlns:r="http://schemas.openxmlformats.org/officeDocument/2006/relationships" xmlns:p="http://schemas.openxmlformats.org/presentationml/2006/main">
  <p:tag name="AS_UNIQUEID" val="40438"/>
</p:tagLst>
</file>

<file path=ppt/tags/tag650.xml><?xml version="1.0" encoding="utf-8"?>
<p:tagLst xmlns:a="http://schemas.openxmlformats.org/drawingml/2006/main" xmlns:r="http://schemas.openxmlformats.org/officeDocument/2006/relationships" xmlns:p="http://schemas.openxmlformats.org/presentationml/2006/main">
  <p:tag name="AS_UNIQUEID" val="40886"/>
</p:tagLst>
</file>

<file path=ppt/tags/tag651.xml><?xml version="1.0" encoding="utf-8"?>
<p:tagLst xmlns:a="http://schemas.openxmlformats.org/drawingml/2006/main" xmlns:r="http://schemas.openxmlformats.org/officeDocument/2006/relationships" xmlns:p="http://schemas.openxmlformats.org/presentationml/2006/main">
  <p:tag name="AS_UNIQUEID" val="40887"/>
</p:tagLst>
</file>

<file path=ppt/tags/tag652.xml><?xml version="1.0" encoding="utf-8"?>
<p:tagLst xmlns:a="http://schemas.openxmlformats.org/drawingml/2006/main" xmlns:r="http://schemas.openxmlformats.org/officeDocument/2006/relationships" xmlns:p="http://schemas.openxmlformats.org/presentationml/2006/main">
  <p:tag name="AS_UNIQUEID" val="40888"/>
</p:tagLst>
</file>

<file path=ppt/tags/tag653.xml><?xml version="1.0" encoding="utf-8"?>
<p:tagLst xmlns:a="http://schemas.openxmlformats.org/drawingml/2006/main" xmlns:r="http://schemas.openxmlformats.org/officeDocument/2006/relationships" xmlns:p="http://schemas.openxmlformats.org/presentationml/2006/main">
  <p:tag name="AS_UNIQUEID" val="40889"/>
</p:tagLst>
</file>

<file path=ppt/tags/tag654.xml><?xml version="1.0" encoding="utf-8"?>
<p:tagLst xmlns:a="http://schemas.openxmlformats.org/drawingml/2006/main" xmlns:r="http://schemas.openxmlformats.org/officeDocument/2006/relationships" xmlns:p="http://schemas.openxmlformats.org/presentationml/2006/main">
  <p:tag name="AS_UNIQUEID" val="40890"/>
</p:tagLst>
</file>

<file path=ppt/tags/tag655.xml><?xml version="1.0" encoding="utf-8"?>
<p:tagLst xmlns:a="http://schemas.openxmlformats.org/drawingml/2006/main" xmlns:r="http://schemas.openxmlformats.org/officeDocument/2006/relationships" xmlns:p="http://schemas.openxmlformats.org/presentationml/2006/main">
  <p:tag name="AS_UNIQUEID" val="40891"/>
</p:tagLst>
</file>

<file path=ppt/tags/tag656.xml><?xml version="1.0" encoding="utf-8"?>
<p:tagLst xmlns:a="http://schemas.openxmlformats.org/drawingml/2006/main" xmlns:r="http://schemas.openxmlformats.org/officeDocument/2006/relationships" xmlns:p="http://schemas.openxmlformats.org/presentationml/2006/main">
  <p:tag name="AS_UNIQUEID" val="40892"/>
</p:tagLst>
</file>

<file path=ppt/tags/tag657.xml><?xml version="1.0" encoding="utf-8"?>
<p:tagLst xmlns:a="http://schemas.openxmlformats.org/drawingml/2006/main" xmlns:r="http://schemas.openxmlformats.org/officeDocument/2006/relationships" xmlns:p="http://schemas.openxmlformats.org/presentationml/2006/main">
  <p:tag name="AS_UNIQUEID" val="40893"/>
</p:tagLst>
</file>

<file path=ppt/tags/tag658.xml><?xml version="1.0" encoding="utf-8"?>
<p:tagLst xmlns:a="http://schemas.openxmlformats.org/drawingml/2006/main" xmlns:r="http://schemas.openxmlformats.org/officeDocument/2006/relationships" xmlns:p="http://schemas.openxmlformats.org/presentationml/2006/main">
  <p:tag name="AS_UNIQUEID" val="40894"/>
</p:tagLst>
</file>

<file path=ppt/tags/tag659.xml><?xml version="1.0" encoding="utf-8"?>
<p:tagLst xmlns:a="http://schemas.openxmlformats.org/drawingml/2006/main" xmlns:r="http://schemas.openxmlformats.org/officeDocument/2006/relationships" xmlns:p="http://schemas.openxmlformats.org/presentationml/2006/main">
  <p:tag name="AS_UNIQUEID" val="40895"/>
</p:tagLst>
</file>

<file path=ppt/tags/tag66.xml><?xml version="1.0" encoding="utf-8"?>
<p:tagLst xmlns:a="http://schemas.openxmlformats.org/drawingml/2006/main" xmlns:r="http://schemas.openxmlformats.org/officeDocument/2006/relationships" xmlns:p="http://schemas.openxmlformats.org/presentationml/2006/main">
  <p:tag name="AS_UNIQUEID" val="40439"/>
</p:tagLst>
</file>

<file path=ppt/tags/tag660.xml><?xml version="1.0" encoding="utf-8"?>
<p:tagLst xmlns:a="http://schemas.openxmlformats.org/drawingml/2006/main" xmlns:r="http://schemas.openxmlformats.org/officeDocument/2006/relationships" xmlns:p="http://schemas.openxmlformats.org/presentationml/2006/main">
  <p:tag name="AS_UNIQUEID" val="40896"/>
</p:tagLst>
</file>

<file path=ppt/tags/tag661.xml><?xml version="1.0" encoding="utf-8"?>
<p:tagLst xmlns:a="http://schemas.openxmlformats.org/drawingml/2006/main" xmlns:r="http://schemas.openxmlformats.org/officeDocument/2006/relationships" xmlns:p="http://schemas.openxmlformats.org/presentationml/2006/main">
  <p:tag name="AS_UNIQUEID" val="40897"/>
</p:tagLst>
</file>

<file path=ppt/tags/tag662.xml><?xml version="1.0" encoding="utf-8"?>
<p:tagLst xmlns:a="http://schemas.openxmlformats.org/drawingml/2006/main" xmlns:r="http://schemas.openxmlformats.org/officeDocument/2006/relationships" xmlns:p="http://schemas.openxmlformats.org/presentationml/2006/main">
  <p:tag name="AS_UNIQUEID" val="40898"/>
</p:tagLst>
</file>

<file path=ppt/tags/tag663.xml><?xml version="1.0" encoding="utf-8"?>
<p:tagLst xmlns:a="http://schemas.openxmlformats.org/drawingml/2006/main" xmlns:r="http://schemas.openxmlformats.org/officeDocument/2006/relationships" xmlns:p="http://schemas.openxmlformats.org/presentationml/2006/main">
  <p:tag name="AS_UNIQUEID" val="40846"/>
</p:tagLst>
</file>

<file path=ppt/tags/tag664.xml><?xml version="1.0" encoding="utf-8"?>
<p:tagLst xmlns:a="http://schemas.openxmlformats.org/drawingml/2006/main" xmlns:r="http://schemas.openxmlformats.org/officeDocument/2006/relationships" xmlns:p="http://schemas.openxmlformats.org/presentationml/2006/main">
  <p:tag name="AS_UNIQUEID" val="40847"/>
</p:tagLst>
</file>

<file path=ppt/tags/tag665.xml><?xml version="1.0" encoding="utf-8"?>
<p:tagLst xmlns:a="http://schemas.openxmlformats.org/drawingml/2006/main" xmlns:r="http://schemas.openxmlformats.org/officeDocument/2006/relationships" xmlns:p="http://schemas.openxmlformats.org/presentationml/2006/main">
  <p:tag name="AS_UNIQUEID" val="40848"/>
</p:tagLst>
</file>

<file path=ppt/tags/tag666.xml><?xml version="1.0" encoding="utf-8"?>
<p:tagLst xmlns:a="http://schemas.openxmlformats.org/drawingml/2006/main" xmlns:r="http://schemas.openxmlformats.org/officeDocument/2006/relationships" xmlns:p="http://schemas.openxmlformats.org/presentationml/2006/main">
  <p:tag name="AS_UNIQUEID" val="40849"/>
</p:tagLst>
</file>

<file path=ppt/tags/tag667.xml><?xml version="1.0" encoding="utf-8"?>
<p:tagLst xmlns:a="http://schemas.openxmlformats.org/drawingml/2006/main" xmlns:r="http://schemas.openxmlformats.org/officeDocument/2006/relationships" xmlns:p="http://schemas.openxmlformats.org/presentationml/2006/main">
  <p:tag name="AS_UNIQUEID" val="40850"/>
</p:tagLst>
</file>

<file path=ppt/tags/tag668.xml><?xml version="1.0" encoding="utf-8"?>
<p:tagLst xmlns:a="http://schemas.openxmlformats.org/drawingml/2006/main" xmlns:r="http://schemas.openxmlformats.org/officeDocument/2006/relationships" xmlns:p="http://schemas.openxmlformats.org/presentationml/2006/main">
  <p:tag name="AS_UNIQUEID" val="40851"/>
</p:tagLst>
</file>

<file path=ppt/tags/tag669.xml><?xml version="1.0" encoding="utf-8"?>
<p:tagLst xmlns:a="http://schemas.openxmlformats.org/drawingml/2006/main" xmlns:r="http://schemas.openxmlformats.org/officeDocument/2006/relationships" xmlns:p="http://schemas.openxmlformats.org/presentationml/2006/main">
  <p:tag name="AS_UNIQUEID" val="40852"/>
</p:tagLst>
</file>

<file path=ppt/tags/tag67.xml><?xml version="1.0" encoding="utf-8"?>
<p:tagLst xmlns:a="http://schemas.openxmlformats.org/drawingml/2006/main" xmlns:r="http://schemas.openxmlformats.org/officeDocument/2006/relationships" xmlns:p="http://schemas.openxmlformats.org/presentationml/2006/main">
  <p:tag name="AS_UNIQUEID" val="40431"/>
</p:tagLst>
</file>

<file path=ppt/tags/tag670.xml><?xml version="1.0" encoding="utf-8"?>
<p:tagLst xmlns:a="http://schemas.openxmlformats.org/drawingml/2006/main" xmlns:r="http://schemas.openxmlformats.org/officeDocument/2006/relationships" xmlns:p="http://schemas.openxmlformats.org/presentationml/2006/main">
  <p:tag name="AS_UNIQUEID" val="40853"/>
</p:tagLst>
</file>

<file path=ppt/tags/tag671.xml><?xml version="1.0" encoding="utf-8"?>
<p:tagLst xmlns:a="http://schemas.openxmlformats.org/drawingml/2006/main" xmlns:r="http://schemas.openxmlformats.org/officeDocument/2006/relationships" xmlns:p="http://schemas.openxmlformats.org/presentationml/2006/main">
  <p:tag name="AS_UNIQUEID" val="40854"/>
</p:tagLst>
</file>

<file path=ppt/tags/tag672.xml><?xml version="1.0" encoding="utf-8"?>
<p:tagLst xmlns:a="http://schemas.openxmlformats.org/drawingml/2006/main" xmlns:r="http://schemas.openxmlformats.org/officeDocument/2006/relationships" xmlns:p="http://schemas.openxmlformats.org/presentationml/2006/main">
  <p:tag name="AS_UNIQUEID" val="40855"/>
</p:tagLst>
</file>

<file path=ppt/tags/tag673.xml><?xml version="1.0" encoding="utf-8"?>
<p:tagLst xmlns:a="http://schemas.openxmlformats.org/drawingml/2006/main" xmlns:r="http://schemas.openxmlformats.org/officeDocument/2006/relationships" xmlns:p="http://schemas.openxmlformats.org/presentationml/2006/main">
  <p:tag name="AS_UNIQUEID" val="40856"/>
</p:tagLst>
</file>

<file path=ppt/tags/tag674.xml><?xml version="1.0" encoding="utf-8"?>
<p:tagLst xmlns:a="http://schemas.openxmlformats.org/drawingml/2006/main" xmlns:r="http://schemas.openxmlformats.org/officeDocument/2006/relationships" xmlns:p="http://schemas.openxmlformats.org/presentationml/2006/main">
  <p:tag name="AS_UNIQUEID" val="40857"/>
</p:tagLst>
</file>

<file path=ppt/tags/tag675.xml><?xml version="1.0" encoding="utf-8"?>
<p:tagLst xmlns:a="http://schemas.openxmlformats.org/drawingml/2006/main" xmlns:r="http://schemas.openxmlformats.org/officeDocument/2006/relationships" xmlns:p="http://schemas.openxmlformats.org/presentationml/2006/main">
  <p:tag name="AS_UNIQUEID" val="40858"/>
</p:tagLst>
</file>

<file path=ppt/tags/tag676.xml><?xml version="1.0" encoding="utf-8"?>
<p:tagLst xmlns:a="http://schemas.openxmlformats.org/drawingml/2006/main" xmlns:r="http://schemas.openxmlformats.org/officeDocument/2006/relationships" xmlns:p="http://schemas.openxmlformats.org/presentationml/2006/main">
  <p:tag name="AS_UNIQUEID" val="40859"/>
</p:tagLst>
</file>

<file path=ppt/tags/tag677.xml><?xml version="1.0" encoding="utf-8"?>
<p:tagLst xmlns:a="http://schemas.openxmlformats.org/drawingml/2006/main" xmlns:r="http://schemas.openxmlformats.org/officeDocument/2006/relationships" xmlns:p="http://schemas.openxmlformats.org/presentationml/2006/main">
  <p:tag name="AS_UNIQUEID" val="40860"/>
</p:tagLst>
</file>

<file path=ppt/tags/tag678.xml><?xml version="1.0" encoding="utf-8"?>
<p:tagLst xmlns:a="http://schemas.openxmlformats.org/drawingml/2006/main" xmlns:r="http://schemas.openxmlformats.org/officeDocument/2006/relationships" xmlns:p="http://schemas.openxmlformats.org/presentationml/2006/main">
  <p:tag name="AS_UNIQUEID" val="40861"/>
</p:tagLst>
</file>

<file path=ppt/tags/tag679.xml><?xml version="1.0" encoding="utf-8"?>
<p:tagLst xmlns:a="http://schemas.openxmlformats.org/drawingml/2006/main" xmlns:r="http://schemas.openxmlformats.org/officeDocument/2006/relationships" xmlns:p="http://schemas.openxmlformats.org/presentationml/2006/main">
  <p:tag name="AS_UNIQUEID" val="40862"/>
</p:tagLst>
</file>

<file path=ppt/tags/tag68.xml><?xml version="1.0" encoding="utf-8"?>
<p:tagLst xmlns:a="http://schemas.openxmlformats.org/drawingml/2006/main" xmlns:r="http://schemas.openxmlformats.org/officeDocument/2006/relationships" xmlns:p="http://schemas.openxmlformats.org/presentationml/2006/main">
  <p:tag name="AS_UNIQUEID" val="40432"/>
</p:tagLst>
</file>

<file path=ppt/tags/tag680.xml><?xml version="1.0" encoding="utf-8"?>
<p:tagLst xmlns:a="http://schemas.openxmlformats.org/drawingml/2006/main" xmlns:r="http://schemas.openxmlformats.org/officeDocument/2006/relationships" xmlns:p="http://schemas.openxmlformats.org/presentationml/2006/main">
  <p:tag name="AS_UNIQUEID" val="40863"/>
</p:tagLst>
</file>

<file path=ppt/tags/tag681.xml><?xml version="1.0" encoding="utf-8"?>
<p:tagLst xmlns:a="http://schemas.openxmlformats.org/drawingml/2006/main" xmlns:r="http://schemas.openxmlformats.org/officeDocument/2006/relationships" xmlns:p="http://schemas.openxmlformats.org/presentationml/2006/main">
  <p:tag name="AS_UNIQUEID" val="40864"/>
</p:tagLst>
</file>

<file path=ppt/tags/tag682.xml><?xml version="1.0" encoding="utf-8"?>
<p:tagLst xmlns:a="http://schemas.openxmlformats.org/drawingml/2006/main" xmlns:r="http://schemas.openxmlformats.org/officeDocument/2006/relationships" xmlns:p="http://schemas.openxmlformats.org/presentationml/2006/main">
  <p:tag name="AS_UNIQUEID" val="40865"/>
</p:tagLst>
</file>

<file path=ppt/tags/tag683.xml><?xml version="1.0" encoding="utf-8"?>
<p:tagLst xmlns:a="http://schemas.openxmlformats.org/drawingml/2006/main" xmlns:r="http://schemas.openxmlformats.org/officeDocument/2006/relationships" xmlns:p="http://schemas.openxmlformats.org/presentationml/2006/main">
  <p:tag name="AS_UNIQUEID" val="40866"/>
</p:tagLst>
</file>

<file path=ppt/tags/tag684.xml><?xml version="1.0" encoding="utf-8"?>
<p:tagLst xmlns:a="http://schemas.openxmlformats.org/drawingml/2006/main" xmlns:r="http://schemas.openxmlformats.org/officeDocument/2006/relationships" xmlns:p="http://schemas.openxmlformats.org/presentationml/2006/main">
  <p:tag name="AS_UNIQUEID" val="40867"/>
</p:tagLst>
</file>

<file path=ppt/tags/tag685.xml><?xml version="1.0" encoding="utf-8"?>
<p:tagLst xmlns:a="http://schemas.openxmlformats.org/drawingml/2006/main" xmlns:r="http://schemas.openxmlformats.org/officeDocument/2006/relationships" xmlns:p="http://schemas.openxmlformats.org/presentationml/2006/main">
  <p:tag name="AS_UNIQUEID" val="40868"/>
</p:tagLst>
</file>

<file path=ppt/tags/tag686.xml><?xml version="1.0" encoding="utf-8"?>
<p:tagLst xmlns:a="http://schemas.openxmlformats.org/drawingml/2006/main" xmlns:r="http://schemas.openxmlformats.org/officeDocument/2006/relationships" xmlns:p="http://schemas.openxmlformats.org/presentationml/2006/main">
  <p:tag name="AS_UNIQUEID" val="40869"/>
</p:tagLst>
</file>

<file path=ppt/tags/tag687.xml><?xml version="1.0" encoding="utf-8"?>
<p:tagLst xmlns:a="http://schemas.openxmlformats.org/drawingml/2006/main" xmlns:r="http://schemas.openxmlformats.org/officeDocument/2006/relationships" xmlns:p="http://schemas.openxmlformats.org/presentationml/2006/main">
  <p:tag name="AS_UNIQUEID" val="40870"/>
</p:tagLst>
</file>

<file path=ppt/tags/tag688.xml><?xml version="1.0" encoding="utf-8"?>
<p:tagLst xmlns:a="http://schemas.openxmlformats.org/drawingml/2006/main" xmlns:r="http://schemas.openxmlformats.org/officeDocument/2006/relationships" xmlns:p="http://schemas.openxmlformats.org/presentationml/2006/main">
  <p:tag name="AS_UNIQUEID" val="40787"/>
</p:tagLst>
</file>

<file path=ppt/tags/tag689.xml><?xml version="1.0" encoding="utf-8"?>
<p:tagLst xmlns:a="http://schemas.openxmlformats.org/drawingml/2006/main" xmlns:r="http://schemas.openxmlformats.org/officeDocument/2006/relationships" xmlns:p="http://schemas.openxmlformats.org/presentationml/2006/main">
  <p:tag name="AS_UNIQUEID" val="40790"/>
</p:tagLst>
</file>

<file path=ppt/tags/tag69.xml><?xml version="1.0" encoding="utf-8"?>
<p:tagLst xmlns:a="http://schemas.openxmlformats.org/drawingml/2006/main" xmlns:r="http://schemas.openxmlformats.org/officeDocument/2006/relationships" xmlns:p="http://schemas.openxmlformats.org/presentationml/2006/main">
  <p:tag name="AS_UNIQUEID" val="40433"/>
</p:tagLst>
</file>

<file path=ppt/tags/tag690.xml><?xml version="1.0" encoding="utf-8"?>
<p:tagLst xmlns:a="http://schemas.openxmlformats.org/drawingml/2006/main" xmlns:r="http://schemas.openxmlformats.org/officeDocument/2006/relationships" xmlns:p="http://schemas.openxmlformats.org/presentationml/2006/main">
  <p:tag name="AS_UNIQUEID" val="40791"/>
</p:tagLst>
</file>

<file path=ppt/tags/tag691.xml><?xml version="1.0" encoding="utf-8"?>
<p:tagLst xmlns:a="http://schemas.openxmlformats.org/drawingml/2006/main" xmlns:r="http://schemas.openxmlformats.org/officeDocument/2006/relationships" xmlns:p="http://schemas.openxmlformats.org/presentationml/2006/main">
  <p:tag name="AS_UNIQUEID" val="40792"/>
</p:tagLst>
</file>

<file path=ppt/tags/tag692.xml><?xml version="1.0" encoding="utf-8"?>
<p:tagLst xmlns:a="http://schemas.openxmlformats.org/drawingml/2006/main" xmlns:r="http://schemas.openxmlformats.org/officeDocument/2006/relationships" xmlns:p="http://schemas.openxmlformats.org/presentationml/2006/main">
  <p:tag name="AS_UNIQUEID" val="40793"/>
</p:tagLst>
</file>

<file path=ppt/tags/tag693.xml><?xml version="1.0" encoding="utf-8"?>
<p:tagLst xmlns:a="http://schemas.openxmlformats.org/drawingml/2006/main" xmlns:r="http://schemas.openxmlformats.org/officeDocument/2006/relationships" xmlns:p="http://schemas.openxmlformats.org/presentationml/2006/main">
  <p:tag name="AS_UNIQUEID" val="40788"/>
</p:tagLst>
</file>

<file path=ppt/tags/tag694.xml><?xml version="1.0" encoding="utf-8"?>
<p:tagLst xmlns:a="http://schemas.openxmlformats.org/drawingml/2006/main" xmlns:r="http://schemas.openxmlformats.org/officeDocument/2006/relationships" xmlns:p="http://schemas.openxmlformats.org/presentationml/2006/main">
  <p:tag name="AS_UNIQUEID" val="40789"/>
</p:tagLst>
</file>

<file path=ppt/tags/tag695.xml><?xml version="1.0" encoding="utf-8"?>
<p:tagLst xmlns:a="http://schemas.openxmlformats.org/drawingml/2006/main" xmlns:r="http://schemas.openxmlformats.org/officeDocument/2006/relationships" xmlns:p="http://schemas.openxmlformats.org/presentationml/2006/main">
  <p:tag name="AS_UNIQUEID" val="40784"/>
</p:tagLst>
</file>

<file path=ppt/tags/tag696.xml><?xml version="1.0" encoding="utf-8"?>
<p:tagLst xmlns:a="http://schemas.openxmlformats.org/drawingml/2006/main" xmlns:r="http://schemas.openxmlformats.org/officeDocument/2006/relationships" xmlns:p="http://schemas.openxmlformats.org/presentationml/2006/main">
  <p:tag name="AS_UNIQUEID" val="40785"/>
</p:tagLst>
</file>

<file path=ppt/tags/tag697.xml><?xml version="1.0" encoding="utf-8"?>
<p:tagLst xmlns:a="http://schemas.openxmlformats.org/drawingml/2006/main" xmlns:r="http://schemas.openxmlformats.org/officeDocument/2006/relationships" xmlns:p="http://schemas.openxmlformats.org/presentationml/2006/main">
  <p:tag name="AS_UNIQUEID" val="40777"/>
</p:tagLst>
</file>

<file path=ppt/tags/tag698.xml><?xml version="1.0" encoding="utf-8"?>
<p:tagLst xmlns:a="http://schemas.openxmlformats.org/drawingml/2006/main" xmlns:r="http://schemas.openxmlformats.org/officeDocument/2006/relationships" xmlns:p="http://schemas.openxmlformats.org/presentationml/2006/main">
  <p:tag name="AS_UNIQUEID" val="40778"/>
</p:tagLst>
</file>

<file path=ppt/tags/tag699.xml><?xml version="1.0" encoding="utf-8"?>
<p:tagLst xmlns:a="http://schemas.openxmlformats.org/drawingml/2006/main" xmlns:r="http://schemas.openxmlformats.org/officeDocument/2006/relationships" xmlns:p="http://schemas.openxmlformats.org/presentationml/2006/main">
  <p:tag name="AS_UNIQUEID" val="40779"/>
</p:tagLst>
</file>

<file path=ppt/tags/tag7.xml><?xml version="1.0" encoding="utf-8"?>
<p:tagLst xmlns:a="http://schemas.openxmlformats.org/drawingml/2006/main" xmlns:r="http://schemas.openxmlformats.org/officeDocument/2006/relationships" xmlns:p="http://schemas.openxmlformats.org/presentationml/2006/main">
  <p:tag name="AS_UNIQUEID" val="40417"/>
</p:tagLst>
</file>

<file path=ppt/tags/tag70.xml><?xml version="1.0" encoding="utf-8"?>
<p:tagLst xmlns:a="http://schemas.openxmlformats.org/drawingml/2006/main" xmlns:r="http://schemas.openxmlformats.org/officeDocument/2006/relationships" xmlns:p="http://schemas.openxmlformats.org/presentationml/2006/main">
  <p:tag name="BTFPLAYOUTCOLUMNS" val="6"/>
  <p:tag name="BTFPLAYOUTENABLED" val="0"/>
</p:tagLst>
</file>

<file path=ppt/tags/tag700.xml><?xml version="1.0" encoding="utf-8"?>
<p:tagLst xmlns:a="http://schemas.openxmlformats.org/drawingml/2006/main" xmlns:r="http://schemas.openxmlformats.org/officeDocument/2006/relationships" xmlns:p="http://schemas.openxmlformats.org/presentationml/2006/main">
  <p:tag name="AS_UNIQUEID" val="40780"/>
</p:tagLst>
</file>

<file path=ppt/tags/tag701.xml><?xml version="1.0" encoding="utf-8"?>
<p:tagLst xmlns:a="http://schemas.openxmlformats.org/drawingml/2006/main" xmlns:r="http://schemas.openxmlformats.org/officeDocument/2006/relationships" xmlns:p="http://schemas.openxmlformats.org/presentationml/2006/main">
  <p:tag name="AS_UNIQUEID" val="40772"/>
</p:tagLst>
</file>

<file path=ppt/tags/tag702.xml><?xml version="1.0" encoding="utf-8"?>
<p:tagLst xmlns:a="http://schemas.openxmlformats.org/drawingml/2006/main" xmlns:r="http://schemas.openxmlformats.org/officeDocument/2006/relationships" xmlns:p="http://schemas.openxmlformats.org/presentationml/2006/main">
  <p:tag name="AS_UNIQUEID" val="40773"/>
</p:tagLst>
</file>

<file path=ppt/tags/tag703.xml><?xml version="1.0" encoding="utf-8"?>
<p:tagLst xmlns:a="http://schemas.openxmlformats.org/drawingml/2006/main" xmlns:r="http://schemas.openxmlformats.org/officeDocument/2006/relationships" xmlns:p="http://schemas.openxmlformats.org/presentationml/2006/main">
  <p:tag name="AS_UNIQUEID" val="40774"/>
</p:tagLst>
</file>

<file path=ppt/tags/tag704.xml><?xml version="1.0" encoding="utf-8"?>
<p:tagLst xmlns:a="http://schemas.openxmlformats.org/drawingml/2006/main" xmlns:r="http://schemas.openxmlformats.org/officeDocument/2006/relationships" xmlns:p="http://schemas.openxmlformats.org/presentationml/2006/main">
  <p:tag name="AS_UNIQUEID" val="40775"/>
</p:tagLst>
</file>

<file path=ppt/tags/tag705.xml><?xml version="1.0" encoding="utf-8"?>
<p:tagLst xmlns:a="http://schemas.openxmlformats.org/drawingml/2006/main" xmlns:r="http://schemas.openxmlformats.org/officeDocument/2006/relationships" xmlns:p="http://schemas.openxmlformats.org/presentationml/2006/main">
  <p:tag name="AS_UNIQUEID" val="40767"/>
</p:tagLst>
</file>

<file path=ppt/tags/tag706.xml><?xml version="1.0" encoding="utf-8"?>
<p:tagLst xmlns:a="http://schemas.openxmlformats.org/drawingml/2006/main" xmlns:r="http://schemas.openxmlformats.org/officeDocument/2006/relationships" xmlns:p="http://schemas.openxmlformats.org/presentationml/2006/main">
  <p:tag name="AS_UNIQUEID" val="40768"/>
</p:tagLst>
</file>

<file path=ppt/tags/tag707.xml><?xml version="1.0" encoding="utf-8"?>
<p:tagLst xmlns:a="http://schemas.openxmlformats.org/drawingml/2006/main" xmlns:r="http://schemas.openxmlformats.org/officeDocument/2006/relationships" xmlns:p="http://schemas.openxmlformats.org/presentationml/2006/main">
  <p:tag name="AS_UNIQUEID" val="40769"/>
</p:tagLst>
</file>

<file path=ppt/tags/tag708.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709.xml><?xml version="1.0" encoding="utf-8"?>
<p:tagLst xmlns:a="http://schemas.openxmlformats.org/drawingml/2006/main" xmlns:r="http://schemas.openxmlformats.org/officeDocument/2006/relationships" xmlns:p="http://schemas.openxmlformats.org/presentationml/2006/main">
  <p:tag name="AS_UNIQUEID" val="41112"/>
</p:tagLst>
</file>

<file path=ppt/tags/tag71.xml><?xml version="1.0" encoding="utf-8"?>
<p:tagLst xmlns:a="http://schemas.openxmlformats.org/drawingml/2006/main" xmlns:r="http://schemas.openxmlformats.org/officeDocument/2006/relationships" xmlns:p="http://schemas.openxmlformats.org/presentationml/2006/main">
  <p:tag name="AS_UNIQUEID" val="40469"/>
</p:tagLst>
</file>

<file path=ppt/tags/tag710.xml><?xml version="1.0" encoding="utf-8"?>
<p:tagLst xmlns:a="http://schemas.openxmlformats.org/drawingml/2006/main" xmlns:r="http://schemas.openxmlformats.org/officeDocument/2006/relationships" xmlns:p="http://schemas.openxmlformats.org/presentationml/2006/main">
  <p:tag name="AS_UNIQUEID" val="41123"/>
</p:tagLst>
</file>

<file path=ppt/tags/tag711.xml><?xml version="1.0" encoding="utf-8"?>
<p:tagLst xmlns:a="http://schemas.openxmlformats.org/drawingml/2006/main" xmlns:r="http://schemas.openxmlformats.org/officeDocument/2006/relationships" xmlns:p="http://schemas.openxmlformats.org/presentationml/2006/main">
  <p:tag name="AS_UNIQUEID" val="41134"/>
</p:tagLst>
</file>

<file path=ppt/tags/tag712.xml><?xml version="1.0" encoding="utf-8"?>
<p:tagLst xmlns:a="http://schemas.openxmlformats.org/drawingml/2006/main" xmlns:r="http://schemas.openxmlformats.org/officeDocument/2006/relationships" xmlns:p="http://schemas.openxmlformats.org/presentationml/2006/main">
  <p:tag name="AS_UNIQUEID" val="40388"/>
  <p:tag name="BTFPCENTERX" val="51.12782"/>
  <p:tag name="BTFPCENTERY" val="81.33334"/>
  <p:tag name="BTFPHEIGHT" val="540.0004"/>
  <p:tag name="BTFPLAYOUTANCHOREBOTTOM" val="False"/>
  <p:tag name="BTFPLAYOUTANCHORELEFT" val="True"/>
  <p:tag name="BTFPLAYOUTANCHORERIGHT" val="True"/>
  <p:tag name="BTFPLAYOUTANCHORETOP" val="True"/>
  <p:tag name="BTFPWIDTH" val="959.9991"/>
</p:tagLst>
</file>

<file path=ppt/tags/tag713.xml><?xml version="1.0" encoding="utf-8"?>
<p:tagLst xmlns:a="http://schemas.openxmlformats.org/drawingml/2006/main" xmlns:r="http://schemas.openxmlformats.org/officeDocument/2006/relationships" xmlns:p="http://schemas.openxmlformats.org/presentationml/2006/main">
  <p:tag name="AS_UNIQUEID" val="41135"/>
</p:tagLst>
</file>

<file path=ppt/tags/tag714.xml><?xml version="1.0" encoding="utf-8"?>
<p:tagLst xmlns:a="http://schemas.openxmlformats.org/drawingml/2006/main" xmlns:r="http://schemas.openxmlformats.org/officeDocument/2006/relationships" xmlns:p="http://schemas.openxmlformats.org/presentationml/2006/main">
  <p:tag name="AS_UNIQUEID" val="41136"/>
</p:tagLst>
</file>

<file path=ppt/tags/tag715.xml><?xml version="1.0" encoding="utf-8"?>
<p:tagLst xmlns:a="http://schemas.openxmlformats.org/drawingml/2006/main" xmlns:r="http://schemas.openxmlformats.org/officeDocument/2006/relationships" xmlns:p="http://schemas.openxmlformats.org/presentationml/2006/main">
  <p:tag name="AS_UNIQUEID" val="41137"/>
</p:tagLst>
</file>

<file path=ppt/tags/tag716.xml><?xml version="1.0" encoding="utf-8"?>
<p:tagLst xmlns:a="http://schemas.openxmlformats.org/drawingml/2006/main" xmlns:r="http://schemas.openxmlformats.org/officeDocument/2006/relationships" xmlns:p="http://schemas.openxmlformats.org/presentationml/2006/main">
  <p:tag name="AS_UNIQUEID" val="41138"/>
</p:tagLst>
</file>

<file path=ppt/tags/tag717.xml><?xml version="1.0" encoding="utf-8"?>
<p:tagLst xmlns:a="http://schemas.openxmlformats.org/drawingml/2006/main" xmlns:r="http://schemas.openxmlformats.org/officeDocument/2006/relationships" xmlns:p="http://schemas.openxmlformats.org/presentationml/2006/main">
  <p:tag name="AS_UNIQUEID" val="41139"/>
</p:tagLst>
</file>

<file path=ppt/tags/tag718.xml><?xml version="1.0" encoding="utf-8"?>
<p:tagLst xmlns:a="http://schemas.openxmlformats.org/drawingml/2006/main" xmlns:r="http://schemas.openxmlformats.org/officeDocument/2006/relationships" xmlns:p="http://schemas.openxmlformats.org/presentationml/2006/main">
  <p:tag name="AS_UNIQUEID" val="41140"/>
</p:tagLst>
</file>

<file path=ppt/tags/tag719.xml><?xml version="1.0" encoding="utf-8"?>
<p:tagLst xmlns:a="http://schemas.openxmlformats.org/drawingml/2006/main" xmlns:r="http://schemas.openxmlformats.org/officeDocument/2006/relationships" xmlns:p="http://schemas.openxmlformats.org/presentationml/2006/main">
  <p:tag name="AS_UNIQUEID" val="41141"/>
</p:tagLst>
</file>

<file path=ppt/tags/tag72.xml><?xml version="1.0" encoding="utf-8"?>
<p:tagLst xmlns:a="http://schemas.openxmlformats.org/drawingml/2006/main" xmlns:r="http://schemas.openxmlformats.org/officeDocument/2006/relationships" xmlns:p="http://schemas.openxmlformats.org/presentationml/2006/main">
  <p:tag name="AS_UNIQUEID" val="40470"/>
</p:tagLst>
</file>

<file path=ppt/tags/tag720.xml><?xml version="1.0" encoding="utf-8"?>
<p:tagLst xmlns:a="http://schemas.openxmlformats.org/drawingml/2006/main" xmlns:r="http://schemas.openxmlformats.org/officeDocument/2006/relationships" xmlns:p="http://schemas.openxmlformats.org/presentationml/2006/main">
  <p:tag name="AS_UNIQUEID" val="41142"/>
</p:tagLst>
</file>

<file path=ppt/tags/tag721.xml><?xml version="1.0" encoding="utf-8"?>
<p:tagLst xmlns:a="http://schemas.openxmlformats.org/drawingml/2006/main" xmlns:r="http://schemas.openxmlformats.org/officeDocument/2006/relationships" xmlns:p="http://schemas.openxmlformats.org/presentationml/2006/main">
  <p:tag name="AS_UNIQUEID" val="41145"/>
</p:tagLst>
</file>

<file path=ppt/tags/tag722.xml><?xml version="1.0" encoding="utf-8"?>
<p:tagLst xmlns:a="http://schemas.openxmlformats.org/drawingml/2006/main" xmlns:r="http://schemas.openxmlformats.org/officeDocument/2006/relationships" xmlns:p="http://schemas.openxmlformats.org/presentationml/2006/main">
  <p:tag name="AS_UNIQUEID" val="41146"/>
</p:tagLst>
</file>

<file path=ppt/tags/tag723.xml><?xml version="1.0" encoding="utf-8"?>
<p:tagLst xmlns:a="http://schemas.openxmlformats.org/drawingml/2006/main" xmlns:r="http://schemas.openxmlformats.org/officeDocument/2006/relationships" xmlns:p="http://schemas.openxmlformats.org/presentationml/2006/main">
  <p:tag name="AS_UNIQUEID" val="41147"/>
</p:tagLst>
</file>

<file path=ppt/tags/tag724.xml><?xml version="1.0" encoding="utf-8"?>
<p:tagLst xmlns:a="http://schemas.openxmlformats.org/drawingml/2006/main" xmlns:r="http://schemas.openxmlformats.org/officeDocument/2006/relationships" xmlns:p="http://schemas.openxmlformats.org/presentationml/2006/main">
  <p:tag name="AS_UNIQUEID" val="41148"/>
</p:tagLst>
</file>

<file path=ppt/tags/tag725.xml><?xml version="1.0" encoding="utf-8"?>
<p:tagLst xmlns:a="http://schemas.openxmlformats.org/drawingml/2006/main" xmlns:r="http://schemas.openxmlformats.org/officeDocument/2006/relationships" xmlns:p="http://schemas.openxmlformats.org/presentationml/2006/main">
  <p:tag name="AS_UNIQUEID" val="41149"/>
</p:tagLst>
</file>

<file path=ppt/tags/tag726.xml><?xml version="1.0" encoding="utf-8"?>
<p:tagLst xmlns:a="http://schemas.openxmlformats.org/drawingml/2006/main" xmlns:r="http://schemas.openxmlformats.org/officeDocument/2006/relationships" xmlns:p="http://schemas.openxmlformats.org/presentationml/2006/main">
  <p:tag name="AS_UNIQUEID" val="41152"/>
</p:tagLst>
</file>

<file path=ppt/tags/tag727.xml><?xml version="1.0" encoding="utf-8"?>
<p:tagLst xmlns:a="http://schemas.openxmlformats.org/drawingml/2006/main" xmlns:r="http://schemas.openxmlformats.org/officeDocument/2006/relationships" xmlns:p="http://schemas.openxmlformats.org/presentationml/2006/main">
  <p:tag name="AS_UNIQUEID" val="41153"/>
</p:tagLst>
</file>

<file path=ppt/tags/tag728.xml><?xml version="1.0" encoding="utf-8"?>
<p:tagLst xmlns:a="http://schemas.openxmlformats.org/drawingml/2006/main" xmlns:r="http://schemas.openxmlformats.org/officeDocument/2006/relationships" xmlns:p="http://schemas.openxmlformats.org/presentationml/2006/main">
  <p:tag name="AS_UNIQUEID" val="41154"/>
</p:tagLst>
</file>

<file path=ppt/tags/tag729.xml><?xml version="1.0" encoding="utf-8"?>
<p:tagLst xmlns:a="http://schemas.openxmlformats.org/drawingml/2006/main" xmlns:r="http://schemas.openxmlformats.org/officeDocument/2006/relationships" xmlns:p="http://schemas.openxmlformats.org/presentationml/2006/main">
  <p:tag name="AS_UNIQUEID" val="41155"/>
</p:tagLst>
</file>

<file path=ppt/tags/tag73.xml><?xml version="1.0" encoding="utf-8"?>
<p:tagLst xmlns:a="http://schemas.openxmlformats.org/drawingml/2006/main" xmlns:r="http://schemas.openxmlformats.org/officeDocument/2006/relationships" xmlns:p="http://schemas.openxmlformats.org/presentationml/2006/main">
  <p:tag name="AS_UNIQUEID" val="40473"/>
</p:tagLst>
</file>

<file path=ppt/tags/tag730.xml><?xml version="1.0" encoding="utf-8"?>
<p:tagLst xmlns:a="http://schemas.openxmlformats.org/drawingml/2006/main" xmlns:r="http://schemas.openxmlformats.org/officeDocument/2006/relationships" xmlns:p="http://schemas.openxmlformats.org/presentationml/2006/main">
  <p:tag name="AS_UNIQUEID" val="41158"/>
</p:tagLst>
</file>

<file path=ppt/tags/tag731.xml><?xml version="1.0" encoding="utf-8"?>
<p:tagLst xmlns:a="http://schemas.openxmlformats.org/drawingml/2006/main" xmlns:r="http://schemas.openxmlformats.org/officeDocument/2006/relationships" xmlns:p="http://schemas.openxmlformats.org/presentationml/2006/main">
  <p:tag name="AS_UNIQUEID" val="41159"/>
</p:tagLst>
</file>

<file path=ppt/tags/tag732.xml><?xml version="1.0" encoding="utf-8"?>
<p:tagLst xmlns:a="http://schemas.openxmlformats.org/drawingml/2006/main" xmlns:r="http://schemas.openxmlformats.org/officeDocument/2006/relationships" xmlns:p="http://schemas.openxmlformats.org/presentationml/2006/main">
  <p:tag name="AS_UNIQUEID" val="41160"/>
</p:tagLst>
</file>

<file path=ppt/tags/tag733.xml><?xml version="1.0" encoding="utf-8"?>
<p:tagLst xmlns:a="http://schemas.openxmlformats.org/drawingml/2006/main" xmlns:r="http://schemas.openxmlformats.org/officeDocument/2006/relationships" xmlns:p="http://schemas.openxmlformats.org/presentationml/2006/main">
  <p:tag name="AS_UNIQUEID" val="41161"/>
</p:tagLst>
</file>

<file path=ppt/tags/tag734.xml><?xml version="1.0" encoding="utf-8"?>
<p:tagLst xmlns:a="http://schemas.openxmlformats.org/drawingml/2006/main" xmlns:r="http://schemas.openxmlformats.org/officeDocument/2006/relationships" xmlns:p="http://schemas.openxmlformats.org/presentationml/2006/main">
  <p:tag name="AS_UNIQUEID" val="41164"/>
</p:tagLst>
</file>

<file path=ppt/tags/tag735.xml><?xml version="1.0" encoding="utf-8"?>
<p:tagLst xmlns:a="http://schemas.openxmlformats.org/drawingml/2006/main" xmlns:r="http://schemas.openxmlformats.org/officeDocument/2006/relationships" xmlns:p="http://schemas.openxmlformats.org/presentationml/2006/main">
  <p:tag name="AS_UNIQUEID" val="41165"/>
</p:tagLst>
</file>

<file path=ppt/tags/tag736.xml><?xml version="1.0" encoding="utf-8"?>
<p:tagLst xmlns:a="http://schemas.openxmlformats.org/drawingml/2006/main" xmlns:r="http://schemas.openxmlformats.org/officeDocument/2006/relationships" xmlns:p="http://schemas.openxmlformats.org/presentationml/2006/main">
  <p:tag name="AS_UNIQUEID" val="41166"/>
</p:tagLst>
</file>

<file path=ppt/tags/tag737.xml><?xml version="1.0" encoding="utf-8"?>
<p:tagLst xmlns:a="http://schemas.openxmlformats.org/drawingml/2006/main" xmlns:r="http://schemas.openxmlformats.org/officeDocument/2006/relationships" xmlns:p="http://schemas.openxmlformats.org/presentationml/2006/main">
  <p:tag name="AS_UNIQUEID" val="41169"/>
</p:tagLst>
</file>

<file path=ppt/tags/tag738.xml><?xml version="1.0" encoding="utf-8"?>
<p:tagLst xmlns:a="http://schemas.openxmlformats.org/drawingml/2006/main" xmlns:r="http://schemas.openxmlformats.org/officeDocument/2006/relationships" xmlns:p="http://schemas.openxmlformats.org/presentationml/2006/main">
  <p:tag name="AS_UNIQUEID" val="41167"/>
</p:tagLst>
</file>

<file path=ppt/tags/tag739.xml><?xml version="1.0" encoding="utf-8"?>
<p:tagLst xmlns:a="http://schemas.openxmlformats.org/drawingml/2006/main" xmlns:r="http://schemas.openxmlformats.org/officeDocument/2006/relationships" xmlns:p="http://schemas.openxmlformats.org/presentationml/2006/main">
  <p:tag name="AS_UNIQUEID" val="41168"/>
</p:tagLst>
</file>

<file path=ppt/tags/tag74.xml><?xml version="1.0" encoding="utf-8"?>
<p:tagLst xmlns:a="http://schemas.openxmlformats.org/drawingml/2006/main" xmlns:r="http://schemas.openxmlformats.org/officeDocument/2006/relationships" xmlns:p="http://schemas.openxmlformats.org/presentationml/2006/main">
  <p:tag name="AS_UNIQUEID" val="40474"/>
</p:tagLst>
</file>

<file path=ppt/tags/tag740.xml><?xml version="1.0" encoding="utf-8"?>
<p:tagLst xmlns:a="http://schemas.openxmlformats.org/drawingml/2006/main" xmlns:r="http://schemas.openxmlformats.org/officeDocument/2006/relationships" xmlns:p="http://schemas.openxmlformats.org/presentationml/2006/main">
  <p:tag name="AS_UNIQUEID" val="41162"/>
</p:tagLst>
</file>

<file path=ppt/tags/tag741.xml><?xml version="1.0" encoding="utf-8"?>
<p:tagLst xmlns:a="http://schemas.openxmlformats.org/drawingml/2006/main" xmlns:r="http://schemas.openxmlformats.org/officeDocument/2006/relationships" xmlns:p="http://schemas.openxmlformats.org/presentationml/2006/main">
  <p:tag name="AS_UNIQUEID" val="41163"/>
</p:tagLst>
</file>

<file path=ppt/tags/tag742.xml><?xml version="1.0" encoding="utf-8"?>
<p:tagLst xmlns:a="http://schemas.openxmlformats.org/drawingml/2006/main" xmlns:r="http://schemas.openxmlformats.org/officeDocument/2006/relationships" xmlns:p="http://schemas.openxmlformats.org/presentationml/2006/main">
  <p:tag name="AS_UNIQUEID" val="41156"/>
</p:tagLst>
</file>

<file path=ppt/tags/tag743.xml><?xml version="1.0" encoding="utf-8"?>
<p:tagLst xmlns:a="http://schemas.openxmlformats.org/drawingml/2006/main" xmlns:r="http://schemas.openxmlformats.org/officeDocument/2006/relationships" xmlns:p="http://schemas.openxmlformats.org/presentationml/2006/main">
  <p:tag name="AS_UNIQUEID" val="41157"/>
</p:tagLst>
</file>

<file path=ppt/tags/tag744.xml><?xml version="1.0" encoding="utf-8"?>
<p:tagLst xmlns:a="http://schemas.openxmlformats.org/drawingml/2006/main" xmlns:r="http://schemas.openxmlformats.org/officeDocument/2006/relationships" xmlns:p="http://schemas.openxmlformats.org/presentationml/2006/main">
  <p:tag name="AS_UNIQUEID" val="41150"/>
</p:tagLst>
</file>

<file path=ppt/tags/tag745.xml><?xml version="1.0" encoding="utf-8"?>
<p:tagLst xmlns:a="http://schemas.openxmlformats.org/drawingml/2006/main" xmlns:r="http://schemas.openxmlformats.org/officeDocument/2006/relationships" xmlns:p="http://schemas.openxmlformats.org/presentationml/2006/main">
  <p:tag name="AS_UNIQUEID" val="41151"/>
</p:tagLst>
</file>

<file path=ppt/tags/tag746.xml><?xml version="1.0" encoding="utf-8"?>
<p:tagLst xmlns:a="http://schemas.openxmlformats.org/drawingml/2006/main" xmlns:r="http://schemas.openxmlformats.org/officeDocument/2006/relationships" xmlns:p="http://schemas.openxmlformats.org/presentationml/2006/main">
  <p:tag name="AS_UNIQUEID" val="41143"/>
</p:tagLst>
</file>

<file path=ppt/tags/tag747.xml><?xml version="1.0" encoding="utf-8"?>
<p:tagLst xmlns:a="http://schemas.openxmlformats.org/drawingml/2006/main" xmlns:r="http://schemas.openxmlformats.org/officeDocument/2006/relationships" xmlns:p="http://schemas.openxmlformats.org/presentationml/2006/main">
  <p:tag name="AS_UNIQUEID" val="41144"/>
</p:tagLst>
</file>

<file path=ppt/tags/tag748.xml><?xml version="1.0" encoding="utf-8"?>
<p:tagLst xmlns:a="http://schemas.openxmlformats.org/drawingml/2006/main" xmlns:r="http://schemas.openxmlformats.org/officeDocument/2006/relationships" xmlns:p="http://schemas.openxmlformats.org/presentationml/2006/main">
  <p:tag name="AS_UNIQUEID" val="41124"/>
</p:tagLst>
</file>

<file path=ppt/tags/tag749.xml><?xml version="1.0" encoding="utf-8"?>
<p:tagLst xmlns:a="http://schemas.openxmlformats.org/drawingml/2006/main" xmlns:r="http://schemas.openxmlformats.org/officeDocument/2006/relationships" xmlns:p="http://schemas.openxmlformats.org/presentationml/2006/main">
  <p:tag name="AS_UNIQUEID" val="41125"/>
</p:tagLst>
</file>

<file path=ppt/tags/tag75.xml><?xml version="1.0" encoding="utf-8"?>
<p:tagLst xmlns:a="http://schemas.openxmlformats.org/drawingml/2006/main" xmlns:r="http://schemas.openxmlformats.org/officeDocument/2006/relationships" xmlns:p="http://schemas.openxmlformats.org/presentationml/2006/main">
  <p:tag name="AS_UNIQUEID" val="40475"/>
</p:tagLst>
</file>

<file path=ppt/tags/tag750.xml><?xml version="1.0" encoding="utf-8"?>
<p:tagLst xmlns:a="http://schemas.openxmlformats.org/drawingml/2006/main" xmlns:r="http://schemas.openxmlformats.org/officeDocument/2006/relationships" xmlns:p="http://schemas.openxmlformats.org/presentationml/2006/main">
  <p:tag name="AS_UNIQUEID" val="41126"/>
</p:tagLst>
</file>

<file path=ppt/tags/tag751.xml><?xml version="1.0" encoding="utf-8"?>
<p:tagLst xmlns:a="http://schemas.openxmlformats.org/drawingml/2006/main" xmlns:r="http://schemas.openxmlformats.org/officeDocument/2006/relationships" xmlns:p="http://schemas.openxmlformats.org/presentationml/2006/main">
  <p:tag name="AS_UNIQUEID" val="41127"/>
</p:tagLst>
</file>

<file path=ppt/tags/tag752.xml><?xml version="1.0" encoding="utf-8"?>
<p:tagLst xmlns:a="http://schemas.openxmlformats.org/drawingml/2006/main" xmlns:r="http://schemas.openxmlformats.org/officeDocument/2006/relationships" xmlns:p="http://schemas.openxmlformats.org/presentationml/2006/main">
  <p:tag name="AS_UNIQUEID" val="41128"/>
</p:tagLst>
</file>

<file path=ppt/tags/tag753.xml><?xml version="1.0" encoding="utf-8"?>
<p:tagLst xmlns:a="http://schemas.openxmlformats.org/drawingml/2006/main" xmlns:r="http://schemas.openxmlformats.org/officeDocument/2006/relationships" xmlns:p="http://schemas.openxmlformats.org/presentationml/2006/main">
  <p:tag name="AS_UNIQUEID" val="41129"/>
</p:tagLst>
</file>

<file path=ppt/tags/tag754.xml><?xml version="1.0" encoding="utf-8"?>
<p:tagLst xmlns:a="http://schemas.openxmlformats.org/drawingml/2006/main" xmlns:r="http://schemas.openxmlformats.org/officeDocument/2006/relationships" xmlns:p="http://schemas.openxmlformats.org/presentationml/2006/main">
  <p:tag name="AS_UNIQUEID" val="41130"/>
</p:tagLst>
</file>

<file path=ppt/tags/tag755.xml><?xml version="1.0" encoding="utf-8"?>
<p:tagLst xmlns:a="http://schemas.openxmlformats.org/drawingml/2006/main" xmlns:r="http://schemas.openxmlformats.org/officeDocument/2006/relationships" xmlns:p="http://schemas.openxmlformats.org/presentationml/2006/main">
  <p:tag name="AS_UNIQUEID" val="41131"/>
</p:tagLst>
</file>

<file path=ppt/tags/tag756.xml><?xml version="1.0" encoding="utf-8"?>
<p:tagLst xmlns:a="http://schemas.openxmlformats.org/drawingml/2006/main" xmlns:r="http://schemas.openxmlformats.org/officeDocument/2006/relationships" xmlns:p="http://schemas.openxmlformats.org/presentationml/2006/main">
  <p:tag name="AS_UNIQUEID" val="41132"/>
</p:tagLst>
</file>

<file path=ppt/tags/tag757.xml><?xml version="1.0" encoding="utf-8"?>
<p:tagLst xmlns:a="http://schemas.openxmlformats.org/drawingml/2006/main" xmlns:r="http://schemas.openxmlformats.org/officeDocument/2006/relationships" xmlns:p="http://schemas.openxmlformats.org/presentationml/2006/main">
  <p:tag name="AS_UNIQUEID" val="41133"/>
</p:tagLst>
</file>

<file path=ppt/tags/tag758.xml><?xml version="1.0" encoding="utf-8"?>
<p:tagLst xmlns:a="http://schemas.openxmlformats.org/drawingml/2006/main" xmlns:r="http://schemas.openxmlformats.org/officeDocument/2006/relationships" xmlns:p="http://schemas.openxmlformats.org/presentationml/2006/main">
  <p:tag name="AS_UNIQUEID" val="41113"/>
</p:tagLst>
</file>

<file path=ppt/tags/tag759.xml><?xml version="1.0" encoding="utf-8"?>
<p:tagLst xmlns:a="http://schemas.openxmlformats.org/drawingml/2006/main" xmlns:r="http://schemas.openxmlformats.org/officeDocument/2006/relationships" xmlns:p="http://schemas.openxmlformats.org/presentationml/2006/main">
  <p:tag name="AS_UNIQUEID" val="41114"/>
</p:tagLst>
</file>

<file path=ppt/tags/tag76.xml><?xml version="1.0" encoding="utf-8"?>
<p:tagLst xmlns:a="http://schemas.openxmlformats.org/drawingml/2006/main" xmlns:r="http://schemas.openxmlformats.org/officeDocument/2006/relationships" xmlns:p="http://schemas.openxmlformats.org/presentationml/2006/main">
  <p:tag name="AS_UNIQUEID" val="40476"/>
</p:tagLst>
</file>

<file path=ppt/tags/tag760.xml><?xml version="1.0" encoding="utf-8"?>
<p:tagLst xmlns:a="http://schemas.openxmlformats.org/drawingml/2006/main" xmlns:r="http://schemas.openxmlformats.org/officeDocument/2006/relationships" xmlns:p="http://schemas.openxmlformats.org/presentationml/2006/main">
  <p:tag name="AS_UNIQUEID" val="41115"/>
</p:tagLst>
</file>

<file path=ppt/tags/tag761.xml><?xml version="1.0" encoding="utf-8"?>
<p:tagLst xmlns:a="http://schemas.openxmlformats.org/drawingml/2006/main" xmlns:r="http://schemas.openxmlformats.org/officeDocument/2006/relationships" xmlns:p="http://schemas.openxmlformats.org/presentationml/2006/main">
  <p:tag name="AS_UNIQUEID" val="41116"/>
</p:tagLst>
</file>

<file path=ppt/tags/tag762.xml><?xml version="1.0" encoding="utf-8"?>
<p:tagLst xmlns:a="http://schemas.openxmlformats.org/drawingml/2006/main" xmlns:r="http://schemas.openxmlformats.org/officeDocument/2006/relationships" xmlns:p="http://schemas.openxmlformats.org/presentationml/2006/main">
  <p:tag name="AS_UNIQUEID" val="41117"/>
</p:tagLst>
</file>

<file path=ppt/tags/tag763.xml><?xml version="1.0" encoding="utf-8"?>
<p:tagLst xmlns:a="http://schemas.openxmlformats.org/drawingml/2006/main" xmlns:r="http://schemas.openxmlformats.org/officeDocument/2006/relationships" xmlns:p="http://schemas.openxmlformats.org/presentationml/2006/main">
  <p:tag name="AS_UNIQUEID" val="41118"/>
</p:tagLst>
</file>

<file path=ppt/tags/tag764.xml><?xml version="1.0" encoding="utf-8"?>
<p:tagLst xmlns:a="http://schemas.openxmlformats.org/drawingml/2006/main" xmlns:r="http://schemas.openxmlformats.org/officeDocument/2006/relationships" xmlns:p="http://schemas.openxmlformats.org/presentationml/2006/main">
  <p:tag name="AS_UNIQUEID" val="41119"/>
</p:tagLst>
</file>

<file path=ppt/tags/tag765.xml><?xml version="1.0" encoding="utf-8"?>
<p:tagLst xmlns:a="http://schemas.openxmlformats.org/drawingml/2006/main" xmlns:r="http://schemas.openxmlformats.org/officeDocument/2006/relationships" xmlns:p="http://schemas.openxmlformats.org/presentationml/2006/main">
  <p:tag name="AS_UNIQUEID" val="41120"/>
</p:tagLst>
</file>

<file path=ppt/tags/tag766.xml><?xml version="1.0" encoding="utf-8"?>
<p:tagLst xmlns:a="http://schemas.openxmlformats.org/drawingml/2006/main" xmlns:r="http://schemas.openxmlformats.org/officeDocument/2006/relationships" xmlns:p="http://schemas.openxmlformats.org/presentationml/2006/main">
  <p:tag name="AS_UNIQUEID" val="41121"/>
</p:tagLst>
</file>

<file path=ppt/tags/tag767.xml><?xml version="1.0" encoding="utf-8"?>
<p:tagLst xmlns:a="http://schemas.openxmlformats.org/drawingml/2006/main" xmlns:r="http://schemas.openxmlformats.org/officeDocument/2006/relationships" xmlns:p="http://schemas.openxmlformats.org/presentationml/2006/main">
  <p:tag name="AS_UNIQUEID" val="41122"/>
</p:tagLst>
</file>

<file path=ppt/tags/tag768.xml><?xml version="1.0" encoding="utf-8"?>
<p:tagLst xmlns:a="http://schemas.openxmlformats.org/drawingml/2006/main" xmlns:r="http://schemas.openxmlformats.org/officeDocument/2006/relationships" xmlns:p="http://schemas.openxmlformats.org/presentationml/2006/main">
  <p:tag name="AS_UNIQUEID" val="41108"/>
</p:tagLst>
</file>

<file path=ppt/tags/tag769.xml><?xml version="1.0" encoding="utf-8"?>
<p:tagLst xmlns:a="http://schemas.openxmlformats.org/drawingml/2006/main" xmlns:r="http://schemas.openxmlformats.org/officeDocument/2006/relationships" xmlns:p="http://schemas.openxmlformats.org/presentationml/2006/main">
  <p:tag name="AS_UNIQUEID" val="41109"/>
</p:tagLst>
</file>

<file path=ppt/tags/tag77.xml><?xml version="1.0" encoding="utf-8"?>
<p:tagLst xmlns:a="http://schemas.openxmlformats.org/drawingml/2006/main" xmlns:r="http://schemas.openxmlformats.org/officeDocument/2006/relationships" xmlns:p="http://schemas.openxmlformats.org/presentationml/2006/main">
  <p:tag name="AS_UNIQUEID" val="40477"/>
</p:tagLst>
</file>

<file path=ppt/tags/tag770.xml><?xml version="1.0" encoding="utf-8"?>
<p:tagLst xmlns:a="http://schemas.openxmlformats.org/drawingml/2006/main" xmlns:r="http://schemas.openxmlformats.org/officeDocument/2006/relationships" xmlns:p="http://schemas.openxmlformats.org/presentationml/2006/main">
  <p:tag name="AS_UNIQUEID" val="41110"/>
</p:tagLst>
</file>

<file path=ppt/tags/tag78.xml><?xml version="1.0" encoding="utf-8"?>
<p:tagLst xmlns:a="http://schemas.openxmlformats.org/drawingml/2006/main" xmlns:r="http://schemas.openxmlformats.org/officeDocument/2006/relationships" xmlns:p="http://schemas.openxmlformats.org/presentationml/2006/main">
  <p:tag name="AS_UNIQUEID" val="40497"/>
</p:tagLst>
</file>

<file path=ppt/tags/tag79.xml><?xml version="1.0" encoding="utf-8"?>
<p:tagLst xmlns:a="http://schemas.openxmlformats.org/drawingml/2006/main" xmlns:r="http://schemas.openxmlformats.org/officeDocument/2006/relationships" xmlns:p="http://schemas.openxmlformats.org/presentationml/2006/main">
  <p:tag name="AS_UNIQUEID" val="40517"/>
  <p:tag name="BTFPLAYOUTENABLED" val="1"/>
</p:tagLst>
</file>

<file path=ppt/tags/tag8.xml><?xml version="1.0" encoding="utf-8"?>
<p:tagLst xmlns:a="http://schemas.openxmlformats.org/drawingml/2006/main" xmlns:r="http://schemas.openxmlformats.org/officeDocument/2006/relationships" xmlns:p="http://schemas.openxmlformats.org/presentationml/2006/main">
  <p:tag name="AS_UNIQUEID" val="40418"/>
</p:tagLst>
</file>

<file path=ppt/tags/tag80.xml><?xml version="1.0" encoding="utf-8"?>
<p:tagLst xmlns:a="http://schemas.openxmlformats.org/drawingml/2006/main" xmlns:r="http://schemas.openxmlformats.org/officeDocument/2006/relationships" xmlns:p="http://schemas.openxmlformats.org/presentationml/2006/main">
  <p:tag name="AS_UNIQUEID" val="40520"/>
</p:tagLst>
</file>

<file path=ppt/tags/tag81.xml><?xml version="1.0" encoding="utf-8"?>
<p:tagLst xmlns:a="http://schemas.openxmlformats.org/drawingml/2006/main" xmlns:r="http://schemas.openxmlformats.org/officeDocument/2006/relationships" xmlns:p="http://schemas.openxmlformats.org/presentationml/2006/main">
  <p:tag name="AS_UNIQUEID" val="40521"/>
  <p:tag name="BTFPLAYOUTENABLED" val="1"/>
</p:tagLst>
</file>

<file path=ppt/tags/tag82.xml><?xml version="1.0" encoding="utf-8"?>
<p:tagLst xmlns:a="http://schemas.openxmlformats.org/drawingml/2006/main" xmlns:r="http://schemas.openxmlformats.org/officeDocument/2006/relationships" xmlns:p="http://schemas.openxmlformats.org/presentationml/2006/main">
  <p:tag name="AS_UNIQUEID" val="40522"/>
</p:tagLst>
</file>

<file path=ppt/tags/tag83.xml><?xml version="1.0" encoding="utf-8"?>
<p:tagLst xmlns:a="http://schemas.openxmlformats.org/drawingml/2006/main" xmlns:r="http://schemas.openxmlformats.org/officeDocument/2006/relationships" xmlns:p="http://schemas.openxmlformats.org/presentationml/2006/main">
  <p:tag name="AS_UNIQUEID" val="40523"/>
</p:tagLst>
</file>

<file path=ppt/tags/tag84.xml><?xml version="1.0" encoding="utf-8"?>
<p:tagLst xmlns:a="http://schemas.openxmlformats.org/drawingml/2006/main" xmlns:r="http://schemas.openxmlformats.org/officeDocument/2006/relationships" xmlns:p="http://schemas.openxmlformats.org/presentationml/2006/main">
  <p:tag name="AS_UNIQUEID" val="40524"/>
</p:tagLst>
</file>

<file path=ppt/tags/tag85.xml><?xml version="1.0" encoding="utf-8"?>
<p:tagLst xmlns:a="http://schemas.openxmlformats.org/drawingml/2006/main" xmlns:r="http://schemas.openxmlformats.org/officeDocument/2006/relationships" xmlns:p="http://schemas.openxmlformats.org/presentationml/2006/main">
  <p:tag name="AS_UNIQUEID" val="40525"/>
</p:tagLst>
</file>

<file path=ppt/tags/tag86.xml><?xml version="1.0" encoding="utf-8"?>
<p:tagLst xmlns:a="http://schemas.openxmlformats.org/drawingml/2006/main" xmlns:r="http://schemas.openxmlformats.org/officeDocument/2006/relationships" xmlns:p="http://schemas.openxmlformats.org/presentationml/2006/main">
  <p:tag name="AS_UNIQUEID" val="40526"/>
</p:tagLst>
</file>

<file path=ppt/tags/tag87.xml><?xml version="1.0" encoding="utf-8"?>
<p:tagLst xmlns:a="http://schemas.openxmlformats.org/drawingml/2006/main" xmlns:r="http://schemas.openxmlformats.org/officeDocument/2006/relationships" xmlns:p="http://schemas.openxmlformats.org/presentationml/2006/main">
  <p:tag name="AS_UNIQUEID" val="40527"/>
</p:tagLst>
</file>

<file path=ppt/tags/tag88.xml><?xml version="1.0" encoding="utf-8"?>
<p:tagLst xmlns:a="http://schemas.openxmlformats.org/drawingml/2006/main" xmlns:r="http://schemas.openxmlformats.org/officeDocument/2006/relationships" xmlns:p="http://schemas.openxmlformats.org/presentationml/2006/main">
  <p:tag name="AS_UNIQUEID" val="40528"/>
</p:tagLst>
</file>

<file path=ppt/tags/tag89.xml><?xml version="1.0" encoding="utf-8"?>
<p:tagLst xmlns:a="http://schemas.openxmlformats.org/drawingml/2006/main" xmlns:r="http://schemas.openxmlformats.org/officeDocument/2006/relationships" xmlns:p="http://schemas.openxmlformats.org/presentationml/2006/main">
  <p:tag name="AS_UNIQUEID" val="40529"/>
</p:tagLst>
</file>

<file path=ppt/tags/tag9.xml><?xml version="1.0" encoding="utf-8"?>
<p:tagLst xmlns:a="http://schemas.openxmlformats.org/drawingml/2006/main" xmlns:r="http://schemas.openxmlformats.org/officeDocument/2006/relationships" xmlns:p="http://schemas.openxmlformats.org/presentationml/2006/main">
  <p:tag name="AS_UNIQUEID" val="40419"/>
</p:tagLst>
</file>

<file path=ppt/tags/tag90.xml><?xml version="1.0" encoding="utf-8"?>
<p:tagLst xmlns:a="http://schemas.openxmlformats.org/drawingml/2006/main" xmlns:r="http://schemas.openxmlformats.org/officeDocument/2006/relationships" xmlns:p="http://schemas.openxmlformats.org/presentationml/2006/main">
  <p:tag name="AS_UNIQUEID" val="40530"/>
  <p:tag name="BTFPLAYOUTENABLED" val="1"/>
</p:tagLst>
</file>

<file path=ppt/tags/tag91.xml><?xml version="1.0" encoding="utf-8"?>
<p:tagLst xmlns:a="http://schemas.openxmlformats.org/drawingml/2006/main" xmlns:r="http://schemas.openxmlformats.org/officeDocument/2006/relationships" xmlns:p="http://schemas.openxmlformats.org/presentationml/2006/main">
  <p:tag name="AS_UNIQUEID" val="40531"/>
  <p:tag name="BTFPLAYOUTENABLED" val="1"/>
</p:tagLst>
</file>

<file path=ppt/tags/tag92.xml><?xml version="1.0" encoding="utf-8"?>
<p:tagLst xmlns:a="http://schemas.openxmlformats.org/drawingml/2006/main" xmlns:r="http://schemas.openxmlformats.org/officeDocument/2006/relationships" xmlns:p="http://schemas.openxmlformats.org/presentationml/2006/main">
  <p:tag name="AS_UNIQUEID" val="40532"/>
  <p:tag name="BTFPLAYOUTENABLED" val="1"/>
</p:tagLst>
</file>

<file path=ppt/tags/tag93.xml><?xml version="1.0" encoding="utf-8"?>
<p:tagLst xmlns:a="http://schemas.openxmlformats.org/drawingml/2006/main" xmlns:r="http://schemas.openxmlformats.org/officeDocument/2006/relationships" xmlns:p="http://schemas.openxmlformats.org/presentationml/2006/main">
  <p:tag name="AS_UNIQUEID" val="40533"/>
  <p:tag name="BTFPLAYOUTENABLED" val="1"/>
</p:tagLst>
</file>

<file path=ppt/tags/tag94.xml><?xml version="1.0" encoding="utf-8"?>
<p:tagLst xmlns:a="http://schemas.openxmlformats.org/drawingml/2006/main" xmlns:r="http://schemas.openxmlformats.org/officeDocument/2006/relationships" xmlns:p="http://schemas.openxmlformats.org/presentationml/2006/main">
  <p:tag name="AS_UNIQUEID" val="40534"/>
  <p:tag name="BTFPLAYOUTENABLED" val="1"/>
</p:tagLst>
</file>

<file path=ppt/tags/tag95.xml><?xml version="1.0" encoding="utf-8"?>
<p:tagLst xmlns:a="http://schemas.openxmlformats.org/drawingml/2006/main" xmlns:r="http://schemas.openxmlformats.org/officeDocument/2006/relationships" xmlns:p="http://schemas.openxmlformats.org/presentationml/2006/main">
  <p:tag name="AS_UNIQUEID" val="40535"/>
  <p:tag name="BTFPLAYOUTENABLED" val="1"/>
</p:tagLst>
</file>

<file path=ppt/tags/tag96.xml><?xml version="1.0" encoding="utf-8"?>
<p:tagLst xmlns:a="http://schemas.openxmlformats.org/drawingml/2006/main" xmlns:r="http://schemas.openxmlformats.org/officeDocument/2006/relationships" xmlns:p="http://schemas.openxmlformats.org/presentationml/2006/main">
  <p:tag name="AS_UNIQUEID" val="40518"/>
</p:tagLst>
</file>

<file path=ppt/tags/tag97.xml><?xml version="1.0" encoding="utf-8"?>
<p:tagLst xmlns:a="http://schemas.openxmlformats.org/drawingml/2006/main" xmlns:r="http://schemas.openxmlformats.org/officeDocument/2006/relationships" xmlns:p="http://schemas.openxmlformats.org/presentationml/2006/main">
  <p:tag name="AS_UNIQUEID" val="40519"/>
</p:tagLst>
</file>

<file path=ppt/tags/tag98.xml><?xml version="1.0" encoding="utf-8"?>
<p:tagLst xmlns:a="http://schemas.openxmlformats.org/drawingml/2006/main" xmlns:r="http://schemas.openxmlformats.org/officeDocument/2006/relationships" xmlns:p="http://schemas.openxmlformats.org/presentationml/2006/main">
  <p:tag name="AS_UNIQUEID" val="40498"/>
</p:tagLst>
</file>

<file path=ppt/tags/tag99.xml><?xml version="1.0" encoding="utf-8"?>
<p:tagLst xmlns:a="http://schemas.openxmlformats.org/drawingml/2006/main" xmlns:r="http://schemas.openxmlformats.org/officeDocument/2006/relationships" xmlns:p="http://schemas.openxmlformats.org/presentationml/2006/main">
  <p:tag name="AS_UNIQUEID" val="40499"/>
</p:tagLst>
</file>

<file path=ppt/theme/theme1.xml><?xml version="1.0" encoding="utf-8"?>
<a:theme xmlns:a="http://schemas.openxmlformats.org/drawingml/2006/main" name="Bain Core">
  <a:themeElements>
    <a:clrScheme name="Bain">
      <a:dk1>
        <a:srgbClr val="000000"/>
      </a:dk1>
      <a:lt1>
        <a:srgbClr val="FFFFFF"/>
      </a:lt1>
      <a:dk2>
        <a:srgbClr val="D6D6D6"/>
      </a:dk2>
      <a:lt2>
        <a:srgbClr val="5C5C5C"/>
      </a:lt2>
      <a:accent1>
        <a:srgbClr val="B4B4B4"/>
      </a:accent1>
      <a:accent2>
        <a:srgbClr val="D6D6D6"/>
      </a:accent2>
      <a:accent3>
        <a:srgbClr val="CC0000"/>
      </a:accent3>
      <a:accent4>
        <a:srgbClr val="46647B"/>
      </a:accent4>
      <a:accent5>
        <a:srgbClr val="507867"/>
      </a:accent5>
      <a:accent6>
        <a:srgbClr val="973B74"/>
      </a:accent6>
      <a:hlink>
        <a:srgbClr val="46647B"/>
      </a:hlink>
      <a:folHlink>
        <a:srgbClr val="7891AA"/>
      </a:folHlink>
    </a:clrScheme>
    <a:fontScheme name="Arial">
      <a:majorFont>
        <a:latin typeface="Arial"/>
        <a:ea typeface="Microsoft YaHei"/>
        <a:cs typeface="Arial"/>
      </a:majorFont>
      <a:minorFont>
        <a:latin typeface="Arial"/>
        <a:ea typeface="Microsoft YaHei"/>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56CF97D2-A744-43CA-AE15-0214FF29DAC4}" vid="{A64E784E-EE2A-4031-BBD4-3B52B2D870FE}"/>
    </a:ext>
  </a:extLst>
</a:theme>
</file>

<file path=ppt/theme/theme2.xml><?xml version="1.0" encoding="utf-8"?>
<a:theme xmlns:a="http://schemas.openxmlformats.org/drawingml/2006/main" name="Crop">
  <a:themeElements>
    <a:clrScheme name="Crop">
      <a:dk1>
        <a:sysClr val="windowText" lastClr="000000"/>
      </a:dk1>
      <a:lt1>
        <a:sysClr val="window" lastClr="FFFFFF"/>
      </a:lt1>
      <a:dk2>
        <a:srgbClr val="191B0E"/>
      </a:dk2>
      <a:lt2>
        <a:srgbClr val="EFEDE3"/>
      </a:lt2>
      <a:accent1>
        <a:srgbClr val="8C8D86"/>
      </a:accent1>
      <a:accent2>
        <a:srgbClr val="E6C069"/>
      </a:accent2>
      <a:accent3>
        <a:srgbClr val="897B61"/>
      </a:accent3>
      <a:accent4>
        <a:srgbClr val="8DAB8E"/>
      </a:accent4>
      <a:accent5>
        <a:srgbClr val="77A2BB"/>
      </a:accent5>
      <a:accent6>
        <a:srgbClr val="E28394"/>
      </a:accent6>
      <a:hlink>
        <a:srgbClr val="77A2BB"/>
      </a:hlink>
      <a:folHlink>
        <a:srgbClr val="957A99"/>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cument" ma:contentTypeID="0x010100DA1373899A8A1548AE131FDB45348CF6" ma:contentTypeVersion="13" ma:contentTypeDescription="Create a new document." ma:contentTypeScope="" ma:versionID="c3498388a424682645c423ad79e9850c">
  <xsd:schema xmlns:xsd="http://www.w3.org/2001/XMLSchema" xmlns:xs="http://www.w3.org/2001/XMLSchema" xmlns:p="http://schemas.microsoft.com/office/2006/metadata/properties" xmlns:ns2="b78c94da-7b4e-43a7-9cea-adeafdad441b" xmlns:ns3="0dbb9e5e-1bb2-4ae3-94d9-88487b23133a" targetNamespace="http://schemas.microsoft.com/office/2006/metadata/properties" ma:root="true" ma:fieldsID="c459abb685c59537f510beb26a2f1fac" ns2:_="" ns3:_="">
    <xsd:import namespace="b78c94da-7b4e-43a7-9cea-adeafdad441b"/>
    <xsd:import namespace="0dbb9e5e-1bb2-4ae3-94d9-88487b23133a"/>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LengthInSeconds" minOccurs="0"/>
                <xsd:element ref="ns3:MediaServiceOCR" minOccurs="0"/>
                <xsd:element ref="ns3:lcf76f155ced4ddcb4097134ff3c332f"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8c94da-7b4e-43a7-9cea-adeafdad441b"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0dbb9e5e-1bb2-4ae3-94d9-88487b23133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CR" ma:index="20" nillable="true" ma:displayName="Extracted Text" ma:internalName="MediaServiceOCR"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b166abb-7d38-406f-9233-2f33b10aef2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_dlc_DocId xmlns="b78c94da-7b4e-43a7-9cea-adeafdad441b">XYJN2MSQZYQF-1869568316-270570</_dlc_DocId>
    <_dlc_DocIdUrl xmlns="b78c94da-7b4e-43a7-9cea-adeafdad441b">
      <Url>https://bainandcompany.sharepoint.com/sites/pubs/_layouts/15/DocIdRedir.aspx?ID=XYJN2MSQZYQF-1869568316-270570</Url>
      <Description>XYJN2MSQZYQF-1869568316-270570</Description>
    </_dlc_DocIdUrl>
    <lcf76f155ced4ddcb4097134ff3c332f xmlns="0dbb9e5e-1bb2-4ae3-94d9-88487b23133a">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AD835C2C-3CD2-40BE-BE8B-84BB9926EAC4}">
  <ds:schemaRefs>
    <ds:schemaRef ds:uri="http://schemas.microsoft.com/sharepoint/v3/contenttype/forms"/>
  </ds:schemaRefs>
</ds:datastoreItem>
</file>

<file path=customXml/itemProps2.xml><?xml version="1.0" encoding="utf-8"?>
<ds:datastoreItem xmlns:ds="http://schemas.openxmlformats.org/officeDocument/2006/customXml" ds:itemID="{1B5F74EE-830F-42EE-93AD-94872693C0EA}">
  <ds:schemaRefs>
    <ds:schemaRef ds:uri="http://schemas.microsoft.com/sharepoint/events"/>
  </ds:schemaRefs>
</ds:datastoreItem>
</file>

<file path=customXml/itemProps3.xml><?xml version="1.0" encoding="utf-8"?>
<ds:datastoreItem xmlns:ds="http://schemas.openxmlformats.org/officeDocument/2006/customXml" ds:itemID="{78679933-3198-43C2-99A5-2784CEAE5C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78c94da-7b4e-43a7-9cea-adeafdad441b"/>
    <ds:schemaRef ds:uri="0dbb9e5e-1bb2-4ae3-94d9-88487b2313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39412A7-72F6-4BF1-90F5-A888781829D4}">
  <ds:schemaRefs>
    <ds:schemaRef ds:uri="http://purl.org/dc/elements/1.1/"/>
    <ds:schemaRef ds:uri="http://schemas.microsoft.com/office/2006/metadata/properties"/>
    <ds:schemaRef ds:uri="http://purl.org/dc/terms/"/>
    <ds:schemaRef ds:uri="http://schemas.microsoft.com/office/2006/documentManagement/types"/>
    <ds:schemaRef ds:uri="http://www.w3.org/XML/1998/namespace"/>
    <ds:schemaRef ds:uri="http://schemas.openxmlformats.org/package/2006/metadata/core-properties"/>
    <ds:schemaRef ds:uri="b78c94da-7b4e-43a7-9cea-adeafdad441b"/>
    <ds:schemaRef ds:uri="http://schemas.microsoft.com/office/infopath/2007/PartnerControls"/>
    <ds:schemaRef ds:uri="0dbb9e5e-1bb2-4ae3-94d9-88487b23133a"/>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697</Words>
  <Application>Microsoft Macintosh PowerPoint</Application>
  <PresentationFormat>Widescreen</PresentationFormat>
  <Paragraphs>248</Paragraphs>
  <Slides>23</Slides>
  <Notes>16</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2</vt:i4>
      </vt:variant>
      <vt:variant>
        <vt:lpstr>Slide Titles</vt:lpstr>
      </vt:variant>
      <vt:variant>
        <vt:i4>23</vt:i4>
      </vt:variant>
    </vt:vector>
  </HeadingPairs>
  <TitlesOfParts>
    <vt:vector size="32" baseType="lpstr">
      <vt:lpstr>Abadi</vt:lpstr>
      <vt:lpstr>Arial</vt:lpstr>
      <vt:lpstr>Calibri</vt:lpstr>
      <vt:lpstr>Franklin Gothic Book</vt:lpstr>
      <vt:lpstr>MV Boli</vt:lpstr>
      <vt:lpstr>Bain Core</vt:lpstr>
      <vt:lpstr>Crop</vt:lpstr>
      <vt:lpstr>think-cell Slide</vt:lpstr>
      <vt:lpstr>Acrobat Document</vt:lpstr>
      <vt:lpstr>PowerPoint Presentation</vt:lpstr>
      <vt:lpstr>PowerPoint Presentation</vt:lpstr>
      <vt:lpstr>A central program office will likely be needed as we scale, to ensure coordination and closely monitor results delivery</vt:lpstr>
      <vt:lpstr>PowerPoint Presentation</vt:lpstr>
      <vt:lpstr>PowerPoint Presentation</vt:lpstr>
      <vt:lpstr>PowerPoint Presentation</vt:lpstr>
      <vt:lpstr>PowerPoint Presentation</vt:lpstr>
      <vt:lpstr>PowerPoint Presentation</vt:lpstr>
      <vt:lpstr>PowerPoint Presentation</vt:lpstr>
      <vt:lpstr>Whether, When, and How to Regulate A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llenges</vt:lpstr>
      <vt:lpstr>Why (Not) Regulate?</vt:lpstr>
      <vt:lpstr>When to Regulate?</vt:lpstr>
      <vt:lpstr>How? Supply of regulation</vt:lpstr>
      <vt:lpstr>Who should regulat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revision>1</cp:revision>
  <cp:lastPrinted>1601-01-01T00:00:00Z</cp:lastPrinted>
  <dcterms:created xsi:type="dcterms:W3CDTF">1601-01-01T00:00:00Z</dcterms:created>
  <dcterms:modified xsi:type="dcterms:W3CDTF">2024-03-07T09:09:21Z</dcterms:modified>
</cp:coreProperties>
</file>